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712" r:id="rId2"/>
    <p:sldMasterId id="2147483694" r:id="rId3"/>
  </p:sldMasterIdLst>
  <p:notesMasterIdLst>
    <p:notesMasterId r:id="rId28"/>
  </p:notesMasterIdLst>
  <p:handoutMasterIdLst>
    <p:handoutMasterId r:id="rId29"/>
  </p:handoutMasterIdLst>
  <p:sldIdLst>
    <p:sldId id="265" r:id="rId4"/>
    <p:sldId id="283" r:id="rId5"/>
    <p:sldId id="296" r:id="rId6"/>
    <p:sldId id="302" r:id="rId7"/>
    <p:sldId id="289" r:id="rId8"/>
    <p:sldId id="284" r:id="rId9"/>
    <p:sldId id="287" r:id="rId10"/>
    <p:sldId id="291" r:id="rId11"/>
    <p:sldId id="306" r:id="rId12"/>
    <p:sldId id="288" r:id="rId13"/>
    <p:sldId id="290" r:id="rId14"/>
    <p:sldId id="292" r:id="rId15"/>
    <p:sldId id="309" r:id="rId16"/>
    <p:sldId id="294" r:id="rId17"/>
    <p:sldId id="305" r:id="rId18"/>
    <p:sldId id="304" r:id="rId19"/>
    <p:sldId id="295" r:id="rId20"/>
    <p:sldId id="297" r:id="rId21"/>
    <p:sldId id="298" r:id="rId22"/>
    <p:sldId id="299" r:id="rId23"/>
    <p:sldId id="300" r:id="rId24"/>
    <p:sldId id="301" r:id="rId25"/>
    <p:sldId id="307" r:id="rId26"/>
    <p:sldId id="308" r:id="rId27"/>
  </p:sldIdLst>
  <p:sldSz cx="9144000" cy="6858000" type="screen4x3"/>
  <p:notesSz cx="6784975" cy="9906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499">
          <p15:clr>
            <a:srgbClr val="A4A3A4"/>
          </p15:clr>
        </p15:guide>
        <p15:guide id="4" pos="54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7A3B"/>
    <a:srgbClr val="057C48"/>
    <a:srgbClr val="FDEFD7"/>
    <a:srgbClr val="F9D491"/>
    <a:srgbClr val="91CA64"/>
    <a:srgbClr val="DFF1DF"/>
    <a:srgbClr val="8D9DD0"/>
    <a:srgbClr val="000000"/>
    <a:srgbClr val="50748A"/>
    <a:srgbClr val="CD76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68" autoAdjust="0"/>
    <p:restoredTop sz="94103" autoAdjust="0"/>
  </p:normalViewPr>
  <p:slideViewPr>
    <p:cSldViewPr showGuides="1">
      <p:cViewPr varScale="1">
        <p:scale>
          <a:sx n="70" d="100"/>
          <a:sy n="70" d="100"/>
        </p:scale>
        <p:origin x="1290" y="66"/>
      </p:cViewPr>
      <p:guideLst>
        <p:guide orient="horz" pos="3974"/>
        <p:guide orient="horz" pos="913"/>
        <p:guide pos="499"/>
        <p:guide pos="548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124" d="100"/>
          <a:sy n="124" d="100"/>
        </p:scale>
        <p:origin x="4157" y="109"/>
      </p:cViewPr>
      <p:guideLst>
        <p:guide orient="horz" pos="3120"/>
        <p:guide pos="2137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156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3249" y="0"/>
            <a:ext cx="2940156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2474A9-D837-4B14-B576-B22099138CA4}" type="datetimeFigureOut">
              <a:rPr lang="uk-UA" smtClean="0"/>
              <a:t>09.06.2018</a:t>
            </a:fld>
            <a:endParaRPr lang="uk-U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0156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3249" y="9408981"/>
            <a:ext cx="2940156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5228F5-4593-4292-973C-B6DC8F07712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44790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156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43249" y="0"/>
            <a:ext cx="2940156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7C395-DD53-42C5-857B-D672A67213F7}" type="datetimeFigureOut">
              <a:rPr lang="uk-UA" smtClean="0"/>
              <a:t>09.06.2018</a:t>
            </a:fld>
            <a:endParaRPr lang="uk-UA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78498" y="4767262"/>
            <a:ext cx="542798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0156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43249" y="9408981"/>
            <a:ext cx="2940156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156357-BADD-4859-9EB2-74F4242A1EE5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15848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156357-BADD-4859-9EB2-74F4242A1EE5}" type="slidenum">
              <a:rPr lang="uk-UA" smtClean="0"/>
              <a:t>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27834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FC073C-C20F-4009-B3CE-932E249AF113}" type="slidenum">
              <a:rPr lang="uk-UA" smtClean="0"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37949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uk-UA" smtClean="0"/>
              <a:pPr>
                <a:defRPr/>
              </a:pPr>
              <a:t>15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07073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061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156357-BADD-4859-9EB2-74F4242A1EE5}" type="slidenum">
              <a:rPr lang="uk-UA" smtClean="0"/>
              <a:t>1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22427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www.facebook.com/NationalBankOfUkraine?ref_type=bookmark" TargetMode="External"/><Relationship Id="rId7" Type="http://schemas.openxmlformats.org/officeDocument/2006/relationships/hyperlink" Target="https://www.instagram.com/national_bank_of_ukraine/" TargetMode="External"/><Relationship Id="rId2" Type="http://schemas.openxmlformats.org/officeDocument/2006/relationships/hyperlink" Target="http://www.bank.gov.ua/control/uk/index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youtube.com/channel/UCLWsi-3SHrFwwyb0AceOgHQ" TargetMode="External"/><Relationship Id="rId5" Type="http://schemas.openxmlformats.org/officeDocument/2006/relationships/hyperlink" Target="https://www.flickr.com/photos/134562672@N08" TargetMode="External"/><Relationship Id="rId4" Type="http://schemas.openxmlformats.org/officeDocument/2006/relationships/hyperlink" Target="https://twitter.com/NBUkraine" TargetMode="Externa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facebook.com/NationalBankOfUkraine?ref_type=bookmark" TargetMode="External"/><Relationship Id="rId7" Type="http://schemas.openxmlformats.org/officeDocument/2006/relationships/hyperlink" Target="https://www.instagram.com/national_bank_of_ukraine/" TargetMode="External"/><Relationship Id="rId2" Type="http://schemas.openxmlformats.org/officeDocument/2006/relationships/hyperlink" Target="https://bank.gov.ua/control/en/index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youtube.com/channel/UCLWsi-3SHrFwwyb0AceOgHQ" TargetMode="External"/><Relationship Id="rId5" Type="http://schemas.openxmlformats.org/officeDocument/2006/relationships/hyperlink" Target="https://www.flickr.com/photos/134562672@N08" TargetMode="External"/><Relationship Id="rId4" Type="http://schemas.openxmlformats.org/officeDocument/2006/relationships/hyperlink" Target="https://twitter.com/NBUkraine_eng" TargetMode="Externa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(внутрішні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2408486" cy="6866702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8486" h="6866702">
                <a:moveTo>
                  <a:pt x="0" y="0"/>
                </a:moveTo>
                <a:lnTo>
                  <a:pt x="2408486" y="2032"/>
                </a:lnTo>
                <a:lnTo>
                  <a:pt x="768175" y="6866702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8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" r="81499"/>
          <a:stretch/>
        </p:blipFill>
        <p:spPr bwMode="auto">
          <a:xfrm>
            <a:off x="0" y="0"/>
            <a:ext cx="14030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11"/>
          <p:cNvSpPr/>
          <p:nvPr userDrawn="1"/>
        </p:nvSpPr>
        <p:spPr>
          <a:xfrm>
            <a:off x="8532507" y="4329116"/>
            <a:ext cx="611493" cy="2528884"/>
          </a:xfrm>
          <a:custGeom>
            <a:avLst/>
            <a:gdLst>
              <a:gd name="connsiteX0" fmla="*/ 0 w 611493"/>
              <a:gd name="connsiteY0" fmla="*/ 0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  <a:gd name="connsiteX4" fmla="*/ 0 w 611493"/>
              <a:gd name="connsiteY4" fmla="*/ 0 h 2528884"/>
              <a:gd name="connsiteX0" fmla="*/ 0 w 611493"/>
              <a:gd name="connsiteY0" fmla="*/ 2528884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493" h="2528884">
                <a:moveTo>
                  <a:pt x="0" y="2528884"/>
                </a:moveTo>
                <a:lnTo>
                  <a:pt x="611493" y="0"/>
                </a:lnTo>
                <a:lnTo>
                  <a:pt x="611493" y="2528884"/>
                </a:lnTo>
                <a:lnTo>
                  <a:pt x="0" y="252888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Прямоугольник 12"/>
          <p:cNvSpPr/>
          <p:nvPr userDrawn="1"/>
        </p:nvSpPr>
        <p:spPr>
          <a:xfrm>
            <a:off x="0" y="548632"/>
            <a:ext cx="3143379" cy="900756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pic>
        <p:nvPicPr>
          <p:cNvPr id="11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664" y="781731"/>
            <a:ext cx="1800083" cy="48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32000" y="2709000"/>
            <a:ext cx="6119838" cy="72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032000" y="5229000"/>
            <a:ext cx="4320000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spcAft>
                <a:spcPts val="6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ПІБ доповідача</a:t>
            </a:r>
            <a:endParaRPr lang="uk-UA" noProof="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5292000" y="845227"/>
            <a:ext cx="3059838" cy="360000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1200"/>
            </a:lvl1pPr>
          </a:lstStyle>
          <a:p>
            <a:pPr lvl="0"/>
            <a:r>
              <a:rPr lang="uk-UA" noProof="0" dirty="0" smtClean="0"/>
              <a:t>текст</a:t>
            </a:r>
            <a:endParaRPr lang="uk-UA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2232000" y="2163633"/>
            <a:ext cx="6120000" cy="540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/>
            </a:lvl1pPr>
          </a:lstStyle>
          <a:p>
            <a:pPr lvl="0"/>
            <a:r>
              <a:rPr lang="ru-RU" dirty="0" smtClean="0"/>
              <a:t>Проект:</a:t>
            </a:r>
            <a:endParaRPr lang="uk-UA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2232025" y="3610479"/>
            <a:ext cx="6119813" cy="5413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uk-UA" noProof="0" dirty="0" smtClean="0"/>
              <a:t>Опис проекту</a:t>
            </a:r>
          </a:p>
          <a:p>
            <a:pPr lvl="0"/>
            <a:endParaRPr lang="uk-UA" noProof="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3" hasCustomPrompt="1"/>
          </p:nvPr>
        </p:nvSpPr>
        <p:spPr>
          <a:xfrm>
            <a:off x="4031838" y="5601489"/>
            <a:ext cx="4320000" cy="35032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uk-UA" noProof="0" dirty="0" smtClean="0"/>
              <a:t>Посада доповідач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4031838" y="6344403"/>
            <a:ext cx="4320000" cy="36000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5" hasCustomPrompt="1"/>
          </p:nvPr>
        </p:nvSpPr>
        <p:spPr>
          <a:xfrm>
            <a:off x="4031838" y="5837904"/>
            <a:ext cx="4320000" cy="43200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uk-UA" noProof="0" dirty="0" smtClean="0"/>
              <a:t>Назва комітету (або заходу), на засіданні якого відбудеться доповідь</a:t>
            </a:r>
          </a:p>
        </p:txBody>
      </p:sp>
    </p:spTree>
    <p:extLst>
      <p:ext uri="{BB962C8B-B14F-4D97-AF65-F5344CB8AC3E}">
        <p14:creationId xmlns:p14="http://schemas.microsoft.com/office/powerpoint/2010/main" val="16889290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  <p15:guide id="2" pos="526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ru-RU" dirty="0" smtClean="0"/>
              <a:t>Заголовок</a:t>
            </a:r>
            <a:endParaRPr lang="uk-UA" dirty="0"/>
          </a:p>
        </p:txBody>
      </p:sp>
      <p:cxnSp>
        <p:nvCxnSpPr>
          <p:cNvPr id="9" name="Пряма сполучна лінія 8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7" hasCustomPrompt="1"/>
          </p:nvPr>
        </p:nvSpPr>
        <p:spPr>
          <a:xfrm>
            <a:off x="792163" y="1449388"/>
            <a:ext cx="3600450" cy="4498975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11" name="Объект 4"/>
          <p:cNvSpPr>
            <a:spLocks noGrp="1"/>
          </p:cNvSpPr>
          <p:nvPr>
            <p:ph sz="quarter" idx="18" hasCustomPrompt="1"/>
          </p:nvPr>
        </p:nvSpPr>
        <p:spPr>
          <a:xfrm>
            <a:off x="5099390" y="1449388"/>
            <a:ext cx="3600450" cy="4498975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8802766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'єкт і зображе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ru-RU" dirty="0" smtClean="0"/>
              <a:t>Заголовок</a:t>
            </a:r>
            <a:endParaRPr lang="uk-UA" dirty="0"/>
          </a:p>
        </p:txBody>
      </p:sp>
      <p:cxnSp>
        <p:nvCxnSpPr>
          <p:cNvPr id="9" name="Пряма сполучна лінія 8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6" hasCustomPrompt="1"/>
          </p:nvPr>
        </p:nvSpPr>
        <p:spPr>
          <a:xfrm>
            <a:off x="5652000" y="1449388"/>
            <a:ext cx="3060200" cy="1799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uk-UA" sz="1600" dirty="0" smtClean="0"/>
              <a:t>Зображення</a:t>
            </a:r>
            <a:endParaRPr lang="uk-UA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7" hasCustomPrompt="1"/>
          </p:nvPr>
        </p:nvSpPr>
        <p:spPr>
          <a:xfrm>
            <a:off x="792162" y="1449388"/>
            <a:ext cx="4319838" cy="4679612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7" name="Рисунок 2"/>
          <p:cNvSpPr>
            <a:spLocks noGrp="1"/>
          </p:cNvSpPr>
          <p:nvPr>
            <p:ph type="pic" sz="quarter" idx="18" hasCustomPrompt="1"/>
          </p:nvPr>
        </p:nvSpPr>
        <p:spPr>
          <a:xfrm>
            <a:off x="5652000" y="3789000"/>
            <a:ext cx="3060200" cy="1979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uk-UA" sz="1600" dirty="0" smtClean="0"/>
              <a:t>Зображення</a:t>
            </a:r>
            <a:endParaRPr lang="uk-UA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5652000" y="5769000"/>
            <a:ext cx="3065366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400"/>
            </a:lvl1pPr>
          </a:lstStyle>
          <a:p>
            <a:pPr lvl="0"/>
            <a:r>
              <a:rPr lang="uk-UA" noProof="0" dirty="0" smtClean="0"/>
              <a:t>Текст</a:t>
            </a:r>
            <a:endParaRPr lang="uk-UA" noProof="0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5652000" y="3249000"/>
            <a:ext cx="3060200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400"/>
            </a:lvl1pPr>
          </a:lstStyle>
          <a:p>
            <a:pPr lvl="0"/>
            <a:r>
              <a:rPr lang="uk-UA" noProof="0" dirty="0" smtClean="0"/>
              <a:t>Текст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18285590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792163" y="1449388"/>
            <a:ext cx="3600000" cy="540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30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noProof="0" dirty="0" smtClean="0"/>
              <a:t>Текст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ru-RU" dirty="0" smtClean="0"/>
              <a:t>Заголовок</a:t>
            </a:r>
            <a:endParaRPr lang="uk-UA" dirty="0"/>
          </a:p>
        </p:txBody>
      </p:sp>
      <p:cxnSp>
        <p:nvCxnSpPr>
          <p:cNvPr id="11" name="Пряма сполучна лінія 10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5103116" y="1449388"/>
            <a:ext cx="3600000" cy="540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30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noProof="0" dirty="0" smtClean="0"/>
              <a:t>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 hasCustomPrompt="1"/>
          </p:nvPr>
        </p:nvSpPr>
        <p:spPr>
          <a:xfrm>
            <a:off x="792163" y="1989000"/>
            <a:ext cx="3600450" cy="4319725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15" name="Объект 4"/>
          <p:cNvSpPr>
            <a:spLocks noGrp="1"/>
          </p:cNvSpPr>
          <p:nvPr>
            <p:ph sz="quarter" idx="19" hasCustomPrompt="1"/>
          </p:nvPr>
        </p:nvSpPr>
        <p:spPr>
          <a:xfrm>
            <a:off x="5111750" y="1989000"/>
            <a:ext cx="3600450" cy="4319725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7423910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99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стовпці: текст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ru-RU" dirty="0" smtClean="0"/>
              <a:t>Заголовок</a:t>
            </a:r>
            <a:endParaRPr lang="uk-UA" dirty="0"/>
          </a:p>
        </p:txBody>
      </p:sp>
      <p:cxnSp>
        <p:nvCxnSpPr>
          <p:cNvPr id="11" name="Пряма сполучна лінія 10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 hasCustomPrompt="1"/>
          </p:nvPr>
        </p:nvSpPr>
        <p:spPr>
          <a:xfrm>
            <a:off x="792163" y="1449388"/>
            <a:ext cx="2339837" cy="4859337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341438" indent="-266700"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4pPr>
            <a:lvl5pPr marL="1706563" indent="-274638"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19" hasCustomPrompt="1"/>
          </p:nvPr>
        </p:nvSpPr>
        <p:spPr>
          <a:xfrm>
            <a:off x="3492000" y="1449389"/>
            <a:ext cx="5220200" cy="3959611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3492500" y="5589001"/>
            <a:ext cx="5219700" cy="71972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uk-UA" noProof="0" dirty="0" smtClean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7260993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99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стовпці: об'єкт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ru-RU" dirty="0" smtClean="0"/>
              <a:t>Заголовок</a:t>
            </a:r>
            <a:endParaRPr lang="uk-UA" dirty="0"/>
          </a:p>
        </p:txBody>
      </p:sp>
      <p:cxnSp>
        <p:nvCxnSpPr>
          <p:cNvPr id="11" name="Пряма сполучна лінія 10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 hasCustomPrompt="1"/>
          </p:nvPr>
        </p:nvSpPr>
        <p:spPr>
          <a:xfrm>
            <a:off x="6361181" y="1449388"/>
            <a:ext cx="2339837" cy="4859337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341438" indent="-266700"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4pPr>
            <a:lvl5pPr marL="1706563" indent="-274638"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19" hasCustomPrompt="1"/>
          </p:nvPr>
        </p:nvSpPr>
        <p:spPr>
          <a:xfrm>
            <a:off x="786583" y="1449389"/>
            <a:ext cx="5220200" cy="3959611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792163" y="5589001"/>
            <a:ext cx="5219700" cy="71972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uk-UA" noProof="0" dirty="0" smtClean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78604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499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 hasCustomPrompt="1"/>
          </p:nvPr>
        </p:nvSpPr>
        <p:spPr>
          <a:xfrm>
            <a:off x="1872000" y="1449387"/>
            <a:ext cx="5760000" cy="30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uk-UA" noProof="0" dirty="0" smtClean="0"/>
              <a:t>Зображення</a:t>
            </a:r>
            <a:endParaRPr lang="uk-UA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875485" y="4869772"/>
            <a:ext cx="5760000" cy="1439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noProof="0" dirty="0" smtClean="0"/>
              <a:t>Текст слайда</a:t>
            </a:r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cxnSp>
        <p:nvCxnSpPr>
          <p:cNvPr id="9" name="Пряма сполучна лінія 8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8055749-A086-45CD-A8D5-422795326459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28088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  <p15:guide id="5" pos="299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Слайд без наповне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306583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5627246" y="6384935"/>
            <a:ext cx="3516923" cy="457200"/>
          </a:xfrm>
          <a:prstGeom prst="rect">
            <a:avLst/>
          </a:prstGeom>
          <a:ln/>
        </p:spPr>
        <p:txBody>
          <a:bodyPr lIns="85207" tIns="42599" rIns="85207" bIns="42599"/>
          <a:lstStyle>
            <a:lvl1pPr>
              <a:defRPr/>
            </a:lvl1pPr>
          </a:lstStyle>
          <a:p>
            <a:pPr defTabSz="67565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675" u="sng" dirty="0">
              <a:solidFill>
                <a:srgbClr val="0C0C0C"/>
              </a:solidFill>
              <a:ea typeface="MS PGothic" pitchFamily="34" charset="-128"/>
            </a:endParaRPr>
          </a:p>
        </p:txBody>
      </p:sp>
      <p:sp>
        <p:nvSpPr>
          <p:cNvPr id="5" name="Номер слайда 1"/>
          <p:cNvSpPr txBox="1">
            <a:spLocks/>
          </p:cNvSpPr>
          <p:nvPr userDrawn="1"/>
        </p:nvSpPr>
        <p:spPr bwMode="auto">
          <a:xfrm>
            <a:off x="8229910" y="6389007"/>
            <a:ext cx="676644" cy="379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7557" tIns="33782" rIns="67557" bIns="33782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66788" rtl="0" eaLnBrk="0" fontAlgn="base" hangingPunct="0">
              <a:spcBef>
                <a:spcPct val="0"/>
              </a:spcBef>
              <a:spcAft>
                <a:spcPct val="0"/>
              </a:spcAft>
              <a:defRPr sz="1400" b="0" u="none" kern="1200">
                <a:solidFill>
                  <a:schemeClr val="accent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000" u="sng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53400EF4-D14B-4B3E-8643-5A6D23594193}" type="slidenum">
              <a:rPr lang="uk-UA" sz="1050" smtClean="0">
                <a:solidFill>
                  <a:srgbClr val="255327"/>
                </a:solidFill>
              </a:rPr>
              <a:pPr algn="r"/>
              <a:t>‹#›</a:t>
            </a:fld>
            <a:endParaRPr lang="uk-UA" sz="1050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432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 lIns="90076" tIns="45043" rIns="90076" bIns="45043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046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 lIns="90076" tIns="45043" rIns="90076" bIns="45043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822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(зовн. 1, укр. м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6"/>
          <p:cNvSpPr/>
          <p:nvPr userDrawn="1"/>
        </p:nvSpPr>
        <p:spPr>
          <a:xfrm>
            <a:off x="0" y="1"/>
            <a:ext cx="2408486" cy="6866702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8486" h="6866702">
                <a:moveTo>
                  <a:pt x="0" y="0"/>
                </a:moveTo>
                <a:lnTo>
                  <a:pt x="2408486" y="2032"/>
                </a:lnTo>
                <a:lnTo>
                  <a:pt x="768175" y="6866702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2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" r="81499"/>
          <a:stretch/>
        </p:blipFill>
        <p:spPr bwMode="auto">
          <a:xfrm>
            <a:off x="0" y="0"/>
            <a:ext cx="14030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G:\Шаблоны\НБУ new\Presentation-0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88"/>
          <a:stretch/>
        </p:blipFill>
        <p:spPr bwMode="auto">
          <a:xfrm>
            <a:off x="5997388" y="0"/>
            <a:ext cx="31466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12"/>
          <p:cNvSpPr/>
          <p:nvPr userDrawn="1"/>
        </p:nvSpPr>
        <p:spPr>
          <a:xfrm>
            <a:off x="0" y="548632"/>
            <a:ext cx="3143379" cy="900756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pic>
        <p:nvPicPr>
          <p:cNvPr id="11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664" y="781731"/>
            <a:ext cx="1800083" cy="48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32000" y="2529000"/>
            <a:ext cx="4500000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232000" y="5589000"/>
            <a:ext cx="4320000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2232025" y="3610479"/>
            <a:ext cx="4499975" cy="7185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2232000" y="5948725"/>
            <a:ext cx="4320000" cy="3600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/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495555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  <p15:guide id="2" pos="526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973374" y="34400"/>
            <a:ext cx="8047304" cy="8714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3905" tIns="31949" rIns="63905" bIns="31949" numCol="1" rtlCol="0" anchor="t" anchorCtr="0" compatLnSpc="1">
            <a:prstTxWarp prst="textNoShape">
              <a:avLst/>
            </a:prstTxWarp>
          </a:bodyPr>
          <a:lstStyle/>
          <a:p>
            <a:pPr defTabSz="639106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675" u="sng" dirty="0">
              <a:solidFill>
                <a:srgbClr val="0C0C0C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2420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39454" y="2"/>
            <a:ext cx="7671521" cy="90623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uk-UA" dirty="0" err="1" smtClean="0"/>
              <a:t>Образец</a:t>
            </a:r>
            <a:r>
              <a:rPr lang="uk-UA" dirty="0" smtClean="0"/>
              <a:t>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96770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9454" y="1199734"/>
            <a:ext cx="7671521" cy="480196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21477" y="293505"/>
            <a:ext cx="7638668" cy="65474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29907" y="6389000"/>
            <a:ext cx="676644" cy="379124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944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ізитна картка (укр. м.)">
    <p:bg>
      <p:bgPr>
        <a:gradFill flip="none" rotWithShape="1">
          <a:gsLst>
            <a:gs pos="0">
              <a:schemeClr val="accent2"/>
            </a:gs>
            <a:gs pos="100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232000" y="1989000"/>
            <a:ext cx="4680000" cy="28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2411762" y="3069000"/>
            <a:ext cx="4320476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7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2411762" y="3429000"/>
            <a:ext cx="4320476" cy="7197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400" b="0" baseline="0"/>
            </a:lvl1pPr>
          </a:lstStyle>
          <a:p>
            <a:pPr lvl="0"/>
            <a:r>
              <a:rPr lang="uk-UA" noProof="0" dirty="0" smtClean="0"/>
              <a:t>Посада доповідача</a:t>
            </a:r>
            <a:br>
              <a:rPr lang="uk-UA" noProof="0" dirty="0" smtClean="0"/>
            </a:br>
            <a:r>
              <a:rPr lang="uk-UA" noProof="0" dirty="0" smtClean="0"/>
              <a:t>Структурний підрозділ</a:t>
            </a: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2411762" y="4328866"/>
            <a:ext cx="4320476" cy="360000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300"/>
              </a:spcBef>
              <a:buFontTx/>
              <a:buNone/>
              <a:defRPr sz="1200" b="0" baseline="0"/>
            </a:lvl1pPr>
          </a:lstStyle>
          <a:p>
            <a:pPr lvl="0"/>
            <a:r>
              <a:rPr lang="uk-UA" noProof="0" dirty="0" smtClean="0"/>
              <a:t>Електронна службова пошта</a:t>
            </a:r>
            <a:endParaRPr lang="uk-UA" noProof="0" dirty="0"/>
          </a:p>
        </p:txBody>
      </p:sp>
      <p:grpSp>
        <p:nvGrpSpPr>
          <p:cNvPr id="13" name="Группа 12"/>
          <p:cNvGrpSpPr/>
          <p:nvPr userDrawn="1"/>
        </p:nvGrpSpPr>
        <p:grpSpPr>
          <a:xfrm>
            <a:off x="2411762" y="2739341"/>
            <a:ext cx="1620238" cy="45719"/>
            <a:chOff x="2412000" y="2889000"/>
            <a:chExt cx="1440000" cy="0"/>
          </a:xfrm>
        </p:grpSpPr>
        <p:cxnSp>
          <p:nvCxnSpPr>
            <p:cNvPr id="14" name="Прямая соединительная линия 13"/>
            <p:cNvCxnSpPr/>
            <p:nvPr userDrawn="1"/>
          </p:nvCxnSpPr>
          <p:spPr>
            <a:xfrm>
              <a:off x="241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 userDrawn="1"/>
          </p:nvCxnSpPr>
          <p:spPr>
            <a:xfrm>
              <a:off x="313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6" name="Picture 2" descr="G:\Шаблоны\НБУ new\Logo_color_hor_NBU_u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000" y="2169000"/>
            <a:ext cx="1620000" cy="439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26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53" userDrawn="1">
          <p15:clr>
            <a:srgbClr val="FBAE40"/>
          </p15:clr>
        </p15:guide>
        <p15:guide id="2" pos="1404" userDrawn="1">
          <p15:clr>
            <a:srgbClr val="FBAE40"/>
          </p15:clr>
        </p15:guide>
        <p15:guide id="3" pos="435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ізитна картка з фото (укр. м.)">
    <p:bg>
      <p:bgPr>
        <a:gradFill flip="none" rotWithShape="1">
          <a:gsLst>
            <a:gs pos="0">
              <a:schemeClr val="accent2"/>
            </a:gs>
            <a:gs pos="100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2232000" y="1989000"/>
            <a:ext cx="4680000" cy="28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3862692" y="3069000"/>
            <a:ext cx="2869546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7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92" y="3429000"/>
            <a:ext cx="2869546" cy="7197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400" b="0" baseline="0"/>
            </a:lvl1pPr>
          </a:lstStyle>
          <a:p>
            <a:pPr lvl="0"/>
            <a:r>
              <a:rPr lang="uk-UA" noProof="0" dirty="0" smtClean="0"/>
              <a:t>Посада доповідача </a:t>
            </a:r>
            <a:br>
              <a:rPr lang="uk-UA" noProof="0" dirty="0" smtClean="0"/>
            </a:br>
            <a:r>
              <a:rPr lang="uk-UA" noProof="0" dirty="0" smtClean="0"/>
              <a:t>Структурний підрозділ</a:t>
            </a: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862692" y="4328866"/>
            <a:ext cx="2869546" cy="360000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300"/>
              </a:spcBef>
              <a:buFontTx/>
              <a:buNone/>
              <a:defRPr sz="1200" b="0" baseline="0"/>
            </a:lvl1pPr>
          </a:lstStyle>
          <a:p>
            <a:pPr lvl="0"/>
            <a:r>
              <a:rPr lang="uk-UA" noProof="0" dirty="0" smtClean="0"/>
              <a:t>Електронна службова пошта</a:t>
            </a:r>
            <a:endParaRPr lang="uk-UA" noProof="0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2411762" y="2739341"/>
            <a:ext cx="1620238" cy="45719"/>
            <a:chOff x="2412000" y="2889000"/>
            <a:chExt cx="1440000" cy="0"/>
          </a:xfrm>
        </p:grpSpPr>
        <p:cxnSp>
          <p:nvCxnSpPr>
            <p:cNvPr id="19" name="Прямая соединительная линия 18"/>
            <p:cNvCxnSpPr/>
            <p:nvPr userDrawn="1"/>
          </p:nvCxnSpPr>
          <p:spPr>
            <a:xfrm>
              <a:off x="241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 userDrawn="1"/>
          </p:nvCxnSpPr>
          <p:spPr>
            <a:xfrm>
              <a:off x="313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1" name="Рисунок 4"/>
          <p:cNvSpPr>
            <a:spLocks noGrp="1"/>
          </p:cNvSpPr>
          <p:nvPr>
            <p:ph type="pic" sz="quarter" idx="13" hasCustomPrompt="1"/>
          </p:nvPr>
        </p:nvSpPr>
        <p:spPr>
          <a:xfrm>
            <a:off x="2417277" y="3069000"/>
            <a:ext cx="1260138" cy="16192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uk-UA" dirty="0" smtClean="0"/>
              <a:t>Фото доповідача</a:t>
            </a:r>
            <a:endParaRPr lang="uk-UA" dirty="0"/>
          </a:p>
        </p:txBody>
      </p:sp>
      <p:pic>
        <p:nvPicPr>
          <p:cNvPr id="13" name="Picture 2" descr="G:\Шаблоны\НБУ new\Logo_color_hor_NBU_ua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2000" y="2169000"/>
            <a:ext cx="1620000" cy="439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632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  <p15:guide id="2" pos="1404">
          <p15:clr>
            <a:srgbClr val="FBAE40"/>
          </p15:clr>
        </p15:guide>
        <p15:guide id="3" pos="435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ізитна картка (англ. м.)">
    <p:bg>
      <p:bgPr>
        <a:gradFill flip="none" rotWithShape="1">
          <a:gsLst>
            <a:gs pos="0">
              <a:schemeClr val="accent2"/>
            </a:gs>
            <a:gs pos="100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2232000" y="1989000"/>
            <a:ext cx="4680000" cy="28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9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2411762" y="3069000"/>
            <a:ext cx="4320476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Name and Surname</a:t>
            </a:r>
            <a:endParaRPr lang="uk-UA" noProof="0" dirty="0"/>
          </a:p>
        </p:txBody>
      </p:sp>
      <p:sp>
        <p:nvSpPr>
          <p:cNvPr id="12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2411762" y="3429000"/>
            <a:ext cx="4320476" cy="7197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400" b="0" baseline="0"/>
            </a:lvl1pPr>
          </a:lstStyle>
          <a:p>
            <a:pPr lvl="0"/>
            <a:r>
              <a:rPr lang="en-US" noProof="0" dirty="0" smtClean="0"/>
              <a:t>Job title</a:t>
            </a:r>
            <a:r>
              <a:rPr lang="uk-UA" noProof="0" dirty="0" smtClean="0"/>
              <a:t/>
            </a:r>
            <a:br>
              <a:rPr lang="uk-UA" noProof="0" dirty="0" smtClean="0"/>
            </a:br>
            <a:r>
              <a:rPr lang="en-US" noProof="0" dirty="0" smtClean="0"/>
              <a:t>Unit</a:t>
            </a:r>
            <a:endParaRPr lang="uk-UA" noProof="0" dirty="0" smtClean="0"/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2411762" y="4328866"/>
            <a:ext cx="4320476" cy="360000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300"/>
              </a:spcBef>
              <a:buFontTx/>
              <a:buNone/>
              <a:defRPr sz="1200" b="0" baseline="0"/>
            </a:lvl1pPr>
          </a:lstStyle>
          <a:p>
            <a:pPr lvl="0"/>
            <a:r>
              <a:rPr lang="en-US" noProof="0" dirty="0" smtClean="0"/>
              <a:t>E</a:t>
            </a:r>
            <a:r>
              <a:rPr lang="uk-UA" noProof="0" dirty="0" smtClean="0"/>
              <a:t>-</a:t>
            </a:r>
            <a:r>
              <a:rPr lang="en-US" noProof="0" dirty="0" smtClean="0"/>
              <a:t>mail</a:t>
            </a:r>
            <a:endParaRPr lang="uk-UA" noProof="0" dirty="0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2411762" y="2739341"/>
            <a:ext cx="1620238" cy="45719"/>
            <a:chOff x="2412000" y="2889000"/>
            <a:chExt cx="1440000" cy="0"/>
          </a:xfrm>
        </p:grpSpPr>
        <p:cxnSp>
          <p:nvCxnSpPr>
            <p:cNvPr id="15" name="Прямая соединительная линия 14"/>
            <p:cNvCxnSpPr/>
            <p:nvPr userDrawn="1"/>
          </p:nvCxnSpPr>
          <p:spPr>
            <a:xfrm>
              <a:off x="241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313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4098" name="Picture 2" descr="G:\Шаблоны\НБУ new\Logo_color_hor_NBU_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2" y="2169000"/>
            <a:ext cx="1620238" cy="423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470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  <p15:guide id="2" pos="1404">
          <p15:clr>
            <a:srgbClr val="FBAE40"/>
          </p15:clr>
        </p15:guide>
        <p15:guide id="3" pos="435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ізитна картка з фото (англ. м.)">
    <p:bg>
      <p:bgPr>
        <a:gradFill flip="none" rotWithShape="1">
          <a:gsLst>
            <a:gs pos="0">
              <a:schemeClr val="accent2"/>
            </a:gs>
            <a:gs pos="100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2232000" y="1989000"/>
            <a:ext cx="4680000" cy="288000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>
                <a:lumMod val="20000"/>
                <a:lumOff val="8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0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3862692" y="3069000"/>
            <a:ext cx="2869546" cy="36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Name and Surname</a:t>
            </a:r>
            <a:endParaRPr lang="uk-UA" noProof="0" dirty="0"/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3862692" y="3429000"/>
            <a:ext cx="2869546" cy="7197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FontTx/>
              <a:buNone/>
              <a:defRPr sz="1400" b="0" baseline="0"/>
            </a:lvl1pPr>
          </a:lstStyle>
          <a:p>
            <a:pPr lvl="0"/>
            <a:r>
              <a:rPr lang="en-US" noProof="0" dirty="0" smtClean="0"/>
              <a:t>Job title</a:t>
            </a:r>
            <a:r>
              <a:rPr lang="uk-UA" noProof="0" dirty="0" smtClean="0"/>
              <a:t> </a:t>
            </a:r>
            <a:br>
              <a:rPr lang="uk-UA" noProof="0" dirty="0" smtClean="0"/>
            </a:br>
            <a:r>
              <a:rPr lang="en-US" noProof="0" dirty="0" smtClean="0"/>
              <a:t>Unit</a:t>
            </a:r>
            <a:endParaRPr lang="uk-UA" noProof="0" dirty="0" smtClean="0"/>
          </a:p>
        </p:txBody>
      </p:sp>
      <p:sp>
        <p:nvSpPr>
          <p:cNvPr id="15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3862692" y="4328866"/>
            <a:ext cx="2869546" cy="360000"/>
          </a:xfrm>
          <a:prstGeom prst="rect">
            <a:avLst/>
          </a:prstGeom>
        </p:spPr>
        <p:txBody>
          <a:bodyPr anchor="ctr"/>
          <a:lstStyle>
            <a:lvl1pPr marL="0" indent="0">
              <a:spcBef>
                <a:spcPts val="300"/>
              </a:spcBef>
              <a:buFontTx/>
              <a:buNone/>
              <a:defRPr sz="1200" b="0" baseline="0"/>
            </a:lvl1pPr>
          </a:lstStyle>
          <a:p>
            <a:pPr lvl="0"/>
            <a:r>
              <a:rPr lang="en-US" noProof="0" dirty="0" smtClean="0"/>
              <a:t>E</a:t>
            </a:r>
            <a:r>
              <a:rPr lang="uk-UA" noProof="0" dirty="0" smtClean="0"/>
              <a:t>-</a:t>
            </a:r>
            <a:r>
              <a:rPr lang="en-US" noProof="0" smtClean="0"/>
              <a:t>mail</a:t>
            </a:r>
            <a:endParaRPr lang="uk-UA" noProof="0" dirty="0"/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2411762" y="2739341"/>
            <a:ext cx="1620238" cy="45719"/>
            <a:chOff x="2412000" y="2889000"/>
            <a:chExt cx="1440000" cy="0"/>
          </a:xfrm>
        </p:grpSpPr>
        <p:cxnSp>
          <p:nvCxnSpPr>
            <p:cNvPr id="19" name="Прямая соединительная линия 18"/>
            <p:cNvCxnSpPr/>
            <p:nvPr userDrawn="1"/>
          </p:nvCxnSpPr>
          <p:spPr>
            <a:xfrm>
              <a:off x="241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3132000" y="2889000"/>
              <a:ext cx="720000" cy="0"/>
            </a:xfrm>
            <a:prstGeom prst="line">
              <a:avLst/>
            </a:prstGeom>
            <a:ln w="285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1" name="Рисунок 4"/>
          <p:cNvSpPr>
            <a:spLocks noGrp="1"/>
          </p:cNvSpPr>
          <p:nvPr>
            <p:ph type="pic" sz="quarter" idx="13" hasCustomPrompt="1"/>
          </p:nvPr>
        </p:nvSpPr>
        <p:spPr>
          <a:xfrm>
            <a:off x="2417277" y="3069000"/>
            <a:ext cx="1260138" cy="16192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 dirty="0" smtClean="0"/>
              <a:t>Photo</a:t>
            </a:r>
            <a:endParaRPr lang="uk-UA" dirty="0"/>
          </a:p>
        </p:txBody>
      </p:sp>
      <p:pic>
        <p:nvPicPr>
          <p:cNvPr id="23" name="Picture 2" descr="G:\Шаблоны\НБУ new\Logo_color_hor_NBU_en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2" y="2169000"/>
            <a:ext cx="1620238" cy="423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703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  <p15:guide id="2" pos="1404">
          <p15:clr>
            <a:srgbClr val="FBAE40"/>
          </p15:clr>
        </p15:guide>
        <p15:guide id="3" pos="435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Логотип НБУ та канали ком-ції (укр. м.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792000" y="5949000"/>
            <a:ext cx="75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noProof="0" dirty="0" smtClean="0">
                <a:solidFill>
                  <a:schemeClr val="tx1"/>
                </a:solidFill>
                <a:hlinkClick r:id="rId2"/>
              </a:rPr>
              <a:t>Web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3"/>
              </a:rPr>
              <a:t>Facebook</a:t>
            </a:r>
            <a:r>
              <a:rPr lang="en-US" sz="1600" b="1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4"/>
              </a:rPr>
              <a:t>Twitter</a:t>
            </a:r>
            <a:r>
              <a:rPr lang="en-US" sz="1600" b="1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5"/>
              </a:rPr>
              <a:t>Flickr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err="1" smtClean="0">
                <a:solidFill>
                  <a:schemeClr val="tx1"/>
                </a:solidFill>
                <a:hlinkClick r:id="rId6"/>
              </a:rPr>
              <a:t>Youtube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7"/>
              </a:rPr>
              <a:t>Instagram</a:t>
            </a:r>
            <a:endParaRPr lang="en-US" sz="1600" b="1" noProof="0" dirty="0">
              <a:solidFill>
                <a:schemeClr val="tx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958" y="2349000"/>
            <a:ext cx="2164084" cy="162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87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Логотип НБУ та канали ком-ції (англ. м.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792000" y="5949000"/>
            <a:ext cx="75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noProof="0" dirty="0" smtClean="0">
                <a:solidFill>
                  <a:schemeClr val="tx1"/>
                </a:solidFill>
                <a:hlinkClick r:id="rId2"/>
              </a:rPr>
              <a:t>Web</a:t>
            </a:r>
            <a:r>
              <a:rPr lang="en-US" sz="1600" b="1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3"/>
              </a:rPr>
              <a:t>Facebook</a:t>
            </a:r>
            <a:r>
              <a:rPr lang="en-US" sz="1600" b="1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 </a:t>
            </a:r>
            <a:r>
              <a:rPr lang="en-US" sz="1600" b="1" noProof="0" dirty="0" smtClean="0">
                <a:solidFill>
                  <a:schemeClr val="tx1"/>
                </a:solidFill>
                <a:hlinkClick r:id="rId4"/>
              </a:rPr>
              <a:t>Twitter</a:t>
            </a:r>
            <a:r>
              <a:rPr lang="en-US" sz="1600" b="1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uk-UA" sz="1600" b="1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5"/>
              </a:rPr>
              <a:t>Flickr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err="1" smtClean="0">
                <a:solidFill>
                  <a:schemeClr val="tx1"/>
                </a:solidFill>
                <a:hlinkClick r:id="rId6"/>
              </a:rPr>
              <a:t>Youtube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baseline="0" noProof="0" dirty="0" smtClean="0">
                <a:solidFill>
                  <a:schemeClr val="bg2"/>
                </a:solidFill>
              </a:rPr>
              <a:t>▪</a:t>
            </a:r>
            <a:r>
              <a:rPr lang="en-US" sz="1600" b="1" baseline="0" noProof="0" dirty="0" smtClean="0">
                <a:solidFill>
                  <a:schemeClr val="tx1"/>
                </a:solidFill>
              </a:rPr>
              <a:t> </a:t>
            </a:r>
            <a:r>
              <a:rPr lang="en-US" sz="1600" b="1" noProof="0" dirty="0" smtClean="0">
                <a:solidFill>
                  <a:schemeClr val="tx1"/>
                </a:solidFill>
                <a:hlinkClick r:id="rId7"/>
              </a:rPr>
              <a:t>Instagram</a:t>
            </a:r>
            <a:endParaRPr lang="en-US" sz="1600" b="1" noProof="0" dirty="0" smtClean="0">
              <a:solidFill>
                <a:schemeClr val="tx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1586" y="2349000"/>
            <a:ext cx="2020828" cy="154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141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Логотип НБУ (укр. м.)">
    <p:bg>
      <p:bgPr>
        <a:gradFill>
          <a:gsLst>
            <a:gs pos="0">
              <a:schemeClr val="accent2">
                <a:lumMod val="100000"/>
              </a:schemeClr>
            </a:gs>
            <a:gs pos="100000">
              <a:schemeClr val="accent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293" y="3037331"/>
            <a:ext cx="2883414" cy="783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647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(зовн. 1, англ. м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6"/>
          <p:cNvSpPr/>
          <p:nvPr userDrawn="1"/>
        </p:nvSpPr>
        <p:spPr>
          <a:xfrm>
            <a:off x="0" y="1"/>
            <a:ext cx="2408486" cy="6866702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8486" h="6866702">
                <a:moveTo>
                  <a:pt x="0" y="0"/>
                </a:moveTo>
                <a:lnTo>
                  <a:pt x="2408486" y="2032"/>
                </a:lnTo>
                <a:lnTo>
                  <a:pt x="768175" y="6866702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2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" r="81499"/>
          <a:stretch/>
        </p:blipFill>
        <p:spPr bwMode="auto">
          <a:xfrm>
            <a:off x="0" y="0"/>
            <a:ext cx="14030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G:\Шаблоны\НБУ new\Presentation-0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88"/>
          <a:stretch/>
        </p:blipFill>
        <p:spPr bwMode="auto">
          <a:xfrm>
            <a:off x="5997388" y="0"/>
            <a:ext cx="31466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12"/>
          <p:cNvSpPr/>
          <p:nvPr userDrawn="1"/>
        </p:nvSpPr>
        <p:spPr>
          <a:xfrm>
            <a:off x="0" y="548632"/>
            <a:ext cx="3143379" cy="900756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32000" y="2529000"/>
            <a:ext cx="4500000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232000" y="5589000"/>
            <a:ext cx="4320000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400" b="1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2232025" y="3610479"/>
            <a:ext cx="4499975" cy="7185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2232000" y="5948725"/>
            <a:ext cx="4320000" cy="3600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/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64" y="768255"/>
            <a:ext cx="1730606" cy="45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6546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  <p15:guide id="2" pos="526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Логотип НБУ (англ. м.)">
    <p:bg>
      <p:bgPr>
        <a:gradFill flip="none" rotWithShape="1">
          <a:gsLst>
            <a:gs pos="0">
              <a:schemeClr val="accent2"/>
            </a:gs>
            <a:gs pos="100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921" y="3070860"/>
            <a:ext cx="2740158" cy="716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309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оган (укр. м.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 userDrawn="1"/>
        </p:nvGrpSpPr>
        <p:grpSpPr>
          <a:xfrm>
            <a:off x="0" y="2709000"/>
            <a:ext cx="2262299" cy="1440000"/>
            <a:chOff x="3247194" y="1988816"/>
            <a:chExt cx="5101475" cy="2880368"/>
          </a:xfrm>
        </p:grpSpPr>
        <p:sp>
          <p:nvSpPr>
            <p:cNvPr id="5" name="Прямоугольник 6"/>
            <p:cNvSpPr/>
            <p:nvPr userDrawn="1"/>
          </p:nvSpPr>
          <p:spPr>
            <a:xfrm>
              <a:off x="7338385" y="1988816"/>
              <a:ext cx="1010284" cy="2880368"/>
            </a:xfrm>
            <a:custGeom>
              <a:avLst/>
              <a:gdLst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788795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520347 w 2231702"/>
                <a:gd name="connsiteY2" fmla="*/ 6849610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353622"/>
                <a:gd name="connsiteY0" fmla="*/ 10160 h 6868159"/>
                <a:gd name="connsiteX1" fmla="*/ 2353622 w 2353622"/>
                <a:gd name="connsiteY1" fmla="*/ 0 h 6868159"/>
                <a:gd name="connsiteX2" fmla="*/ 520347 w 2353622"/>
                <a:gd name="connsiteY2" fmla="*/ 6859770 h 6868159"/>
                <a:gd name="connsiteX3" fmla="*/ 0 w 2353622"/>
                <a:gd name="connsiteY3" fmla="*/ 6868159 h 6868159"/>
                <a:gd name="connsiteX4" fmla="*/ 0 w 2353622"/>
                <a:gd name="connsiteY4" fmla="*/ 10160 h 6868159"/>
                <a:gd name="connsiteX0" fmla="*/ 0 w 2384102"/>
                <a:gd name="connsiteY0" fmla="*/ 10160 h 6868159"/>
                <a:gd name="connsiteX1" fmla="*/ 2384102 w 2384102"/>
                <a:gd name="connsiteY1" fmla="*/ 0 h 6868159"/>
                <a:gd name="connsiteX2" fmla="*/ 520347 w 2384102"/>
                <a:gd name="connsiteY2" fmla="*/ 6859770 h 6868159"/>
                <a:gd name="connsiteX3" fmla="*/ 0 w 2384102"/>
                <a:gd name="connsiteY3" fmla="*/ 6868159 h 6868159"/>
                <a:gd name="connsiteX4" fmla="*/ 0 w 2384102"/>
                <a:gd name="connsiteY4" fmla="*/ 10160 h 6868159"/>
                <a:gd name="connsiteX0" fmla="*/ 0 w 2408486"/>
                <a:gd name="connsiteY0" fmla="*/ 0 h 6857999"/>
                <a:gd name="connsiteX1" fmla="*/ 2408486 w 2408486"/>
                <a:gd name="connsiteY1" fmla="*/ 2032 h 6857999"/>
                <a:gd name="connsiteX2" fmla="*/ 520347 w 2408486"/>
                <a:gd name="connsiteY2" fmla="*/ 6849610 h 6857999"/>
                <a:gd name="connsiteX3" fmla="*/ 0 w 2408486"/>
                <a:gd name="connsiteY3" fmla="*/ 6857999 h 6857999"/>
                <a:gd name="connsiteX4" fmla="*/ 0 w 2408486"/>
                <a:gd name="connsiteY4" fmla="*/ 0 h 6857999"/>
                <a:gd name="connsiteX0" fmla="*/ 0 w 2408486"/>
                <a:gd name="connsiteY0" fmla="*/ 0 h 6866702"/>
                <a:gd name="connsiteX1" fmla="*/ 2408486 w 2408486"/>
                <a:gd name="connsiteY1" fmla="*/ 2032 h 6866702"/>
                <a:gd name="connsiteX2" fmla="*/ 768175 w 2408486"/>
                <a:gd name="connsiteY2" fmla="*/ 6866702 h 6866702"/>
                <a:gd name="connsiteX3" fmla="*/ 0 w 2408486"/>
                <a:gd name="connsiteY3" fmla="*/ 6857999 h 6866702"/>
                <a:gd name="connsiteX4" fmla="*/ 0 w 2408486"/>
                <a:gd name="connsiteY4" fmla="*/ 0 h 686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486" h="6866702">
                  <a:moveTo>
                    <a:pt x="0" y="0"/>
                  </a:moveTo>
                  <a:lnTo>
                    <a:pt x="2408486" y="2032"/>
                  </a:lnTo>
                  <a:lnTo>
                    <a:pt x="768175" y="6866702"/>
                  </a:lnTo>
                  <a:lnTo>
                    <a:pt x="0" y="68579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6" name="Прямоугольник 5"/>
            <p:cNvSpPr/>
            <p:nvPr userDrawn="1"/>
          </p:nvSpPr>
          <p:spPr>
            <a:xfrm>
              <a:off x="3247194" y="1988816"/>
              <a:ext cx="4205175" cy="28803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5122" name="Picture 2" descr="G:\Шаблоны\НБУ new\Presentation-04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34" t="39501" r="6916" b="39501"/>
          <a:stretch/>
        </p:blipFill>
        <p:spPr bwMode="auto">
          <a:xfrm>
            <a:off x="2407920" y="2709000"/>
            <a:ext cx="6103620" cy="1440000"/>
          </a:xfrm>
          <a:prstGeom prst="rect">
            <a:avLst/>
          </a:prstGeom>
          <a:noFill/>
          <a:effectLst>
            <a:outerShdw blurRad="25400" dist="25400" dir="5400000" algn="t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16628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Слоган (англ. м.)">
    <p:bg>
      <p:bgPr>
        <a:gradFill rotWithShape="1">
          <a:gsLst>
            <a:gs pos="0">
              <a:schemeClr val="accent2"/>
            </a:gs>
            <a:gs pos="100000">
              <a:schemeClr val="bg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 userDrawn="1"/>
        </p:nvGrpSpPr>
        <p:grpSpPr>
          <a:xfrm>
            <a:off x="0" y="2709000"/>
            <a:ext cx="2262299" cy="1440000"/>
            <a:chOff x="3247194" y="1988816"/>
            <a:chExt cx="5101475" cy="2880368"/>
          </a:xfrm>
        </p:grpSpPr>
        <p:sp>
          <p:nvSpPr>
            <p:cNvPr id="8" name="Прямоугольник 6"/>
            <p:cNvSpPr/>
            <p:nvPr userDrawn="1"/>
          </p:nvSpPr>
          <p:spPr>
            <a:xfrm>
              <a:off x="7338385" y="1988816"/>
              <a:ext cx="1010284" cy="2880368"/>
            </a:xfrm>
            <a:custGeom>
              <a:avLst/>
              <a:gdLst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788795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520347 w 2231702"/>
                <a:gd name="connsiteY2" fmla="*/ 6849610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353622"/>
                <a:gd name="connsiteY0" fmla="*/ 10160 h 6868159"/>
                <a:gd name="connsiteX1" fmla="*/ 2353622 w 2353622"/>
                <a:gd name="connsiteY1" fmla="*/ 0 h 6868159"/>
                <a:gd name="connsiteX2" fmla="*/ 520347 w 2353622"/>
                <a:gd name="connsiteY2" fmla="*/ 6859770 h 6868159"/>
                <a:gd name="connsiteX3" fmla="*/ 0 w 2353622"/>
                <a:gd name="connsiteY3" fmla="*/ 6868159 h 6868159"/>
                <a:gd name="connsiteX4" fmla="*/ 0 w 2353622"/>
                <a:gd name="connsiteY4" fmla="*/ 10160 h 6868159"/>
                <a:gd name="connsiteX0" fmla="*/ 0 w 2384102"/>
                <a:gd name="connsiteY0" fmla="*/ 10160 h 6868159"/>
                <a:gd name="connsiteX1" fmla="*/ 2384102 w 2384102"/>
                <a:gd name="connsiteY1" fmla="*/ 0 h 6868159"/>
                <a:gd name="connsiteX2" fmla="*/ 520347 w 2384102"/>
                <a:gd name="connsiteY2" fmla="*/ 6859770 h 6868159"/>
                <a:gd name="connsiteX3" fmla="*/ 0 w 2384102"/>
                <a:gd name="connsiteY3" fmla="*/ 6868159 h 6868159"/>
                <a:gd name="connsiteX4" fmla="*/ 0 w 2384102"/>
                <a:gd name="connsiteY4" fmla="*/ 10160 h 6868159"/>
                <a:gd name="connsiteX0" fmla="*/ 0 w 2408486"/>
                <a:gd name="connsiteY0" fmla="*/ 0 h 6857999"/>
                <a:gd name="connsiteX1" fmla="*/ 2408486 w 2408486"/>
                <a:gd name="connsiteY1" fmla="*/ 2032 h 6857999"/>
                <a:gd name="connsiteX2" fmla="*/ 520347 w 2408486"/>
                <a:gd name="connsiteY2" fmla="*/ 6849610 h 6857999"/>
                <a:gd name="connsiteX3" fmla="*/ 0 w 2408486"/>
                <a:gd name="connsiteY3" fmla="*/ 6857999 h 6857999"/>
                <a:gd name="connsiteX4" fmla="*/ 0 w 2408486"/>
                <a:gd name="connsiteY4" fmla="*/ 0 h 6857999"/>
                <a:gd name="connsiteX0" fmla="*/ 0 w 2408486"/>
                <a:gd name="connsiteY0" fmla="*/ 0 h 6866702"/>
                <a:gd name="connsiteX1" fmla="*/ 2408486 w 2408486"/>
                <a:gd name="connsiteY1" fmla="*/ 2032 h 6866702"/>
                <a:gd name="connsiteX2" fmla="*/ 768175 w 2408486"/>
                <a:gd name="connsiteY2" fmla="*/ 6866702 h 6866702"/>
                <a:gd name="connsiteX3" fmla="*/ 0 w 2408486"/>
                <a:gd name="connsiteY3" fmla="*/ 6857999 h 6866702"/>
                <a:gd name="connsiteX4" fmla="*/ 0 w 2408486"/>
                <a:gd name="connsiteY4" fmla="*/ 0 h 686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486" h="6866702">
                  <a:moveTo>
                    <a:pt x="0" y="0"/>
                  </a:moveTo>
                  <a:lnTo>
                    <a:pt x="2408486" y="2032"/>
                  </a:lnTo>
                  <a:lnTo>
                    <a:pt x="768175" y="6866702"/>
                  </a:lnTo>
                  <a:lnTo>
                    <a:pt x="0" y="68579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3247194" y="1988816"/>
              <a:ext cx="4205175" cy="288036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pic>
        <p:nvPicPr>
          <p:cNvPr id="10" name="Picture 2" descr="G:\Шаблоны\НБУ new\Presentation-04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34" t="39501" r="6916" b="39501"/>
          <a:stretch/>
        </p:blipFill>
        <p:spPr bwMode="auto">
          <a:xfrm>
            <a:off x="2407920" y="2709000"/>
            <a:ext cx="6103620" cy="1440000"/>
          </a:xfrm>
          <a:prstGeom prst="rect">
            <a:avLst/>
          </a:prstGeom>
          <a:noFill/>
          <a:effectLst>
            <a:outerShdw blurRad="25400" dist="25400" dir="5400000" algn="t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2650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(зовн. 2, укр.м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G:\Шаблоны\НБУ new\Presentation-05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56" b="8000"/>
          <a:stretch/>
        </p:blipFill>
        <p:spPr bwMode="auto">
          <a:xfrm>
            <a:off x="252000" y="548632"/>
            <a:ext cx="8892000" cy="630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Прямая соединительная линия 22"/>
          <p:cNvCxnSpPr/>
          <p:nvPr userDrawn="1"/>
        </p:nvCxnSpPr>
        <p:spPr>
          <a:xfrm>
            <a:off x="3600000" y="6398889"/>
            <a:ext cx="55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3600000" y="1727720"/>
            <a:ext cx="55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Прямоугольник 6"/>
          <p:cNvSpPr/>
          <p:nvPr userDrawn="1"/>
        </p:nvSpPr>
        <p:spPr>
          <a:xfrm>
            <a:off x="0" y="-4063"/>
            <a:ext cx="5847972" cy="6866127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  <a:gd name="connsiteX0" fmla="*/ 0 w 5847972"/>
              <a:gd name="connsiteY0" fmla="*/ 6357 h 6864670"/>
              <a:gd name="connsiteX1" fmla="*/ 5847972 w 5847972"/>
              <a:gd name="connsiteY1" fmla="*/ 0 h 6864670"/>
              <a:gd name="connsiteX2" fmla="*/ 4207661 w 5847972"/>
              <a:gd name="connsiteY2" fmla="*/ 6864670 h 6864670"/>
              <a:gd name="connsiteX3" fmla="*/ 3439486 w 5847972"/>
              <a:gd name="connsiteY3" fmla="*/ 6855967 h 6864670"/>
              <a:gd name="connsiteX4" fmla="*/ 0 w 5847972"/>
              <a:gd name="connsiteY4" fmla="*/ 6357 h 6864670"/>
              <a:gd name="connsiteX0" fmla="*/ 0 w 5847972"/>
              <a:gd name="connsiteY0" fmla="*/ 6357 h 6866127"/>
              <a:gd name="connsiteX1" fmla="*/ 5847972 w 5847972"/>
              <a:gd name="connsiteY1" fmla="*/ 0 h 6866127"/>
              <a:gd name="connsiteX2" fmla="*/ 4207661 w 5847972"/>
              <a:gd name="connsiteY2" fmla="*/ 6864670 h 6866127"/>
              <a:gd name="connsiteX3" fmla="*/ 5406 w 5847972"/>
              <a:gd name="connsiteY3" fmla="*/ 6866127 h 6866127"/>
              <a:gd name="connsiteX4" fmla="*/ 0 w 5847972"/>
              <a:gd name="connsiteY4" fmla="*/ 6357 h 6866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7972" h="6866127">
                <a:moveTo>
                  <a:pt x="0" y="6357"/>
                </a:moveTo>
                <a:lnTo>
                  <a:pt x="5847972" y="0"/>
                </a:lnTo>
                <a:lnTo>
                  <a:pt x="4207661" y="6864670"/>
                </a:lnTo>
                <a:lnTo>
                  <a:pt x="5406" y="6866127"/>
                </a:lnTo>
                <a:lnTo>
                  <a:pt x="0" y="63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5" name="Прямоугольник 12"/>
          <p:cNvSpPr/>
          <p:nvPr userDrawn="1"/>
        </p:nvSpPr>
        <p:spPr>
          <a:xfrm>
            <a:off x="0" y="548632"/>
            <a:ext cx="3143379" cy="900756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pic>
        <p:nvPicPr>
          <p:cNvPr id="16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664" y="781731"/>
            <a:ext cx="1800083" cy="48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91664" y="2529000"/>
            <a:ext cx="3780332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1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1664" y="5589000"/>
            <a:ext cx="3629119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9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791689" y="3610479"/>
            <a:ext cx="3780311" cy="7185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791664" y="5948725"/>
            <a:ext cx="3629119" cy="3600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1456653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(зовн. 2, англ.м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G:\Шаблоны\НБУ new\Presentation-05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56" b="8000"/>
          <a:stretch/>
        </p:blipFill>
        <p:spPr bwMode="auto">
          <a:xfrm>
            <a:off x="252000" y="548632"/>
            <a:ext cx="8892000" cy="630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Прямая соединительная линия 22"/>
          <p:cNvCxnSpPr/>
          <p:nvPr userDrawn="1"/>
        </p:nvCxnSpPr>
        <p:spPr>
          <a:xfrm>
            <a:off x="3600000" y="6398889"/>
            <a:ext cx="55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3600000" y="1727720"/>
            <a:ext cx="55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Прямоугольник 6"/>
          <p:cNvSpPr/>
          <p:nvPr userDrawn="1"/>
        </p:nvSpPr>
        <p:spPr>
          <a:xfrm>
            <a:off x="0" y="-4063"/>
            <a:ext cx="5847972" cy="6866127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  <a:gd name="connsiteX0" fmla="*/ 0 w 5847972"/>
              <a:gd name="connsiteY0" fmla="*/ 6357 h 6864670"/>
              <a:gd name="connsiteX1" fmla="*/ 5847972 w 5847972"/>
              <a:gd name="connsiteY1" fmla="*/ 0 h 6864670"/>
              <a:gd name="connsiteX2" fmla="*/ 4207661 w 5847972"/>
              <a:gd name="connsiteY2" fmla="*/ 6864670 h 6864670"/>
              <a:gd name="connsiteX3" fmla="*/ 3439486 w 5847972"/>
              <a:gd name="connsiteY3" fmla="*/ 6855967 h 6864670"/>
              <a:gd name="connsiteX4" fmla="*/ 0 w 5847972"/>
              <a:gd name="connsiteY4" fmla="*/ 6357 h 6864670"/>
              <a:gd name="connsiteX0" fmla="*/ 0 w 5847972"/>
              <a:gd name="connsiteY0" fmla="*/ 6357 h 6866127"/>
              <a:gd name="connsiteX1" fmla="*/ 5847972 w 5847972"/>
              <a:gd name="connsiteY1" fmla="*/ 0 h 6866127"/>
              <a:gd name="connsiteX2" fmla="*/ 4207661 w 5847972"/>
              <a:gd name="connsiteY2" fmla="*/ 6864670 h 6866127"/>
              <a:gd name="connsiteX3" fmla="*/ 5406 w 5847972"/>
              <a:gd name="connsiteY3" fmla="*/ 6866127 h 6866127"/>
              <a:gd name="connsiteX4" fmla="*/ 0 w 5847972"/>
              <a:gd name="connsiteY4" fmla="*/ 6357 h 6866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7972" h="6866127">
                <a:moveTo>
                  <a:pt x="0" y="6357"/>
                </a:moveTo>
                <a:lnTo>
                  <a:pt x="5847972" y="0"/>
                </a:lnTo>
                <a:lnTo>
                  <a:pt x="4207661" y="6864670"/>
                </a:lnTo>
                <a:lnTo>
                  <a:pt x="5406" y="6866127"/>
                </a:lnTo>
                <a:lnTo>
                  <a:pt x="0" y="63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5" name="Прямоугольник 12"/>
          <p:cNvSpPr/>
          <p:nvPr userDrawn="1"/>
        </p:nvSpPr>
        <p:spPr>
          <a:xfrm>
            <a:off x="0" y="548632"/>
            <a:ext cx="3143379" cy="900756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/>
          </a:p>
        </p:txBody>
      </p:sp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91664" y="2529000"/>
            <a:ext cx="3780332" cy="90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1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1664" y="5589000"/>
            <a:ext cx="3629119" cy="3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600"/>
              </a:spcAft>
              <a:buNone/>
              <a:defRPr sz="14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9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791689" y="3610479"/>
            <a:ext cx="3780311" cy="7185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791664" y="5948725"/>
            <a:ext cx="3629119" cy="3600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64" y="768255"/>
            <a:ext cx="1730606" cy="45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135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 userDrawn="1"/>
        </p:nvGrpSpPr>
        <p:grpSpPr>
          <a:xfrm>
            <a:off x="0" y="1988816"/>
            <a:ext cx="8348669" cy="2880368"/>
            <a:chOff x="0" y="1988816"/>
            <a:chExt cx="8348669" cy="2880368"/>
          </a:xfrm>
        </p:grpSpPr>
        <p:sp>
          <p:nvSpPr>
            <p:cNvPr id="22" name="Прямоугольник 6"/>
            <p:cNvSpPr/>
            <p:nvPr userDrawn="1"/>
          </p:nvSpPr>
          <p:spPr>
            <a:xfrm>
              <a:off x="7338385" y="1988816"/>
              <a:ext cx="1010284" cy="2880368"/>
            </a:xfrm>
            <a:custGeom>
              <a:avLst/>
              <a:gdLst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788795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520347 w 2231702"/>
                <a:gd name="connsiteY2" fmla="*/ 6849610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353622"/>
                <a:gd name="connsiteY0" fmla="*/ 10160 h 6868159"/>
                <a:gd name="connsiteX1" fmla="*/ 2353622 w 2353622"/>
                <a:gd name="connsiteY1" fmla="*/ 0 h 6868159"/>
                <a:gd name="connsiteX2" fmla="*/ 520347 w 2353622"/>
                <a:gd name="connsiteY2" fmla="*/ 6859770 h 6868159"/>
                <a:gd name="connsiteX3" fmla="*/ 0 w 2353622"/>
                <a:gd name="connsiteY3" fmla="*/ 6868159 h 6868159"/>
                <a:gd name="connsiteX4" fmla="*/ 0 w 2353622"/>
                <a:gd name="connsiteY4" fmla="*/ 10160 h 6868159"/>
                <a:gd name="connsiteX0" fmla="*/ 0 w 2384102"/>
                <a:gd name="connsiteY0" fmla="*/ 10160 h 6868159"/>
                <a:gd name="connsiteX1" fmla="*/ 2384102 w 2384102"/>
                <a:gd name="connsiteY1" fmla="*/ 0 h 6868159"/>
                <a:gd name="connsiteX2" fmla="*/ 520347 w 2384102"/>
                <a:gd name="connsiteY2" fmla="*/ 6859770 h 6868159"/>
                <a:gd name="connsiteX3" fmla="*/ 0 w 2384102"/>
                <a:gd name="connsiteY3" fmla="*/ 6868159 h 6868159"/>
                <a:gd name="connsiteX4" fmla="*/ 0 w 2384102"/>
                <a:gd name="connsiteY4" fmla="*/ 10160 h 6868159"/>
                <a:gd name="connsiteX0" fmla="*/ 0 w 2408486"/>
                <a:gd name="connsiteY0" fmla="*/ 0 h 6857999"/>
                <a:gd name="connsiteX1" fmla="*/ 2408486 w 2408486"/>
                <a:gd name="connsiteY1" fmla="*/ 2032 h 6857999"/>
                <a:gd name="connsiteX2" fmla="*/ 520347 w 2408486"/>
                <a:gd name="connsiteY2" fmla="*/ 6849610 h 6857999"/>
                <a:gd name="connsiteX3" fmla="*/ 0 w 2408486"/>
                <a:gd name="connsiteY3" fmla="*/ 6857999 h 6857999"/>
                <a:gd name="connsiteX4" fmla="*/ 0 w 2408486"/>
                <a:gd name="connsiteY4" fmla="*/ 0 h 6857999"/>
                <a:gd name="connsiteX0" fmla="*/ 0 w 2408486"/>
                <a:gd name="connsiteY0" fmla="*/ 0 h 6866702"/>
                <a:gd name="connsiteX1" fmla="*/ 2408486 w 2408486"/>
                <a:gd name="connsiteY1" fmla="*/ 2032 h 6866702"/>
                <a:gd name="connsiteX2" fmla="*/ 768175 w 2408486"/>
                <a:gd name="connsiteY2" fmla="*/ 6866702 h 6866702"/>
                <a:gd name="connsiteX3" fmla="*/ 0 w 2408486"/>
                <a:gd name="connsiteY3" fmla="*/ 6857999 h 6866702"/>
                <a:gd name="connsiteX4" fmla="*/ 0 w 2408486"/>
                <a:gd name="connsiteY4" fmla="*/ 0 h 686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486" h="6866702">
                  <a:moveTo>
                    <a:pt x="0" y="0"/>
                  </a:moveTo>
                  <a:lnTo>
                    <a:pt x="2408486" y="2032"/>
                  </a:lnTo>
                  <a:lnTo>
                    <a:pt x="768175" y="6866702"/>
                  </a:lnTo>
                  <a:lnTo>
                    <a:pt x="0" y="68579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0" y="1988816"/>
              <a:ext cx="7452368" cy="288036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27" name="Прямоугольник 11"/>
          <p:cNvSpPr/>
          <p:nvPr userDrawn="1"/>
        </p:nvSpPr>
        <p:spPr>
          <a:xfrm>
            <a:off x="8532507" y="4329116"/>
            <a:ext cx="611493" cy="2528884"/>
          </a:xfrm>
          <a:custGeom>
            <a:avLst/>
            <a:gdLst>
              <a:gd name="connsiteX0" fmla="*/ 0 w 611493"/>
              <a:gd name="connsiteY0" fmla="*/ 0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  <a:gd name="connsiteX4" fmla="*/ 0 w 611493"/>
              <a:gd name="connsiteY4" fmla="*/ 0 h 2528884"/>
              <a:gd name="connsiteX0" fmla="*/ 0 w 611493"/>
              <a:gd name="connsiteY0" fmla="*/ 2528884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493" h="2528884">
                <a:moveTo>
                  <a:pt x="0" y="2528884"/>
                </a:moveTo>
                <a:lnTo>
                  <a:pt x="611493" y="0"/>
                </a:lnTo>
                <a:lnTo>
                  <a:pt x="611493" y="2528884"/>
                </a:lnTo>
                <a:lnTo>
                  <a:pt x="0" y="252888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0" y="1988816"/>
            <a:ext cx="360000" cy="288036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872000" y="2513919"/>
            <a:ext cx="5940000" cy="540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600" b="1" cap="none">
                <a:solidFill>
                  <a:schemeClr val="tx1"/>
                </a:solidFill>
              </a:defRPr>
            </a:lvl1pPr>
          </a:lstStyle>
          <a:p>
            <a:r>
              <a:rPr lang="uk-UA" noProof="0" dirty="0" smtClean="0"/>
              <a:t>Розділ №</a:t>
            </a:r>
            <a:endParaRPr lang="uk-UA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1872000" y="3069000"/>
            <a:ext cx="5940000" cy="1080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600" b="1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noProof="0" dirty="0" smtClean="0"/>
              <a:t>Назва розділу</a:t>
            </a:r>
          </a:p>
        </p:txBody>
      </p:sp>
      <p:pic>
        <p:nvPicPr>
          <p:cNvPr id="29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" r="81499"/>
          <a:stretch/>
        </p:blipFill>
        <p:spPr bwMode="auto">
          <a:xfrm>
            <a:off x="0" y="0"/>
            <a:ext cx="140308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478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cxnSp>
        <p:nvCxnSpPr>
          <p:cNvPr id="8" name="Пряма сполучна лінія 7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Объект 3"/>
          <p:cNvSpPr>
            <a:spLocks noGrp="1"/>
          </p:cNvSpPr>
          <p:nvPr>
            <p:ph sz="quarter" idx="13" hasCustomPrompt="1"/>
          </p:nvPr>
        </p:nvSpPr>
        <p:spPr>
          <a:xfrm>
            <a:off x="785383" y="1449388"/>
            <a:ext cx="7920037" cy="4859337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645706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  <p15:guide id="5" orient="horz" pos="2448" userDrawn="1">
          <p15:clr>
            <a:srgbClr val="FBAE40"/>
          </p15:clr>
        </p15:guide>
        <p15:guide id="6" pos="299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cxnSp>
        <p:nvCxnSpPr>
          <p:cNvPr id="8" name="Пряма сполучна лінія 7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791759" y="1448725"/>
            <a:ext cx="7920441" cy="1440275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6325" indent="-263525">
              <a:spcBef>
                <a:spcPts val="400"/>
              </a:spcBef>
              <a:buClr>
                <a:schemeClr val="accent2"/>
              </a:buClr>
              <a:defRPr sz="1400"/>
            </a:lvl3pPr>
            <a:lvl4pPr marL="1435100" indent="-271463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89113" indent="-271463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5" hasCustomPrompt="1"/>
          </p:nvPr>
        </p:nvSpPr>
        <p:spPr>
          <a:xfrm>
            <a:off x="792163" y="3068638"/>
            <a:ext cx="7924800" cy="3240087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2792432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  <p15:guide id="5" orient="horz" pos="2448" userDrawn="1">
          <p15:clr>
            <a:srgbClr val="FBAE40"/>
          </p15:clr>
        </p15:guide>
        <p15:guide id="6" pos="299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'єкт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92163" y="333823"/>
            <a:ext cx="7920000" cy="72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000" b="1"/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11487" y="6309000"/>
            <a:ext cx="1800000" cy="360000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cxnSp>
        <p:nvCxnSpPr>
          <p:cNvPr id="8" name="Пряма сполучна лінія 7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791759" y="4868450"/>
            <a:ext cx="7920441" cy="1440275"/>
          </a:xfrm>
          <a:prstGeom prst="rect">
            <a:avLst/>
          </a:prstGeom>
        </p:spPr>
        <p:txBody>
          <a:bodyPr/>
          <a:lstStyle>
            <a:lvl1pPr marL="357188" indent="-27305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4375" indent="-263525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6325" indent="-263525">
              <a:spcBef>
                <a:spcPts val="400"/>
              </a:spcBef>
              <a:buClr>
                <a:schemeClr val="accent2"/>
              </a:buClr>
              <a:defRPr sz="1400"/>
            </a:lvl3pPr>
            <a:lvl4pPr marL="1435100" indent="-271463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89113" indent="-271463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5" hasCustomPrompt="1"/>
          </p:nvPr>
        </p:nvSpPr>
        <p:spPr>
          <a:xfrm>
            <a:off x="792163" y="1449388"/>
            <a:ext cx="7924800" cy="3240087"/>
          </a:xfrm>
          <a:prstGeom prst="rect">
            <a:avLst/>
          </a:prstGeom>
        </p:spPr>
        <p:txBody>
          <a:bodyPr/>
          <a:lstStyle>
            <a:lvl1pPr marL="358775" indent="-266700">
              <a:spcBef>
                <a:spcPts val="4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/>
            </a:lvl1pPr>
            <a:lvl2pPr marL="715963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2pPr>
            <a:lvl3pPr marL="1074738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3pPr>
            <a:lvl4pPr marL="1431925" indent="-2667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4pPr>
            <a:lvl5pPr marL="1790700" indent="-274638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14423882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 userDrawn="1">
          <p15:clr>
            <a:srgbClr val="FBAE40"/>
          </p15:clr>
        </p15:guide>
        <p15:guide id="2" pos="499" userDrawn="1">
          <p15:clr>
            <a:srgbClr val="FBAE40"/>
          </p15:clr>
        </p15:guide>
        <p15:guide id="3" orient="horz" pos="3974" userDrawn="1">
          <p15:clr>
            <a:srgbClr val="FBAE40"/>
          </p15:clr>
        </p15:guide>
        <p15:guide id="4" pos="5488" userDrawn="1">
          <p15:clr>
            <a:srgbClr val="FBAE40"/>
          </p15:clr>
        </p15:guide>
        <p15:guide id="5" orient="horz" pos="2448" userDrawn="1">
          <p15:clr>
            <a:srgbClr val="FBAE40"/>
          </p15:clr>
        </p15:guide>
        <p15:guide id="6" pos="299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 userDrawn="1"/>
        </p:nvGrpSpPr>
        <p:grpSpPr>
          <a:xfrm>
            <a:off x="0" y="0"/>
            <a:ext cx="251448" cy="1078405"/>
            <a:chOff x="0" y="0"/>
            <a:chExt cx="251448" cy="1078405"/>
          </a:xfrm>
        </p:grpSpPr>
        <p:sp>
          <p:nvSpPr>
            <p:cNvPr id="8" name="Прямоугольник 7"/>
            <p:cNvSpPr/>
            <p:nvPr userDrawn="1"/>
          </p:nvSpPr>
          <p:spPr>
            <a:xfrm>
              <a:off x="0" y="0"/>
              <a:ext cx="251448" cy="540000"/>
            </a:xfrm>
            <a:prstGeom prst="rect">
              <a:avLst/>
            </a:prstGeom>
            <a:solidFill>
              <a:srgbClr val="EEE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0" y="538405"/>
              <a:ext cx="251448" cy="54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10" name="Picture 4" descr="D:\ANNA\РЕБРЕНДИНГ\Templates\PowerPoint\19-01-2018_Presentation-06.png"/>
            <p:cNvPicPr>
              <a:picLocks noChangeAspect="1" noChangeArrowheads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0" t="6043" r="92989" b="86083"/>
            <a:stretch/>
          </p:blipFill>
          <p:spPr bwMode="auto">
            <a:xfrm>
              <a:off x="0" y="538405"/>
              <a:ext cx="251448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cxnSp>
        <p:nvCxnSpPr>
          <p:cNvPr id="15" name="Пряма сполучна лінія 7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97366" y="343021"/>
            <a:ext cx="792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08694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07" r:id="rId2"/>
    <p:sldLayoutId id="2147483727" r:id="rId3"/>
    <p:sldLayoutId id="2147483679" r:id="rId4"/>
    <p:sldLayoutId id="2147483728" r:id="rId5"/>
    <p:sldLayoutId id="2147483715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 userDrawn="1"/>
        </p:nvGrpSpPr>
        <p:grpSpPr>
          <a:xfrm>
            <a:off x="0" y="0"/>
            <a:ext cx="251448" cy="1078405"/>
            <a:chOff x="0" y="0"/>
            <a:chExt cx="251448" cy="1078405"/>
          </a:xfrm>
        </p:grpSpPr>
        <p:sp>
          <p:nvSpPr>
            <p:cNvPr id="8" name="Прямоугольник 7"/>
            <p:cNvSpPr/>
            <p:nvPr userDrawn="1"/>
          </p:nvSpPr>
          <p:spPr>
            <a:xfrm>
              <a:off x="0" y="0"/>
              <a:ext cx="251448" cy="540000"/>
            </a:xfrm>
            <a:prstGeom prst="rect">
              <a:avLst/>
            </a:prstGeom>
            <a:solidFill>
              <a:srgbClr val="EEE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0" y="538405"/>
              <a:ext cx="251448" cy="54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10" name="Picture 4" descr="D:\ANNA\РЕБРЕНДИНГ\Templates\PowerPoint\19-01-2018_Presentation-06.png"/>
            <p:cNvPicPr>
              <a:picLocks noChangeAspect="1" noChangeArrowheads="1"/>
            </p:cNvPicPr>
            <p:nvPr userDrawn="1"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60" t="6043" r="92989" b="86083"/>
            <a:stretch/>
          </p:blipFill>
          <p:spPr bwMode="auto">
            <a:xfrm>
              <a:off x="0" y="538405"/>
              <a:ext cx="251448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B3B38-107A-41A8-AB75-3D42100AC2B6}" type="slidenum">
              <a:rPr lang="uk-UA" smtClean="0"/>
              <a:t>‹#›</a:t>
            </a:fld>
            <a:endParaRPr lang="uk-UA" dirty="0"/>
          </a:p>
        </p:txBody>
      </p:sp>
      <p:cxnSp>
        <p:nvCxnSpPr>
          <p:cNvPr id="15" name="Пряма сполучна лінія 7"/>
          <p:cNvCxnSpPr/>
          <p:nvPr userDrawn="1"/>
        </p:nvCxnSpPr>
        <p:spPr>
          <a:xfrm>
            <a:off x="797366" y="1089000"/>
            <a:ext cx="792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97366" y="343021"/>
            <a:ext cx="792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792163" y="1449388"/>
            <a:ext cx="7920000" cy="4859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uk-UA" dirty="0" smtClean="0"/>
              <a:t>Текст</a:t>
            </a:r>
          </a:p>
          <a:p>
            <a:pPr lvl="1"/>
            <a:r>
              <a:rPr lang="uk-UA" dirty="0" smtClean="0"/>
              <a:t>Другий рівень</a:t>
            </a:r>
          </a:p>
          <a:p>
            <a:pPr lvl="2"/>
            <a:r>
              <a:rPr lang="uk-UA" dirty="0" smtClean="0"/>
              <a:t>Третій рівень</a:t>
            </a:r>
          </a:p>
          <a:p>
            <a:pPr lvl="3"/>
            <a:r>
              <a:rPr lang="uk-UA" dirty="0" smtClean="0"/>
              <a:t>Четвертий рівень</a:t>
            </a:r>
          </a:p>
          <a:p>
            <a:pPr lvl="4"/>
            <a:r>
              <a:rPr lang="uk-UA" dirty="0" smtClean="0"/>
              <a:t>П’ятий рівень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318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22" r:id="rId2"/>
    <p:sldLayoutId id="2147483726" r:id="rId3"/>
    <p:sldLayoutId id="2147483717" r:id="rId4"/>
    <p:sldLayoutId id="2147483723" r:id="rId5"/>
    <p:sldLayoutId id="2147483718" r:id="rId6"/>
    <p:sldLayoutId id="2147483724" r:id="rId7"/>
    <p:sldLayoutId id="2147483725" r:id="rId8"/>
    <p:sldLayoutId id="2147483720" r:id="rId9"/>
    <p:sldLayoutId id="2147483719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263525" algn="l" defTabSz="914400" rtl="0" eaLnBrk="1" latinLnBrk="0" hangingPunct="1"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258763" algn="l" defTabSz="914400" rtl="0" eaLnBrk="1" latinLnBrk="0" hangingPunct="1">
        <a:spcBef>
          <a:spcPts val="4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74738" indent="-266700" algn="l" defTabSz="914400" rtl="0" eaLnBrk="1" latinLnBrk="0" hangingPunct="1">
        <a:spcBef>
          <a:spcPts val="4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431925" indent="-266700" algn="l" defTabSz="914400" rtl="0" eaLnBrk="1" latinLnBrk="0" hangingPunct="1">
        <a:spcBef>
          <a:spcPts val="4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266700" algn="l" defTabSz="914400" rtl="0" eaLnBrk="1" latinLnBrk="0" hangingPunct="1">
        <a:spcBef>
          <a:spcPts val="4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6214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9" r:id="rId2"/>
    <p:sldLayoutId id="2147483711" r:id="rId3"/>
    <p:sldLayoutId id="2147483710" r:id="rId4"/>
    <p:sldLayoutId id="2147483700" r:id="rId5"/>
    <p:sldLayoutId id="2147483703" r:id="rId6"/>
    <p:sldLayoutId id="2147483702" r:id="rId7"/>
    <p:sldLayoutId id="2147483704" r:id="rId8"/>
    <p:sldLayoutId id="2147483701" r:id="rId9"/>
    <p:sldLayoutId id="2147483721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jpeg"/><Relationship Id="rId5" Type="http://schemas.openxmlformats.org/officeDocument/2006/relationships/image" Target="../media/image21.gif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18.xml"/><Relationship Id="rId7" Type="http://schemas.openxmlformats.org/officeDocument/2006/relationships/hyperlink" Target="http://www.google.com.ua/url?sa=i&amp;rct=j&amp;q=&amp;esrc=s&amp;source=images&amp;cd=&amp;cad=rja&amp;uact=8&amp;ved=0ahUKEwjJ5pyR19TNAhVH_SwKHYCdCGsQjRwIBw&amp;url=http://www.thembj.org/2013/12/copyright-extension-for-european-sound-recordings/&amp;bvm=bv.126130881,d.bGs&amp;psig=AFQjCNEgCRzMOZwKIcvL2OZ14ZSsuAZnmg&amp;ust=1467545324508027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40.jpeg"/><Relationship Id="rId4" Type="http://schemas.openxmlformats.org/officeDocument/2006/relationships/notesSlide" Target="../notesSlides/notesSlide4.xml"/><Relationship Id="rId9" Type="http://schemas.openxmlformats.org/officeDocument/2006/relationships/hyperlink" Target="http://www.google.com.ua/url?sa=i&amp;rct=j&amp;q=&amp;esrc=s&amp;source=images&amp;cd=&amp;cad=rja&amp;uact=8&amp;ved=0ahUKEwjNyIuX5NTNAhWDFSwKHQ0lCz8QjRwIBw&amp;url=http://ua.korrespondent.net/ukraine/politics/3279175-u-2014-rotsi-ukraina-pidpyshe-uhodu-pro-asotsiatsiui-z-yes-azarov&amp;psig=AFQjCNHAaTO8TOFYUrdMf-Olv4OHwJVHQA&amp;ust=1467548921970949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ctrTitle"/>
          </p:nvPr>
        </p:nvSpPr>
        <p:spPr>
          <a:xfrm>
            <a:off x="2772000" y="3249000"/>
            <a:ext cx="5940000" cy="720000"/>
          </a:xfrm>
        </p:spPr>
        <p:txBody>
          <a:bodyPr>
            <a:normAutofit fontScale="90000"/>
          </a:bodyPr>
          <a:lstStyle/>
          <a:p>
            <a:r>
              <a:rPr lang="uk-UA" sz="2400" dirty="0"/>
              <a:t>Реформа </a:t>
            </a:r>
            <a:r>
              <a:rPr lang="uk-UA" sz="2400" dirty="0" smtClean="0"/>
              <a:t>системи валютного регулювання в Україні</a:t>
            </a:r>
            <a:endParaRPr lang="uk-UA" sz="24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2772000" y="5949000"/>
            <a:ext cx="3888316" cy="366123"/>
          </a:xfrm>
        </p:spPr>
        <p:txBody>
          <a:bodyPr/>
          <a:lstStyle/>
          <a:p>
            <a:r>
              <a:rPr lang="uk-UA" sz="1400" dirty="0" smtClean="0"/>
              <a:t>Одеса, 9 червня 2018 року</a:t>
            </a:r>
            <a:endParaRPr lang="uk-UA" sz="1400" dirty="0"/>
          </a:p>
        </p:txBody>
      </p:sp>
    </p:spTree>
    <p:extLst>
      <p:ext uri="{BB962C8B-B14F-4D97-AF65-F5344CB8AC3E}">
        <p14:creationId xmlns:p14="http://schemas.microsoft.com/office/powerpoint/2010/main" val="58875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/>
              <a:t>Закон «Про валюту» починає діяти: що зміниться одразу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9258" y="1775242"/>
            <a:ext cx="2426852" cy="101566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Інвестування за кордон в рамках лімітів не вимагає індивідуальних ліцензій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10803" y="3081146"/>
            <a:ext cx="1956143" cy="124649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Нагляд за дотриманням лімітів замість контролю за операціям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66491" y="4961140"/>
            <a:ext cx="2479619" cy="55399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Реєстрація кредитів від нерезидентів не потрібна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820660" y="4447276"/>
            <a:ext cx="3158346" cy="147732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Скасування санкцій у вигляді:</a:t>
            </a:r>
          </a:p>
          <a:p>
            <a:pPr marL="257175" indent="-257175">
              <a:buFontTx/>
              <a:buChar char="-"/>
            </a:pPr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Штрафу в розмірі 100% від суми операцій;</a:t>
            </a:r>
          </a:p>
          <a:p>
            <a:pPr marL="257175" indent="-257175">
              <a:buFontTx/>
              <a:buChar char="-"/>
            </a:pPr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Припинення </a:t>
            </a:r>
            <a:r>
              <a:rPr lang="uk-UA" sz="1500" kern="0" dirty="0" err="1">
                <a:latin typeface="Arial" panose="020B0604020202020204" pitchFamily="34" charset="0"/>
                <a:cs typeface="Arial" panose="020B0604020202020204" pitchFamily="34" charset="0"/>
              </a:rPr>
              <a:t>зовн</a:t>
            </a:r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.-економ. діяльності при порушенні строків закриття контрактів.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309612" y="3102883"/>
            <a:ext cx="2585219" cy="124649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Відміняються валютний контроль для </a:t>
            </a:r>
            <a:r>
              <a:rPr lang="uk-UA" sz="15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експортно-імпортних операцій </a:t>
            </a:r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ЗЕД нижче порогового рівня (150 тис. грн.)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5820660" y="1890658"/>
            <a:ext cx="3072119" cy="7848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uk-UA" sz="1500" kern="0" dirty="0">
                <a:latin typeface="Arial" panose="020B0604020202020204" pitchFamily="34" charset="0"/>
                <a:cs typeface="Arial" panose="020B0604020202020204" pitchFamily="34" charset="0"/>
              </a:rPr>
              <a:t>Граничний строк розрахунків за операціями ЗЕД більше 180 днів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3405384" y="2632487"/>
            <a:ext cx="2153790" cy="1890000"/>
            <a:chOff x="3016512" y="2366983"/>
            <a:chExt cx="2871720" cy="2520000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3016512" y="2366983"/>
              <a:ext cx="2861040" cy="2520000"/>
              <a:chOff x="3492000" y="2330407"/>
              <a:chExt cx="2861040" cy="2520000"/>
            </a:xfrm>
          </p:grpSpPr>
          <p:sp>
            <p:nvSpPr>
              <p:cNvPr id="29" name="Freeform 2003"/>
              <p:cNvSpPr>
                <a:spLocks noEditPoints="1"/>
              </p:cNvSpPr>
              <p:nvPr/>
            </p:nvSpPr>
            <p:spPr bwMode="auto">
              <a:xfrm>
                <a:off x="4212000" y="2870407"/>
                <a:ext cx="1440000" cy="1440000"/>
              </a:xfrm>
              <a:custGeom>
                <a:avLst/>
                <a:gdLst>
                  <a:gd name="T0" fmla="*/ 242 w 252"/>
                  <a:gd name="T1" fmla="*/ 126 h 252"/>
                  <a:gd name="T2" fmla="*/ 10 w 252"/>
                  <a:gd name="T3" fmla="*/ 126 h 252"/>
                  <a:gd name="T4" fmla="*/ 126 w 252"/>
                  <a:gd name="T5" fmla="*/ 0 h 252"/>
                  <a:gd name="T6" fmla="*/ 126 w 252"/>
                  <a:gd name="T7" fmla="*/ 252 h 252"/>
                  <a:gd name="T8" fmla="*/ 126 w 252"/>
                  <a:gd name="T9" fmla="*/ 0 h 252"/>
                  <a:gd name="T10" fmla="*/ 192 w 252"/>
                  <a:gd name="T11" fmla="*/ 93 h 252"/>
                  <a:gd name="T12" fmla="*/ 187 w 252"/>
                  <a:gd name="T13" fmla="*/ 164 h 252"/>
                  <a:gd name="T14" fmla="*/ 172 w 252"/>
                  <a:gd name="T15" fmla="*/ 159 h 252"/>
                  <a:gd name="T16" fmla="*/ 177 w 252"/>
                  <a:gd name="T17" fmla="*/ 88 h 252"/>
                  <a:gd name="T18" fmla="*/ 48 w 252"/>
                  <a:gd name="T19" fmla="*/ 74 h 252"/>
                  <a:gd name="T20" fmla="*/ 124 w 252"/>
                  <a:gd name="T21" fmla="*/ 38 h 252"/>
                  <a:gd name="T22" fmla="*/ 125 w 252"/>
                  <a:gd name="T23" fmla="*/ 38 h 252"/>
                  <a:gd name="T24" fmla="*/ 126 w 252"/>
                  <a:gd name="T25" fmla="*/ 38 h 252"/>
                  <a:gd name="T26" fmla="*/ 127 w 252"/>
                  <a:gd name="T27" fmla="*/ 38 h 252"/>
                  <a:gd name="T28" fmla="*/ 128 w 252"/>
                  <a:gd name="T29" fmla="*/ 38 h 252"/>
                  <a:gd name="T30" fmla="*/ 204 w 252"/>
                  <a:gd name="T31" fmla="*/ 74 h 252"/>
                  <a:gd name="T32" fmla="*/ 199 w 252"/>
                  <a:gd name="T33" fmla="*/ 79 h 252"/>
                  <a:gd name="T34" fmla="*/ 126 w 252"/>
                  <a:gd name="T35" fmla="*/ 79 h 252"/>
                  <a:gd name="T36" fmla="*/ 48 w 252"/>
                  <a:gd name="T37" fmla="*/ 74 h 252"/>
                  <a:gd name="T38" fmla="*/ 126 w 252"/>
                  <a:gd name="T39" fmla="*/ 69 h 252"/>
                  <a:gd name="T40" fmla="*/ 126 w 252"/>
                  <a:gd name="T41" fmla="*/ 50 h 252"/>
                  <a:gd name="T42" fmla="*/ 150 w 252"/>
                  <a:gd name="T43" fmla="*/ 164 h 252"/>
                  <a:gd name="T44" fmla="*/ 155 w 252"/>
                  <a:gd name="T45" fmla="*/ 93 h 252"/>
                  <a:gd name="T46" fmla="*/ 102 w 252"/>
                  <a:gd name="T47" fmla="*/ 88 h 252"/>
                  <a:gd name="T48" fmla="*/ 97 w 252"/>
                  <a:gd name="T49" fmla="*/ 159 h 252"/>
                  <a:gd name="T50" fmla="*/ 116 w 252"/>
                  <a:gd name="T51" fmla="*/ 164 h 252"/>
                  <a:gd name="T52" fmla="*/ 126 w 252"/>
                  <a:gd name="T53" fmla="*/ 113 h 252"/>
                  <a:gd name="T54" fmla="*/ 136 w 252"/>
                  <a:gd name="T55" fmla="*/ 164 h 252"/>
                  <a:gd name="T56" fmla="*/ 53 w 252"/>
                  <a:gd name="T57" fmla="*/ 182 h 252"/>
                  <a:gd name="T58" fmla="*/ 204 w 252"/>
                  <a:gd name="T59" fmla="*/ 177 h 252"/>
                  <a:gd name="T60" fmla="*/ 53 w 252"/>
                  <a:gd name="T61" fmla="*/ 172 h 252"/>
                  <a:gd name="T62" fmla="*/ 53 w 252"/>
                  <a:gd name="T63" fmla="*/ 182 h 252"/>
                  <a:gd name="T64" fmla="*/ 40 w 252"/>
                  <a:gd name="T65" fmla="*/ 188 h 252"/>
                  <a:gd name="T66" fmla="*/ 40 w 252"/>
                  <a:gd name="T67" fmla="*/ 198 h 252"/>
                  <a:gd name="T68" fmla="*/ 217 w 252"/>
                  <a:gd name="T69" fmla="*/ 193 h 252"/>
                  <a:gd name="T70" fmla="*/ 65 w 252"/>
                  <a:gd name="T71" fmla="*/ 88 h 252"/>
                  <a:gd name="T72" fmla="*/ 60 w 252"/>
                  <a:gd name="T73" fmla="*/ 159 h 252"/>
                  <a:gd name="T74" fmla="*/ 75 w 252"/>
                  <a:gd name="T75" fmla="*/ 164 h 252"/>
                  <a:gd name="T76" fmla="*/ 80 w 252"/>
                  <a:gd name="T77" fmla="*/ 93 h 252"/>
                  <a:gd name="T78" fmla="*/ 65 w 252"/>
                  <a:gd name="T79" fmla="*/ 88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52" h="252">
                    <a:moveTo>
                      <a:pt x="126" y="10"/>
                    </a:moveTo>
                    <a:cubicBezTo>
                      <a:pt x="190" y="10"/>
                      <a:pt x="242" y="62"/>
                      <a:pt x="242" y="126"/>
                    </a:cubicBezTo>
                    <a:cubicBezTo>
                      <a:pt x="242" y="190"/>
                      <a:pt x="190" y="242"/>
                      <a:pt x="126" y="242"/>
                    </a:cubicBezTo>
                    <a:cubicBezTo>
                      <a:pt x="62" y="242"/>
                      <a:pt x="10" y="190"/>
                      <a:pt x="10" y="126"/>
                    </a:cubicBezTo>
                    <a:cubicBezTo>
                      <a:pt x="10" y="62"/>
                      <a:pt x="62" y="10"/>
                      <a:pt x="126" y="10"/>
                    </a:cubicBezTo>
                    <a:moveTo>
                      <a:pt x="126" y="0"/>
                    </a:moveTo>
                    <a:cubicBezTo>
                      <a:pt x="56" y="0"/>
                      <a:pt x="0" y="56"/>
                      <a:pt x="0" y="126"/>
                    </a:cubicBezTo>
                    <a:cubicBezTo>
                      <a:pt x="0" y="196"/>
                      <a:pt x="56" y="252"/>
                      <a:pt x="126" y="252"/>
                    </a:cubicBezTo>
                    <a:cubicBezTo>
                      <a:pt x="196" y="252"/>
                      <a:pt x="252" y="196"/>
                      <a:pt x="252" y="126"/>
                    </a:cubicBezTo>
                    <a:cubicBezTo>
                      <a:pt x="252" y="56"/>
                      <a:pt x="196" y="0"/>
                      <a:pt x="126" y="0"/>
                    </a:cubicBezTo>
                    <a:moveTo>
                      <a:pt x="187" y="88"/>
                    </a:moveTo>
                    <a:cubicBezTo>
                      <a:pt x="190" y="88"/>
                      <a:pt x="192" y="91"/>
                      <a:pt x="192" y="93"/>
                    </a:cubicBezTo>
                    <a:cubicBezTo>
                      <a:pt x="192" y="159"/>
                      <a:pt x="192" y="159"/>
                      <a:pt x="192" y="159"/>
                    </a:cubicBezTo>
                    <a:cubicBezTo>
                      <a:pt x="192" y="161"/>
                      <a:pt x="190" y="164"/>
                      <a:pt x="187" y="164"/>
                    </a:cubicBezTo>
                    <a:cubicBezTo>
                      <a:pt x="177" y="164"/>
                      <a:pt x="177" y="164"/>
                      <a:pt x="177" y="164"/>
                    </a:cubicBezTo>
                    <a:cubicBezTo>
                      <a:pt x="174" y="164"/>
                      <a:pt x="172" y="161"/>
                      <a:pt x="172" y="159"/>
                    </a:cubicBezTo>
                    <a:cubicBezTo>
                      <a:pt x="172" y="93"/>
                      <a:pt x="172" y="93"/>
                      <a:pt x="172" y="93"/>
                    </a:cubicBezTo>
                    <a:cubicBezTo>
                      <a:pt x="172" y="91"/>
                      <a:pt x="174" y="88"/>
                      <a:pt x="177" y="88"/>
                    </a:cubicBezTo>
                    <a:lnTo>
                      <a:pt x="187" y="88"/>
                    </a:lnTo>
                    <a:close/>
                    <a:moveTo>
                      <a:pt x="48" y="74"/>
                    </a:moveTo>
                    <a:cubicBezTo>
                      <a:pt x="47" y="72"/>
                      <a:pt x="49" y="70"/>
                      <a:pt x="51" y="69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24" y="38"/>
                      <a:pt x="124" y="38"/>
                      <a:pt x="124" y="38"/>
                    </a:cubicBezTo>
                    <a:cubicBezTo>
                      <a:pt x="124" y="38"/>
                      <a:pt x="125" y="38"/>
                      <a:pt x="125" y="38"/>
                    </a:cubicBezTo>
                    <a:cubicBezTo>
                      <a:pt x="125" y="38"/>
                      <a:pt x="125" y="38"/>
                      <a:pt x="125" y="38"/>
                    </a:cubicBezTo>
                    <a:cubicBezTo>
                      <a:pt x="126" y="38"/>
                      <a:pt x="126" y="38"/>
                      <a:pt x="126" y="38"/>
                    </a:cubicBezTo>
                    <a:cubicBezTo>
                      <a:pt x="126" y="38"/>
                      <a:pt x="126" y="38"/>
                      <a:pt x="127" y="38"/>
                    </a:cubicBezTo>
                    <a:cubicBezTo>
                      <a:pt x="127" y="38"/>
                      <a:pt x="127" y="38"/>
                      <a:pt x="127" y="38"/>
                    </a:cubicBezTo>
                    <a:cubicBezTo>
                      <a:pt x="127" y="38"/>
                      <a:pt x="128" y="38"/>
                      <a:pt x="128" y="38"/>
                    </a:cubicBezTo>
                    <a:cubicBezTo>
                      <a:pt x="128" y="38"/>
                      <a:pt x="128" y="38"/>
                      <a:pt x="128" y="38"/>
                    </a:cubicBezTo>
                    <a:cubicBezTo>
                      <a:pt x="201" y="69"/>
                      <a:pt x="201" y="69"/>
                      <a:pt x="201" y="69"/>
                    </a:cubicBezTo>
                    <a:cubicBezTo>
                      <a:pt x="203" y="69"/>
                      <a:pt x="204" y="71"/>
                      <a:pt x="204" y="74"/>
                    </a:cubicBezTo>
                    <a:cubicBezTo>
                      <a:pt x="204" y="76"/>
                      <a:pt x="202" y="79"/>
                      <a:pt x="199" y="79"/>
                    </a:cubicBezTo>
                    <a:cubicBezTo>
                      <a:pt x="199" y="79"/>
                      <a:pt x="199" y="79"/>
                      <a:pt x="199" y="79"/>
                    </a:cubicBezTo>
                    <a:cubicBezTo>
                      <a:pt x="126" y="79"/>
                      <a:pt x="126" y="79"/>
                      <a:pt x="126" y="79"/>
                    </a:cubicBezTo>
                    <a:cubicBezTo>
                      <a:pt x="126" y="79"/>
                      <a:pt x="126" y="79"/>
                      <a:pt x="126" y="79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0" y="79"/>
                      <a:pt x="48" y="77"/>
                      <a:pt x="48" y="74"/>
                    </a:cubicBezTo>
                    <a:moveTo>
                      <a:pt x="117" y="59"/>
                    </a:moveTo>
                    <a:cubicBezTo>
                      <a:pt x="117" y="64"/>
                      <a:pt x="121" y="69"/>
                      <a:pt x="126" y="69"/>
                    </a:cubicBezTo>
                    <a:cubicBezTo>
                      <a:pt x="131" y="69"/>
                      <a:pt x="135" y="64"/>
                      <a:pt x="135" y="59"/>
                    </a:cubicBezTo>
                    <a:cubicBezTo>
                      <a:pt x="135" y="54"/>
                      <a:pt x="131" y="50"/>
                      <a:pt x="126" y="50"/>
                    </a:cubicBezTo>
                    <a:cubicBezTo>
                      <a:pt x="121" y="50"/>
                      <a:pt x="117" y="54"/>
                      <a:pt x="117" y="59"/>
                    </a:cubicBezTo>
                    <a:moveTo>
                      <a:pt x="150" y="164"/>
                    </a:moveTo>
                    <a:cubicBezTo>
                      <a:pt x="152" y="164"/>
                      <a:pt x="155" y="161"/>
                      <a:pt x="155" y="159"/>
                    </a:cubicBezTo>
                    <a:cubicBezTo>
                      <a:pt x="155" y="93"/>
                      <a:pt x="155" y="93"/>
                      <a:pt x="155" y="93"/>
                    </a:cubicBezTo>
                    <a:cubicBezTo>
                      <a:pt x="155" y="91"/>
                      <a:pt x="152" y="88"/>
                      <a:pt x="150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100" y="88"/>
                      <a:pt x="97" y="91"/>
                      <a:pt x="97" y="93"/>
                    </a:cubicBezTo>
                    <a:cubicBezTo>
                      <a:pt x="97" y="159"/>
                      <a:pt x="97" y="159"/>
                      <a:pt x="97" y="159"/>
                    </a:cubicBezTo>
                    <a:cubicBezTo>
                      <a:pt x="97" y="161"/>
                      <a:pt x="100" y="164"/>
                      <a:pt x="102" y="164"/>
                    </a:cubicBezTo>
                    <a:cubicBezTo>
                      <a:pt x="116" y="164"/>
                      <a:pt x="116" y="164"/>
                      <a:pt x="116" y="164"/>
                    </a:cubicBezTo>
                    <a:cubicBezTo>
                      <a:pt x="116" y="123"/>
                      <a:pt x="116" y="123"/>
                      <a:pt x="116" y="123"/>
                    </a:cubicBezTo>
                    <a:cubicBezTo>
                      <a:pt x="116" y="117"/>
                      <a:pt x="120" y="113"/>
                      <a:pt x="126" y="113"/>
                    </a:cubicBezTo>
                    <a:cubicBezTo>
                      <a:pt x="132" y="113"/>
                      <a:pt x="136" y="117"/>
                      <a:pt x="136" y="123"/>
                    </a:cubicBezTo>
                    <a:cubicBezTo>
                      <a:pt x="136" y="164"/>
                      <a:pt x="136" y="164"/>
                      <a:pt x="136" y="164"/>
                    </a:cubicBezTo>
                    <a:lnTo>
                      <a:pt x="150" y="164"/>
                    </a:lnTo>
                    <a:close/>
                    <a:moveTo>
                      <a:pt x="53" y="182"/>
                    </a:moveTo>
                    <a:cubicBezTo>
                      <a:pt x="199" y="182"/>
                      <a:pt x="199" y="182"/>
                      <a:pt x="199" y="182"/>
                    </a:cubicBezTo>
                    <a:cubicBezTo>
                      <a:pt x="202" y="182"/>
                      <a:pt x="204" y="179"/>
                      <a:pt x="204" y="177"/>
                    </a:cubicBezTo>
                    <a:cubicBezTo>
                      <a:pt x="204" y="174"/>
                      <a:pt x="202" y="172"/>
                      <a:pt x="199" y="172"/>
                    </a:cubicBezTo>
                    <a:cubicBezTo>
                      <a:pt x="53" y="172"/>
                      <a:pt x="53" y="172"/>
                      <a:pt x="53" y="172"/>
                    </a:cubicBezTo>
                    <a:cubicBezTo>
                      <a:pt x="50" y="172"/>
                      <a:pt x="48" y="174"/>
                      <a:pt x="48" y="177"/>
                    </a:cubicBezTo>
                    <a:cubicBezTo>
                      <a:pt x="48" y="179"/>
                      <a:pt x="50" y="182"/>
                      <a:pt x="53" y="182"/>
                    </a:cubicBezTo>
                    <a:moveTo>
                      <a:pt x="212" y="188"/>
                    </a:moveTo>
                    <a:cubicBezTo>
                      <a:pt x="40" y="188"/>
                      <a:pt x="40" y="188"/>
                      <a:pt x="40" y="188"/>
                    </a:cubicBezTo>
                    <a:cubicBezTo>
                      <a:pt x="37" y="188"/>
                      <a:pt x="35" y="191"/>
                      <a:pt x="35" y="193"/>
                    </a:cubicBezTo>
                    <a:cubicBezTo>
                      <a:pt x="35" y="196"/>
                      <a:pt x="37" y="198"/>
                      <a:pt x="40" y="198"/>
                    </a:cubicBezTo>
                    <a:cubicBezTo>
                      <a:pt x="212" y="198"/>
                      <a:pt x="212" y="198"/>
                      <a:pt x="212" y="198"/>
                    </a:cubicBezTo>
                    <a:cubicBezTo>
                      <a:pt x="215" y="198"/>
                      <a:pt x="217" y="196"/>
                      <a:pt x="217" y="193"/>
                    </a:cubicBezTo>
                    <a:cubicBezTo>
                      <a:pt x="217" y="191"/>
                      <a:pt x="215" y="188"/>
                      <a:pt x="212" y="188"/>
                    </a:cubicBezTo>
                    <a:moveTo>
                      <a:pt x="65" y="88"/>
                    </a:moveTo>
                    <a:cubicBezTo>
                      <a:pt x="62" y="88"/>
                      <a:pt x="60" y="91"/>
                      <a:pt x="60" y="93"/>
                    </a:cubicBezTo>
                    <a:cubicBezTo>
                      <a:pt x="60" y="159"/>
                      <a:pt x="60" y="159"/>
                      <a:pt x="60" y="159"/>
                    </a:cubicBezTo>
                    <a:cubicBezTo>
                      <a:pt x="60" y="161"/>
                      <a:pt x="62" y="164"/>
                      <a:pt x="65" y="164"/>
                    </a:cubicBezTo>
                    <a:cubicBezTo>
                      <a:pt x="75" y="164"/>
                      <a:pt x="75" y="164"/>
                      <a:pt x="75" y="164"/>
                    </a:cubicBezTo>
                    <a:cubicBezTo>
                      <a:pt x="78" y="164"/>
                      <a:pt x="80" y="161"/>
                      <a:pt x="80" y="159"/>
                    </a:cubicBezTo>
                    <a:cubicBezTo>
                      <a:pt x="80" y="93"/>
                      <a:pt x="80" y="93"/>
                      <a:pt x="80" y="93"/>
                    </a:cubicBezTo>
                    <a:cubicBezTo>
                      <a:pt x="80" y="91"/>
                      <a:pt x="78" y="88"/>
                      <a:pt x="75" y="88"/>
                    </a:cubicBezTo>
                    <a:lnTo>
                      <a:pt x="65" y="88"/>
                    </a:lnTo>
                    <a:close/>
                  </a:path>
                </a:pathLst>
              </a:custGeom>
              <a:solidFill>
                <a:srgbClr val="007236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" name="Овал 2"/>
              <p:cNvSpPr/>
              <p:nvPr/>
            </p:nvSpPr>
            <p:spPr bwMode="auto">
              <a:xfrm>
                <a:off x="3672000" y="2330407"/>
                <a:ext cx="2520000" cy="2520000"/>
              </a:xfrm>
              <a:prstGeom prst="ellipse">
                <a:avLst/>
              </a:prstGeom>
              <a:noFill/>
              <a:ln w="460375" cap="flat" cmpd="sng" algn="ctr">
                <a:solidFill>
                  <a:srgbClr val="1C793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uk-UA" sz="750" u="sng">
                  <a:latin typeface="Arial" pitchFamily="34" charset="0"/>
                  <a:ea typeface="MS PGothic" pitchFamily="34" charset="-128"/>
                </a:endParaRPr>
              </a:p>
            </p:txBody>
          </p:sp>
          <p:sp>
            <p:nvSpPr>
              <p:cNvPr id="31" name="Freeform 50"/>
              <p:cNvSpPr>
                <a:spLocks noEditPoints="1"/>
              </p:cNvSpPr>
              <p:nvPr/>
            </p:nvSpPr>
            <p:spPr bwMode="auto">
              <a:xfrm>
                <a:off x="3946320" y="2420407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2" name="Freeform 50"/>
              <p:cNvSpPr>
                <a:spLocks noEditPoints="1"/>
              </p:cNvSpPr>
              <p:nvPr/>
            </p:nvSpPr>
            <p:spPr bwMode="auto">
              <a:xfrm>
                <a:off x="3492000" y="3410407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3" name="Freeform 50"/>
              <p:cNvSpPr>
                <a:spLocks noEditPoints="1"/>
              </p:cNvSpPr>
              <p:nvPr/>
            </p:nvSpPr>
            <p:spPr bwMode="auto">
              <a:xfrm>
                <a:off x="5558712" y="2420407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5" name="Freeform 50"/>
              <p:cNvSpPr>
                <a:spLocks noEditPoints="1"/>
              </p:cNvSpPr>
              <p:nvPr/>
            </p:nvSpPr>
            <p:spPr bwMode="auto">
              <a:xfrm>
                <a:off x="5993040" y="3414302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6" name="Freeform 50"/>
              <p:cNvSpPr>
                <a:spLocks noEditPoints="1"/>
              </p:cNvSpPr>
              <p:nvPr/>
            </p:nvSpPr>
            <p:spPr bwMode="auto">
              <a:xfrm>
                <a:off x="5558712" y="4400407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8" name="Freeform 50"/>
              <p:cNvSpPr>
                <a:spLocks noEditPoints="1"/>
              </p:cNvSpPr>
              <p:nvPr/>
            </p:nvSpPr>
            <p:spPr bwMode="auto">
              <a:xfrm>
                <a:off x="3946320" y="4414838"/>
                <a:ext cx="360000" cy="360000"/>
              </a:xfrm>
              <a:custGeom>
                <a:avLst/>
                <a:gdLst>
                  <a:gd name="T0" fmla="*/ 1155 w 2223"/>
                  <a:gd name="T1" fmla="*/ 1383 h 2222"/>
                  <a:gd name="T2" fmla="*/ 1155 w 2223"/>
                  <a:gd name="T3" fmla="*/ 1574 h 2222"/>
                  <a:gd name="T4" fmla="*/ 1067 w 2223"/>
                  <a:gd name="T5" fmla="*/ 1574 h 2222"/>
                  <a:gd name="T6" fmla="*/ 1067 w 2223"/>
                  <a:gd name="T7" fmla="*/ 1383 h 2222"/>
                  <a:gd name="T8" fmla="*/ 992 w 2223"/>
                  <a:gd name="T9" fmla="*/ 1273 h 2222"/>
                  <a:gd name="T10" fmla="*/ 1111 w 2223"/>
                  <a:gd name="T11" fmla="*/ 1154 h 2222"/>
                  <a:gd name="T12" fmla="*/ 1230 w 2223"/>
                  <a:gd name="T13" fmla="*/ 1273 h 2222"/>
                  <a:gd name="T14" fmla="*/ 1155 w 2223"/>
                  <a:gd name="T15" fmla="*/ 1383 h 2222"/>
                  <a:gd name="T16" fmla="*/ 1652 w 2223"/>
                  <a:gd name="T17" fmla="*/ 907 h 2222"/>
                  <a:gd name="T18" fmla="*/ 874 w 2223"/>
                  <a:gd name="T19" fmla="*/ 907 h 2222"/>
                  <a:gd name="T20" fmla="*/ 874 w 2223"/>
                  <a:gd name="T21" fmla="*/ 666 h 2222"/>
                  <a:gd name="T22" fmla="*/ 1111 w 2223"/>
                  <a:gd name="T23" fmla="*/ 428 h 2222"/>
                  <a:gd name="T24" fmla="*/ 1349 w 2223"/>
                  <a:gd name="T25" fmla="*/ 666 h 2222"/>
                  <a:gd name="T26" fmla="*/ 1349 w 2223"/>
                  <a:gd name="T27" fmla="*/ 737 h 2222"/>
                  <a:gd name="T28" fmla="*/ 1508 w 2223"/>
                  <a:gd name="T29" fmla="*/ 737 h 2222"/>
                  <a:gd name="T30" fmla="*/ 1508 w 2223"/>
                  <a:gd name="T31" fmla="*/ 666 h 2222"/>
                  <a:gd name="T32" fmla="*/ 1111 w 2223"/>
                  <a:gd name="T33" fmla="*/ 269 h 2222"/>
                  <a:gd name="T34" fmla="*/ 715 w 2223"/>
                  <a:gd name="T35" fmla="*/ 666 h 2222"/>
                  <a:gd name="T36" fmla="*/ 715 w 2223"/>
                  <a:gd name="T37" fmla="*/ 907 h 2222"/>
                  <a:gd name="T38" fmla="*/ 571 w 2223"/>
                  <a:gd name="T39" fmla="*/ 907 h 2222"/>
                  <a:gd name="T40" fmla="*/ 483 w 2223"/>
                  <a:gd name="T41" fmla="*/ 995 h 2222"/>
                  <a:gd name="T42" fmla="*/ 483 w 2223"/>
                  <a:gd name="T43" fmla="*/ 1620 h 2222"/>
                  <a:gd name="T44" fmla="*/ 483 w 2223"/>
                  <a:gd name="T45" fmla="*/ 1622 h 2222"/>
                  <a:gd name="T46" fmla="*/ 484 w 2223"/>
                  <a:gd name="T47" fmla="*/ 1634 h 2222"/>
                  <a:gd name="T48" fmla="*/ 485 w 2223"/>
                  <a:gd name="T49" fmla="*/ 1638 h 2222"/>
                  <a:gd name="T50" fmla="*/ 489 w 2223"/>
                  <a:gd name="T51" fmla="*/ 1653 h 2222"/>
                  <a:gd name="T52" fmla="*/ 491 w 2223"/>
                  <a:gd name="T53" fmla="*/ 1657 h 2222"/>
                  <a:gd name="T54" fmla="*/ 497 w 2223"/>
                  <a:gd name="T55" fmla="*/ 1667 h 2222"/>
                  <a:gd name="T56" fmla="*/ 500 w 2223"/>
                  <a:gd name="T57" fmla="*/ 1672 h 2222"/>
                  <a:gd name="T58" fmla="*/ 507 w 2223"/>
                  <a:gd name="T59" fmla="*/ 1680 h 2222"/>
                  <a:gd name="T60" fmla="*/ 511 w 2223"/>
                  <a:gd name="T61" fmla="*/ 1684 h 2222"/>
                  <a:gd name="T62" fmla="*/ 518 w 2223"/>
                  <a:gd name="T63" fmla="*/ 1690 h 2222"/>
                  <a:gd name="T64" fmla="*/ 524 w 2223"/>
                  <a:gd name="T65" fmla="*/ 1694 h 2222"/>
                  <a:gd name="T66" fmla="*/ 526 w 2223"/>
                  <a:gd name="T67" fmla="*/ 1696 h 2222"/>
                  <a:gd name="T68" fmla="*/ 1112 w 2223"/>
                  <a:gd name="T69" fmla="*/ 1855 h 2222"/>
                  <a:gd name="T70" fmla="*/ 1697 w 2223"/>
                  <a:gd name="T71" fmla="*/ 1696 h 2222"/>
                  <a:gd name="T72" fmla="*/ 1701 w 2223"/>
                  <a:gd name="T73" fmla="*/ 1693 h 2222"/>
                  <a:gd name="T74" fmla="*/ 1702 w 2223"/>
                  <a:gd name="T75" fmla="*/ 1692 h 2222"/>
                  <a:gd name="T76" fmla="*/ 1714 w 2223"/>
                  <a:gd name="T77" fmla="*/ 1682 h 2222"/>
                  <a:gd name="T78" fmla="*/ 1715 w 2223"/>
                  <a:gd name="T79" fmla="*/ 1682 h 2222"/>
                  <a:gd name="T80" fmla="*/ 1740 w 2223"/>
                  <a:gd name="T81" fmla="*/ 1616 h 2222"/>
                  <a:gd name="T82" fmla="*/ 1740 w 2223"/>
                  <a:gd name="T83" fmla="*/ 995 h 2222"/>
                  <a:gd name="T84" fmla="*/ 1652 w 2223"/>
                  <a:gd name="T85" fmla="*/ 907 h 2222"/>
                  <a:gd name="T86" fmla="*/ 1111 w 2223"/>
                  <a:gd name="T87" fmla="*/ 2134 h 2222"/>
                  <a:gd name="T88" fmla="*/ 88 w 2223"/>
                  <a:gd name="T89" fmla="*/ 1111 h 2222"/>
                  <a:gd name="T90" fmla="*/ 1111 w 2223"/>
                  <a:gd name="T91" fmla="*/ 88 h 2222"/>
                  <a:gd name="T92" fmla="*/ 2134 w 2223"/>
                  <a:gd name="T93" fmla="*/ 1111 h 2222"/>
                  <a:gd name="T94" fmla="*/ 1111 w 2223"/>
                  <a:gd name="T95" fmla="*/ 2134 h 2222"/>
                  <a:gd name="T96" fmla="*/ 1111 w 2223"/>
                  <a:gd name="T97" fmla="*/ 0 h 2222"/>
                  <a:gd name="T98" fmla="*/ 0 w 2223"/>
                  <a:gd name="T99" fmla="*/ 1111 h 2222"/>
                  <a:gd name="T100" fmla="*/ 1111 w 2223"/>
                  <a:gd name="T101" fmla="*/ 2222 h 2222"/>
                  <a:gd name="T102" fmla="*/ 2223 w 2223"/>
                  <a:gd name="T103" fmla="*/ 1111 h 2222"/>
                  <a:gd name="T104" fmla="*/ 1111 w 2223"/>
                  <a:gd name="T105" fmla="*/ 0 h 2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23" h="2222">
                    <a:moveTo>
                      <a:pt x="1155" y="1383"/>
                    </a:moveTo>
                    <a:lnTo>
                      <a:pt x="1155" y="1574"/>
                    </a:lnTo>
                    <a:lnTo>
                      <a:pt x="1067" y="1574"/>
                    </a:lnTo>
                    <a:lnTo>
                      <a:pt x="1067" y="1383"/>
                    </a:lnTo>
                    <a:cubicBezTo>
                      <a:pt x="1023" y="1366"/>
                      <a:pt x="992" y="1323"/>
                      <a:pt x="992" y="1273"/>
                    </a:cubicBezTo>
                    <a:cubicBezTo>
                      <a:pt x="992" y="1207"/>
                      <a:pt x="1046" y="1154"/>
                      <a:pt x="1111" y="1154"/>
                    </a:cubicBezTo>
                    <a:cubicBezTo>
                      <a:pt x="1177" y="1154"/>
                      <a:pt x="1230" y="1207"/>
                      <a:pt x="1230" y="1273"/>
                    </a:cubicBezTo>
                    <a:cubicBezTo>
                      <a:pt x="1230" y="1323"/>
                      <a:pt x="1199" y="1366"/>
                      <a:pt x="1155" y="1383"/>
                    </a:cubicBezTo>
                    <a:close/>
                    <a:moveTo>
                      <a:pt x="1652" y="907"/>
                    </a:moveTo>
                    <a:lnTo>
                      <a:pt x="874" y="907"/>
                    </a:lnTo>
                    <a:lnTo>
                      <a:pt x="874" y="666"/>
                    </a:lnTo>
                    <a:cubicBezTo>
                      <a:pt x="874" y="535"/>
                      <a:pt x="980" y="428"/>
                      <a:pt x="1111" y="428"/>
                    </a:cubicBezTo>
                    <a:cubicBezTo>
                      <a:pt x="1242" y="428"/>
                      <a:pt x="1349" y="535"/>
                      <a:pt x="1349" y="666"/>
                    </a:cubicBezTo>
                    <a:lnTo>
                      <a:pt x="1349" y="737"/>
                    </a:lnTo>
                    <a:lnTo>
                      <a:pt x="1508" y="737"/>
                    </a:lnTo>
                    <a:lnTo>
                      <a:pt x="1508" y="666"/>
                    </a:lnTo>
                    <a:cubicBezTo>
                      <a:pt x="1508" y="447"/>
                      <a:pt x="1330" y="269"/>
                      <a:pt x="1111" y="269"/>
                    </a:cubicBezTo>
                    <a:cubicBezTo>
                      <a:pt x="893" y="269"/>
                      <a:pt x="715" y="447"/>
                      <a:pt x="715" y="666"/>
                    </a:cubicBezTo>
                    <a:lnTo>
                      <a:pt x="715" y="907"/>
                    </a:lnTo>
                    <a:lnTo>
                      <a:pt x="571" y="907"/>
                    </a:lnTo>
                    <a:cubicBezTo>
                      <a:pt x="522" y="907"/>
                      <a:pt x="483" y="946"/>
                      <a:pt x="483" y="995"/>
                    </a:cubicBezTo>
                    <a:lnTo>
                      <a:pt x="483" y="1620"/>
                    </a:lnTo>
                    <a:cubicBezTo>
                      <a:pt x="483" y="1621"/>
                      <a:pt x="483" y="1621"/>
                      <a:pt x="483" y="1622"/>
                    </a:cubicBezTo>
                    <a:cubicBezTo>
                      <a:pt x="483" y="1626"/>
                      <a:pt x="483" y="1630"/>
                      <a:pt x="484" y="1634"/>
                    </a:cubicBezTo>
                    <a:cubicBezTo>
                      <a:pt x="484" y="1635"/>
                      <a:pt x="484" y="1637"/>
                      <a:pt x="485" y="1638"/>
                    </a:cubicBezTo>
                    <a:cubicBezTo>
                      <a:pt x="486" y="1644"/>
                      <a:pt x="487" y="1649"/>
                      <a:pt x="489" y="1653"/>
                    </a:cubicBezTo>
                    <a:cubicBezTo>
                      <a:pt x="490" y="1655"/>
                      <a:pt x="491" y="1656"/>
                      <a:pt x="491" y="1657"/>
                    </a:cubicBezTo>
                    <a:cubicBezTo>
                      <a:pt x="493" y="1661"/>
                      <a:pt x="495" y="1664"/>
                      <a:pt x="497" y="1667"/>
                    </a:cubicBezTo>
                    <a:cubicBezTo>
                      <a:pt x="498" y="1669"/>
                      <a:pt x="499" y="1670"/>
                      <a:pt x="500" y="1672"/>
                    </a:cubicBezTo>
                    <a:cubicBezTo>
                      <a:pt x="502" y="1675"/>
                      <a:pt x="504" y="1677"/>
                      <a:pt x="507" y="1680"/>
                    </a:cubicBezTo>
                    <a:cubicBezTo>
                      <a:pt x="508" y="1681"/>
                      <a:pt x="509" y="1683"/>
                      <a:pt x="511" y="1684"/>
                    </a:cubicBezTo>
                    <a:cubicBezTo>
                      <a:pt x="513" y="1686"/>
                      <a:pt x="516" y="1688"/>
                      <a:pt x="518" y="1690"/>
                    </a:cubicBezTo>
                    <a:cubicBezTo>
                      <a:pt x="520" y="1692"/>
                      <a:pt x="522" y="1693"/>
                      <a:pt x="524" y="1694"/>
                    </a:cubicBezTo>
                    <a:cubicBezTo>
                      <a:pt x="524" y="1695"/>
                      <a:pt x="525" y="1695"/>
                      <a:pt x="526" y="1696"/>
                    </a:cubicBezTo>
                    <a:cubicBezTo>
                      <a:pt x="703" y="1800"/>
                      <a:pt x="905" y="1855"/>
                      <a:pt x="1112" y="1855"/>
                    </a:cubicBezTo>
                    <a:cubicBezTo>
                      <a:pt x="1318" y="1855"/>
                      <a:pt x="1520" y="1800"/>
                      <a:pt x="1697" y="1696"/>
                    </a:cubicBezTo>
                    <a:cubicBezTo>
                      <a:pt x="1698" y="1695"/>
                      <a:pt x="1699" y="1694"/>
                      <a:pt x="1701" y="1693"/>
                    </a:cubicBezTo>
                    <a:cubicBezTo>
                      <a:pt x="1701" y="1693"/>
                      <a:pt x="1702" y="1692"/>
                      <a:pt x="1702" y="1692"/>
                    </a:cubicBezTo>
                    <a:cubicBezTo>
                      <a:pt x="1707" y="1689"/>
                      <a:pt x="1710" y="1686"/>
                      <a:pt x="1714" y="1682"/>
                    </a:cubicBezTo>
                    <a:cubicBezTo>
                      <a:pt x="1714" y="1682"/>
                      <a:pt x="1714" y="1682"/>
                      <a:pt x="1715" y="1682"/>
                    </a:cubicBezTo>
                    <a:cubicBezTo>
                      <a:pt x="1732" y="1664"/>
                      <a:pt x="1741" y="1641"/>
                      <a:pt x="1740" y="1616"/>
                    </a:cubicBezTo>
                    <a:lnTo>
                      <a:pt x="1740" y="995"/>
                    </a:lnTo>
                    <a:cubicBezTo>
                      <a:pt x="1740" y="946"/>
                      <a:pt x="1701" y="907"/>
                      <a:pt x="1652" y="907"/>
                    </a:cubicBezTo>
                    <a:close/>
                    <a:moveTo>
                      <a:pt x="1111" y="2134"/>
                    </a:moveTo>
                    <a:cubicBezTo>
                      <a:pt x="547" y="2134"/>
                      <a:pt x="88" y="1675"/>
                      <a:pt x="88" y="1111"/>
                    </a:cubicBezTo>
                    <a:cubicBezTo>
                      <a:pt x="88" y="547"/>
                      <a:pt x="547" y="88"/>
                      <a:pt x="1111" y="88"/>
                    </a:cubicBezTo>
                    <a:cubicBezTo>
                      <a:pt x="1675" y="88"/>
                      <a:pt x="2134" y="547"/>
                      <a:pt x="2134" y="1111"/>
                    </a:cubicBezTo>
                    <a:cubicBezTo>
                      <a:pt x="2134" y="1675"/>
                      <a:pt x="1675" y="2134"/>
                      <a:pt x="1111" y="2134"/>
                    </a:cubicBezTo>
                    <a:close/>
                    <a:moveTo>
                      <a:pt x="1111" y="0"/>
                    </a:moveTo>
                    <a:cubicBezTo>
                      <a:pt x="498" y="0"/>
                      <a:pt x="0" y="497"/>
                      <a:pt x="0" y="1111"/>
                    </a:cubicBezTo>
                    <a:cubicBezTo>
                      <a:pt x="0" y="1725"/>
                      <a:pt x="498" y="2222"/>
                      <a:pt x="1111" y="2222"/>
                    </a:cubicBezTo>
                    <a:cubicBezTo>
                      <a:pt x="1725" y="2222"/>
                      <a:pt x="2223" y="1725"/>
                      <a:pt x="2223" y="1111"/>
                    </a:cubicBezTo>
                    <a:cubicBezTo>
                      <a:pt x="2223" y="497"/>
                      <a:pt x="1725" y="0"/>
                      <a:pt x="11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0110" tIns="30056" rIns="60110" bIns="3005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sp>
          <p:nvSpPr>
            <p:cNvPr id="13" name="Овал 12"/>
            <p:cNvSpPr/>
            <p:nvPr/>
          </p:nvSpPr>
          <p:spPr bwMode="auto">
            <a:xfrm>
              <a:off x="3466608" y="2456983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5" name="Овал 44"/>
            <p:cNvSpPr/>
            <p:nvPr/>
          </p:nvSpPr>
          <p:spPr bwMode="auto">
            <a:xfrm>
              <a:off x="3016512" y="3446983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6" name="Овал 45"/>
            <p:cNvSpPr/>
            <p:nvPr/>
          </p:nvSpPr>
          <p:spPr bwMode="auto">
            <a:xfrm>
              <a:off x="5083224" y="2456983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49" name="Овал 48"/>
            <p:cNvSpPr/>
            <p:nvPr/>
          </p:nvSpPr>
          <p:spPr bwMode="auto">
            <a:xfrm>
              <a:off x="5528232" y="3447846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50" name="Овал 49"/>
            <p:cNvSpPr/>
            <p:nvPr/>
          </p:nvSpPr>
          <p:spPr bwMode="auto">
            <a:xfrm>
              <a:off x="3477288" y="4451414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51" name="Овал 50"/>
            <p:cNvSpPr/>
            <p:nvPr/>
          </p:nvSpPr>
          <p:spPr bwMode="auto">
            <a:xfrm>
              <a:off x="5083224" y="4426701"/>
              <a:ext cx="360000" cy="360000"/>
            </a:xfrm>
            <a:prstGeom prst="ellipse">
              <a:avLst/>
            </a:prstGeom>
            <a:noFill/>
            <a:ln w="57150" cap="flat" cmpd="sng" algn="ctr">
              <a:solidFill>
                <a:srgbClr val="1C793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</p:grpSp>
      <p:sp>
        <p:nvSpPr>
          <p:cNvPr id="52" name="Freeform 2000"/>
          <p:cNvSpPr>
            <a:spLocks noEditPoints="1"/>
          </p:cNvSpPr>
          <p:nvPr/>
        </p:nvSpPr>
        <p:spPr bwMode="auto">
          <a:xfrm>
            <a:off x="3234410" y="2230721"/>
            <a:ext cx="540000" cy="540000"/>
          </a:xfrm>
          <a:custGeom>
            <a:avLst/>
            <a:gdLst>
              <a:gd name="T0" fmla="*/ 126 w 252"/>
              <a:gd name="T1" fmla="*/ 242 h 252"/>
              <a:gd name="T2" fmla="*/ 126 w 252"/>
              <a:gd name="T3" fmla="*/ 0 h 252"/>
              <a:gd name="T4" fmla="*/ 252 w 252"/>
              <a:gd name="T5" fmla="*/ 126 h 252"/>
              <a:gd name="T6" fmla="*/ 217 w 252"/>
              <a:gd name="T7" fmla="*/ 116 h 252"/>
              <a:gd name="T8" fmla="*/ 220 w 252"/>
              <a:gd name="T9" fmla="*/ 102 h 252"/>
              <a:gd name="T10" fmla="*/ 205 w 252"/>
              <a:gd name="T11" fmla="*/ 89 h 252"/>
              <a:gd name="T12" fmla="*/ 168 w 252"/>
              <a:gd name="T13" fmla="*/ 96 h 252"/>
              <a:gd name="T14" fmla="*/ 130 w 252"/>
              <a:gd name="T15" fmla="*/ 82 h 252"/>
              <a:gd name="T16" fmla="*/ 33 w 252"/>
              <a:gd name="T17" fmla="*/ 127 h 252"/>
              <a:gd name="T18" fmla="*/ 34 w 252"/>
              <a:gd name="T19" fmla="*/ 141 h 252"/>
              <a:gd name="T20" fmla="*/ 47 w 252"/>
              <a:gd name="T21" fmla="*/ 153 h 252"/>
              <a:gd name="T22" fmla="*/ 34 w 252"/>
              <a:gd name="T23" fmla="*/ 166 h 252"/>
              <a:gd name="T24" fmla="*/ 109 w 252"/>
              <a:gd name="T25" fmla="*/ 191 h 252"/>
              <a:gd name="T26" fmla="*/ 205 w 252"/>
              <a:gd name="T27" fmla="*/ 179 h 252"/>
              <a:gd name="T28" fmla="*/ 168 w 252"/>
              <a:gd name="T29" fmla="*/ 186 h 252"/>
              <a:gd name="T30" fmla="*/ 130 w 252"/>
              <a:gd name="T31" fmla="*/ 172 h 252"/>
              <a:gd name="T32" fmla="*/ 107 w 252"/>
              <a:gd name="T33" fmla="*/ 183 h 252"/>
              <a:gd name="T34" fmla="*/ 106 w 252"/>
              <a:gd name="T35" fmla="*/ 173 h 252"/>
              <a:gd name="T36" fmla="*/ 131 w 252"/>
              <a:gd name="T37" fmla="*/ 163 h 252"/>
              <a:gd name="T38" fmla="*/ 205 w 252"/>
              <a:gd name="T39" fmla="*/ 154 h 252"/>
              <a:gd name="T40" fmla="*/ 137 w 252"/>
              <a:gd name="T41" fmla="*/ 161 h 252"/>
              <a:gd name="T42" fmla="*/ 130 w 252"/>
              <a:gd name="T43" fmla="*/ 154 h 252"/>
              <a:gd name="T44" fmla="*/ 68 w 252"/>
              <a:gd name="T45" fmla="*/ 152 h 252"/>
              <a:gd name="T46" fmla="*/ 58 w 252"/>
              <a:gd name="T47" fmla="*/ 139 h 252"/>
              <a:gd name="T48" fmla="*/ 110 w 252"/>
              <a:gd name="T49" fmla="*/ 156 h 252"/>
              <a:gd name="T50" fmla="*/ 204 w 252"/>
              <a:gd name="T51" fmla="*/ 146 h 252"/>
              <a:gd name="T52" fmla="*/ 217 w 252"/>
              <a:gd name="T53" fmla="*/ 133 h 252"/>
              <a:gd name="T54" fmla="*/ 220 w 252"/>
              <a:gd name="T55" fmla="*/ 119 h 252"/>
              <a:gd name="T56" fmla="*/ 203 w 252"/>
              <a:gd name="T57" fmla="*/ 95 h 252"/>
              <a:gd name="T58" fmla="*/ 168 w 252"/>
              <a:gd name="T59" fmla="*/ 114 h 252"/>
              <a:gd name="T60" fmla="*/ 130 w 252"/>
              <a:gd name="T61" fmla="*/ 100 h 252"/>
              <a:gd name="T62" fmla="*/ 168 w 252"/>
              <a:gd name="T63" fmla="*/ 121 h 252"/>
              <a:gd name="T64" fmla="*/ 205 w 252"/>
              <a:gd name="T65" fmla="*/ 120 h 252"/>
              <a:gd name="T66" fmla="*/ 201 w 252"/>
              <a:gd name="T67" fmla="*/ 124 h 252"/>
              <a:gd name="T68" fmla="*/ 139 w 252"/>
              <a:gd name="T69" fmla="*/ 127 h 252"/>
              <a:gd name="T70" fmla="*/ 133 w 252"/>
              <a:gd name="T71" fmla="*/ 113 h 252"/>
              <a:gd name="T72" fmla="*/ 84 w 252"/>
              <a:gd name="T73" fmla="*/ 128 h 252"/>
              <a:gd name="T74" fmla="*/ 116 w 252"/>
              <a:gd name="T75" fmla="*/ 125 h 252"/>
              <a:gd name="T76" fmla="*/ 205 w 252"/>
              <a:gd name="T77" fmla="*/ 137 h 252"/>
              <a:gd name="T78" fmla="*/ 204 w 252"/>
              <a:gd name="T79" fmla="*/ 139 h 252"/>
              <a:gd name="T80" fmla="*/ 202 w 252"/>
              <a:gd name="T81" fmla="*/ 141 h 252"/>
              <a:gd name="T82" fmla="*/ 168 w 252"/>
              <a:gd name="T83" fmla="*/ 150 h 252"/>
              <a:gd name="T84" fmla="*/ 136 w 252"/>
              <a:gd name="T85" fmla="*/ 143 h 252"/>
              <a:gd name="T86" fmla="*/ 131 w 252"/>
              <a:gd name="T87" fmla="*/ 138 h 252"/>
              <a:gd name="T88" fmla="*/ 168 w 252"/>
              <a:gd name="T89" fmla="*/ 139 h 252"/>
              <a:gd name="T90" fmla="*/ 205 w 252"/>
              <a:gd name="T91" fmla="*/ 120 h 252"/>
              <a:gd name="T92" fmla="*/ 205 w 252"/>
              <a:gd name="T93" fmla="*/ 120 h 252"/>
              <a:gd name="T94" fmla="*/ 199 w 252"/>
              <a:gd name="T95" fmla="*/ 78 h 252"/>
              <a:gd name="T96" fmla="*/ 130 w 252"/>
              <a:gd name="T97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20" y="119"/>
                </a:moveTo>
                <a:cubicBezTo>
                  <a:pt x="220" y="117"/>
                  <a:pt x="219" y="116"/>
                  <a:pt x="217" y="116"/>
                </a:cubicBezTo>
                <a:cubicBezTo>
                  <a:pt x="205" y="111"/>
                  <a:pt x="205" y="111"/>
                  <a:pt x="205" y="111"/>
                </a:cubicBezTo>
                <a:cubicBezTo>
                  <a:pt x="218" y="105"/>
                  <a:pt x="218" y="105"/>
                  <a:pt x="218" y="105"/>
                </a:cubicBezTo>
                <a:cubicBezTo>
                  <a:pt x="220" y="105"/>
                  <a:pt x="220" y="103"/>
                  <a:pt x="220" y="102"/>
                </a:cubicBezTo>
                <a:cubicBezTo>
                  <a:pt x="220" y="100"/>
                  <a:pt x="219" y="99"/>
                  <a:pt x="218" y="98"/>
                </a:cubicBezTo>
                <a:cubicBezTo>
                  <a:pt x="204" y="93"/>
                  <a:pt x="204" y="93"/>
                  <a:pt x="204" y="93"/>
                </a:cubicBezTo>
                <a:cubicBezTo>
                  <a:pt x="205" y="92"/>
                  <a:pt x="205" y="91"/>
                  <a:pt x="205" y="89"/>
                </a:cubicBezTo>
                <a:cubicBezTo>
                  <a:pt x="205" y="82"/>
                  <a:pt x="205" y="82"/>
                  <a:pt x="205" y="82"/>
                </a:cubicBezTo>
                <a:cubicBezTo>
                  <a:pt x="205" y="85"/>
                  <a:pt x="203" y="88"/>
                  <a:pt x="199" y="90"/>
                </a:cubicBezTo>
                <a:cubicBezTo>
                  <a:pt x="192" y="94"/>
                  <a:pt x="181" y="96"/>
                  <a:pt x="168" y="96"/>
                </a:cubicBezTo>
                <a:cubicBezTo>
                  <a:pt x="156" y="96"/>
                  <a:pt x="146" y="94"/>
                  <a:pt x="139" y="91"/>
                </a:cubicBezTo>
                <a:cubicBezTo>
                  <a:pt x="138" y="91"/>
                  <a:pt x="137" y="90"/>
                  <a:pt x="137" y="90"/>
                </a:cubicBezTo>
                <a:cubicBezTo>
                  <a:pt x="133" y="88"/>
                  <a:pt x="130" y="85"/>
                  <a:pt x="130" y="82"/>
                </a:cubicBezTo>
                <a:cubicBezTo>
                  <a:pt x="130" y="81"/>
                  <a:pt x="131" y="80"/>
                  <a:pt x="131" y="79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3" y="124"/>
                  <a:pt x="33" y="126"/>
                  <a:pt x="33" y="127"/>
                </a:cubicBezTo>
                <a:cubicBezTo>
                  <a:pt x="33" y="129"/>
                  <a:pt x="34" y="130"/>
                  <a:pt x="35" y="131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3" y="142"/>
                  <a:pt x="32" y="143"/>
                  <a:pt x="32" y="145"/>
                </a:cubicBezTo>
                <a:cubicBezTo>
                  <a:pt x="32" y="147"/>
                  <a:pt x="33" y="148"/>
                  <a:pt x="35" y="148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2" y="159"/>
                  <a:pt x="32" y="161"/>
                  <a:pt x="32" y="162"/>
                </a:cubicBezTo>
                <a:cubicBezTo>
                  <a:pt x="32" y="164"/>
                  <a:pt x="33" y="165"/>
                  <a:pt x="34" y="166"/>
                </a:cubicBezTo>
                <a:cubicBezTo>
                  <a:pt x="106" y="191"/>
                  <a:pt x="106" y="191"/>
                  <a:pt x="106" y="191"/>
                </a:cubicBezTo>
                <a:cubicBezTo>
                  <a:pt x="106" y="191"/>
                  <a:pt x="107" y="191"/>
                  <a:pt x="107" y="191"/>
                </a:cubicBezTo>
                <a:cubicBezTo>
                  <a:pt x="108" y="191"/>
                  <a:pt x="108" y="191"/>
                  <a:pt x="109" y="191"/>
                </a:cubicBezTo>
                <a:cubicBezTo>
                  <a:pt x="131" y="181"/>
                  <a:pt x="131" y="181"/>
                  <a:pt x="131" y="181"/>
                </a:cubicBezTo>
                <a:cubicBezTo>
                  <a:pt x="133" y="188"/>
                  <a:pt x="149" y="193"/>
                  <a:pt x="168" y="193"/>
                </a:cubicBezTo>
                <a:cubicBezTo>
                  <a:pt x="188" y="193"/>
                  <a:pt x="205" y="187"/>
                  <a:pt x="205" y="179"/>
                </a:cubicBezTo>
                <a:cubicBezTo>
                  <a:pt x="205" y="171"/>
                  <a:pt x="205" y="171"/>
                  <a:pt x="205" y="171"/>
                </a:cubicBezTo>
                <a:cubicBezTo>
                  <a:pt x="205" y="174"/>
                  <a:pt x="203" y="177"/>
                  <a:pt x="199" y="179"/>
                </a:cubicBezTo>
                <a:cubicBezTo>
                  <a:pt x="192" y="183"/>
                  <a:pt x="181" y="186"/>
                  <a:pt x="168" y="186"/>
                </a:cubicBezTo>
                <a:cubicBezTo>
                  <a:pt x="155" y="186"/>
                  <a:pt x="143" y="183"/>
                  <a:pt x="137" y="179"/>
                </a:cubicBezTo>
                <a:cubicBezTo>
                  <a:pt x="136" y="179"/>
                  <a:pt x="136" y="179"/>
                  <a:pt x="135" y="178"/>
                </a:cubicBezTo>
                <a:cubicBezTo>
                  <a:pt x="132" y="176"/>
                  <a:pt x="131" y="174"/>
                  <a:pt x="130" y="172"/>
                </a:cubicBezTo>
                <a:cubicBezTo>
                  <a:pt x="130" y="172"/>
                  <a:pt x="130" y="172"/>
                  <a:pt x="130" y="171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07" y="183"/>
                  <a:pt x="107" y="183"/>
                  <a:pt x="107" y="183"/>
                </a:cubicBezTo>
                <a:cubicBezTo>
                  <a:pt x="46" y="162"/>
                  <a:pt x="46" y="162"/>
                  <a:pt x="46" y="162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07" y="173"/>
                  <a:pt x="107" y="173"/>
                  <a:pt x="108" y="173"/>
                </a:cubicBezTo>
                <a:cubicBezTo>
                  <a:pt x="108" y="173"/>
                  <a:pt x="109" y="173"/>
                  <a:pt x="109" y="17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4" y="170"/>
                  <a:pt x="149" y="175"/>
                  <a:pt x="168" y="175"/>
                </a:cubicBezTo>
                <a:cubicBezTo>
                  <a:pt x="188" y="175"/>
                  <a:pt x="205" y="169"/>
                  <a:pt x="205" y="161"/>
                </a:cubicBezTo>
                <a:cubicBezTo>
                  <a:pt x="205" y="154"/>
                  <a:pt x="205" y="154"/>
                  <a:pt x="205" y="154"/>
                </a:cubicBezTo>
                <a:cubicBezTo>
                  <a:pt x="205" y="156"/>
                  <a:pt x="203" y="159"/>
                  <a:pt x="199" y="161"/>
                </a:cubicBezTo>
                <a:cubicBezTo>
                  <a:pt x="192" y="165"/>
                  <a:pt x="181" y="168"/>
                  <a:pt x="168" y="168"/>
                </a:cubicBezTo>
                <a:cubicBezTo>
                  <a:pt x="155" y="168"/>
                  <a:pt x="143" y="165"/>
                  <a:pt x="137" y="161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3" y="159"/>
                  <a:pt x="131" y="157"/>
                  <a:pt x="131" y="155"/>
                </a:cubicBezTo>
                <a:cubicBezTo>
                  <a:pt x="131" y="154"/>
                  <a:pt x="130" y="154"/>
                  <a:pt x="130" y="154"/>
                </a:cubicBezTo>
                <a:cubicBezTo>
                  <a:pt x="130" y="155"/>
                  <a:pt x="130" y="155"/>
                  <a:pt x="130" y="155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57" y="148"/>
                  <a:pt x="57" y="148"/>
                  <a:pt x="57" y="148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56"/>
                  <a:pt x="108" y="156"/>
                  <a:pt x="108" y="156"/>
                </a:cubicBezTo>
                <a:cubicBezTo>
                  <a:pt x="109" y="156"/>
                  <a:pt x="109" y="156"/>
                  <a:pt x="110" y="1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34" y="152"/>
                  <a:pt x="150" y="157"/>
                  <a:pt x="168" y="157"/>
                </a:cubicBezTo>
                <a:cubicBezTo>
                  <a:pt x="185" y="157"/>
                  <a:pt x="200" y="153"/>
                  <a:pt x="204" y="146"/>
                </a:cubicBezTo>
                <a:cubicBezTo>
                  <a:pt x="217" y="140"/>
                  <a:pt x="217" y="140"/>
                  <a:pt x="217" y="140"/>
                </a:cubicBezTo>
                <a:cubicBezTo>
                  <a:pt x="219" y="140"/>
                  <a:pt x="219" y="138"/>
                  <a:pt x="219" y="137"/>
                </a:cubicBezTo>
                <a:cubicBezTo>
                  <a:pt x="219" y="135"/>
                  <a:pt x="218" y="134"/>
                  <a:pt x="217" y="133"/>
                </a:cubicBezTo>
                <a:cubicBezTo>
                  <a:pt x="205" y="129"/>
                  <a:pt x="205" y="129"/>
                  <a:pt x="205" y="129"/>
                </a:cubicBezTo>
                <a:cubicBezTo>
                  <a:pt x="218" y="123"/>
                  <a:pt x="218" y="123"/>
                  <a:pt x="218" y="123"/>
                </a:cubicBezTo>
                <a:cubicBezTo>
                  <a:pt x="219" y="122"/>
                  <a:pt x="220" y="121"/>
                  <a:pt x="220" y="119"/>
                </a:cubicBezTo>
                <a:moveTo>
                  <a:pt x="133" y="95"/>
                </a:moveTo>
                <a:cubicBezTo>
                  <a:pt x="139" y="100"/>
                  <a:pt x="152" y="104"/>
                  <a:pt x="168" y="104"/>
                </a:cubicBezTo>
                <a:cubicBezTo>
                  <a:pt x="184" y="104"/>
                  <a:pt x="197" y="100"/>
                  <a:pt x="203" y="95"/>
                </a:cubicBezTo>
                <a:cubicBezTo>
                  <a:pt x="204" y="96"/>
                  <a:pt x="205" y="98"/>
                  <a:pt x="205" y="100"/>
                </a:cubicBezTo>
                <a:cubicBezTo>
                  <a:pt x="205" y="103"/>
                  <a:pt x="203" y="105"/>
                  <a:pt x="199" y="108"/>
                </a:cubicBezTo>
                <a:cubicBezTo>
                  <a:pt x="192" y="111"/>
                  <a:pt x="181" y="114"/>
                  <a:pt x="168" y="114"/>
                </a:cubicBezTo>
                <a:cubicBezTo>
                  <a:pt x="156" y="114"/>
                  <a:pt x="146" y="112"/>
                  <a:pt x="139" y="109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3" y="105"/>
                  <a:pt x="130" y="103"/>
                  <a:pt x="130" y="100"/>
                </a:cubicBezTo>
                <a:cubicBezTo>
                  <a:pt x="130" y="98"/>
                  <a:pt x="131" y="96"/>
                  <a:pt x="133" y="95"/>
                </a:cubicBezTo>
                <a:moveTo>
                  <a:pt x="133" y="113"/>
                </a:moveTo>
                <a:cubicBezTo>
                  <a:pt x="139" y="118"/>
                  <a:pt x="152" y="121"/>
                  <a:pt x="168" y="121"/>
                </a:cubicBezTo>
                <a:cubicBezTo>
                  <a:pt x="184" y="121"/>
                  <a:pt x="197" y="118"/>
                  <a:pt x="203" y="113"/>
                </a:cubicBezTo>
                <a:cubicBezTo>
                  <a:pt x="204" y="114"/>
                  <a:pt x="205" y="116"/>
                  <a:pt x="205" y="118"/>
                </a:cubicBezTo>
                <a:cubicBezTo>
                  <a:pt x="205" y="119"/>
                  <a:pt x="205" y="119"/>
                  <a:pt x="205" y="120"/>
                </a:cubicBezTo>
                <a:cubicBezTo>
                  <a:pt x="204" y="121"/>
                  <a:pt x="204" y="122"/>
                  <a:pt x="203" y="122"/>
                </a:cubicBezTo>
                <a:cubicBezTo>
                  <a:pt x="203" y="123"/>
                  <a:pt x="202" y="123"/>
                  <a:pt x="202" y="123"/>
                </a:cubicBezTo>
                <a:cubicBezTo>
                  <a:pt x="202" y="124"/>
                  <a:pt x="202" y="124"/>
                  <a:pt x="201" y="124"/>
                </a:cubicBezTo>
                <a:cubicBezTo>
                  <a:pt x="201" y="125"/>
                  <a:pt x="200" y="125"/>
                  <a:pt x="199" y="126"/>
                </a:cubicBezTo>
                <a:cubicBezTo>
                  <a:pt x="192" y="129"/>
                  <a:pt x="181" y="132"/>
                  <a:pt x="168" y="132"/>
                </a:cubicBezTo>
                <a:cubicBezTo>
                  <a:pt x="156" y="132"/>
                  <a:pt x="146" y="130"/>
                  <a:pt x="139" y="127"/>
                </a:cubicBezTo>
                <a:cubicBezTo>
                  <a:pt x="138" y="126"/>
                  <a:pt x="137" y="126"/>
                  <a:pt x="137" y="126"/>
                </a:cubicBezTo>
                <a:cubicBezTo>
                  <a:pt x="133" y="123"/>
                  <a:pt x="130" y="121"/>
                  <a:pt x="130" y="118"/>
                </a:cubicBezTo>
                <a:cubicBezTo>
                  <a:pt x="130" y="116"/>
                  <a:pt x="131" y="114"/>
                  <a:pt x="133" y="113"/>
                </a:cubicBezTo>
                <a:moveTo>
                  <a:pt x="113" y="128"/>
                </a:moveTo>
                <a:cubicBezTo>
                  <a:pt x="110" y="130"/>
                  <a:pt x="105" y="131"/>
                  <a:pt x="99" y="131"/>
                </a:cubicBezTo>
                <a:cubicBezTo>
                  <a:pt x="93" y="131"/>
                  <a:pt x="87" y="130"/>
                  <a:pt x="84" y="128"/>
                </a:cubicBezTo>
                <a:cubicBezTo>
                  <a:pt x="83" y="127"/>
                  <a:pt x="81" y="126"/>
                  <a:pt x="81" y="125"/>
                </a:cubicBezTo>
                <a:cubicBezTo>
                  <a:pt x="81" y="121"/>
                  <a:pt x="89" y="118"/>
                  <a:pt x="99" y="118"/>
                </a:cubicBezTo>
                <a:cubicBezTo>
                  <a:pt x="108" y="118"/>
                  <a:pt x="116" y="121"/>
                  <a:pt x="116" y="125"/>
                </a:cubicBezTo>
                <a:cubicBezTo>
                  <a:pt x="116" y="126"/>
                  <a:pt x="115" y="127"/>
                  <a:pt x="113" y="128"/>
                </a:cubicBezTo>
                <a:moveTo>
                  <a:pt x="205" y="136"/>
                </a:moveTo>
                <a:cubicBezTo>
                  <a:pt x="205" y="136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8"/>
                  <a:pt x="205" y="138"/>
                  <a:pt x="204" y="139"/>
                </a:cubicBezTo>
                <a:cubicBezTo>
                  <a:pt x="204" y="139"/>
                  <a:pt x="204" y="139"/>
                  <a:pt x="204" y="139"/>
                </a:cubicBezTo>
                <a:cubicBezTo>
                  <a:pt x="204" y="140"/>
                  <a:pt x="203" y="140"/>
                  <a:pt x="203" y="140"/>
                </a:cubicBezTo>
                <a:cubicBezTo>
                  <a:pt x="203" y="141"/>
                  <a:pt x="203" y="141"/>
                  <a:pt x="202" y="141"/>
                </a:cubicBezTo>
                <a:cubicBezTo>
                  <a:pt x="202" y="141"/>
                  <a:pt x="202" y="142"/>
                  <a:pt x="201" y="142"/>
                </a:cubicBezTo>
                <a:cubicBezTo>
                  <a:pt x="201" y="142"/>
                  <a:pt x="200" y="143"/>
                  <a:pt x="199" y="143"/>
                </a:cubicBezTo>
                <a:cubicBezTo>
                  <a:pt x="192" y="147"/>
                  <a:pt x="181" y="150"/>
                  <a:pt x="168" y="150"/>
                </a:cubicBezTo>
                <a:cubicBezTo>
                  <a:pt x="155" y="150"/>
                  <a:pt x="143" y="147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2"/>
                  <a:pt x="133" y="141"/>
                  <a:pt x="132" y="140"/>
                </a:cubicBezTo>
                <a:cubicBezTo>
                  <a:pt x="132" y="140"/>
                  <a:pt x="132" y="139"/>
                  <a:pt x="132" y="139"/>
                </a:cubicBezTo>
                <a:cubicBezTo>
                  <a:pt x="131" y="139"/>
                  <a:pt x="131" y="138"/>
                  <a:pt x="131" y="138"/>
                </a:cubicBezTo>
                <a:cubicBezTo>
                  <a:pt x="131" y="137"/>
                  <a:pt x="130" y="136"/>
                  <a:pt x="130" y="136"/>
                </a:cubicBezTo>
                <a:cubicBezTo>
                  <a:pt x="130" y="134"/>
                  <a:pt x="131" y="132"/>
                  <a:pt x="133" y="130"/>
                </a:cubicBezTo>
                <a:cubicBezTo>
                  <a:pt x="139" y="136"/>
                  <a:pt x="152" y="139"/>
                  <a:pt x="168" y="139"/>
                </a:cubicBezTo>
                <a:cubicBezTo>
                  <a:pt x="184" y="139"/>
                  <a:pt x="197" y="136"/>
                  <a:pt x="203" y="130"/>
                </a:cubicBezTo>
                <a:cubicBezTo>
                  <a:pt x="204" y="132"/>
                  <a:pt x="205" y="134"/>
                  <a:pt x="205" y="136"/>
                </a:cubicBezTo>
                <a:moveTo>
                  <a:pt x="205" y="120"/>
                </a:moveTo>
                <a:cubicBezTo>
                  <a:pt x="205" y="120"/>
                  <a:pt x="205" y="120"/>
                  <a:pt x="205" y="120"/>
                </a:cubicBezTo>
                <a:cubicBezTo>
                  <a:pt x="206" y="120"/>
                  <a:pt x="206" y="120"/>
                  <a:pt x="206" y="120"/>
                </a:cubicBezTo>
                <a:lnTo>
                  <a:pt x="205" y="120"/>
                </a:lnTo>
                <a:close/>
                <a:moveTo>
                  <a:pt x="137" y="78"/>
                </a:moveTo>
                <a:cubicBezTo>
                  <a:pt x="143" y="82"/>
                  <a:pt x="155" y="85"/>
                  <a:pt x="168" y="85"/>
                </a:cubicBezTo>
                <a:cubicBezTo>
                  <a:pt x="181" y="85"/>
                  <a:pt x="192" y="82"/>
                  <a:pt x="199" y="78"/>
                </a:cubicBezTo>
                <a:cubicBezTo>
                  <a:pt x="203" y="76"/>
                  <a:pt x="205" y="73"/>
                  <a:pt x="205" y="70"/>
                </a:cubicBezTo>
                <a:cubicBezTo>
                  <a:pt x="205" y="63"/>
                  <a:pt x="188" y="56"/>
                  <a:pt x="168" y="56"/>
                </a:cubicBezTo>
                <a:cubicBezTo>
                  <a:pt x="147" y="56"/>
                  <a:pt x="130" y="63"/>
                  <a:pt x="130" y="70"/>
                </a:cubicBezTo>
                <a:cubicBezTo>
                  <a:pt x="130" y="73"/>
                  <a:pt x="133" y="76"/>
                  <a:pt x="137" y="78"/>
                </a:cubicBezTo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3" name="Freeform 72"/>
          <p:cNvSpPr>
            <a:spLocks noEditPoints="1"/>
          </p:cNvSpPr>
          <p:nvPr/>
        </p:nvSpPr>
        <p:spPr bwMode="auto">
          <a:xfrm>
            <a:off x="2767134" y="3307487"/>
            <a:ext cx="540000" cy="540000"/>
          </a:xfrm>
          <a:custGeom>
            <a:avLst/>
            <a:gdLst>
              <a:gd name="T0" fmla="*/ 946 w 2222"/>
              <a:gd name="T1" fmla="*/ 1395 h 2222"/>
              <a:gd name="T2" fmla="*/ 606 w 2222"/>
              <a:gd name="T3" fmla="*/ 1735 h 2222"/>
              <a:gd name="T4" fmla="*/ 519 w 2222"/>
              <a:gd name="T5" fmla="*/ 1771 h 2222"/>
              <a:gd name="T6" fmla="*/ 432 w 2222"/>
              <a:gd name="T7" fmla="*/ 1735 h 2222"/>
              <a:gd name="T8" fmla="*/ 432 w 2222"/>
              <a:gd name="T9" fmla="*/ 1560 h 2222"/>
              <a:gd name="T10" fmla="*/ 772 w 2222"/>
              <a:gd name="T11" fmla="*/ 1220 h 2222"/>
              <a:gd name="T12" fmla="*/ 946 w 2222"/>
              <a:gd name="T13" fmla="*/ 1395 h 2222"/>
              <a:gd name="T14" fmla="*/ 1026 w 2222"/>
              <a:gd name="T15" fmla="*/ 919 h 2222"/>
              <a:gd name="T16" fmla="*/ 982 w 2222"/>
              <a:gd name="T17" fmla="*/ 875 h 2222"/>
              <a:gd name="T18" fmla="*/ 1291 w 2222"/>
              <a:gd name="T19" fmla="*/ 567 h 2222"/>
              <a:gd name="T20" fmla="*/ 1335 w 2222"/>
              <a:gd name="T21" fmla="*/ 611 h 2222"/>
              <a:gd name="T22" fmla="*/ 1291 w 2222"/>
              <a:gd name="T23" fmla="*/ 655 h 2222"/>
              <a:gd name="T24" fmla="*/ 1071 w 2222"/>
              <a:gd name="T25" fmla="*/ 875 h 2222"/>
              <a:gd name="T26" fmla="*/ 1026 w 2222"/>
              <a:gd name="T27" fmla="*/ 919 h 2222"/>
              <a:gd name="T28" fmla="*/ 1291 w 2222"/>
              <a:gd name="T29" fmla="*/ 1277 h 2222"/>
              <a:gd name="T30" fmla="*/ 889 w 2222"/>
              <a:gd name="T31" fmla="*/ 875 h 2222"/>
              <a:gd name="T32" fmla="*/ 1291 w 2222"/>
              <a:gd name="T33" fmla="*/ 474 h 2222"/>
              <a:gd name="T34" fmla="*/ 1693 w 2222"/>
              <a:gd name="T35" fmla="*/ 875 h 2222"/>
              <a:gd name="T36" fmla="*/ 1291 w 2222"/>
              <a:gd name="T37" fmla="*/ 1277 h 2222"/>
              <a:gd name="T38" fmla="*/ 1291 w 2222"/>
              <a:gd name="T39" fmla="*/ 340 h 2222"/>
              <a:gd name="T40" fmla="*/ 756 w 2222"/>
              <a:gd name="T41" fmla="*/ 875 h 2222"/>
              <a:gd name="T42" fmla="*/ 1291 w 2222"/>
              <a:gd name="T43" fmla="*/ 1411 h 2222"/>
              <a:gd name="T44" fmla="*/ 1826 w 2222"/>
              <a:gd name="T45" fmla="*/ 875 h 2222"/>
              <a:gd name="T46" fmla="*/ 1291 w 2222"/>
              <a:gd name="T47" fmla="*/ 340 h 2222"/>
              <a:gd name="T48" fmla="*/ 1111 w 2222"/>
              <a:gd name="T49" fmla="*/ 0 h 2222"/>
              <a:gd name="T50" fmla="*/ 0 w 2222"/>
              <a:gd name="T51" fmla="*/ 1111 h 2222"/>
              <a:gd name="T52" fmla="*/ 1111 w 2222"/>
              <a:gd name="T53" fmla="*/ 2222 h 2222"/>
              <a:gd name="T54" fmla="*/ 2222 w 2222"/>
              <a:gd name="T55" fmla="*/ 1111 h 2222"/>
              <a:gd name="T56" fmla="*/ 1111 w 2222"/>
              <a:gd name="T57" fmla="*/ 0 h 2222"/>
              <a:gd name="T58" fmla="*/ 1111 w 2222"/>
              <a:gd name="T59" fmla="*/ 88 h 2222"/>
              <a:gd name="T60" fmla="*/ 2134 w 2222"/>
              <a:gd name="T61" fmla="*/ 1111 h 2222"/>
              <a:gd name="T62" fmla="*/ 1111 w 2222"/>
              <a:gd name="T63" fmla="*/ 2134 h 2222"/>
              <a:gd name="T64" fmla="*/ 88 w 2222"/>
              <a:gd name="T65" fmla="*/ 1111 h 2222"/>
              <a:gd name="T66" fmla="*/ 1111 w 2222"/>
              <a:gd name="T67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2" h="2222">
                <a:moveTo>
                  <a:pt x="946" y="1395"/>
                </a:moveTo>
                <a:lnTo>
                  <a:pt x="606" y="1735"/>
                </a:lnTo>
                <a:cubicBezTo>
                  <a:pt x="582" y="1759"/>
                  <a:pt x="551" y="1771"/>
                  <a:pt x="519" y="1771"/>
                </a:cubicBezTo>
                <a:cubicBezTo>
                  <a:pt x="487" y="1771"/>
                  <a:pt x="456" y="1759"/>
                  <a:pt x="432" y="1735"/>
                </a:cubicBezTo>
                <a:cubicBezTo>
                  <a:pt x="383" y="1687"/>
                  <a:pt x="383" y="1608"/>
                  <a:pt x="432" y="1560"/>
                </a:cubicBezTo>
                <a:lnTo>
                  <a:pt x="772" y="1220"/>
                </a:lnTo>
                <a:cubicBezTo>
                  <a:pt x="818" y="1289"/>
                  <a:pt x="877" y="1349"/>
                  <a:pt x="946" y="1395"/>
                </a:cubicBezTo>
                <a:close/>
                <a:moveTo>
                  <a:pt x="1026" y="919"/>
                </a:moveTo>
                <a:cubicBezTo>
                  <a:pt x="1002" y="919"/>
                  <a:pt x="982" y="900"/>
                  <a:pt x="982" y="875"/>
                </a:cubicBezTo>
                <a:cubicBezTo>
                  <a:pt x="982" y="705"/>
                  <a:pt x="1121" y="567"/>
                  <a:pt x="1291" y="567"/>
                </a:cubicBezTo>
                <a:cubicBezTo>
                  <a:pt x="1315" y="567"/>
                  <a:pt x="1335" y="586"/>
                  <a:pt x="1335" y="611"/>
                </a:cubicBezTo>
                <a:cubicBezTo>
                  <a:pt x="1335" y="635"/>
                  <a:pt x="1315" y="655"/>
                  <a:pt x="1291" y="655"/>
                </a:cubicBezTo>
                <a:cubicBezTo>
                  <a:pt x="1169" y="655"/>
                  <a:pt x="1071" y="754"/>
                  <a:pt x="1071" y="875"/>
                </a:cubicBezTo>
                <a:cubicBezTo>
                  <a:pt x="1071" y="900"/>
                  <a:pt x="1051" y="919"/>
                  <a:pt x="1026" y="919"/>
                </a:cubicBezTo>
                <a:close/>
                <a:moveTo>
                  <a:pt x="1291" y="1277"/>
                </a:moveTo>
                <a:cubicBezTo>
                  <a:pt x="1069" y="1277"/>
                  <a:pt x="889" y="1097"/>
                  <a:pt x="889" y="875"/>
                </a:cubicBezTo>
                <a:cubicBezTo>
                  <a:pt x="889" y="654"/>
                  <a:pt x="1069" y="474"/>
                  <a:pt x="1291" y="474"/>
                </a:cubicBezTo>
                <a:cubicBezTo>
                  <a:pt x="1513" y="474"/>
                  <a:pt x="1693" y="654"/>
                  <a:pt x="1693" y="875"/>
                </a:cubicBezTo>
                <a:cubicBezTo>
                  <a:pt x="1693" y="1097"/>
                  <a:pt x="1513" y="1277"/>
                  <a:pt x="1291" y="1277"/>
                </a:cubicBezTo>
                <a:close/>
                <a:moveTo>
                  <a:pt x="1291" y="340"/>
                </a:moveTo>
                <a:cubicBezTo>
                  <a:pt x="995" y="340"/>
                  <a:pt x="756" y="580"/>
                  <a:pt x="756" y="875"/>
                </a:cubicBezTo>
                <a:cubicBezTo>
                  <a:pt x="756" y="1171"/>
                  <a:pt x="995" y="1411"/>
                  <a:pt x="1291" y="1411"/>
                </a:cubicBezTo>
                <a:cubicBezTo>
                  <a:pt x="1587" y="1411"/>
                  <a:pt x="1826" y="1171"/>
                  <a:pt x="1826" y="875"/>
                </a:cubicBezTo>
                <a:cubicBezTo>
                  <a:pt x="1826" y="580"/>
                  <a:pt x="1587" y="340"/>
                  <a:pt x="1291" y="340"/>
                </a:cubicBezTo>
                <a:close/>
                <a:moveTo>
                  <a:pt x="1111" y="0"/>
                </a:moveTo>
                <a:cubicBezTo>
                  <a:pt x="497" y="0"/>
                  <a:pt x="0" y="497"/>
                  <a:pt x="0" y="1111"/>
                </a:cubicBezTo>
                <a:cubicBezTo>
                  <a:pt x="0" y="1725"/>
                  <a:pt x="497" y="2222"/>
                  <a:pt x="1111" y="2222"/>
                </a:cubicBezTo>
                <a:cubicBezTo>
                  <a:pt x="1725" y="2222"/>
                  <a:pt x="2222" y="1725"/>
                  <a:pt x="2222" y="1111"/>
                </a:cubicBezTo>
                <a:cubicBezTo>
                  <a:pt x="2222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4" name="Freeform 88"/>
          <p:cNvSpPr>
            <a:spLocks noEditPoints="1"/>
          </p:cNvSpPr>
          <p:nvPr/>
        </p:nvSpPr>
        <p:spPr bwMode="auto">
          <a:xfrm>
            <a:off x="5194433" y="2230721"/>
            <a:ext cx="540000" cy="540000"/>
          </a:xfrm>
          <a:custGeom>
            <a:avLst/>
            <a:gdLst>
              <a:gd name="T0" fmla="*/ 1368 w 2223"/>
              <a:gd name="T1" fmla="*/ 1712 h 2223"/>
              <a:gd name="T2" fmla="*/ 1803 w 2223"/>
              <a:gd name="T3" fmla="*/ 1452 h 2223"/>
              <a:gd name="T4" fmla="*/ 801 w 2223"/>
              <a:gd name="T5" fmla="*/ 1817 h 2223"/>
              <a:gd name="T6" fmla="*/ 944 w 2223"/>
              <a:gd name="T7" fmla="*/ 1797 h 2223"/>
              <a:gd name="T8" fmla="*/ 1342 w 2223"/>
              <a:gd name="T9" fmla="*/ 1847 h 2223"/>
              <a:gd name="T10" fmla="*/ 801 w 2223"/>
              <a:gd name="T11" fmla="*/ 1817 h 2223"/>
              <a:gd name="T12" fmla="*/ 1617 w 2223"/>
              <a:gd name="T13" fmla="*/ 1055 h 2223"/>
              <a:gd name="T14" fmla="*/ 1779 w 2223"/>
              <a:gd name="T15" fmla="*/ 1321 h 2223"/>
              <a:gd name="T16" fmla="*/ 1230 w 2223"/>
              <a:gd name="T17" fmla="*/ 1334 h 2223"/>
              <a:gd name="T18" fmla="*/ 689 w 2223"/>
              <a:gd name="T19" fmla="*/ 1394 h 2223"/>
              <a:gd name="T20" fmla="*/ 852 w 2223"/>
              <a:gd name="T21" fmla="*/ 1410 h 2223"/>
              <a:gd name="T22" fmla="*/ 1277 w 2223"/>
              <a:gd name="T23" fmla="*/ 1670 h 2223"/>
              <a:gd name="T24" fmla="*/ 733 w 2223"/>
              <a:gd name="T25" fmla="*/ 1694 h 2223"/>
              <a:gd name="T26" fmla="*/ 653 w 2223"/>
              <a:gd name="T27" fmla="*/ 1675 h 2223"/>
              <a:gd name="T28" fmla="*/ 387 w 2223"/>
              <a:gd name="T29" fmla="*/ 1375 h 2223"/>
              <a:gd name="T30" fmla="*/ 619 w 2223"/>
              <a:gd name="T31" fmla="*/ 1377 h 2223"/>
              <a:gd name="T32" fmla="*/ 1294 w 2223"/>
              <a:gd name="T33" fmla="*/ 776 h 2223"/>
              <a:gd name="T34" fmla="*/ 1206 w 2223"/>
              <a:gd name="T35" fmla="*/ 1268 h 2223"/>
              <a:gd name="T36" fmla="*/ 756 w 2223"/>
              <a:gd name="T37" fmla="*/ 971 h 2223"/>
              <a:gd name="T38" fmla="*/ 1016 w 2223"/>
              <a:gd name="T39" fmla="*/ 952 h 2223"/>
              <a:gd name="T40" fmla="*/ 852 w 2223"/>
              <a:gd name="T41" fmla="*/ 1339 h 2223"/>
              <a:gd name="T42" fmla="*/ 691 w 2223"/>
              <a:gd name="T43" fmla="*/ 1323 h 2223"/>
              <a:gd name="T44" fmla="*/ 969 w 2223"/>
              <a:gd name="T45" fmla="*/ 616 h 2223"/>
              <a:gd name="T46" fmla="*/ 1058 w 2223"/>
              <a:gd name="T47" fmla="*/ 862 h 2223"/>
              <a:gd name="T48" fmla="*/ 903 w 2223"/>
              <a:gd name="T49" fmla="*/ 640 h 2223"/>
              <a:gd name="T50" fmla="*/ 845 w 2223"/>
              <a:gd name="T51" fmla="*/ 908 h 2223"/>
              <a:gd name="T52" fmla="*/ 903 w 2223"/>
              <a:gd name="T53" fmla="*/ 640 h 2223"/>
              <a:gd name="T54" fmla="*/ 855 w 2223"/>
              <a:gd name="T55" fmla="*/ 585 h 2223"/>
              <a:gd name="T56" fmla="*/ 573 w 2223"/>
              <a:gd name="T57" fmla="*/ 762 h 2223"/>
              <a:gd name="T58" fmla="*/ 815 w 2223"/>
              <a:gd name="T59" fmla="*/ 399 h 2223"/>
              <a:gd name="T60" fmla="*/ 662 w 2223"/>
              <a:gd name="T61" fmla="*/ 498 h 2223"/>
              <a:gd name="T62" fmla="*/ 815 w 2223"/>
              <a:gd name="T63" fmla="*/ 399 h 2223"/>
              <a:gd name="T64" fmla="*/ 1061 w 2223"/>
              <a:gd name="T65" fmla="*/ 352 h 2223"/>
              <a:gd name="T66" fmla="*/ 881 w 2223"/>
              <a:gd name="T67" fmla="*/ 376 h 2223"/>
              <a:gd name="T68" fmla="*/ 1028 w 2223"/>
              <a:gd name="T69" fmla="*/ 350 h 2223"/>
              <a:gd name="T70" fmla="*/ 970 w 2223"/>
              <a:gd name="T71" fmla="*/ 543 h 2223"/>
              <a:gd name="T72" fmla="*/ 1300 w 2223"/>
              <a:gd name="T73" fmla="*/ 497 h 2223"/>
              <a:gd name="T74" fmla="*/ 358 w 2223"/>
              <a:gd name="T75" fmla="*/ 1069 h 2223"/>
              <a:gd name="T76" fmla="*/ 497 w 2223"/>
              <a:gd name="T77" fmla="*/ 645 h 2223"/>
              <a:gd name="T78" fmla="*/ 689 w 2223"/>
              <a:gd name="T79" fmla="*/ 953 h 2223"/>
              <a:gd name="T80" fmla="*/ 358 w 2223"/>
              <a:gd name="T81" fmla="*/ 1069 h 2223"/>
              <a:gd name="T82" fmla="*/ 1610 w 2223"/>
              <a:gd name="T83" fmla="*/ 944 h 2223"/>
              <a:gd name="T84" fmla="*/ 1366 w 2223"/>
              <a:gd name="T85" fmla="*/ 473 h 2223"/>
              <a:gd name="T86" fmla="*/ 1642 w 2223"/>
              <a:gd name="T87" fmla="*/ 552 h 2223"/>
              <a:gd name="T88" fmla="*/ 1883 w 2223"/>
              <a:gd name="T89" fmla="*/ 1101 h 2223"/>
              <a:gd name="T90" fmla="*/ 1659 w 2223"/>
              <a:gd name="T91" fmla="*/ 997 h 2223"/>
              <a:gd name="T92" fmla="*/ 1837 w 2223"/>
              <a:gd name="T93" fmla="*/ 847 h 2223"/>
              <a:gd name="T94" fmla="*/ 1936 w 2223"/>
              <a:gd name="T95" fmla="*/ 811 h 2223"/>
              <a:gd name="T96" fmla="*/ 812 w 2223"/>
              <a:gd name="T97" fmla="*/ 287 h 2223"/>
              <a:gd name="T98" fmla="*/ 1112 w 2223"/>
              <a:gd name="T99" fmla="*/ 1989 h 2223"/>
              <a:gd name="T100" fmla="*/ 1936 w 2223"/>
              <a:gd name="T101" fmla="*/ 811 h 2223"/>
              <a:gd name="T102" fmla="*/ 0 w 2223"/>
              <a:gd name="T103" fmla="*/ 1111 h 2223"/>
              <a:gd name="T104" fmla="*/ 2223 w 2223"/>
              <a:gd name="T105" fmla="*/ 1111 h 2223"/>
              <a:gd name="T106" fmla="*/ 1112 w 2223"/>
              <a:gd name="T107" fmla="*/ 88 h 2223"/>
              <a:gd name="T108" fmla="*/ 1112 w 2223"/>
              <a:gd name="T109" fmla="*/ 2134 h 2223"/>
              <a:gd name="T110" fmla="*/ 1112 w 2223"/>
              <a:gd name="T111" fmla="*/ 88 h 2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23" h="2223">
                <a:moveTo>
                  <a:pt x="1408" y="1823"/>
                </a:moveTo>
                <a:lnTo>
                  <a:pt x="1368" y="1712"/>
                </a:lnTo>
                <a:cubicBezTo>
                  <a:pt x="1542" y="1643"/>
                  <a:pt x="1693" y="1538"/>
                  <a:pt x="1800" y="1409"/>
                </a:cubicBezTo>
                <a:cubicBezTo>
                  <a:pt x="1802" y="1424"/>
                  <a:pt x="1803" y="1439"/>
                  <a:pt x="1803" y="1452"/>
                </a:cubicBezTo>
                <a:cubicBezTo>
                  <a:pt x="1720" y="1621"/>
                  <a:pt x="1581" y="1751"/>
                  <a:pt x="1408" y="1823"/>
                </a:cubicBezTo>
                <a:close/>
                <a:moveTo>
                  <a:pt x="801" y="1817"/>
                </a:moveTo>
                <a:cubicBezTo>
                  <a:pt x="792" y="1806"/>
                  <a:pt x="784" y="1794"/>
                  <a:pt x="775" y="1782"/>
                </a:cubicBezTo>
                <a:cubicBezTo>
                  <a:pt x="830" y="1791"/>
                  <a:pt x="886" y="1797"/>
                  <a:pt x="944" y="1797"/>
                </a:cubicBezTo>
                <a:cubicBezTo>
                  <a:pt x="1061" y="1797"/>
                  <a:pt x="1182" y="1776"/>
                  <a:pt x="1302" y="1737"/>
                </a:cubicBezTo>
                <a:lnTo>
                  <a:pt x="1342" y="1847"/>
                </a:lnTo>
                <a:cubicBezTo>
                  <a:pt x="1267" y="1870"/>
                  <a:pt x="1190" y="1883"/>
                  <a:pt x="1112" y="1883"/>
                </a:cubicBezTo>
                <a:cubicBezTo>
                  <a:pt x="1003" y="1883"/>
                  <a:pt x="897" y="1859"/>
                  <a:pt x="801" y="1817"/>
                </a:cubicBezTo>
                <a:close/>
                <a:moveTo>
                  <a:pt x="1230" y="1334"/>
                </a:moveTo>
                <a:cubicBezTo>
                  <a:pt x="1392" y="1269"/>
                  <a:pt x="1526" y="1170"/>
                  <a:pt x="1617" y="1055"/>
                </a:cubicBezTo>
                <a:cubicBezTo>
                  <a:pt x="1689" y="1140"/>
                  <a:pt x="1745" y="1228"/>
                  <a:pt x="1776" y="1314"/>
                </a:cubicBezTo>
                <a:cubicBezTo>
                  <a:pt x="1777" y="1317"/>
                  <a:pt x="1778" y="1319"/>
                  <a:pt x="1779" y="1321"/>
                </a:cubicBezTo>
                <a:cubicBezTo>
                  <a:pt x="1678" y="1460"/>
                  <a:pt x="1526" y="1573"/>
                  <a:pt x="1344" y="1646"/>
                </a:cubicBezTo>
                <a:lnTo>
                  <a:pt x="1230" y="1334"/>
                </a:lnTo>
                <a:close/>
                <a:moveTo>
                  <a:pt x="733" y="1694"/>
                </a:moveTo>
                <a:cubicBezTo>
                  <a:pt x="702" y="1608"/>
                  <a:pt x="688" y="1505"/>
                  <a:pt x="689" y="1394"/>
                </a:cubicBezTo>
                <a:cubicBezTo>
                  <a:pt x="740" y="1404"/>
                  <a:pt x="794" y="1410"/>
                  <a:pt x="852" y="1410"/>
                </a:cubicBezTo>
                <a:lnTo>
                  <a:pt x="852" y="1410"/>
                </a:lnTo>
                <a:cubicBezTo>
                  <a:pt x="955" y="1410"/>
                  <a:pt x="1060" y="1392"/>
                  <a:pt x="1164" y="1358"/>
                </a:cubicBezTo>
                <a:lnTo>
                  <a:pt x="1277" y="1670"/>
                </a:lnTo>
                <a:cubicBezTo>
                  <a:pt x="1092" y="1731"/>
                  <a:pt x="901" y="1742"/>
                  <a:pt x="735" y="1701"/>
                </a:cubicBezTo>
                <a:cubicBezTo>
                  <a:pt x="735" y="1698"/>
                  <a:pt x="734" y="1696"/>
                  <a:pt x="733" y="1694"/>
                </a:cubicBezTo>
                <a:close/>
                <a:moveTo>
                  <a:pt x="619" y="1377"/>
                </a:moveTo>
                <a:cubicBezTo>
                  <a:pt x="616" y="1485"/>
                  <a:pt x="628" y="1587"/>
                  <a:pt x="653" y="1675"/>
                </a:cubicBezTo>
                <a:cubicBezTo>
                  <a:pt x="601" y="1655"/>
                  <a:pt x="555" y="1629"/>
                  <a:pt x="515" y="1599"/>
                </a:cubicBezTo>
                <a:cubicBezTo>
                  <a:pt x="461" y="1533"/>
                  <a:pt x="417" y="1458"/>
                  <a:pt x="387" y="1375"/>
                </a:cubicBezTo>
                <a:cubicBezTo>
                  <a:pt x="365" y="1315"/>
                  <a:pt x="351" y="1253"/>
                  <a:pt x="344" y="1192"/>
                </a:cubicBezTo>
                <a:cubicBezTo>
                  <a:pt x="406" y="1277"/>
                  <a:pt x="501" y="1341"/>
                  <a:pt x="619" y="1377"/>
                </a:cubicBezTo>
                <a:close/>
                <a:moveTo>
                  <a:pt x="1083" y="928"/>
                </a:moveTo>
                <a:cubicBezTo>
                  <a:pt x="1167" y="892"/>
                  <a:pt x="1241" y="839"/>
                  <a:pt x="1294" y="776"/>
                </a:cubicBezTo>
                <a:cubicBezTo>
                  <a:pt x="1396" y="842"/>
                  <a:pt x="1490" y="920"/>
                  <a:pt x="1570" y="1003"/>
                </a:cubicBezTo>
                <a:cubicBezTo>
                  <a:pt x="1486" y="1111"/>
                  <a:pt x="1360" y="1205"/>
                  <a:pt x="1206" y="1268"/>
                </a:cubicBezTo>
                <a:lnTo>
                  <a:pt x="1083" y="928"/>
                </a:lnTo>
                <a:close/>
                <a:moveTo>
                  <a:pt x="756" y="971"/>
                </a:moveTo>
                <a:cubicBezTo>
                  <a:pt x="784" y="976"/>
                  <a:pt x="814" y="979"/>
                  <a:pt x="845" y="979"/>
                </a:cubicBezTo>
                <a:cubicBezTo>
                  <a:pt x="902" y="979"/>
                  <a:pt x="959" y="970"/>
                  <a:pt x="1016" y="952"/>
                </a:cubicBezTo>
                <a:lnTo>
                  <a:pt x="1140" y="1291"/>
                </a:lnTo>
                <a:cubicBezTo>
                  <a:pt x="1044" y="1322"/>
                  <a:pt x="946" y="1339"/>
                  <a:pt x="852" y="1339"/>
                </a:cubicBezTo>
                <a:lnTo>
                  <a:pt x="852" y="1339"/>
                </a:lnTo>
                <a:cubicBezTo>
                  <a:pt x="795" y="1339"/>
                  <a:pt x="741" y="1334"/>
                  <a:pt x="691" y="1323"/>
                </a:cubicBezTo>
                <a:cubicBezTo>
                  <a:pt x="698" y="1208"/>
                  <a:pt x="721" y="1088"/>
                  <a:pt x="756" y="971"/>
                </a:cubicBezTo>
                <a:close/>
                <a:moveTo>
                  <a:pt x="969" y="616"/>
                </a:moveTo>
                <a:cubicBezTo>
                  <a:pt x="1058" y="646"/>
                  <a:pt x="1148" y="688"/>
                  <a:pt x="1233" y="738"/>
                </a:cubicBezTo>
                <a:cubicBezTo>
                  <a:pt x="1188" y="789"/>
                  <a:pt x="1128" y="832"/>
                  <a:pt x="1058" y="862"/>
                </a:cubicBezTo>
                <a:lnTo>
                  <a:pt x="969" y="616"/>
                </a:lnTo>
                <a:close/>
                <a:moveTo>
                  <a:pt x="903" y="640"/>
                </a:moveTo>
                <a:lnTo>
                  <a:pt x="992" y="886"/>
                </a:lnTo>
                <a:cubicBezTo>
                  <a:pt x="943" y="900"/>
                  <a:pt x="893" y="908"/>
                  <a:pt x="845" y="908"/>
                </a:cubicBezTo>
                <a:cubicBezTo>
                  <a:pt x="822" y="908"/>
                  <a:pt x="800" y="906"/>
                  <a:pt x="779" y="903"/>
                </a:cubicBezTo>
                <a:cubicBezTo>
                  <a:pt x="812" y="810"/>
                  <a:pt x="853" y="720"/>
                  <a:pt x="903" y="640"/>
                </a:cubicBezTo>
                <a:close/>
                <a:moveTo>
                  <a:pt x="598" y="578"/>
                </a:moveTo>
                <a:cubicBezTo>
                  <a:pt x="668" y="562"/>
                  <a:pt x="756" y="564"/>
                  <a:pt x="855" y="585"/>
                </a:cubicBezTo>
                <a:cubicBezTo>
                  <a:pt x="797" y="676"/>
                  <a:pt x="748" y="779"/>
                  <a:pt x="711" y="886"/>
                </a:cubicBezTo>
                <a:cubicBezTo>
                  <a:pt x="643" y="862"/>
                  <a:pt x="594" y="819"/>
                  <a:pt x="573" y="762"/>
                </a:cubicBezTo>
                <a:cubicBezTo>
                  <a:pt x="552" y="705"/>
                  <a:pt x="561" y="641"/>
                  <a:pt x="598" y="578"/>
                </a:cubicBezTo>
                <a:close/>
                <a:moveTo>
                  <a:pt x="815" y="399"/>
                </a:moveTo>
                <a:lnTo>
                  <a:pt x="856" y="513"/>
                </a:lnTo>
                <a:cubicBezTo>
                  <a:pt x="786" y="499"/>
                  <a:pt x="721" y="494"/>
                  <a:pt x="662" y="498"/>
                </a:cubicBezTo>
                <a:cubicBezTo>
                  <a:pt x="687" y="473"/>
                  <a:pt x="717" y="450"/>
                  <a:pt x="749" y="430"/>
                </a:cubicBezTo>
                <a:cubicBezTo>
                  <a:pt x="770" y="419"/>
                  <a:pt x="792" y="409"/>
                  <a:pt x="815" y="399"/>
                </a:cubicBezTo>
                <a:close/>
                <a:moveTo>
                  <a:pt x="1028" y="350"/>
                </a:moveTo>
                <a:cubicBezTo>
                  <a:pt x="1039" y="350"/>
                  <a:pt x="1050" y="351"/>
                  <a:pt x="1061" y="352"/>
                </a:cubicBezTo>
                <a:cubicBezTo>
                  <a:pt x="1014" y="387"/>
                  <a:pt x="967" y="433"/>
                  <a:pt x="923" y="489"/>
                </a:cubicBezTo>
                <a:lnTo>
                  <a:pt x="881" y="376"/>
                </a:lnTo>
                <a:cubicBezTo>
                  <a:pt x="905" y="368"/>
                  <a:pt x="929" y="362"/>
                  <a:pt x="953" y="357"/>
                </a:cubicBezTo>
                <a:cubicBezTo>
                  <a:pt x="978" y="353"/>
                  <a:pt x="1004" y="350"/>
                  <a:pt x="1028" y="350"/>
                </a:cubicBezTo>
                <a:close/>
                <a:moveTo>
                  <a:pt x="1274" y="681"/>
                </a:moveTo>
                <a:cubicBezTo>
                  <a:pt x="1176" y="623"/>
                  <a:pt x="1073" y="575"/>
                  <a:pt x="970" y="543"/>
                </a:cubicBezTo>
                <a:cubicBezTo>
                  <a:pt x="1032" y="463"/>
                  <a:pt x="1098" y="405"/>
                  <a:pt x="1163" y="373"/>
                </a:cubicBezTo>
                <a:cubicBezTo>
                  <a:pt x="1230" y="397"/>
                  <a:pt x="1279" y="440"/>
                  <a:pt x="1300" y="497"/>
                </a:cubicBezTo>
                <a:cubicBezTo>
                  <a:pt x="1320" y="554"/>
                  <a:pt x="1311" y="618"/>
                  <a:pt x="1274" y="681"/>
                </a:cubicBezTo>
                <a:close/>
                <a:moveTo>
                  <a:pt x="358" y="1069"/>
                </a:moveTo>
                <a:cubicBezTo>
                  <a:pt x="353" y="1054"/>
                  <a:pt x="349" y="1039"/>
                  <a:pt x="345" y="1023"/>
                </a:cubicBezTo>
                <a:cubicBezTo>
                  <a:pt x="361" y="886"/>
                  <a:pt x="414" y="755"/>
                  <a:pt x="497" y="645"/>
                </a:cubicBezTo>
                <a:cubicBezTo>
                  <a:pt x="488" y="693"/>
                  <a:pt x="490" y="741"/>
                  <a:pt x="507" y="786"/>
                </a:cubicBezTo>
                <a:cubicBezTo>
                  <a:pt x="535" y="864"/>
                  <a:pt x="601" y="922"/>
                  <a:pt x="689" y="953"/>
                </a:cubicBezTo>
                <a:cubicBezTo>
                  <a:pt x="654" y="1069"/>
                  <a:pt x="631" y="1189"/>
                  <a:pt x="622" y="1304"/>
                </a:cubicBezTo>
                <a:cubicBezTo>
                  <a:pt x="493" y="1260"/>
                  <a:pt x="398" y="1178"/>
                  <a:pt x="358" y="1069"/>
                </a:cubicBezTo>
                <a:close/>
                <a:moveTo>
                  <a:pt x="1662" y="595"/>
                </a:moveTo>
                <a:cubicBezTo>
                  <a:pt x="1702" y="706"/>
                  <a:pt x="1680" y="830"/>
                  <a:pt x="1610" y="944"/>
                </a:cubicBezTo>
                <a:cubicBezTo>
                  <a:pt x="1530" y="862"/>
                  <a:pt x="1435" y="785"/>
                  <a:pt x="1334" y="719"/>
                </a:cubicBezTo>
                <a:cubicBezTo>
                  <a:pt x="1382" y="637"/>
                  <a:pt x="1394" y="550"/>
                  <a:pt x="1366" y="473"/>
                </a:cubicBezTo>
                <a:cubicBezTo>
                  <a:pt x="1350" y="428"/>
                  <a:pt x="1321" y="390"/>
                  <a:pt x="1283" y="359"/>
                </a:cubicBezTo>
                <a:cubicBezTo>
                  <a:pt x="1418" y="390"/>
                  <a:pt x="1542" y="457"/>
                  <a:pt x="1642" y="552"/>
                </a:cubicBezTo>
                <a:cubicBezTo>
                  <a:pt x="1650" y="566"/>
                  <a:pt x="1656" y="580"/>
                  <a:pt x="1662" y="595"/>
                </a:cubicBezTo>
                <a:close/>
                <a:moveTo>
                  <a:pt x="1883" y="1101"/>
                </a:moveTo>
                <a:cubicBezTo>
                  <a:pt x="1871" y="1150"/>
                  <a:pt x="1853" y="1200"/>
                  <a:pt x="1825" y="1249"/>
                </a:cubicBezTo>
                <a:cubicBezTo>
                  <a:pt x="1788" y="1164"/>
                  <a:pt x="1731" y="1079"/>
                  <a:pt x="1659" y="997"/>
                </a:cubicBezTo>
                <a:cubicBezTo>
                  <a:pt x="1725" y="896"/>
                  <a:pt x="1759" y="786"/>
                  <a:pt x="1751" y="681"/>
                </a:cubicBezTo>
                <a:cubicBezTo>
                  <a:pt x="1786" y="732"/>
                  <a:pt x="1815" y="788"/>
                  <a:pt x="1837" y="847"/>
                </a:cubicBezTo>
                <a:cubicBezTo>
                  <a:pt x="1867" y="930"/>
                  <a:pt x="1881" y="1016"/>
                  <a:pt x="1883" y="1101"/>
                </a:cubicBezTo>
                <a:close/>
                <a:moveTo>
                  <a:pt x="1936" y="811"/>
                </a:moveTo>
                <a:cubicBezTo>
                  <a:pt x="1806" y="455"/>
                  <a:pt x="1470" y="234"/>
                  <a:pt x="1112" y="234"/>
                </a:cubicBezTo>
                <a:cubicBezTo>
                  <a:pt x="1012" y="234"/>
                  <a:pt x="911" y="251"/>
                  <a:pt x="812" y="287"/>
                </a:cubicBezTo>
                <a:cubicBezTo>
                  <a:pt x="356" y="453"/>
                  <a:pt x="121" y="956"/>
                  <a:pt x="287" y="1411"/>
                </a:cubicBezTo>
                <a:cubicBezTo>
                  <a:pt x="417" y="1768"/>
                  <a:pt x="753" y="1989"/>
                  <a:pt x="1112" y="1989"/>
                </a:cubicBezTo>
                <a:cubicBezTo>
                  <a:pt x="1211" y="1989"/>
                  <a:pt x="1313" y="1972"/>
                  <a:pt x="1412" y="1936"/>
                </a:cubicBezTo>
                <a:cubicBezTo>
                  <a:pt x="1867" y="1770"/>
                  <a:pt x="2102" y="1267"/>
                  <a:pt x="1936" y="811"/>
                </a:cubicBezTo>
                <a:close/>
                <a:moveTo>
                  <a:pt x="1112" y="0"/>
                </a:moveTo>
                <a:cubicBezTo>
                  <a:pt x="498" y="0"/>
                  <a:pt x="0" y="498"/>
                  <a:pt x="0" y="1111"/>
                </a:cubicBezTo>
                <a:cubicBezTo>
                  <a:pt x="0" y="1725"/>
                  <a:pt x="498" y="2223"/>
                  <a:pt x="1112" y="2223"/>
                </a:cubicBezTo>
                <a:cubicBezTo>
                  <a:pt x="1725" y="2223"/>
                  <a:pt x="2223" y="1725"/>
                  <a:pt x="2223" y="1111"/>
                </a:cubicBezTo>
                <a:cubicBezTo>
                  <a:pt x="2223" y="498"/>
                  <a:pt x="1725" y="0"/>
                  <a:pt x="1112" y="0"/>
                </a:cubicBezTo>
                <a:close/>
                <a:moveTo>
                  <a:pt x="1112" y="88"/>
                </a:moveTo>
                <a:cubicBezTo>
                  <a:pt x="1676" y="88"/>
                  <a:pt x="2135" y="547"/>
                  <a:pt x="2135" y="1111"/>
                </a:cubicBezTo>
                <a:cubicBezTo>
                  <a:pt x="2135" y="1675"/>
                  <a:pt x="1676" y="2134"/>
                  <a:pt x="1112" y="2134"/>
                </a:cubicBezTo>
                <a:cubicBezTo>
                  <a:pt x="547" y="2134"/>
                  <a:pt x="89" y="1675"/>
                  <a:pt x="89" y="1111"/>
                </a:cubicBezTo>
                <a:cubicBezTo>
                  <a:pt x="89" y="547"/>
                  <a:pt x="547" y="88"/>
                  <a:pt x="1112" y="88"/>
                </a:cubicBezTo>
                <a:close/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5" name="Freeform 61"/>
          <p:cNvSpPr>
            <a:spLocks noEditPoints="1"/>
          </p:cNvSpPr>
          <p:nvPr/>
        </p:nvSpPr>
        <p:spPr bwMode="auto">
          <a:xfrm>
            <a:off x="5660388" y="3307487"/>
            <a:ext cx="540000" cy="540000"/>
          </a:xfrm>
          <a:custGeom>
            <a:avLst/>
            <a:gdLst>
              <a:gd name="T0" fmla="*/ 1111 w 2222"/>
              <a:gd name="T1" fmla="*/ 463 h 2222"/>
              <a:gd name="T2" fmla="*/ 1111 w 2222"/>
              <a:gd name="T3" fmla="*/ 370 h 2222"/>
              <a:gd name="T4" fmla="*/ 713 w 2222"/>
              <a:gd name="T5" fmla="*/ 582 h 2222"/>
              <a:gd name="T6" fmla="*/ 899 w 2222"/>
              <a:gd name="T7" fmla="*/ 514 h 2222"/>
              <a:gd name="T8" fmla="*/ 1111 w 2222"/>
              <a:gd name="T9" fmla="*/ 302 h 2222"/>
              <a:gd name="T10" fmla="*/ 1323 w 2222"/>
              <a:gd name="T11" fmla="*/ 514 h 2222"/>
              <a:gd name="T12" fmla="*/ 1509 w 2222"/>
              <a:gd name="T13" fmla="*/ 582 h 2222"/>
              <a:gd name="T14" fmla="*/ 1506 w 2222"/>
              <a:gd name="T15" fmla="*/ 663 h 2222"/>
              <a:gd name="T16" fmla="*/ 713 w 2222"/>
              <a:gd name="T17" fmla="*/ 643 h 2222"/>
              <a:gd name="T18" fmla="*/ 1137 w 2222"/>
              <a:gd name="T19" fmla="*/ 845 h 2222"/>
              <a:gd name="T20" fmla="*/ 933 w 2222"/>
              <a:gd name="T21" fmla="*/ 987 h 2222"/>
              <a:gd name="T22" fmla="*/ 820 w 2222"/>
              <a:gd name="T23" fmla="*/ 937 h 2222"/>
              <a:gd name="T24" fmla="*/ 902 w 2222"/>
              <a:gd name="T25" fmla="*/ 1080 h 2222"/>
              <a:gd name="T26" fmla="*/ 964 w 2222"/>
              <a:gd name="T27" fmla="*/ 1080 h 2222"/>
              <a:gd name="T28" fmla="*/ 1137 w 2222"/>
              <a:gd name="T29" fmla="*/ 845 h 2222"/>
              <a:gd name="T30" fmla="*/ 1075 w 2222"/>
              <a:gd name="T31" fmla="*/ 1118 h 2222"/>
              <a:gd name="T32" fmla="*/ 882 w 2222"/>
              <a:gd name="T33" fmla="*/ 1210 h 2222"/>
              <a:gd name="T34" fmla="*/ 820 w 2222"/>
              <a:gd name="T35" fmla="*/ 1272 h 2222"/>
              <a:gd name="T36" fmla="*/ 933 w 2222"/>
              <a:gd name="T37" fmla="*/ 1366 h 2222"/>
              <a:gd name="T38" fmla="*/ 1137 w 2222"/>
              <a:gd name="T39" fmla="*/ 1180 h 2222"/>
              <a:gd name="T40" fmla="*/ 1509 w 2222"/>
              <a:gd name="T41" fmla="*/ 715 h 2222"/>
              <a:gd name="T42" fmla="*/ 713 w 2222"/>
              <a:gd name="T43" fmla="*/ 1678 h 2222"/>
              <a:gd name="T44" fmla="*/ 716 w 2222"/>
              <a:gd name="T45" fmla="*/ 716 h 2222"/>
              <a:gd name="T46" fmla="*/ 1509 w 2222"/>
              <a:gd name="T47" fmla="*/ 715 h 2222"/>
              <a:gd name="T48" fmla="*/ 1667 w 2222"/>
              <a:gd name="T49" fmla="*/ 1764 h 2222"/>
              <a:gd name="T50" fmla="*/ 626 w 2222"/>
              <a:gd name="T51" fmla="*/ 1834 h 2222"/>
              <a:gd name="T52" fmla="*/ 555 w 2222"/>
              <a:gd name="T53" fmla="*/ 438 h 2222"/>
              <a:gd name="T54" fmla="*/ 951 w 2222"/>
              <a:gd name="T55" fmla="*/ 367 h 2222"/>
              <a:gd name="T56" fmla="*/ 927 w 2222"/>
              <a:gd name="T57" fmla="*/ 450 h 2222"/>
              <a:gd name="T58" fmla="*/ 629 w 2222"/>
              <a:gd name="T59" fmla="*/ 1765 h 2222"/>
              <a:gd name="T60" fmla="*/ 1593 w 2222"/>
              <a:gd name="T61" fmla="*/ 450 h 2222"/>
              <a:gd name="T62" fmla="*/ 1279 w 2222"/>
              <a:gd name="T63" fmla="*/ 417 h 2222"/>
              <a:gd name="T64" fmla="*/ 1596 w 2222"/>
              <a:gd name="T65" fmla="*/ 367 h 2222"/>
              <a:gd name="T66" fmla="*/ 1111 w 2222"/>
              <a:gd name="T67" fmla="*/ 0 h 2222"/>
              <a:gd name="T68" fmla="*/ 1111 w 2222"/>
              <a:gd name="T69" fmla="*/ 2222 h 2222"/>
              <a:gd name="T70" fmla="*/ 1111 w 2222"/>
              <a:gd name="T71" fmla="*/ 0 h 2222"/>
              <a:gd name="T72" fmla="*/ 2134 w 2222"/>
              <a:gd name="T73" fmla="*/ 1111 h 2222"/>
              <a:gd name="T74" fmla="*/ 88 w 2222"/>
              <a:gd name="T75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222" h="2222">
                <a:moveTo>
                  <a:pt x="1064" y="417"/>
                </a:moveTo>
                <a:cubicBezTo>
                  <a:pt x="1064" y="443"/>
                  <a:pt x="1085" y="463"/>
                  <a:pt x="1111" y="463"/>
                </a:cubicBezTo>
                <a:cubicBezTo>
                  <a:pt x="1137" y="463"/>
                  <a:pt x="1158" y="443"/>
                  <a:pt x="1158" y="417"/>
                </a:cubicBezTo>
                <a:cubicBezTo>
                  <a:pt x="1158" y="391"/>
                  <a:pt x="1137" y="370"/>
                  <a:pt x="1111" y="370"/>
                </a:cubicBezTo>
                <a:cubicBezTo>
                  <a:pt x="1085" y="370"/>
                  <a:pt x="1064" y="391"/>
                  <a:pt x="1064" y="417"/>
                </a:cubicBezTo>
                <a:close/>
                <a:moveTo>
                  <a:pt x="713" y="582"/>
                </a:moveTo>
                <a:cubicBezTo>
                  <a:pt x="713" y="544"/>
                  <a:pt x="744" y="514"/>
                  <a:pt x="781" y="514"/>
                </a:cubicBezTo>
                <a:lnTo>
                  <a:pt x="899" y="514"/>
                </a:lnTo>
                <a:cubicBezTo>
                  <a:pt x="953" y="514"/>
                  <a:pt x="996" y="471"/>
                  <a:pt x="996" y="417"/>
                </a:cubicBezTo>
                <a:cubicBezTo>
                  <a:pt x="996" y="354"/>
                  <a:pt x="1048" y="302"/>
                  <a:pt x="1111" y="302"/>
                </a:cubicBezTo>
                <a:cubicBezTo>
                  <a:pt x="1174" y="302"/>
                  <a:pt x="1226" y="354"/>
                  <a:pt x="1226" y="417"/>
                </a:cubicBezTo>
                <a:cubicBezTo>
                  <a:pt x="1226" y="471"/>
                  <a:pt x="1269" y="514"/>
                  <a:pt x="1323" y="514"/>
                </a:cubicBezTo>
                <a:lnTo>
                  <a:pt x="1441" y="514"/>
                </a:lnTo>
                <a:cubicBezTo>
                  <a:pt x="1478" y="514"/>
                  <a:pt x="1509" y="544"/>
                  <a:pt x="1509" y="582"/>
                </a:cubicBezTo>
                <a:lnTo>
                  <a:pt x="1509" y="643"/>
                </a:lnTo>
                <a:cubicBezTo>
                  <a:pt x="1509" y="650"/>
                  <a:pt x="1508" y="657"/>
                  <a:pt x="1506" y="663"/>
                </a:cubicBezTo>
                <a:lnTo>
                  <a:pt x="716" y="663"/>
                </a:lnTo>
                <a:cubicBezTo>
                  <a:pt x="714" y="657"/>
                  <a:pt x="713" y="650"/>
                  <a:pt x="713" y="643"/>
                </a:cubicBezTo>
                <a:lnTo>
                  <a:pt x="713" y="582"/>
                </a:lnTo>
                <a:close/>
                <a:moveTo>
                  <a:pt x="1137" y="845"/>
                </a:moveTo>
                <a:cubicBezTo>
                  <a:pt x="1120" y="827"/>
                  <a:pt x="1092" y="827"/>
                  <a:pt x="1075" y="845"/>
                </a:cubicBezTo>
                <a:lnTo>
                  <a:pt x="933" y="987"/>
                </a:lnTo>
                <a:lnTo>
                  <a:pt x="882" y="937"/>
                </a:lnTo>
                <a:cubicBezTo>
                  <a:pt x="865" y="919"/>
                  <a:pt x="837" y="919"/>
                  <a:pt x="820" y="937"/>
                </a:cubicBezTo>
                <a:cubicBezTo>
                  <a:pt x="803" y="954"/>
                  <a:pt x="803" y="982"/>
                  <a:pt x="820" y="999"/>
                </a:cubicBezTo>
                <a:lnTo>
                  <a:pt x="902" y="1080"/>
                </a:lnTo>
                <a:cubicBezTo>
                  <a:pt x="910" y="1089"/>
                  <a:pt x="921" y="1093"/>
                  <a:pt x="933" y="1093"/>
                </a:cubicBezTo>
                <a:cubicBezTo>
                  <a:pt x="944" y="1093"/>
                  <a:pt x="956" y="1089"/>
                  <a:pt x="964" y="1080"/>
                </a:cubicBezTo>
                <a:lnTo>
                  <a:pt x="1137" y="907"/>
                </a:lnTo>
                <a:cubicBezTo>
                  <a:pt x="1154" y="890"/>
                  <a:pt x="1154" y="862"/>
                  <a:pt x="1137" y="845"/>
                </a:cubicBezTo>
                <a:close/>
                <a:moveTo>
                  <a:pt x="1137" y="1118"/>
                </a:moveTo>
                <a:cubicBezTo>
                  <a:pt x="1120" y="1100"/>
                  <a:pt x="1092" y="1100"/>
                  <a:pt x="1075" y="1118"/>
                </a:cubicBezTo>
                <a:lnTo>
                  <a:pt x="933" y="1260"/>
                </a:lnTo>
                <a:lnTo>
                  <a:pt x="882" y="1210"/>
                </a:lnTo>
                <a:cubicBezTo>
                  <a:pt x="865" y="1192"/>
                  <a:pt x="837" y="1192"/>
                  <a:pt x="820" y="1210"/>
                </a:cubicBezTo>
                <a:cubicBezTo>
                  <a:pt x="803" y="1227"/>
                  <a:pt x="803" y="1255"/>
                  <a:pt x="820" y="1272"/>
                </a:cubicBezTo>
                <a:lnTo>
                  <a:pt x="902" y="1353"/>
                </a:lnTo>
                <a:cubicBezTo>
                  <a:pt x="910" y="1362"/>
                  <a:pt x="921" y="1366"/>
                  <a:pt x="933" y="1366"/>
                </a:cubicBezTo>
                <a:cubicBezTo>
                  <a:pt x="944" y="1366"/>
                  <a:pt x="956" y="1362"/>
                  <a:pt x="964" y="1353"/>
                </a:cubicBezTo>
                <a:lnTo>
                  <a:pt x="1137" y="1180"/>
                </a:lnTo>
                <a:cubicBezTo>
                  <a:pt x="1154" y="1163"/>
                  <a:pt x="1154" y="1135"/>
                  <a:pt x="1137" y="1118"/>
                </a:cubicBezTo>
                <a:close/>
                <a:moveTo>
                  <a:pt x="1509" y="715"/>
                </a:moveTo>
                <a:lnTo>
                  <a:pt x="1509" y="1678"/>
                </a:lnTo>
                <a:lnTo>
                  <a:pt x="713" y="1678"/>
                </a:lnTo>
                <a:lnTo>
                  <a:pt x="713" y="715"/>
                </a:lnTo>
                <a:cubicBezTo>
                  <a:pt x="714" y="715"/>
                  <a:pt x="715" y="716"/>
                  <a:pt x="716" y="716"/>
                </a:cubicBezTo>
                <a:lnTo>
                  <a:pt x="1506" y="716"/>
                </a:lnTo>
                <a:cubicBezTo>
                  <a:pt x="1507" y="716"/>
                  <a:pt x="1508" y="715"/>
                  <a:pt x="1509" y="715"/>
                </a:cubicBezTo>
                <a:close/>
                <a:moveTo>
                  <a:pt x="1667" y="438"/>
                </a:moveTo>
                <a:lnTo>
                  <a:pt x="1667" y="1764"/>
                </a:lnTo>
                <a:cubicBezTo>
                  <a:pt x="1667" y="1803"/>
                  <a:pt x="1635" y="1834"/>
                  <a:pt x="1596" y="1834"/>
                </a:cubicBezTo>
                <a:lnTo>
                  <a:pt x="626" y="1834"/>
                </a:lnTo>
                <a:cubicBezTo>
                  <a:pt x="587" y="1834"/>
                  <a:pt x="555" y="1803"/>
                  <a:pt x="555" y="1764"/>
                </a:cubicBezTo>
                <a:lnTo>
                  <a:pt x="555" y="438"/>
                </a:lnTo>
                <a:cubicBezTo>
                  <a:pt x="555" y="399"/>
                  <a:pt x="587" y="367"/>
                  <a:pt x="626" y="367"/>
                </a:cubicBezTo>
                <a:lnTo>
                  <a:pt x="951" y="367"/>
                </a:lnTo>
                <a:cubicBezTo>
                  <a:pt x="947" y="383"/>
                  <a:pt x="943" y="400"/>
                  <a:pt x="943" y="417"/>
                </a:cubicBezTo>
                <a:cubicBezTo>
                  <a:pt x="943" y="431"/>
                  <a:pt x="936" y="442"/>
                  <a:pt x="927" y="450"/>
                </a:cubicBezTo>
                <a:lnTo>
                  <a:pt x="629" y="450"/>
                </a:lnTo>
                <a:lnTo>
                  <a:pt x="629" y="1765"/>
                </a:lnTo>
                <a:lnTo>
                  <a:pt x="1593" y="1765"/>
                </a:lnTo>
                <a:lnTo>
                  <a:pt x="1593" y="450"/>
                </a:lnTo>
                <a:lnTo>
                  <a:pt x="1295" y="450"/>
                </a:lnTo>
                <a:cubicBezTo>
                  <a:pt x="1285" y="442"/>
                  <a:pt x="1279" y="431"/>
                  <a:pt x="1279" y="417"/>
                </a:cubicBezTo>
                <a:cubicBezTo>
                  <a:pt x="1279" y="400"/>
                  <a:pt x="1275" y="383"/>
                  <a:pt x="1270" y="367"/>
                </a:cubicBezTo>
                <a:lnTo>
                  <a:pt x="1596" y="367"/>
                </a:lnTo>
                <a:cubicBezTo>
                  <a:pt x="1635" y="367"/>
                  <a:pt x="1667" y="399"/>
                  <a:pt x="1667" y="438"/>
                </a:cubicBezTo>
                <a:close/>
                <a:moveTo>
                  <a:pt x="1111" y="0"/>
                </a:moveTo>
                <a:cubicBezTo>
                  <a:pt x="497" y="0"/>
                  <a:pt x="0" y="497"/>
                  <a:pt x="0" y="1111"/>
                </a:cubicBezTo>
                <a:cubicBezTo>
                  <a:pt x="0" y="1725"/>
                  <a:pt x="497" y="2222"/>
                  <a:pt x="1111" y="2222"/>
                </a:cubicBezTo>
                <a:cubicBezTo>
                  <a:pt x="1725" y="2222"/>
                  <a:pt x="2222" y="1725"/>
                  <a:pt x="2222" y="1111"/>
                </a:cubicBezTo>
                <a:cubicBezTo>
                  <a:pt x="2222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6" name="Freeform 96"/>
          <p:cNvSpPr>
            <a:spLocks noEditPoints="1"/>
          </p:cNvSpPr>
          <p:nvPr/>
        </p:nvSpPr>
        <p:spPr bwMode="auto">
          <a:xfrm>
            <a:off x="3236336" y="4369653"/>
            <a:ext cx="540000" cy="540000"/>
          </a:xfrm>
          <a:custGeom>
            <a:avLst/>
            <a:gdLst>
              <a:gd name="T0" fmla="*/ 607 w 2223"/>
              <a:gd name="T1" fmla="*/ 1739 h 2223"/>
              <a:gd name="T2" fmla="*/ 740 w 2223"/>
              <a:gd name="T3" fmla="*/ 1456 h 2223"/>
              <a:gd name="T4" fmla="*/ 677 w 2223"/>
              <a:gd name="T5" fmla="*/ 1617 h 2223"/>
              <a:gd name="T6" fmla="*/ 714 w 2223"/>
              <a:gd name="T7" fmla="*/ 1607 h 2223"/>
              <a:gd name="T8" fmla="*/ 869 w 2223"/>
              <a:gd name="T9" fmla="*/ 1588 h 2223"/>
              <a:gd name="T10" fmla="*/ 2001 w 2223"/>
              <a:gd name="T11" fmla="*/ 1225 h 2223"/>
              <a:gd name="T12" fmla="*/ 1460 w 2223"/>
              <a:gd name="T13" fmla="*/ 1474 h 2223"/>
              <a:gd name="T14" fmla="*/ 1074 w 2223"/>
              <a:gd name="T15" fmla="*/ 1886 h 2223"/>
              <a:gd name="T16" fmla="*/ 563 w 2223"/>
              <a:gd name="T17" fmla="*/ 1872 h 2223"/>
              <a:gd name="T18" fmla="*/ 1485 w 2223"/>
              <a:gd name="T19" fmla="*/ 1635 h 2223"/>
              <a:gd name="T20" fmla="*/ 1301 w 2223"/>
              <a:gd name="T21" fmla="*/ 1391 h 2223"/>
              <a:gd name="T22" fmla="*/ 2045 w 2223"/>
              <a:gd name="T23" fmla="*/ 1181 h 2223"/>
              <a:gd name="T24" fmla="*/ 1314 w 2223"/>
              <a:gd name="T25" fmla="*/ 298 h 2223"/>
              <a:gd name="T26" fmla="*/ 1501 w 2223"/>
              <a:gd name="T27" fmla="*/ 406 h 2223"/>
              <a:gd name="T28" fmla="*/ 715 w 2223"/>
              <a:gd name="T29" fmla="*/ 1404 h 2223"/>
              <a:gd name="T30" fmla="*/ 916 w 2223"/>
              <a:gd name="T31" fmla="*/ 1415 h 2223"/>
              <a:gd name="T32" fmla="*/ 783 w 2223"/>
              <a:gd name="T33" fmla="*/ 1434 h 2223"/>
              <a:gd name="T34" fmla="*/ 1141 w 2223"/>
              <a:gd name="T35" fmla="*/ 339 h 2223"/>
              <a:gd name="T36" fmla="*/ 1216 w 2223"/>
              <a:gd name="T37" fmla="*/ 401 h 2223"/>
              <a:gd name="T38" fmla="*/ 1095 w 2223"/>
              <a:gd name="T39" fmla="*/ 441 h 2223"/>
              <a:gd name="T40" fmla="*/ 1300 w 2223"/>
              <a:gd name="T41" fmla="*/ 452 h 2223"/>
              <a:gd name="T42" fmla="*/ 1075 w 2223"/>
              <a:gd name="T43" fmla="*/ 834 h 2223"/>
              <a:gd name="T44" fmla="*/ 867 w 2223"/>
              <a:gd name="T45" fmla="*/ 1221 h 2223"/>
              <a:gd name="T46" fmla="*/ 842 w 2223"/>
              <a:gd name="T47" fmla="*/ 1185 h 2223"/>
              <a:gd name="T48" fmla="*/ 1263 w 2223"/>
              <a:gd name="T49" fmla="*/ 456 h 2223"/>
              <a:gd name="T50" fmla="*/ 835 w 2223"/>
              <a:gd name="T51" fmla="*/ 889 h 2223"/>
              <a:gd name="T52" fmla="*/ 945 w 2223"/>
              <a:gd name="T53" fmla="*/ 787 h 2223"/>
              <a:gd name="T54" fmla="*/ 852 w 2223"/>
              <a:gd name="T55" fmla="*/ 1315 h 2223"/>
              <a:gd name="T56" fmla="*/ 1275 w 2223"/>
              <a:gd name="T57" fmla="*/ 949 h 2223"/>
              <a:gd name="T58" fmla="*/ 1380 w 2223"/>
              <a:gd name="T59" fmla="*/ 399 h 2223"/>
              <a:gd name="T60" fmla="*/ 1243 w 2223"/>
              <a:gd name="T61" fmla="*/ 286 h 2223"/>
              <a:gd name="T62" fmla="*/ 1026 w 2223"/>
              <a:gd name="T63" fmla="*/ 423 h 2223"/>
              <a:gd name="T64" fmla="*/ 809 w 2223"/>
              <a:gd name="T65" fmla="*/ 808 h 2223"/>
              <a:gd name="T66" fmla="*/ 723 w 2223"/>
              <a:gd name="T67" fmla="*/ 835 h 2223"/>
              <a:gd name="T68" fmla="*/ 1112 w 2223"/>
              <a:gd name="T69" fmla="*/ 0 h 2223"/>
              <a:gd name="T70" fmla="*/ 1112 w 2223"/>
              <a:gd name="T71" fmla="*/ 2223 h 2223"/>
              <a:gd name="T72" fmla="*/ 1112 w 2223"/>
              <a:gd name="T73" fmla="*/ 0 h 2223"/>
              <a:gd name="T74" fmla="*/ 2135 w 2223"/>
              <a:gd name="T75" fmla="*/ 1111 h 2223"/>
              <a:gd name="T76" fmla="*/ 89 w 2223"/>
              <a:gd name="T77" fmla="*/ 1111 h 2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223" h="2223">
                <a:moveTo>
                  <a:pt x="869" y="1588"/>
                </a:moveTo>
                <a:lnTo>
                  <a:pt x="607" y="1739"/>
                </a:lnTo>
                <a:lnTo>
                  <a:pt x="607" y="1437"/>
                </a:lnTo>
                <a:cubicBezTo>
                  <a:pt x="634" y="1430"/>
                  <a:pt x="683" y="1430"/>
                  <a:pt x="740" y="1456"/>
                </a:cubicBezTo>
                <a:lnTo>
                  <a:pt x="668" y="1581"/>
                </a:lnTo>
                <a:cubicBezTo>
                  <a:pt x="660" y="1593"/>
                  <a:pt x="665" y="1610"/>
                  <a:pt x="677" y="1617"/>
                </a:cubicBezTo>
                <a:cubicBezTo>
                  <a:pt x="682" y="1619"/>
                  <a:pt x="686" y="1621"/>
                  <a:pt x="691" y="1621"/>
                </a:cubicBezTo>
                <a:cubicBezTo>
                  <a:pt x="700" y="1621"/>
                  <a:pt x="709" y="1616"/>
                  <a:pt x="714" y="1607"/>
                </a:cubicBezTo>
                <a:lnTo>
                  <a:pt x="786" y="1483"/>
                </a:lnTo>
                <a:cubicBezTo>
                  <a:pt x="837" y="1519"/>
                  <a:pt x="861" y="1561"/>
                  <a:pt x="869" y="1588"/>
                </a:cubicBezTo>
                <a:close/>
                <a:moveTo>
                  <a:pt x="2045" y="1181"/>
                </a:moveTo>
                <a:cubicBezTo>
                  <a:pt x="2045" y="1205"/>
                  <a:pt x="2025" y="1225"/>
                  <a:pt x="2001" y="1225"/>
                </a:cubicBezTo>
                <a:cubicBezTo>
                  <a:pt x="1581" y="1225"/>
                  <a:pt x="1389" y="1311"/>
                  <a:pt x="1389" y="1391"/>
                </a:cubicBezTo>
                <a:cubicBezTo>
                  <a:pt x="1389" y="1425"/>
                  <a:pt x="1415" y="1444"/>
                  <a:pt x="1460" y="1474"/>
                </a:cubicBezTo>
                <a:cubicBezTo>
                  <a:pt x="1511" y="1507"/>
                  <a:pt x="1574" y="1548"/>
                  <a:pt x="1574" y="1635"/>
                </a:cubicBezTo>
                <a:cubicBezTo>
                  <a:pt x="1574" y="1761"/>
                  <a:pt x="1410" y="1843"/>
                  <a:pt x="1074" y="1886"/>
                </a:cubicBezTo>
                <a:cubicBezTo>
                  <a:pt x="843" y="1916"/>
                  <a:pt x="616" y="1916"/>
                  <a:pt x="607" y="1916"/>
                </a:cubicBezTo>
                <a:cubicBezTo>
                  <a:pt x="583" y="1916"/>
                  <a:pt x="563" y="1896"/>
                  <a:pt x="563" y="1872"/>
                </a:cubicBezTo>
                <a:cubicBezTo>
                  <a:pt x="563" y="1848"/>
                  <a:pt x="583" y="1828"/>
                  <a:pt x="607" y="1828"/>
                </a:cubicBezTo>
                <a:cubicBezTo>
                  <a:pt x="1150" y="1828"/>
                  <a:pt x="1485" y="1728"/>
                  <a:pt x="1485" y="1635"/>
                </a:cubicBezTo>
                <a:cubicBezTo>
                  <a:pt x="1485" y="1598"/>
                  <a:pt x="1459" y="1578"/>
                  <a:pt x="1412" y="1547"/>
                </a:cubicBezTo>
                <a:cubicBezTo>
                  <a:pt x="1363" y="1515"/>
                  <a:pt x="1301" y="1474"/>
                  <a:pt x="1301" y="1391"/>
                </a:cubicBezTo>
                <a:cubicBezTo>
                  <a:pt x="1301" y="1162"/>
                  <a:pt x="1790" y="1137"/>
                  <a:pt x="2001" y="1137"/>
                </a:cubicBezTo>
                <a:cubicBezTo>
                  <a:pt x="2025" y="1137"/>
                  <a:pt x="2045" y="1157"/>
                  <a:pt x="2045" y="1181"/>
                </a:cubicBezTo>
                <a:close/>
                <a:moveTo>
                  <a:pt x="1501" y="406"/>
                </a:moveTo>
                <a:lnTo>
                  <a:pt x="1314" y="298"/>
                </a:lnTo>
                <a:cubicBezTo>
                  <a:pt x="1344" y="246"/>
                  <a:pt x="1410" y="228"/>
                  <a:pt x="1462" y="258"/>
                </a:cubicBezTo>
                <a:cubicBezTo>
                  <a:pt x="1514" y="288"/>
                  <a:pt x="1531" y="354"/>
                  <a:pt x="1501" y="406"/>
                </a:cubicBezTo>
                <a:close/>
                <a:moveTo>
                  <a:pt x="783" y="1434"/>
                </a:moveTo>
                <a:cubicBezTo>
                  <a:pt x="759" y="1420"/>
                  <a:pt x="736" y="1411"/>
                  <a:pt x="715" y="1404"/>
                </a:cubicBezTo>
                <a:lnTo>
                  <a:pt x="733" y="1310"/>
                </a:lnTo>
                <a:lnTo>
                  <a:pt x="916" y="1415"/>
                </a:lnTo>
                <a:lnTo>
                  <a:pt x="843" y="1478"/>
                </a:lnTo>
                <a:cubicBezTo>
                  <a:pt x="827" y="1463"/>
                  <a:pt x="808" y="1448"/>
                  <a:pt x="783" y="1434"/>
                </a:cubicBezTo>
                <a:close/>
                <a:moveTo>
                  <a:pt x="1095" y="441"/>
                </a:moveTo>
                <a:cubicBezTo>
                  <a:pt x="1111" y="379"/>
                  <a:pt x="1118" y="354"/>
                  <a:pt x="1141" y="339"/>
                </a:cubicBezTo>
                <a:cubicBezTo>
                  <a:pt x="1162" y="324"/>
                  <a:pt x="1186" y="331"/>
                  <a:pt x="1200" y="342"/>
                </a:cubicBezTo>
                <a:cubicBezTo>
                  <a:pt x="1208" y="348"/>
                  <a:pt x="1226" y="367"/>
                  <a:pt x="1216" y="401"/>
                </a:cubicBezTo>
                <a:cubicBezTo>
                  <a:pt x="1169" y="453"/>
                  <a:pt x="1098" y="540"/>
                  <a:pt x="1019" y="663"/>
                </a:cubicBezTo>
                <a:cubicBezTo>
                  <a:pt x="1062" y="566"/>
                  <a:pt x="1081" y="495"/>
                  <a:pt x="1095" y="441"/>
                </a:cubicBezTo>
                <a:close/>
                <a:moveTo>
                  <a:pt x="1263" y="456"/>
                </a:moveTo>
                <a:cubicBezTo>
                  <a:pt x="1272" y="444"/>
                  <a:pt x="1289" y="443"/>
                  <a:pt x="1300" y="452"/>
                </a:cubicBezTo>
                <a:cubicBezTo>
                  <a:pt x="1312" y="462"/>
                  <a:pt x="1313" y="478"/>
                  <a:pt x="1304" y="490"/>
                </a:cubicBezTo>
                <a:cubicBezTo>
                  <a:pt x="1303" y="491"/>
                  <a:pt x="1205" y="610"/>
                  <a:pt x="1075" y="834"/>
                </a:cubicBezTo>
                <a:cubicBezTo>
                  <a:pt x="946" y="1058"/>
                  <a:pt x="892" y="1202"/>
                  <a:pt x="892" y="1203"/>
                </a:cubicBezTo>
                <a:cubicBezTo>
                  <a:pt x="888" y="1214"/>
                  <a:pt x="877" y="1221"/>
                  <a:pt x="867" y="1221"/>
                </a:cubicBezTo>
                <a:cubicBezTo>
                  <a:pt x="864" y="1221"/>
                  <a:pt x="861" y="1220"/>
                  <a:pt x="858" y="1219"/>
                </a:cubicBezTo>
                <a:cubicBezTo>
                  <a:pt x="844" y="1214"/>
                  <a:pt x="837" y="1199"/>
                  <a:pt x="842" y="1185"/>
                </a:cubicBezTo>
                <a:cubicBezTo>
                  <a:pt x="844" y="1179"/>
                  <a:pt x="898" y="1035"/>
                  <a:pt x="1029" y="807"/>
                </a:cubicBezTo>
                <a:cubicBezTo>
                  <a:pt x="1161" y="579"/>
                  <a:pt x="1259" y="461"/>
                  <a:pt x="1263" y="456"/>
                </a:cubicBezTo>
                <a:close/>
                <a:moveTo>
                  <a:pt x="752" y="918"/>
                </a:moveTo>
                <a:cubicBezTo>
                  <a:pt x="783" y="933"/>
                  <a:pt x="820" y="920"/>
                  <a:pt x="835" y="889"/>
                </a:cubicBezTo>
                <a:cubicBezTo>
                  <a:pt x="837" y="883"/>
                  <a:pt x="839" y="878"/>
                  <a:pt x="840" y="872"/>
                </a:cubicBezTo>
                <a:cubicBezTo>
                  <a:pt x="868" y="854"/>
                  <a:pt x="909" y="826"/>
                  <a:pt x="945" y="787"/>
                </a:cubicBezTo>
                <a:cubicBezTo>
                  <a:pt x="787" y="1065"/>
                  <a:pt x="747" y="1254"/>
                  <a:pt x="747" y="1254"/>
                </a:cubicBezTo>
                <a:lnTo>
                  <a:pt x="852" y="1315"/>
                </a:lnTo>
                <a:lnTo>
                  <a:pt x="957" y="1375"/>
                </a:lnTo>
                <a:cubicBezTo>
                  <a:pt x="957" y="1375"/>
                  <a:pt x="1108" y="1240"/>
                  <a:pt x="1275" y="949"/>
                </a:cubicBezTo>
                <a:cubicBezTo>
                  <a:pt x="1443" y="658"/>
                  <a:pt x="1485" y="460"/>
                  <a:pt x="1485" y="460"/>
                </a:cubicBezTo>
                <a:lnTo>
                  <a:pt x="1380" y="399"/>
                </a:lnTo>
                <a:lnTo>
                  <a:pt x="1284" y="343"/>
                </a:lnTo>
                <a:cubicBezTo>
                  <a:pt x="1276" y="321"/>
                  <a:pt x="1262" y="301"/>
                  <a:pt x="1243" y="286"/>
                </a:cubicBezTo>
                <a:cubicBezTo>
                  <a:pt x="1201" y="254"/>
                  <a:pt x="1144" y="252"/>
                  <a:pt x="1101" y="280"/>
                </a:cubicBezTo>
                <a:cubicBezTo>
                  <a:pt x="1056" y="311"/>
                  <a:pt x="1043" y="358"/>
                  <a:pt x="1026" y="423"/>
                </a:cubicBezTo>
                <a:cubicBezTo>
                  <a:pt x="1011" y="483"/>
                  <a:pt x="989" y="565"/>
                  <a:pt x="933" y="681"/>
                </a:cubicBezTo>
                <a:cubicBezTo>
                  <a:pt x="905" y="741"/>
                  <a:pt x="847" y="784"/>
                  <a:pt x="809" y="808"/>
                </a:cubicBezTo>
                <a:cubicBezTo>
                  <a:pt x="808" y="807"/>
                  <a:pt x="807" y="807"/>
                  <a:pt x="806" y="806"/>
                </a:cubicBezTo>
                <a:cubicBezTo>
                  <a:pt x="775" y="791"/>
                  <a:pt x="738" y="804"/>
                  <a:pt x="723" y="835"/>
                </a:cubicBezTo>
                <a:cubicBezTo>
                  <a:pt x="708" y="866"/>
                  <a:pt x="721" y="903"/>
                  <a:pt x="752" y="918"/>
                </a:cubicBezTo>
                <a:close/>
                <a:moveTo>
                  <a:pt x="1112" y="0"/>
                </a:moveTo>
                <a:cubicBezTo>
                  <a:pt x="498" y="0"/>
                  <a:pt x="0" y="498"/>
                  <a:pt x="0" y="1111"/>
                </a:cubicBezTo>
                <a:cubicBezTo>
                  <a:pt x="0" y="1725"/>
                  <a:pt x="498" y="2223"/>
                  <a:pt x="1112" y="2223"/>
                </a:cubicBezTo>
                <a:cubicBezTo>
                  <a:pt x="1725" y="2223"/>
                  <a:pt x="2223" y="1725"/>
                  <a:pt x="2223" y="1111"/>
                </a:cubicBezTo>
                <a:cubicBezTo>
                  <a:pt x="2223" y="498"/>
                  <a:pt x="1725" y="0"/>
                  <a:pt x="1112" y="0"/>
                </a:cubicBezTo>
                <a:close/>
                <a:moveTo>
                  <a:pt x="1112" y="88"/>
                </a:moveTo>
                <a:cubicBezTo>
                  <a:pt x="1676" y="88"/>
                  <a:pt x="2135" y="547"/>
                  <a:pt x="2135" y="1111"/>
                </a:cubicBezTo>
                <a:cubicBezTo>
                  <a:pt x="2135" y="1675"/>
                  <a:pt x="1676" y="2134"/>
                  <a:pt x="1112" y="2134"/>
                </a:cubicBezTo>
                <a:cubicBezTo>
                  <a:pt x="547" y="2134"/>
                  <a:pt x="89" y="1675"/>
                  <a:pt x="89" y="1111"/>
                </a:cubicBezTo>
                <a:cubicBezTo>
                  <a:pt x="89" y="547"/>
                  <a:pt x="547" y="88"/>
                  <a:pt x="1112" y="88"/>
                </a:cubicBezTo>
                <a:close/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7" name="Freeform 2021"/>
          <p:cNvSpPr>
            <a:spLocks noEditPoints="1"/>
          </p:cNvSpPr>
          <p:nvPr/>
        </p:nvSpPr>
        <p:spPr bwMode="auto">
          <a:xfrm>
            <a:off x="5216153" y="4369653"/>
            <a:ext cx="540000" cy="540000"/>
          </a:xfrm>
          <a:custGeom>
            <a:avLst/>
            <a:gdLst>
              <a:gd name="T0" fmla="*/ 242 w 252"/>
              <a:gd name="T1" fmla="*/ 126 h 252"/>
              <a:gd name="T2" fmla="*/ 10 w 252"/>
              <a:gd name="T3" fmla="*/ 126 h 252"/>
              <a:gd name="T4" fmla="*/ 126 w 252"/>
              <a:gd name="T5" fmla="*/ 0 h 252"/>
              <a:gd name="T6" fmla="*/ 126 w 252"/>
              <a:gd name="T7" fmla="*/ 252 h 252"/>
              <a:gd name="T8" fmla="*/ 126 w 252"/>
              <a:gd name="T9" fmla="*/ 0 h 252"/>
              <a:gd name="T10" fmla="*/ 207 w 252"/>
              <a:gd name="T11" fmla="*/ 135 h 252"/>
              <a:gd name="T12" fmla="*/ 185 w 252"/>
              <a:gd name="T13" fmla="*/ 61 h 252"/>
              <a:gd name="T14" fmla="*/ 184 w 252"/>
              <a:gd name="T15" fmla="*/ 60 h 252"/>
              <a:gd name="T16" fmla="*/ 183 w 252"/>
              <a:gd name="T17" fmla="*/ 60 h 252"/>
              <a:gd name="T18" fmla="*/ 182 w 252"/>
              <a:gd name="T19" fmla="*/ 59 h 252"/>
              <a:gd name="T20" fmla="*/ 181 w 252"/>
              <a:gd name="T21" fmla="*/ 58 h 252"/>
              <a:gd name="T22" fmla="*/ 180 w 252"/>
              <a:gd name="T23" fmla="*/ 58 h 252"/>
              <a:gd name="T24" fmla="*/ 139 w 252"/>
              <a:gd name="T25" fmla="*/ 58 h 252"/>
              <a:gd name="T26" fmla="*/ 131 w 252"/>
              <a:gd name="T27" fmla="*/ 43 h 252"/>
              <a:gd name="T28" fmla="*/ 121 w 252"/>
              <a:gd name="T29" fmla="*/ 43 h 252"/>
              <a:gd name="T30" fmla="*/ 113 w 252"/>
              <a:gd name="T31" fmla="*/ 58 h 252"/>
              <a:gd name="T32" fmla="*/ 72 w 252"/>
              <a:gd name="T33" fmla="*/ 58 h 252"/>
              <a:gd name="T34" fmla="*/ 71 w 252"/>
              <a:gd name="T35" fmla="*/ 58 h 252"/>
              <a:gd name="T36" fmla="*/ 70 w 252"/>
              <a:gd name="T37" fmla="*/ 59 h 252"/>
              <a:gd name="T38" fmla="*/ 69 w 252"/>
              <a:gd name="T39" fmla="*/ 60 h 252"/>
              <a:gd name="T40" fmla="*/ 68 w 252"/>
              <a:gd name="T41" fmla="*/ 60 h 252"/>
              <a:gd name="T42" fmla="*/ 67 w 252"/>
              <a:gd name="T43" fmla="*/ 61 h 252"/>
              <a:gd name="T44" fmla="*/ 45 w 252"/>
              <a:gd name="T45" fmla="*/ 135 h 252"/>
              <a:gd name="T46" fmla="*/ 38 w 252"/>
              <a:gd name="T47" fmla="*/ 135 h 252"/>
              <a:gd name="T48" fmla="*/ 106 w 252"/>
              <a:gd name="T49" fmla="*/ 135 h 252"/>
              <a:gd name="T50" fmla="*/ 99 w 252"/>
              <a:gd name="T51" fmla="*/ 135 h 252"/>
              <a:gd name="T52" fmla="*/ 113 w 252"/>
              <a:gd name="T53" fmla="*/ 68 h 252"/>
              <a:gd name="T54" fmla="*/ 121 w 252"/>
              <a:gd name="T55" fmla="*/ 191 h 252"/>
              <a:gd name="T56" fmla="*/ 91 w 252"/>
              <a:gd name="T57" fmla="*/ 199 h 252"/>
              <a:gd name="T58" fmla="*/ 153 w 252"/>
              <a:gd name="T59" fmla="*/ 207 h 252"/>
              <a:gd name="T60" fmla="*/ 153 w 252"/>
              <a:gd name="T61" fmla="*/ 191 h 252"/>
              <a:gd name="T62" fmla="*/ 131 w 252"/>
              <a:gd name="T63" fmla="*/ 77 h 252"/>
              <a:gd name="T64" fmla="*/ 173 w 252"/>
              <a:gd name="T65" fmla="*/ 68 h 252"/>
              <a:gd name="T66" fmla="*/ 153 w 252"/>
              <a:gd name="T67" fmla="*/ 135 h 252"/>
              <a:gd name="T68" fmla="*/ 180 w 252"/>
              <a:gd name="T69" fmla="*/ 158 h 252"/>
              <a:gd name="T70" fmla="*/ 207 w 252"/>
              <a:gd name="T71" fmla="*/ 135 h 252"/>
              <a:gd name="T72" fmla="*/ 72 w 252"/>
              <a:gd name="T73" fmla="*/ 81 h 252"/>
              <a:gd name="T74" fmla="*/ 56 w 252"/>
              <a:gd name="T75" fmla="*/ 135 h 252"/>
              <a:gd name="T76" fmla="*/ 180 w 252"/>
              <a:gd name="T77" fmla="*/ 81 h 252"/>
              <a:gd name="T78" fmla="*/ 164 w 252"/>
              <a:gd name="T79" fmla="*/ 135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07" y="135"/>
                </a:moveTo>
                <a:cubicBezTo>
                  <a:pt x="207" y="135"/>
                  <a:pt x="207" y="135"/>
                  <a:pt x="207" y="135"/>
                </a:cubicBezTo>
                <a:cubicBezTo>
                  <a:pt x="185" y="62"/>
                  <a:pt x="185" y="62"/>
                  <a:pt x="185" y="62"/>
                </a:cubicBezTo>
                <a:cubicBezTo>
                  <a:pt x="185" y="62"/>
                  <a:pt x="185" y="62"/>
                  <a:pt x="185" y="61"/>
                </a:cubicBezTo>
                <a:cubicBezTo>
                  <a:pt x="185" y="61"/>
                  <a:pt x="185" y="61"/>
                  <a:pt x="184" y="61"/>
                </a:cubicBezTo>
                <a:cubicBezTo>
                  <a:pt x="184" y="61"/>
                  <a:pt x="184" y="61"/>
                  <a:pt x="184" y="60"/>
                </a:cubicBezTo>
                <a:cubicBezTo>
                  <a:pt x="184" y="60"/>
                  <a:pt x="184" y="60"/>
                  <a:pt x="184" y="60"/>
                </a:cubicBezTo>
                <a:cubicBezTo>
                  <a:pt x="184" y="60"/>
                  <a:pt x="183" y="60"/>
                  <a:pt x="183" y="60"/>
                </a:cubicBezTo>
                <a:cubicBezTo>
                  <a:pt x="183" y="59"/>
                  <a:pt x="183" y="59"/>
                  <a:pt x="183" y="59"/>
                </a:cubicBezTo>
                <a:cubicBezTo>
                  <a:pt x="183" y="59"/>
                  <a:pt x="182" y="59"/>
                  <a:pt x="182" y="59"/>
                </a:cubicBezTo>
                <a:cubicBezTo>
                  <a:pt x="182" y="59"/>
                  <a:pt x="182" y="59"/>
                  <a:pt x="182" y="59"/>
                </a:cubicBezTo>
                <a:cubicBezTo>
                  <a:pt x="182" y="58"/>
                  <a:pt x="182" y="58"/>
                  <a:pt x="181" y="58"/>
                </a:cubicBezTo>
                <a:cubicBezTo>
                  <a:pt x="181" y="58"/>
                  <a:pt x="181" y="58"/>
                  <a:pt x="181" y="58"/>
                </a:cubicBezTo>
                <a:cubicBezTo>
                  <a:pt x="181" y="58"/>
                  <a:pt x="181" y="58"/>
                  <a:pt x="180" y="58"/>
                </a:cubicBezTo>
                <a:cubicBezTo>
                  <a:pt x="180" y="58"/>
                  <a:pt x="180" y="58"/>
                  <a:pt x="180" y="58"/>
                </a:cubicBezTo>
                <a:cubicBezTo>
                  <a:pt x="139" y="58"/>
                  <a:pt x="139" y="58"/>
                  <a:pt x="139" y="58"/>
                </a:cubicBezTo>
                <a:cubicBezTo>
                  <a:pt x="138" y="54"/>
                  <a:pt x="135" y="51"/>
                  <a:pt x="131" y="50"/>
                </a:cubicBezTo>
                <a:cubicBezTo>
                  <a:pt x="131" y="43"/>
                  <a:pt x="131" y="43"/>
                  <a:pt x="131" y="43"/>
                </a:cubicBezTo>
                <a:cubicBezTo>
                  <a:pt x="131" y="40"/>
                  <a:pt x="129" y="38"/>
                  <a:pt x="126" y="38"/>
                </a:cubicBezTo>
                <a:cubicBezTo>
                  <a:pt x="123" y="38"/>
                  <a:pt x="121" y="40"/>
                  <a:pt x="121" y="43"/>
                </a:cubicBezTo>
                <a:cubicBezTo>
                  <a:pt x="121" y="50"/>
                  <a:pt x="121" y="50"/>
                  <a:pt x="121" y="50"/>
                </a:cubicBezTo>
                <a:cubicBezTo>
                  <a:pt x="117" y="51"/>
                  <a:pt x="114" y="54"/>
                  <a:pt x="113" y="58"/>
                </a:cubicBezTo>
                <a:cubicBezTo>
                  <a:pt x="72" y="58"/>
                  <a:pt x="72" y="58"/>
                  <a:pt x="72" y="58"/>
                </a:cubicBezTo>
                <a:cubicBezTo>
                  <a:pt x="72" y="58"/>
                  <a:pt x="72" y="58"/>
                  <a:pt x="72" y="58"/>
                </a:cubicBezTo>
                <a:cubicBezTo>
                  <a:pt x="71" y="58"/>
                  <a:pt x="71" y="58"/>
                  <a:pt x="71" y="58"/>
                </a:cubicBezTo>
                <a:cubicBezTo>
                  <a:pt x="71" y="58"/>
                  <a:pt x="71" y="58"/>
                  <a:pt x="71" y="58"/>
                </a:cubicBezTo>
                <a:cubicBezTo>
                  <a:pt x="70" y="58"/>
                  <a:pt x="70" y="58"/>
                  <a:pt x="70" y="59"/>
                </a:cubicBezTo>
                <a:cubicBezTo>
                  <a:pt x="70" y="59"/>
                  <a:pt x="70" y="59"/>
                  <a:pt x="70" y="59"/>
                </a:cubicBezTo>
                <a:cubicBezTo>
                  <a:pt x="70" y="59"/>
                  <a:pt x="69" y="59"/>
                  <a:pt x="69" y="59"/>
                </a:cubicBezTo>
                <a:cubicBezTo>
                  <a:pt x="69" y="59"/>
                  <a:pt x="69" y="59"/>
                  <a:pt x="69" y="60"/>
                </a:cubicBezTo>
                <a:cubicBezTo>
                  <a:pt x="69" y="60"/>
                  <a:pt x="68" y="60"/>
                  <a:pt x="68" y="60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61"/>
                  <a:pt x="68" y="61"/>
                  <a:pt x="68" y="61"/>
                </a:cubicBezTo>
                <a:cubicBezTo>
                  <a:pt x="67" y="61"/>
                  <a:pt x="67" y="61"/>
                  <a:pt x="67" y="61"/>
                </a:cubicBezTo>
                <a:cubicBezTo>
                  <a:pt x="67" y="62"/>
                  <a:pt x="67" y="62"/>
                  <a:pt x="67" y="62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45" y="135"/>
                  <a:pt x="45" y="135"/>
                  <a:pt x="45" y="135"/>
                </a:cubicBezTo>
                <a:cubicBezTo>
                  <a:pt x="38" y="135"/>
                  <a:pt x="38" y="135"/>
                  <a:pt x="38" y="135"/>
                </a:cubicBezTo>
                <a:cubicBezTo>
                  <a:pt x="44" y="149"/>
                  <a:pt x="57" y="158"/>
                  <a:pt x="72" y="158"/>
                </a:cubicBezTo>
                <a:cubicBezTo>
                  <a:pt x="87" y="158"/>
                  <a:pt x="100" y="149"/>
                  <a:pt x="106" y="135"/>
                </a:cubicBezTo>
                <a:cubicBezTo>
                  <a:pt x="99" y="135"/>
                  <a:pt x="99" y="135"/>
                  <a:pt x="99" y="135"/>
                </a:cubicBezTo>
                <a:cubicBezTo>
                  <a:pt x="99" y="135"/>
                  <a:pt x="99" y="135"/>
                  <a:pt x="99" y="135"/>
                </a:cubicBezTo>
                <a:cubicBezTo>
                  <a:pt x="79" y="68"/>
                  <a:pt x="79" y="68"/>
                  <a:pt x="79" y="68"/>
                </a:cubicBezTo>
                <a:cubicBezTo>
                  <a:pt x="113" y="68"/>
                  <a:pt x="113" y="68"/>
                  <a:pt x="113" y="68"/>
                </a:cubicBezTo>
                <a:cubicBezTo>
                  <a:pt x="114" y="72"/>
                  <a:pt x="117" y="75"/>
                  <a:pt x="121" y="77"/>
                </a:cubicBezTo>
                <a:cubicBezTo>
                  <a:pt x="121" y="191"/>
                  <a:pt x="121" y="191"/>
                  <a:pt x="121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5" y="191"/>
                  <a:pt x="91" y="195"/>
                  <a:pt x="91" y="199"/>
                </a:cubicBezTo>
                <a:cubicBezTo>
                  <a:pt x="91" y="204"/>
                  <a:pt x="95" y="207"/>
                  <a:pt x="99" y="207"/>
                </a:cubicBezTo>
                <a:cubicBezTo>
                  <a:pt x="153" y="207"/>
                  <a:pt x="153" y="207"/>
                  <a:pt x="153" y="207"/>
                </a:cubicBezTo>
                <a:cubicBezTo>
                  <a:pt x="157" y="207"/>
                  <a:pt x="161" y="204"/>
                  <a:pt x="161" y="199"/>
                </a:cubicBezTo>
                <a:cubicBezTo>
                  <a:pt x="161" y="195"/>
                  <a:pt x="157" y="191"/>
                  <a:pt x="153" y="191"/>
                </a:cubicBezTo>
                <a:cubicBezTo>
                  <a:pt x="131" y="191"/>
                  <a:pt x="131" y="191"/>
                  <a:pt x="131" y="191"/>
                </a:cubicBezTo>
                <a:cubicBezTo>
                  <a:pt x="131" y="77"/>
                  <a:pt x="131" y="77"/>
                  <a:pt x="131" y="77"/>
                </a:cubicBezTo>
                <a:cubicBezTo>
                  <a:pt x="135" y="75"/>
                  <a:pt x="138" y="72"/>
                  <a:pt x="139" y="68"/>
                </a:cubicBezTo>
                <a:cubicBezTo>
                  <a:pt x="173" y="68"/>
                  <a:pt x="173" y="68"/>
                  <a:pt x="173" y="68"/>
                </a:cubicBezTo>
                <a:cubicBezTo>
                  <a:pt x="153" y="135"/>
                  <a:pt x="153" y="135"/>
                  <a:pt x="153" y="135"/>
                </a:cubicBezTo>
                <a:cubicBezTo>
                  <a:pt x="153" y="135"/>
                  <a:pt x="153" y="135"/>
                  <a:pt x="153" y="135"/>
                </a:cubicBezTo>
                <a:cubicBezTo>
                  <a:pt x="146" y="135"/>
                  <a:pt x="146" y="135"/>
                  <a:pt x="146" y="135"/>
                </a:cubicBezTo>
                <a:cubicBezTo>
                  <a:pt x="152" y="149"/>
                  <a:pt x="165" y="158"/>
                  <a:pt x="180" y="158"/>
                </a:cubicBezTo>
                <a:cubicBezTo>
                  <a:pt x="195" y="158"/>
                  <a:pt x="208" y="149"/>
                  <a:pt x="214" y="135"/>
                </a:cubicBezTo>
                <a:lnTo>
                  <a:pt x="207" y="135"/>
                </a:lnTo>
                <a:close/>
                <a:moveTo>
                  <a:pt x="56" y="135"/>
                </a:moveTo>
                <a:cubicBezTo>
                  <a:pt x="72" y="81"/>
                  <a:pt x="72" y="81"/>
                  <a:pt x="72" y="81"/>
                </a:cubicBezTo>
                <a:cubicBezTo>
                  <a:pt x="88" y="135"/>
                  <a:pt x="88" y="135"/>
                  <a:pt x="88" y="135"/>
                </a:cubicBezTo>
                <a:lnTo>
                  <a:pt x="56" y="135"/>
                </a:lnTo>
                <a:close/>
                <a:moveTo>
                  <a:pt x="164" y="135"/>
                </a:moveTo>
                <a:cubicBezTo>
                  <a:pt x="180" y="81"/>
                  <a:pt x="180" y="81"/>
                  <a:pt x="180" y="81"/>
                </a:cubicBezTo>
                <a:cubicBezTo>
                  <a:pt x="196" y="135"/>
                  <a:pt x="196" y="135"/>
                  <a:pt x="196" y="135"/>
                </a:cubicBezTo>
                <a:lnTo>
                  <a:pt x="164" y="135"/>
                </a:lnTo>
                <a:close/>
              </a:path>
            </a:pathLst>
          </a:custGeom>
          <a:solidFill>
            <a:srgbClr val="007236"/>
          </a:solidFill>
          <a:ln>
            <a:noFill/>
          </a:ln>
        </p:spPr>
        <p:txBody>
          <a:bodyPr vert="horz" wrap="square" lIns="60110" tIns="30056" rIns="60110" bIns="30056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59451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792000" y="360000"/>
            <a:ext cx="792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spcBef>
                <a:spcPct val="0"/>
              </a:spcBef>
              <a:buNone/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uk-UA" dirty="0"/>
              <a:t>Кінцева модель законодавства відповідатиме принципам ЄС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58000" y="2963250"/>
            <a:ext cx="4725000" cy="945000"/>
          </a:xfrm>
          <a:prstGeom prst="rect">
            <a:avLst/>
          </a:prstGeom>
          <a:solidFill>
            <a:srgbClr val="85ADDD"/>
          </a:solidFill>
          <a:ln w="3175" cap="flat" cmpd="sng" algn="ctr">
            <a:noFill/>
            <a:prstDash val="solid"/>
          </a:ln>
          <a:effectLst/>
        </p:spPr>
        <p:txBody>
          <a:bodyPr lIns="270000" rIns="270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defRPr>
            </a:lvl1pPr>
          </a:lstStyle>
          <a:p>
            <a:pPr algn="l" defTabSz="514350"/>
            <a:r>
              <a:rPr lang="uk-UA" sz="1350" b="0" dirty="0">
                <a:solidFill>
                  <a:srgbClr val="FFFF00"/>
                </a:solidFill>
                <a:latin typeface="Arial" panose="020B0604020202020204" pitchFamily="34" charset="0"/>
              </a:rPr>
              <a:t>Директива Рада Європейських Співтовариств 88/361 (щодо заборони обмеження руху капіталу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58000" y="1829250"/>
            <a:ext cx="4725000" cy="944831"/>
          </a:xfrm>
          <a:prstGeom prst="rect">
            <a:avLst/>
          </a:prstGeom>
          <a:solidFill>
            <a:srgbClr val="0070C0"/>
          </a:solidFill>
          <a:ln w="3175" cap="flat" cmpd="sng" algn="ctr">
            <a:noFill/>
            <a:prstDash val="solid"/>
          </a:ln>
          <a:effectLst/>
        </p:spPr>
        <p:txBody>
          <a:bodyPr lIns="270000" rIns="270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defRPr>
            </a:lvl1pPr>
          </a:lstStyle>
          <a:p>
            <a:pPr algn="l">
              <a:buClr>
                <a:schemeClr val="bg2">
                  <a:lumMod val="90000"/>
                  <a:lumOff val="10000"/>
                </a:schemeClr>
              </a:buClr>
              <a:buSzPct val="153000"/>
            </a:pPr>
            <a:r>
              <a:rPr lang="uk-UA" sz="1350" dirty="0">
                <a:solidFill>
                  <a:srgbClr val="FFFF00"/>
                </a:solidFill>
                <a:latin typeface="Arial" panose="020B0604020202020204" pitchFamily="34" charset="0"/>
              </a:rPr>
              <a:t>Статті 144-147 </a:t>
            </a:r>
            <a:r>
              <a:rPr lang="uk-UA" sz="1350" b="0" dirty="0">
                <a:solidFill>
                  <a:srgbClr val="FFFF00"/>
                </a:solidFill>
                <a:latin typeface="Arial" panose="020B0604020202020204" pitchFamily="34" charset="0"/>
              </a:rPr>
              <a:t>Глави 7 Угоди </a:t>
            </a:r>
            <a:r>
              <a:rPr lang="uk-UA" sz="1350" b="0" dirty="0" smtClean="0">
                <a:solidFill>
                  <a:srgbClr val="FFFF00"/>
                </a:solidFill>
                <a:latin typeface="Arial" panose="020B0604020202020204" pitchFamily="34" charset="0"/>
              </a:rPr>
              <a:t>про </a:t>
            </a:r>
            <a:r>
              <a:rPr lang="uk-UA" sz="1350" b="0" dirty="0">
                <a:solidFill>
                  <a:srgbClr val="FFFF00"/>
                </a:solidFill>
                <a:latin typeface="Arial" panose="020B0604020202020204" pitchFamily="34" charset="0"/>
              </a:rPr>
              <a:t>асоціацію</a:t>
            </a:r>
          </a:p>
          <a:p>
            <a:pPr algn="l">
              <a:buClr>
                <a:schemeClr val="bg2">
                  <a:lumMod val="90000"/>
                  <a:lumOff val="10000"/>
                </a:schemeClr>
              </a:buClr>
              <a:buSzPct val="153000"/>
            </a:pPr>
            <a:r>
              <a:rPr lang="uk-UA" sz="1350" b="0" dirty="0">
                <a:solidFill>
                  <a:srgbClr val="FFFF00"/>
                </a:solidFill>
                <a:latin typeface="Arial" panose="020B0604020202020204" pitchFamily="34" charset="0"/>
              </a:rPr>
              <a:t>між Україною, з однієї сторони, та ЄС, ЄСАЕ і їхніми державами-членами, з іншої сторони</a:t>
            </a:r>
            <a:endParaRPr lang="uk-UA" sz="1350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158000" y="4097250"/>
            <a:ext cx="4725000" cy="945000"/>
          </a:xfrm>
          <a:prstGeom prst="rect">
            <a:avLst/>
          </a:prstGeom>
          <a:solidFill>
            <a:srgbClr val="85ADDD">
              <a:alpha val="31000"/>
            </a:srgbClr>
          </a:solidFill>
          <a:ln w="3175" cap="flat" cmpd="sng" algn="ctr">
            <a:solidFill>
              <a:srgbClr val="0136A0"/>
            </a:solidFill>
            <a:prstDash val="solid"/>
          </a:ln>
          <a:effectLst/>
        </p:spPr>
        <p:txBody>
          <a:bodyPr lIns="270000" rIns="270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defRPr>
            </a:lvl1pPr>
          </a:lstStyle>
          <a:p>
            <a:pPr algn="l" defTabSz="514350"/>
            <a:r>
              <a:rPr lang="uk-UA" sz="1350" b="0" dirty="0">
                <a:latin typeface="Arial" panose="020B0604020202020204" pitchFamily="34" charset="0"/>
              </a:rPr>
              <a:t>Звіт FATF Money </a:t>
            </a:r>
            <a:r>
              <a:rPr lang="uk-UA" sz="1350" b="0" dirty="0" err="1">
                <a:latin typeface="Arial" panose="020B0604020202020204" pitchFamily="34" charset="0"/>
              </a:rPr>
              <a:t>Laundering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Through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the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Physical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Transportation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of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err="1">
                <a:latin typeface="Arial" panose="020B0604020202020204" pitchFamily="34" charset="0"/>
              </a:rPr>
              <a:t>Cash</a:t>
            </a:r>
            <a:r>
              <a:rPr lang="uk-UA" sz="1350" b="0" dirty="0">
                <a:latin typeface="Arial" panose="020B0604020202020204" pitchFamily="34" charset="0"/>
              </a:rPr>
              <a:t> </a:t>
            </a:r>
            <a:r>
              <a:rPr lang="uk-UA" sz="1350" b="0" dirty="0" smtClean="0">
                <a:latin typeface="Arial" panose="020B0604020202020204" pitchFamily="34" charset="0"/>
              </a:rPr>
              <a:t>(жовтень 2015, щодо контролю за переміщенням готівки)</a:t>
            </a:r>
            <a:endParaRPr lang="uk-UA" sz="135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" name="Oval 73"/>
          <p:cNvSpPr>
            <a:spLocks noChangeArrowheads="1"/>
          </p:cNvSpPr>
          <p:nvPr/>
        </p:nvSpPr>
        <p:spPr bwMode="gray">
          <a:xfrm>
            <a:off x="3994497" y="2138283"/>
            <a:ext cx="327004" cy="326935"/>
          </a:xfrm>
          <a:prstGeom prst="ellipse">
            <a:avLst/>
          </a:prstGeom>
          <a:solidFill>
            <a:srgbClr val="0136A0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de-DE" sz="1500" b="1" dirty="0">
                <a:solidFill>
                  <a:srgbClr val="FEEE00"/>
                </a:solidFill>
                <a:cs typeface="Arial" charset="0"/>
                <a:sym typeface="Wingdings" panose="05000000000000000000" pitchFamily="2" charset="2"/>
              </a:rPr>
              <a:t></a:t>
            </a:r>
            <a:endParaRPr lang="de-DE" sz="1500" b="1" dirty="0">
              <a:solidFill>
                <a:srgbClr val="FEEE00"/>
              </a:solidFill>
              <a:cs typeface="Arial" charset="0"/>
            </a:endParaRPr>
          </a:p>
        </p:txBody>
      </p:sp>
      <p:sp>
        <p:nvSpPr>
          <p:cNvPr id="23" name="Oval 73"/>
          <p:cNvSpPr>
            <a:spLocks noChangeArrowheads="1"/>
          </p:cNvSpPr>
          <p:nvPr/>
        </p:nvSpPr>
        <p:spPr bwMode="gray">
          <a:xfrm>
            <a:off x="3994498" y="4406283"/>
            <a:ext cx="327004" cy="326935"/>
          </a:xfrm>
          <a:prstGeom prst="ellipse">
            <a:avLst/>
          </a:prstGeom>
          <a:solidFill>
            <a:srgbClr val="0136A0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de-DE" sz="1500" b="1" dirty="0">
                <a:solidFill>
                  <a:srgbClr val="FEEE00"/>
                </a:solidFill>
                <a:cs typeface="Arial" charset="0"/>
                <a:sym typeface="Wingdings" panose="05000000000000000000" pitchFamily="2" charset="2"/>
              </a:rPr>
              <a:t></a:t>
            </a:r>
            <a:endParaRPr lang="de-DE" sz="1500" b="1" dirty="0">
              <a:solidFill>
                <a:srgbClr val="FEEE00"/>
              </a:solidFill>
              <a:cs typeface="Arial" charset="0"/>
            </a:endParaRPr>
          </a:p>
        </p:txBody>
      </p:sp>
      <p:sp>
        <p:nvSpPr>
          <p:cNvPr id="24" name="Oval 73"/>
          <p:cNvSpPr>
            <a:spLocks noChangeArrowheads="1"/>
          </p:cNvSpPr>
          <p:nvPr/>
        </p:nvSpPr>
        <p:spPr bwMode="gray">
          <a:xfrm>
            <a:off x="3994498" y="3272283"/>
            <a:ext cx="327004" cy="326935"/>
          </a:xfrm>
          <a:prstGeom prst="ellipse">
            <a:avLst/>
          </a:prstGeom>
          <a:solidFill>
            <a:srgbClr val="0136A0"/>
          </a:solidFill>
          <a:ln w="3175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de-DE" sz="1500" b="1" dirty="0">
                <a:solidFill>
                  <a:srgbClr val="FEEE00"/>
                </a:solidFill>
                <a:cs typeface="Arial" charset="0"/>
                <a:sym typeface="Wingdings" panose="05000000000000000000" pitchFamily="2" charset="2"/>
              </a:rPr>
              <a:t></a:t>
            </a:r>
            <a:endParaRPr lang="de-DE" sz="1500" b="1" dirty="0">
              <a:solidFill>
                <a:srgbClr val="FEEE00"/>
              </a:solidFill>
              <a:cs typeface="Arial" charset="0"/>
            </a:endParaRPr>
          </a:p>
        </p:txBody>
      </p:sp>
      <p:sp>
        <p:nvSpPr>
          <p:cNvPr id="5" name="Овал 4"/>
          <p:cNvSpPr/>
          <p:nvPr/>
        </p:nvSpPr>
        <p:spPr bwMode="auto">
          <a:xfrm rot="19711679">
            <a:off x="527324" y="1687463"/>
            <a:ext cx="3240000" cy="3240000"/>
          </a:xfrm>
          <a:prstGeom prst="ellipse">
            <a:avLst/>
          </a:prstGeom>
          <a:blipFill dpi="0" rotWithShape="1">
            <a:blip r:embed="rId2">
              <a:lum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6123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/>
              <a:t>Проект Закону «Про валюту» підтриманий світовими та українськими партнерам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47" y="1417651"/>
            <a:ext cx="1012255" cy="702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173975" y="1353152"/>
            <a:ext cx="2770310" cy="83099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Європейська </a:t>
            </a:r>
          </a:p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Комісія:</a:t>
            </a:r>
          </a:p>
          <a:p>
            <a:r>
              <a:rPr lang="en-US" sz="1050" i="1" dirty="0"/>
              <a:t>…is a fair step towards the implementation </a:t>
            </a:r>
          </a:p>
          <a:p>
            <a:r>
              <a:rPr lang="en-US" sz="1050" i="1" dirty="0"/>
              <a:t>of the Association Agreement…</a:t>
            </a:r>
            <a:endParaRPr lang="uk-UA" sz="1050" i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597" y="2036960"/>
            <a:ext cx="814990" cy="81499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66" r="59168" b="19326"/>
          <a:stretch/>
        </p:blipFill>
        <p:spPr>
          <a:xfrm>
            <a:off x="5104318" y="3979101"/>
            <a:ext cx="823734" cy="80704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07" y="2978350"/>
            <a:ext cx="1008409" cy="58613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033040" y="1844291"/>
            <a:ext cx="2866490" cy="115416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Американська </a:t>
            </a:r>
          </a:p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торгова палата:</a:t>
            </a:r>
          </a:p>
          <a:p>
            <a:r>
              <a:rPr lang="ru-RU" sz="1050" i="1" dirty="0" smtClean="0"/>
              <a:t>…</a:t>
            </a:r>
            <a:r>
              <a:rPr lang="ru-RU" sz="1050" i="1" dirty="0" err="1" smtClean="0"/>
              <a:t>валютна</a:t>
            </a:r>
            <a:r>
              <a:rPr lang="ru-RU" sz="1050" i="1" dirty="0" smtClean="0"/>
              <a:t> </a:t>
            </a:r>
            <a:r>
              <a:rPr lang="ru-RU" sz="1050" i="1" dirty="0" err="1" smtClean="0"/>
              <a:t>лібералізація</a:t>
            </a:r>
            <a:r>
              <a:rPr lang="ru-RU" sz="1050" i="1" dirty="0" smtClean="0"/>
              <a:t> є </a:t>
            </a:r>
            <a:r>
              <a:rPr lang="ru-RU" sz="1050" i="1" dirty="0" err="1" smtClean="0"/>
              <a:t>ключовим</a:t>
            </a:r>
            <a:r>
              <a:rPr lang="ru-RU" sz="1050" i="1" dirty="0" smtClean="0"/>
              <a:t> </a:t>
            </a:r>
          </a:p>
          <a:p>
            <a:r>
              <a:rPr lang="ru-RU" sz="1050" i="1" dirty="0" err="1" smtClean="0"/>
              <a:t>кроком</a:t>
            </a:r>
            <a:r>
              <a:rPr lang="ru-RU" sz="1050" i="1" dirty="0" smtClean="0"/>
              <a:t> для </a:t>
            </a:r>
            <a:r>
              <a:rPr lang="ru-RU" sz="1050" i="1" dirty="0" err="1" smtClean="0"/>
              <a:t>сталого</a:t>
            </a:r>
            <a:r>
              <a:rPr lang="ru-RU" sz="1050" i="1" dirty="0" smtClean="0"/>
              <a:t> </a:t>
            </a:r>
            <a:r>
              <a:rPr lang="ru-RU" sz="1050" i="1" dirty="0" err="1" smtClean="0"/>
              <a:t>відновлення</a:t>
            </a:r>
            <a:r>
              <a:rPr lang="ru-RU" sz="1050" i="1" dirty="0" smtClean="0"/>
              <a:t> </a:t>
            </a:r>
            <a:r>
              <a:rPr lang="ru-RU" sz="1050" i="1" dirty="0" err="1" smtClean="0"/>
              <a:t>України</a:t>
            </a:r>
            <a:r>
              <a:rPr lang="ru-RU" sz="1050" i="1" dirty="0" smtClean="0"/>
              <a:t>. </a:t>
            </a:r>
          </a:p>
          <a:p>
            <a:r>
              <a:rPr lang="ru-RU" sz="1050" i="1" dirty="0" smtClean="0"/>
              <a:t>Ми </a:t>
            </a:r>
            <a:r>
              <a:rPr lang="ru-RU" sz="1050" i="1" dirty="0" err="1" smtClean="0"/>
              <a:t>вітаємо</a:t>
            </a:r>
            <a:r>
              <a:rPr lang="ru-RU" sz="1050" i="1" dirty="0" smtClean="0"/>
              <a:t> </a:t>
            </a:r>
            <a:r>
              <a:rPr lang="ru-RU" sz="1050" i="1" dirty="0" err="1" smtClean="0"/>
              <a:t>прийняття</a:t>
            </a:r>
            <a:r>
              <a:rPr lang="ru-RU" sz="1050" i="1" dirty="0" smtClean="0"/>
              <a:t> парламентом </a:t>
            </a:r>
          </a:p>
          <a:p>
            <a:r>
              <a:rPr lang="ru-RU" sz="1050" i="1" dirty="0" smtClean="0"/>
              <a:t>проекту Закону </a:t>
            </a:r>
            <a:r>
              <a:rPr lang="ru-RU" sz="1050" i="1" dirty="0" err="1" smtClean="0"/>
              <a:t>України</a:t>
            </a:r>
            <a:r>
              <a:rPr lang="ru-RU" sz="1050" i="1" dirty="0" smtClean="0"/>
              <a:t> «Про валюту»…</a:t>
            </a:r>
            <a:endParaRPr lang="uk-UA" sz="1050" dirty="0"/>
          </a:p>
        </p:txBody>
      </p:sp>
      <p:sp>
        <p:nvSpPr>
          <p:cNvPr id="13" name="TextBox 12"/>
          <p:cNvSpPr txBox="1"/>
          <p:nvPr/>
        </p:nvSpPr>
        <p:spPr>
          <a:xfrm>
            <a:off x="2207639" y="2759411"/>
            <a:ext cx="2621230" cy="120032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Європейська </a:t>
            </a:r>
          </a:p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бізнес асоціація:</a:t>
            </a:r>
          </a:p>
          <a:p>
            <a:r>
              <a:rPr lang="ru-RU" sz="1050" i="1" dirty="0"/>
              <a:t>…буде </a:t>
            </a:r>
            <a:r>
              <a:rPr lang="ru-RU" sz="1050" i="1" dirty="0" err="1"/>
              <a:t>єдиним</a:t>
            </a:r>
            <a:r>
              <a:rPr lang="ru-RU" sz="1050" i="1" dirty="0"/>
              <a:t> </a:t>
            </a:r>
            <a:r>
              <a:rPr lang="ru-RU" sz="1050" i="1" dirty="0" err="1"/>
              <a:t>рамковим</a:t>
            </a:r>
            <a:r>
              <a:rPr lang="ru-RU" sz="1050" i="1" dirty="0"/>
              <a:t> законом, </a:t>
            </a:r>
            <a:r>
              <a:rPr lang="ru-RU" sz="1050" i="1" dirty="0" err="1"/>
              <a:t>що</a:t>
            </a:r>
            <a:r>
              <a:rPr lang="ru-RU" sz="1050" i="1" dirty="0"/>
              <a:t> </a:t>
            </a:r>
          </a:p>
          <a:p>
            <a:r>
              <a:rPr lang="ru-RU" sz="1050" i="1" dirty="0" err="1"/>
              <a:t>регулюватиме</a:t>
            </a:r>
            <a:r>
              <a:rPr lang="ru-RU" sz="1050" i="1" dirty="0"/>
              <a:t> </a:t>
            </a:r>
            <a:r>
              <a:rPr lang="ru-RU" sz="1050" i="1" dirty="0" err="1"/>
              <a:t>питання</a:t>
            </a:r>
            <a:r>
              <a:rPr lang="ru-RU" sz="1050" i="1" dirty="0"/>
              <a:t> </a:t>
            </a:r>
            <a:r>
              <a:rPr lang="ru-RU" sz="1050" i="1" dirty="0" err="1"/>
              <a:t>організації</a:t>
            </a:r>
            <a:endParaRPr lang="ru-RU" sz="1050" i="1" dirty="0"/>
          </a:p>
          <a:p>
            <a:r>
              <a:rPr lang="ru-RU" sz="1050" i="1" dirty="0"/>
              <a:t>валютного </a:t>
            </a:r>
            <a:r>
              <a:rPr lang="ru-RU" sz="1050" i="1" dirty="0" err="1"/>
              <a:t>регулювання</a:t>
            </a:r>
            <a:r>
              <a:rPr lang="ru-RU" sz="1050" i="1" dirty="0"/>
              <a:t>.</a:t>
            </a:r>
            <a:endParaRPr lang="uk-UA" sz="1050" dirty="0"/>
          </a:p>
          <a:p>
            <a:endParaRPr lang="uk-UA" sz="135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70324" y="3886336"/>
            <a:ext cx="2438488" cy="99257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Незалежна асоціація</a:t>
            </a:r>
          </a:p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банків України:</a:t>
            </a:r>
          </a:p>
          <a:p>
            <a:r>
              <a:rPr lang="uk-UA" sz="1050" i="1" dirty="0"/>
              <a:t>…Закладає необхідну основу для </a:t>
            </a:r>
          </a:p>
          <a:p>
            <a:r>
              <a:rPr lang="uk-UA" sz="1050" i="1" dirty="0"/>
              <a:t>ефективної </a:t>
            </a:r>
            <a:r>
              <a:rPr lang="uk-UA" sz="1050" i="1" dirty="0" err="1"/>
              <a:t>дебюрократизації</a:t>
            </a:r>
            <a:r>
              <a:rPr lang="uk-UA" sz="1050" i="1" dirty="0"/>
              <a:t> </a:t>
            </a:r>
          </a:p>
          <a:p>
            <a:r>
              <a:rPr lang="uk-UA" sz="1050" i="1" dirty="0"/>
              <a:t>процедур валютного регулювання</a:t>
            </a:r>
            <a:r>
              <a:rPr lang="ru-RU" sz="1050" i="1" dirty="0"/>
              <a:t>.</a:t>
            </a:r>
            <a:endParaRPr lang="uk-UA" sz="105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16" y="4604139"/>
            <a:ext cx="756000" cy="756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225650" y="4536572"/>
            <a:ext cx="2666960" cy="99257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Європейський банк реконструкції і розвитку:</a:t>
            </a:r>
          </a:p>
          <a:p>
            <a:r>
              <a:rPr lang="en-US" sz="1050" i="1" dirty="0"/>
              <a:t>…endeavor to attract foreign investments, create the right conditions for efficient allocation of capital…</a:t>
            </a:r>
            <a:endParaRPr lang="uk-UA" sz="135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01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00" y="189000"/>
            <a:ext cx="8584067" cy="602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561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584723" y="2976563"/>
            <a:ext cx="7559278" cy="620316"/>
          </a:xfrm>
        </p:spPr>
        <p:txBody>
          <a:bodyPr>
            <a:normAutofit/>
          </a:bodyPr>
          <a:lstStyle/>
          <a:p>
            <a:r>
              <a:rPr lang="uk-UA" sz="2700" i="1" dirty="0">
                <a:solidFill>
                  <a:srgbClr val="1C7A3B"/>
                </a:solidFill>
              </a:rPr>
              <a:t>Додатки</a:t>
            </a:r>
          </a:p>
        </p:txBody>
      </p:sp>
    </p:spTree>
    <p:extLst>
      <p:ext uri="{BB962C8B-B14F-4D97-AF65-F5344CB8AC3E}">
        <p14:creationId xmlns:p14="http://schemas.microsoft.com/office/powerpoint/2010/main" val="2141692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33114" y="148070"/>
            <a:ext cx="7735482" cy="622912"/>
          </a:xfr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uk-UA" sz="1693" dirty="0"/>
              <a:t>Поступова лібералізація є найбільш прийнятною для Україн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55571" y="2419589"/>
            <a:ext cx="3290718" cy="522261"/>
          </a:xfrm>
          <a:prstGeom prst="rect">
            <a:avLst/>
          </a:prstGeom>
          <a:pattFill prst="ltUpDiag">
            <a:fgClr>
              <a:schemeClr val="accent3">
                <a:lumMod val="20000"/>
                <a:lumOff val="80000"/>
              </a:schemeClr>
            </a:fgClr>
            <a:bgClr>
              <a:schemeClr val="bg1"/>
            </a:bgClr>
          </a:patt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40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874022" y="4635305"/>
            <a:ext cx="230129" cy="230129"/>
          </a:xfrm>
          <a:prstGeom prst="rect">
            <a:avLst/>
          </a:prstGeom>
          <a:solidFill>
            <a:schemeClr val="accent6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40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48"/>
          <p:cNvSpPr/>
          <p:nvPr/>
        </p:nvSpPr>
        <p:spPr>
          <a:xfrm>
            <a:off x="3179023" y="4656723"/>
            <a:ext cx="1691326" cy="18729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Неуспішний досвід</a:t>
            </a:r>
          </a:p>
        </p:txBody>
      </p:sp>
      <p:sp>
        <p:nvSpPr>
          <p:cNvPr id="21" name="Rectangle 48"/>
          <p:cNvSpPr/>
          <p:nvPr/>
        </p:nvSpPr>
        <p:spPr>
          <a:xfrm>
            <a:off x="3186697" y="4919604"/>
            <a:ext cx="1977610" cy="374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Період проведення лібералізації</a:t>
            </a:r>
          </a:p>
        </p:txBody>
      </p:sp>
      <p:pic>
        <p:nvPicPr>
          <p:cNvPr id="22" name="Picture 41" descr="https://cs7050.vk.me/c404422/u120095802/docs/38a94ae34205/calendar.png?extra=UDhPDgvfinLbyHR6S_G7pyjaEsmhsVgZzafOrJgg9FWlHatJu6z9V78R2wr9M7cfGsElkna0IvNjVhuUUKXaJ6afmmg5Bvd2Qo7hlVIFgbLFKm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934" y="4931840"/>
            <a:ext cx="350197" cy="3501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Группа 22"/>
          <p:cNvGrpSpPr/>
          <p:nvPr/>
        </p:nvGrpSpPr>
        <p:grpSpPr>
          <a:xfrm>
            <a:off x="277347" y="1261706"/>
            <a:ext cx="4861696" cy="2782705"/>
            <a:chOff x="821441" y="2187153"/>
            <a:chExt cx="5191835" cy="2971668"/>
          </a:xfrm>
        </p:grpSpPr>
        <p:sp>
          <p:nvSpPr>
            <p:cNvPr id="24" name="Freeform 4"/>
            <p:cNvSpPr>
              <a:spLocks noChangeAspect="1"/>
            </p:cNvSpPr>
            <p:nvPr/>
          </p:nvSpPr>
          <p:spPr bwMode="gray">
            <a:xfrm>
              <a:off x="3210662" y="4041474"/>
              <a:ext cx="64716" cy="95093"/>
            </a:xfrm>
            <a:custGeom>
              <a:avLst/>
              <a:gdLst/>
              <a:ahLst/>
              <a:cxnLst>
                <a:cxn ang="0">
                  <a:pos x="239" y="279"/>
                </a:cxn>
                <a:cxn ang="0">
                  <a:pos x="215" y="252"/>
                </a:cxn>
                <a:cxn ang="0">
                  <a:pos x="209" y="231"/>
                </a:cxn>
                <a:cxn ang="0">
                  <a:pos x="209" y="188"/>
                </a:cxn>
                <a:cxn ang="0">
                  <a:pos x="204" y="114"/>
                </a:cxn>
                <a:cxn ang="0">
                  <a:pos x="200" y="95"/>
                </a:cxn>
                <a:cxn ang="0">
                  <a:pos x="194" y="68"/>
                </a:cxn>
                <a:cxn ang="0">
                  <a:pos x="187" y="48"/>
                </a:cxn>
                <a:cxn ang="0">
                  <a:pos x="176" y="33"/>
                </a:cxn>
                <a:cxn ang="0">
                  <a:pos x="166" y="21"/>
                </a:cxn>
                <a:cxn ang="0">
                  <a:pos x="170" y="11"/>
                </a:cxn>
                <a:cxn ang="0">
                  <a:pos x="172" y="5"/>
                </a:cxn>
                <a:cxn ang="0">
                  <a:pos x="162" y="3"/>
                </a:cxn>
                <a:cxn ang="0">
                  <a:pos x="145" y="3"/>
                </a:cxn>
                <a:cxn ang="0">
                  <a:pos x="129" y="12"/>
                </a:cxn>
                <a:cxn ang="0">
                  <a:pos x="86" y="6"/>
                </a:cxn>
                <a:cxn ang="0">
                  <a:pos x="47" y="5"/>
                </a:cxn>
                <a:cxn ang="0">
                  <a:pos x="19" y="8"/>
                </a:cxn>
                <a:cxn ang="0">
                  <a:pos x="14" y="24"/>
                </a:cxn>
                <a:cxn ang="0">
                  <a:pos x="20" y="35"/>
                </a:cxn>
                <a:cxn ang="0">
                  <a:pos x="24" y="44"/>
                </a:cxn>
                <a:cxn ang="0">
                  <a:pos x="25" y="65"/>
                </a:cxn>
                <a:cxn ang="0">
                  <a:pos x="25" y="82"/>
                </a:cxn>
                <a:cxn ang="0">
                  <a:pos x="28" y="95"/>
                </a:cxn>
                <a:cxn ang="0">
                  <a:pos x="30" y="103"/>
                </a:cxn>
                <a:cxn ang="0">
                  <a:pos x="25" y="111"/>
                </a:cxn>
                <a:cxn ang="0">
                  <a:pos x="31" y="116"/>
                </a:cxn>
                <a:cxn ang="0">
                  <a:pos x="41" y="159"/>
                </a:cxn>
                <a:cxn ang="0">
                  <a:pos x="36" y="165"/>
                </a:cxn>
                <a:cxn ang="0">
                  <a:pos x="28" y="171"/>
                </a:cxn>
                <a:cxn ang="0">
                  <a:pos x="22" y="182"/>
                </a:cxn>
                <a:cxn ang="0">
                  <a:pos x="14" y="204"/>
                </a:cxn>
                <a:cxn ang="0">
                  <a:pos x="11" y="220"/>
                </a:cxn>
                <a:cxn ang="0">
                  <a:pos x="1" y="234"/>
                </a:cxn>
                <a:cxn ang="0">
                  <a:pos x="0" y="259"/>
                </a:cxn>
                <a:cxn ang="0">
                  <a:pos x="11" y="295"/>
                </a:cxn>
                <a:cxn ang="0">
                  <a:pos x="22" y="301"/>
                </a:cxn>
                <a:cxn ang="0">
                  <a:pos x="27" y="315"/>
                </a:cxn>
                <a:cxn ang="0">
                  <a:pos x="21" y="331"/>
                </a:cxn>
                <a:cxn ang="0">
                  <a:pos x="11" y="328"/>
                </a:cxn>
                <a:cxn ang="0">
                  <a:pos x="5" y="336"/>
                </a:cxn>
                <a:cxn ang="0">
                  <a:pos x="67" y="356"/>
                </a:cxn>
                <a:cxn ang="0">
                  <a:pos x="95" y="338"/>
                </a:cxn>
                <a:cxn ang="0">
                  <a:pos x="137" y="328"/>
                </a:cxn>
                <a:cxn ang="0">
                  <a:pos x="183" y="302"/>
                </a:cxn>
                <a:cxn ang="0">
                  <a:pos x="196" y="300"/>
                </a:cxn>
                <a:cxn ang="0">
                  <a:pos x="219" y="300"/>
                </a:cxn>
                <a:cxn ang="0">
                  <a:pos x="240" y="283"/>
                </a:cxn>
              </a:cxnLst>
              <a:rect l="0" t="0" r="r" b="b"/>
              <a:pathLst>
                <a:path w="242" h="356">
                  <a:moveTo>
                    <a:pt x="242" y="281"/>
                  </a:moveTo>
                  <a:lnTo>
                    <a:pt x="239" y="279"/>
                  </a:lnTo>
                  <a:lnTo>
                    <a:pt x="223" y="262"/>
                  </a:lnTo>
                  <a:lnTo>
                    <a:pt x="215" y="252"/>
                  </a:lnTo>
                  <a:lnTo>
                    <a:pt x="210" y="241"/>
                  </a:lnTo>
                  <a:lnTo>
                    <a:pt x="209" y="231"/>
                  </a:lnTo>
                  <a:lnTo>
                    <a:pt x="208" y="209"/>
                  </a:lnTo>
                  <a:lnTo>
                    <a:pt x="209" y="188"/>
                  </a:lnTo>
                  <a:lnTo>
                    <a:pt x="205" y="148"/>
                  </a:lnTo>
                  <a:lnTo>
                    <a:pt x="204" y="114"/>
                  </a:lnTo>
                  <a:lnTo>
                    <a:pt x="203" y="101"/>
                  </a:lnTo>
                  <a:lnTo>
                    <a:pt x="200" y="95"/>
                  </a:lnTo>
                  <a:lnTo>
                    <a:pt x="196" y="89"/>
                  </a:lnTo>
                  <a:lnTo>
                    <a:pt x="194" y="68"/>
                  </a:lnTo>
                  <a:lnTo>
                    <a:pt x="191" y="53"/>
                  </a:lnTo>
                  <a:lnTo>
                    <a:pt x="187" y="48"/>
                  </a:lnTo>
                  <a:lnTo>
                    <a:pt x="180" y="41"/>
                  </a:lnTo>
                  <a:lnTo>
                    <a:pt x="176" y="33"/>
                  </a:lnTo>
                  <a:lnTo>
                    <a:pt x="167" y="27"/>
                  </a:lnTo>
                  <a:lnTo>
                    <a:pt x="166" y="21"/>
                  </a:lnTo>
                  <a:lnTo>
                    <a:pt x="170" y="16"/>
                  </a:lnTo>
                  <a:lnTo>
                    <a:pt x="170" y="11"/>
                  </a:lnTo>
                  <a:lnTo>
                    <a:pt x="173" y="6"/>
                  </a:lnTo>
                  <a:lnTo>
                    <a:pt x="172" y="5"/>
                  </a:lnTo>
                  <a:lnTo>
                    <a:pt x="164" y="4"/>
                  </a:lnTo>
                  <a:lnTo>
                    <a:pt x="162" y="3"/>
                  </a:lnTo>
                  <a:lnTo>
                    <a:pt x="162" y="0"/>
                  </a:lnTo>
                  <a:lnTo>
                    <a:pt x="145" y="3"/>
                  </a:lnTo>
                  <a:lnTo>
                    <a:pt x="133" y="11"/>
                  </a:lnTo>
                  <a:lnTo>
                    <a:pt x="129" y="12"/>
                  </a:lnTo>
                  <a:lnTo>
                    <a:pt x="112" y="11"/>
                  </a:lnTo>
                  <a:lnTo>
                    <a:pt x="86" y="6"/>
                  </a:lnTo>
                  <a:lnTo>
                    <a:pt x="58" y="8"/>
                  </a:lnTo>
                  <a:lnTo>
                    <a:pt x="47" y="5"/>
                  </a:lnTo>
                  <a:lnTo>
                    <a:pt x="36" y="5"/>
                  </a:lnTo>
                  <a:lnTo>
                    <a:pt x="19" y="8"/>
                  </a:lnTo>
                  <a:lnTo>
                    <a:pt x="14" y="16"/>
                  </a:lnTo>
                  <a:lnTo>
                    <a:pt x="14" y="24"/>
                  </a:lnTo>
                  <a:lnTo>
                    <a:pt x="17" y="32"/>
                  </a:lnTo>
                  <a:lnTo>
                    <a:pt x="20" y="35"/>
                  </a:lnTo>
                  <a:lnTo>
                    <a:pt x="20" y="43"/>
                  </a:lnTo>
                  <a:lnTo>
                    <a:pt x="24" y="44"/>
                  </a:lnTo>
                  <a:lnTo>
                    <a:pt x="22" y="57"/>
                  </a:lnTo>
                  <a:lnTo>
                    <a:pt x="25" y="65"/>
                  </a:lnTo>
                  <a:lnTo>
                    <a:pt x="25" y="76"/>
                  </a:lnTo>
                  <a:lnTo>
                    <a:pt x="25" y="82"/>
                  </a:lnTo>
                  <a:lnTo>
                    <a:pt x="28" y="89"/>
                  </a:lnTo>
                  <a:lnTo>
                    <a:pt x="28" y="95"/>
                  </a:lnTo>
                  <a:lnTo>
                    <a:pt x="27" y="98"/>
                  </a:lnTo>
                  <a:lnTo>
                    <a:pt x="30" y="103"/>
                  </a:lnTo>
                  <a:lnTo>
                    <a:pt x="25" y="108"/>
                  </a:lnTo>
                  <a:lnTo>
                    <a:pt x="25" y="111"/>
                  </a:lnTo>
                  <a:lnTo>
                    <a:pt x="28" y="112"/>
                  </a:lnTo>
                  <a:lnTo>
                    <a:pt x="31" y="116"/>
                  </a:lnTo>
                  <a:lnTo>
                    <a:pt x="38" y="143"/>
                  </a:lnTo>
                  <a:lnTo>
                    <a:pt x="41" y="159"/>
                  </a:lnTo>
                  <a:lnTo>
                    <a:pt x="36" y="160"/>
                  </a:lnTo>
                  <a:lnTo>
                    <a:pt x="36" y="165"/>
                  </a:lnTo>
                  <a:lnTo>
                    <a:pt x="32" y="166"/>
                  </a:lnTo>
                  <a:lnTo>
                    <a:pt x="28" y="171"/>
                  </a:lnTo>
                  <a:lnTo>
                    <a:pt x="26" y="173"/>
                  </a:lnTo>
                  <a:lnTo>
                    <a:pt x="22" y="182"/>
                  </a:lnTo>
                  <a:lnTo>
                    <a:pt x="16" y="195"/>
                  </a:lnTo>
                  <a:lnTo>
                    <a:pt x="14" y="204"/>
                  </a:lnTo>
                  <a:lnTo>
                    <a:pt x="14" y="215"/>
                  </a:lnTo>
                  <a:lnTo>
                    <a:pt x="11" y="220"/>
                  </a:lnTo>
                  <a:lnTo>
                    <a:pt x="5" y="227"/>
                  </a:lnTo>
                  <a:lnTo>
                    <a:pt x="1" y="234"/>
                  </a:lnTo>
                  <a:lnTo>
                    <a:pt x="0" y="251"/>
                  </a:lnTo>
                  <a:lnTo>
                    <a:pt x="0" y="259"/>
                  </a:lnTo>
                  <a:lnTo>
                    <a:pt x="8" y="279"/>
                  </a:lnTo>
                  <a:lnTo>
                    <a:pt x="11" y="295"/>
                  </a:lnTo>
                  <a:lnTo>
                    <a:pt x="15" y="300"/>
                  </a:lnTo>
                  <a:lnTo>
                    <a:pt x="22" y="301"/>
                  </a:lnTo>
                  <a:lnTo>
                    <a:pt x="25" y="302"/>
                  </a:lnTo>
                  <a:lnTo>
                    <a:pt x="27" y="315"/>
                  </a:lnTo>
                  <a:lnTo>
                    <a:pt x="27" y="329"/>
                  </a:lnTo>
                  <a:lnTo>
                    <a:pt x="21" y="331"/>
                  </a:lnTo>
                  <a:lnTo>
                    <a:pt x="17" y="328"/>
                  </a:lnTo>
                  <a:lnTo>
                    <a:pt x="11" y="328"/>
                  </a:lnTo>
                  <a:lnTo>
                    <a:pt x="9" y="329"/>
                  </a:lnTo>
                  <a:lnTo>
                    <a:pt x="5" y="336"/>
                  </a:lnTo>
                  <a:lnTo>
                    <a:pt x="41" y="345"/>
                  </a:lnTo>
                  <a:lnTo>
                    <a:pt x="67" y="356"/>
                  </a:lnTo>
                  <a:lnTo>
                    <a:pt x="87" y="345"/>
                  </a:lnTo>
                  <a:lnTo>
                    <a:pt x="95" y="338"/>
                  </a:lnTo>
                  <a:lnTo>
                    <a:pt x="103" y="336"/>
                  </a:lnTo>
                  <a:lnTo>
                    <a:pt x="137" y="328"/>
                  </a:lnTo>
                  <a:lnTo>
                    <a:pt x="166" y="311"/>
                  </a:lnTo>
                  <a:lnTo>
                    <a:pt x="183" y="302"/>
                  </a:lnTo>
                  <a:lnTo>
                    <a:pt x="188" y="300"/>
                  </a:lnTo>
                  <a:lnTo>
                    <a:pt x="196" y="300"/>
                  </a:lnTo>
                  <a:lnTo>
                    <a:pt x="215" y="296"/>
                  </a:lnTo>
                  <a:lnTo>
                    <a:pt x="219" y="300"/>
                  </a:lnTo>
                  <a:lnTo>
                    <a:pt x="229" y="299"/>
                  </a:lnTo>
                  <a:lnTo>
                    <a:pt x="240" y="283"/>
                  </a:lnTo>
                  <a:lnTo>
                    <a:pt x="242" y="28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25" name="Freeform 5"/>
            <p:cNvSpPr>
              <a:spLocks noChangeAspect="1"/>
            </p:cNvSpPr>
            <p:nvPr/>
          </p:nvSpPr>
          <p:spPr bwMode="gray">
            <a:xfrm>
              <a:off x="3181606" y="3984682"/>
              <a:ext cx="109622" cy="81886"/>
            </a:xfrm>
            <a:custGeom>
              <a:avLst/>
              <a:gdLst/>
              <a:ahLst/>
              <a:cxnLst>
                <a:cxn ang="0">
                  <a:pos x="242" y="9"/>
                </a:cxn>
                <a:cxn ang="0">
                  <a:pos x="182" y="49"/>
                </a:cxn>
                <a:cxn ang="0">
                  <a:pos x="113" y="91"/>
                </a:cxn>
                <a:cxn ang="0">
                  <a:pos x="83" y="96"/>
                </a:cxn>
                <a:cxn ang="0">
                  <a:pos x="64" y="119"/>
                </a:cxn>
                <a:cxn ang="0">
                  <a:pos x="46" y="162"/>
                </a:cxn>
                <a:cxn ang="0">
                  <a:pos x="16" y="188"/>
                </a:cxn>
                <a:cxn ang="0">
                  <a:pos x="1" y="224"/>
                </a:cxn>
                <a:cxn ang="0">
                  <a:pos x="1" y="259"/>
                </a:cxn>
                <a:cxn ang="0">
                  <a:pos x="5" y="267"/>
                </a:cxn>
                <a:cxn ang="0">
                  <a:pos x="11" y="275"/>
                </a:cxn>
                <a:cxn ang="0">
                  <a:pos x="15" y="284"/>
                </a:cxn>
                <a:cxn ang="0">
                  <a:pos x="24" y="291"/>
                </a:cxn>
                <a:cxn ang="0">
                  <a:pos x="35" y="294"/>
                </a:cxn>
                <a:cxn ang="0">
                  <a:pos x="40" y="295"/>
                </a:cxn>
                <a:cxn ang="0">
                  <a:pos x="53" y="290"/>
                </a:cxn>
                <a:cxn ang="0">
                  <a:pos x="79" y="283"/>
                </a:cxn>
                <a:cxn ang="0">
                  <a:pos x="107" y="285"/>
                </a:cxn>
                <a:cxn ang="0">
                  <a:pos x="119" y="290"/>
                </a:cxn>
                <a:cxn ang="0">
                  <a:pos x="130" y="306"/>
                </a:cxn>
                <a:cxn ang="0">
                  <a:pos x="141" y="305"/>
                </a:cxn>
                <a:cxn ang="0">
                  <a:pos x="138" y="281"/>
                </a:cxn>
                <a:cxn ang="0">
                  <a:pos x="133" y="259"/>
                </a:cxn>
                <a:cxn ang="0">
                  <a:pos x="127" y="240"/>
                </a:cxn>
                <a:cxn ang="0">
                  <a:pos x="149" y="221"/>
                </a:cxn>
                <a:cxn ang="0">
                  <a:pos x="199" y="222"/>
                </a:cxn>
                <a:cxn ang="0">
                  <a:pos x="246" y="227"/>
                </a:cxn>
                <a:cxn ang="0">
                  <a:pos x="275" y="217"/>
                </a:cxn>
                <a:cxn ang="0">
                  <a:pos x="317" y="227"/>
                </a:cxn>
                <a:cxn ang="0">
                  <a:pos x="336" y="224"/>
                </a:cxn>
                <a:cxn ang="0">
                  <a:pos x="344" y="214"/>
                </a:cxn>
                <a:cxn ang="0">
                  <a:pos x="350" y="208"/>
                </a:cxn>
                <a:cxn ang="0">
                  <a:pos x="364" y="195"/>
                </a:cxn>
                <a:cxn ang="0">
                  <a:pos x="387" y="197"/>
                </a:cxn>
                <a:cxn ang="0">
                  <a:pos x="410" y="185"/>
                </a:cxn>
                <a:cxn ang="0">
                  <a:pos x="415" y="177"/>
                </a:cxn>
                <a:cxn ang="0">
                  <a:pos x="417" y="171"/>
                </a:cxn>
                <a:cxn ang="0">
                  <a:pos x="398" y="150"/>
                </a:cxn>
                <a:cxn ang="0">
                  <a:pos x="408" y="145"/>
                </a:cxn>
                <a:cxn ang="0">
                  <a:pos x="402" y="130"/>
                </a:cxn>
                <a:cxn ang="0">
                  <a:pos x="387" y="133"/>
                </a:cxn>
                <a:cxn ang="0">
                  <a:pos x="368" y="131"/>
                </a:cxn>
                <a:cxn ang="0">
                  <a:pos x="345" y="108"/>
                </a:cxn>
                <a:cxn ang="0">
                  <a:pos x="317" y="70"/>
                </a:cxn>
                <a:cxn ang="0">
                  <a:pos x="302" y="39"/>
                </a:cxn>
                <a:cxn ang="0">
                  <a:pos x="290" y="26"/>
                </a:cxn>
                <a:cxn ang="0">
                  <a:pos x="295" y="0"/>
                </a:cxn>
              </a:cxnLst>
              <a:rect l="0" t="0" r="r" b="b"/>
              <a:pathLst>
                <a:path w="417" h="307">
                  <a:moveTo>
                    <a:pt x="295" y="0"/>
                  </a:moveTo>
                  <a:lnTo>
                    <a:pt x="262" y="1"/>
                  </a:lnTo>
                  <a:lnTo>
                    <a:pt x="242" y="9"/>
                  </a:lnTo>
                  <a:lnTo>
                    <a:pt x="234" y="12"/>
                  </a:lnTo>
                  <a:lnTo>
                    <a:pt x="219" y="25"/>
                  </a:lnTo>
                  <a:lnTo>
                    <a:pt x="182" y="49"/>
                  </a:lnTo>
                  <a:lnTo>
                    <a:pt x="170" y="65"/>
                  </a:lnTo>
                  <a:lnTo>
                    <a:pt x="151" y="79"/>
                  </a:lnTo>
                  <a:lnTo>
                    <a:pt x="113" y="91"/>
                  </a:lnTo>
                  <a:lnTo>
                    <a:pt x="101" y="93"/>
                  </a:lnTo>
                  <a:lnTo>
                    <a:pt x="89" y="95"/>
                  </a:lnTo>
                  <a:lnTo>
                    <a:pt x="83" y="96"/>
                  </a:lnTo>
                  <a:lnTo>
                    <a:pt x="74" y="102"/>
                  </a:lnTo>
                  <a:lnTo>
                    <a:pt x="69" y="108"/>
                  </a:lnTo>
                  <a:lnTo>
                    <a:pt x="64" y="119"/>
                  </a:lnTo>
                  <a:lnTo>
                    <a:pt x="60" y="134"/>
                  </a:lnTo>
                  <a:lnTo>
                    <a:pt x="53" y="152"/>
                  </a:lnTo>
                  <a:lnTo>
                    <a:pt x="46" y="162"/>
                  </a:lnTo>
                  <a:lnTo>
                    <a:pt x="30" y="174"/>
                  </a:lnTo>
                  <a:lnTo>
                    <a:pt x="20" y="183"/>
                  </a:lnTo>
                  <a:lnTo>
                    <a:pt x="16" y="188"/>
                  </a:lnTo>
                  <a:lnTo>
                    <a:pt x="11" y="197"/>
                  </a:lnTo>
                  <a:lnTo>
                    <a:pt x="10" y="206"/>
                  </a:lnTo>
                  <a:lnTo>
                    <a:pt x="1" y="224"/>
                  </a:lnTo>
                  <a:lnTo>
                    <a:pt x="0" y="235"/>
                  </a:lnTo>
                  <a:lnTo>
                    <a:pt x="0" y="248"/>
                  </a:lnTo>
                  <a:lnTo>
                    <a:pt x="1" y="259"/>
                  </a:lnTo>
                  <a:lnTo>
                    <a:pt x="4" y="260"/>
                  </a:lnTo>
                  <a:lnTo>
                    <a:pt x="4" y="262"/>
                  </a:lnTo>
                  <a:lnTo>
                    <a:pt x="5" y="267"/>
                  </a:lnTo>
                  <a:lnTo>
                    <a:pt x="6" y="268"/>
                  </a:lnTo>
                  <a:lnTo>
                    <a:pt x="8" y="269"/>
                  </a:lnTo>
                  <a:lnTo>
                    <a:pt x="11" y="275"/>
                  </a:lnTo>
                  <a:lnTo>
                    <a:pt x="14" y="276"/>
                  </a:lnTo>
                  <a:lnTo>
                    <a:pt x="15" y="279"/>
                  </a:lnTo>
                  <a:lnTo>
                    <a:pt x="15" y="284"/>
                  </a:lnTo>
                  <a:lnTo>
                    <a:pt x="19" y="284"/>
                  </a:lnTo>
                  <a:lnTo>
                    <a:pt x="22" y="287"/>
                  </a:lnTo>
                  <a:lnTo>
                    <a:pt x="24" y="291"/>
                  </a:lnTo>
                  <a:lnTo>
                    <a:pt x="31" y="295"/>
                  </a:lnTo>
                  <a:lnTo>
                    <a:pt x="31" y="294"/>
                  </a:lnTo>
                  <a:lnTo>
                    <a:pt x="35" y="294"/>
                  </a:lnTo>
                  <a:lnTo>
                    <a:pt x="37" y="291"/>
                  </a:lnTo>
                  <a:lnTo>
                    <a:pt x="38" y="291"/>
                  </a:lnTo>
                  <a:lnTo>
                    <a:pt x="40" y="295"/>
                  </a:lnTo>
                  <a:lnTo>
                    <a:pt x="47" y="298"/>
                  </a:lnTo>
                  <a:lnTo>
                    <a:pt x="51" y="296"/>
                  </a:lnTo>
                  <a:lnTo>
                    <a:pt x="53" y="290"/>
                  </a:lnTo>
                  <a:lnTo>
                    <a:pt x="59" y="289"/>
                  </a:lnTo>
                  <a:lnTo>
                    <a:pt x="67" y="286"/>
                  </a:lnTo>
                  <a:lnTo>
                    <a:pt x="79" y="283"/>
                  </a:lnTo>
                  <a:lnTo>
                    <a:pt x="89" y="280"/>
                  </a:lnTo>
                  <a:lnTo>
                    <a:pt x="96" y="280"/>
                  </a:lnTo>
                  <a:lnTo>
                    <a:pt x="107" y="285"/>
                  </a:lnTo>
                  <a:lnTo>
                    <a:pt x="112" y="280"/>
                  </a:lnTo>
                  <a:lnTo>
                    <a:pt x="113" y="280"/>
                  </a:lnTo>
                  <a:lnTo>
                    <a:pt x="119" y="290"/>
                  </a:lnTo>
                  <a:lnTo>
                    <a:pt x="124" y="291"/>
                  </a:lnTo>
                  <a:lnTo>
                    <a:pt x="125" y="296"/>
                  </a:lnTo>
                  <a:lnTo>
                    <a:pt x="130" y="306"/>
                  </a:lnTo>
                  <a:lnTo>
                    <a:pt x="133" y="307"/>
                  </a:lnTo>
                  <a:lnTo>
                    <a:pt x="139" y="307"/>
                  </a:lnTo>
                  <a:lnTo>
                    <a:pt x="141" y="305"/>
                  </a:lnTo>
                  <a:lnTo>
                    <a:pt x="138" y="298"/>
                  </a:lnTo>
                  <a:lnTo>
                    <a:pt x="138" y="292"/>
                  </a:lnTo>
                  <a:lnTo>
                    <a:pt x="138" y="281"/>
                  </a:lnTo>
                  <a:lnTo>
                    <a:pt x="135" y="273"/>
                  </a:lnTo>
                  <a:lnTo>
                    <a:pt x="137" y="260"/>
                  </a:lnTo>
                  <a:lnTo>
                    <a:pt x="133" y="259"/>
                  </a:lnTo>
                  <a:lnTo>
                    <a:pt x="133" y="251"/>
                  </a:lnTo>
                  <a:lnTo>
                    <a:pt x="130" y="248"/>
                  </a:lnTo>
                  <a:lnTo>
                    <a:pt x="127" y="240"/>
                  </a:lnTo>
                  <a:lnTo>
                    <a:pt x="128" y="232"/>
                  </a:lnTo>
                  <a:lnTo>
                    <a:pt x="132" y="224"/>
                  </a:lnTo>
                  <a:lnTo>
                    <a:pt x="149" y="221"/>
                  </a:lnTo>
                  <a:lnTo>
                    <a:pt x="160" y="221"/>
                  </a:lnTo>
                  <a:lnTo>
                    <a:pt x="171" y="224"/>
                  </a:lnTo>
                  <a:lnTo>
                    <a:pt x="199" y="222"/>
                  </a:lnTo>
                  <a:lnTo>
                    <a:pt x="225" y="227"/>
                  </a:lnTo>
                  <a:lnTo>
                    <a:pt x="242" y="228"/>
                  </a:lnTo>
                  <a:lnTo>
                    <a:pt x="246" y="227"/>
                  </a:lnTo>
                  <a:lnTo>
                    <a:pt x="258" y="219"/>
                  </a:lnTo>
                  <a:lnTo>
                    <a:pt x="275" y="216"/>
                  </a:lnTo>
                  <a:lnTo>
                    <a:pt x="275" y="217"/>
                  </a:lnTo>
                  <a:lnTo>
                    <a:pt x="310" y="222"/>
                  </a:lnTo>
                  <a:lnTo>
                    <a:pt x="313" y="227"/>
                  </a:lnTo>
                  <a:lnTo>
                    <a:pt x="317" y="227"/>
                  </a:lnTo>
                  <a:lnTo>
                    <a:pt x="320" y="225"/>
                  </a:lnTo>
                  <a:lnTo>
                    <a:pt x="334" y="225"/>
                  </a:lnTo>
                  <a:lnTo>
                    <a:pt x="336" y="224"/>
                  </a:lnTo>
                  <a:lnTo>
                    <a:pt x="339" y="220"/>
                  </a:lnTo>
                  <a:lnTo>
                    <a:pt x="343" y="220"/>
                  </a:lnTo>
                  <a:lnTo>
                    <a:pt x="344" y="214"/>
                  </a:lnTo>
                  <a:lnTo>
                    <a:pt x="347" y="211"/>
                  </a:lnTo>
                  <a:lnTo>
                    <a:pt x="348" y="210"/>
                  </a:lnTo>
                  <a:lnTo>
                    <a:pt x="350" y="208"/>
                  </a:lnTo>
                  <a:lnTo>
                    <a:pt x="354" y="209"/>
                  </a:lnTo>
                  <a:lnTo>
                    <a:pt x="361" y="197"/>
                  </a:lnTo>
                  <a:lnTo>
                    <a:pt x="364" y="195"/>
                  </a:lnTo>
                  <a:lnTo>
                    <a:pt x="370" y="195"/>
                  </a:lnTo>
                  <a:lnTo>
                    <a:pt x="379" y="199"/>
                  </a:lnTo>
                  <a:lnTo>
                    <a:pt x="387" y="197"/>
                  </a:lnTo>
                  <a:lnTo>
                    <a:pt x="393" y="199"/>
                  </a:lnTo>
                  <a:lnTo>
                    <a:pt x="398" y="197"/>
                  </a:lnTo>
                  <a:lnTo>
                    <a:pt x="410" y="185"/>
                  </a:lnTo>
                  <a:lnTo>
                    <a:pt x="412" y="182"/>
                  </a:lnTo>
                  <a:lnTo>
                    <a:pt x="412" y="181"/>
                  </a:lnTo>
                  <a:lnTo>
                    <a:pt x="415" y="177"/>
                  </a:lnTo>
                  <a:lnTo>
                    <a:pt x="417" y="172"/>
                  </a:lnTo>
                  <a:lnTo>
                    <a:pt x="417" y="170"/>
                  </a:lnTo>
                  <a:lnTo>
                    <a:pt x="417" y="171"/>
                  </a:lnTo>
                  <a:lnTo>
                    <a:pt x="406" y="161"/>
                  </a:lnTo>
                  <a:lnTo>
                    <a:pt x="399" y="154"/>
                  </a:lnTo>
                  <a:lnTo>
                    <a:pt x="398" y="150"/>
                  </a:lnTo>
                  <a:lnTo>
                    <a:pt x="399" y="146"/>
                  </a:lnTo>
                  <a:lnTo>
                    <a:pt x="403" y="145"/>
                  </a:lnTo>
                  <a:lnTo>
                    <a:pt x="408" y="145"/>
                  </a:lnTo>
                  <a:lnTo>
                    <a:pt x="409" y="142"/>
                  </a:lnTo>
                  <a:lnTo>
                    <a:pt x="408" y="140"/>
                  </a:lnTo>
                  <a:lnTo>
                    <a:pt x="402" y="130"/>
                  </a:lnTo>
                  <a:lnTo>
                    <a:pt x="396" y="127"/>
                  </a:lnTo>
                  <a:lnTo>
                    <a:pt x="392" y="128"/>
                  </a:lnTo>
                  <a:lnTo>
                    <a:pt x="387" y="133"/>
                  </a:lnTo>
                  <a:lnTo>
                    <a:pt x="382" y="134"/>
                  </a:lnTo>
                  <a:lnTo>
                    <a:pt x="379" y="134"/>
                  </a:lnTo>
                  <a:lnTo>
                    <a:pt x="368" y="131"/>
                  </a:lnTo>
                  <a:lnTo>
                    <a:pt x="360" y="127"/>
                  </a:lnTo>
                  <a:lnTo>
                    <a:pt x="349" y="114"/>
                  </a:lnTo>
                  <a:lnTo>
                    <a:pt x="345" y="108"/>
                  </a:lnTo>
                  <a:lnTo>
                    <a:pt x="339" y="93"/>
                  </a:lnTo>
                  <a:lnTo>
                    <a:pt x="334" y="84"/>
                  </a:lnTo>
                  <a:lnTo>
                    <a:pt x="317" y="70"/>
                  </a:lnTo>
                  <a:lnTo>
                    <a:pt x="305" y="55"/>
                  </a:lnTo>
                  <a:lnTo>
                    <a:pt x="301" y="48"/>
                  </a:lnTo>
                  <a:lnTo>
                    <a:pt x="302" y="39"/>
                  </a:lnTo>
                  <a:lnTo>
                    <a:pt x="301" y="37"/>
                  </a:lnTo>
                  <a:lnTo>
                    <a:pt x="291" y="28"/>
                  </a:lnTo>
                  <a:lnTo>
                    <a:pt x="290" y="26"/>
                  </a:lnTo>
                  <a:lnTo>
                    <a:pt x="293" y="16"/>
                  </a:lnTo>
                  <a:lnTo>
                    <a:pt x="294" y="5"/>
                  </a:lnTo>
                  <a:lnTo>
                    <a:pt x="295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26" name="Freeform 6"/>
            <p:cNvSpPr>
              <a:spLocks noChangeAspect="1"/>
            </p:cNvSpPr>
            <p:nvPr/>
          </p:nvSpPr>
          <p:spPr bwMode="gray">
            <a:xfrm>
              <a:off x="3378397" y="4017700"/>
              <a:ext cx="110942" cy="162451"/>
            </a:xfrm>
            <a:custGeom>
              <a:avLst/>
              <a:gdLst/>
              <a:ahLst/>
              <a:cxnLst>
                <a:cxn ang="0">
                  <a:pos x="220" y="581"/>
                </a:cxn>
                <a:cxn ang="0">
                  <a:pos x="170" y="579"/>
                </a:cxn>
                <a:cxn ang="0">
                  <a:pos x="74" y="585"/>
                </a:cxn>
                <a:cxn ang="0">
                  <a:pos x="79" y="536"/>
                </a:cxn>
                <a:cxn ang="0">
                  <a:pos x="75" y="520"/>
                </a:cxn>
                <a:cxn ang="0">
                  <a:pos x="63" y="502"/>
                </a:cxn>
                <a:cxn ang="0">
                  <a:pos x="68" y="494"/>
                </a:cxn>
                <a:cxn ang="0">
                  <a:pos x="58" y="484"/>
                </a:cxn>
                <a:cxn ang="0">
                  <a:pos x="32" y="480"/>
                </a:cxn>
                <a:cxn ang="0">
                  <a:pos x="11" y="456"/>
                </a:cxn>
                <a:cxn ang="0">
                  <a:pos x="3" y="448"/>
                </a:cxn>
                <a:cxn ang="0">
                  <a:pos x="7" y="432"/>
                </a:cxn>
                <a:cxn ang="0">
                  <a:pos x="19" y="400"/>
                </a:cxn>
                <a:cxn ang="0">
                  <a:pos x="39" y="358"/>
                </a:cxn>
                <a:cxn ang="0">
                  <a:pos x="62" y="328"/>
                </a:cxn>
                <a:cxn ang="0">
                  <a:pos x="101" y="323"/>
                </a:cxn>
                <a:cxn ang="0">
                  <a:pos x="130" y="339"/>
                </a:cxn>
                <a:cxn ang="0">
                  <a:pos x="143" y="350"/>
                </a:cxn>
                <a:cxn ang="0">
                  <a:pos x="168" y="342"/>
                </a:cxn>
                <a:cxn ang="0">
                  <a:pos x="198" y="280"/>
                </a:cxn>
                <a:cxn ang="0">
                  <a:pos x="210" y="241"/>
                </a:cxn>
                <a:cxn ang="0">
                  <a:pos x="238" y="217"/>
                </a:cxn>
                <a:cxn ang="0">
                  <a:pos x="249" y="171"/>
                </a:cxn>
                <a:cxn ang="0">
                  <a:pos x="263" y="131"/>
                </a:cxn>
                <a:cxn ang="0">
                  <a:pos x="279" y="95"/>
                </a:cxn>
                <a:cxn ang="0">
                  <a:pos x="307" y="77"/>
                </a:cxn>
                <a:cxn ang="0">
                  <a:pos x="327" y="48"/>
                </a:cxn>
                <a:cxn ang="0">
                  <a:pos x="323" y="23"/>
                </a:cxn>
                <a:cxn ang="0">
                  <a:pos x="310" y="15"/>
                </a:cxn>
                <a:cxn ang="0">
                  <a:pos x="332" y="0"/>
                </a:cxn>
                <a:cxn ang="0">
                  <a:pos x="340" y="4"/>
                </a:cxn>
                <a:cxn ang="0">
                  <a:pos x="355" y="48"/>
                </a:cxn>
                <a:cxn ang="0">
                  <a:pos x="349" y="90"/>
                </a:cxn>
                <a:cxn ang="0">
                  <a:pos x="374" y="140"/>
                </a:cxn>
                <a:cxn ang="0">
                  <a:pos x="376" y="157"/>
                </a:cxn>
                <a:cxn ang="0">
                  <a:pos x="337" y="154"/>
                </a:cxn>
                <a:cxn ang="0">
                  <a:pos x="315" y="159"/>
                </a:cxn>
                <a:cxn ang="0">
                  <a:pos x="311" y="192"/>
                </a:cxn>
                <a:cxn ang="0">
                  <a:pos x="338" y="215"/>
                </a:cxn>
                <a:cxn ang="0">
                  <a:pos x="360" y="230"/>
                </a:cxn>
                <a:cxn ang="0">
                  <a:pos x="376" y="292"/>
                </a:cxn>
                <a:cxn ang="0">
                  <a:pos x="370" y="323"/>
                </a:cxn>
                <a:cxn ang="0">
                  <a:pos x="343" y="369"/>
                </a:cxn>
                <a:cxn ang="0">
                  <a:pos x="335" y="407"/>
                </a:cxn>
                <a:cxn ang="0">
                  <a:pos x="345" y="458"/>
                </a:cxn>
                <a:cxn ang="0">
                  <a:pos x="390" y="528"/>
                </a:cxn>
                <a:cxn ang="0">
                  <a:pos x="418" y="559"/>
                </a:cxn>
                <a:cxn ang="0">
                  <a:pos x="413" y="615"/>
                </a:cxn>
                <a:cxn ang="0">
                  <a:pos x="366" y="592"/>
                </a:cxn>
                <a:cxn ang="0">
                  <a:pos x="264" y="585"/>
                </a:cxn>
              </a:cxnLst>
              <a:rect l="0" t="0" r="r" b="b"/>
              <a:pathLst>
                <a:path w="420" h="615">
                  <a:moveTo>
                    <a:pt x="264" y="585"/>
                  </a:moveTo>
                  <a:lnTo>
                    <a:pt x="256" y="582"/>
                  </a:lnTo>
                  <a:lnTo>
                    <a:pt x="220" y="581"/>
                  </a:lnTo>
                  <a:lnTo>
                    <a:pt x="204" y="577"/>
                  </a:lnTo>
                  <a:lnTo>
                    <a:pt x="184" y="581"/>
                  </a:lnTo>
                  <a:lnTo>
                    <a:pt x="170" y="579"/>
                  </a:lnTo>
                  <a:lnTo>
                    <a:pt x="156" y="582"/>
                  </a:lnTo>
                  <a:lnTo>
                    <a:pt x="116" y="582"/>
                  </a:lnTo>
                  <a:lnTo>
                    <a:pt x="74" y="585"/>
                  </a:lnTo>
                  <a:lnTo>
                    <a:pt x="70" y="586"/>
                  </a:lnTo>
                  <a:lnTo>
                    <a:pt x="74" y="552"/>
                  </a:lnTo>
                  <a:lnTo>
                    <a:pt x="79" y="536"/>
                  </a:lnTo>
                  <a:lnTo>
                    <a:pt x="79" y="529"/>
                  </a:lnTo>
                  <a:lnTo>
                    <a:pt x="81" y="527"/>
                  </a:lnTo>
                  <a:lnTo>
                    <a:pt x="75" y="520"/>
                  </a:lnTo>
                  <a:lnTo>
                    <a:pt x="69" y="513"/>
                  </a:lnTo>
                  <a:lnTo>
                    <a:pt x="66" y="509"/>
                  </a:lnTo>
                  <a:lnTo>
                    <a:pt x="63" y="502"/>
                  </a:lnTo>
                  <a:lnTo>
                    <a:pt x="63" y="500"/>
                  </a:lnTo>
                  <a:lnTo>
                    <a:pt x="66" y="499"/>
                  </a:lnTo>
                  <a:lnTo>
                    <a:pt x="68" y="494"/>
                  </a:lnTo>
                  <a:lnTo>
                    <a:pt x="68" y="485"/>
                  </a:lnTo>
                  <a:lnTo>
                    <a:pt x="64" y="483"/>
                  </a:lnTo>
                  <a:lnTo>
                    <a:pt x="58" y="484"/>
                  </a:lnTo>
                  <a:lnTo>
                    <a:pt x="57" y="488"/>
                  </a:lnTo>
                  <a:lnTo>
                    <a:pt x="52" y="489"/>
                  </a:lnTo>
                  <a:lnTo>
                    <a:pt x="32" y="480"/>
                  </a:lnTo>
                  <a:lnTo>
                    <a:pt x="27" y="471"/>
                  </a:lnTo>
                  <a:lnTo>
                    <a:pt x="21" y="456"/>
                  </a:lnTo>
                  <a:lnTo>
                    <a:pt x="11" y="456"/>
                  </a:lnTo>
                  <a:lnTo>
                    <a:pt x="6" y="458"/>
                  </a:lnTo>
                  <a:lnTo>
                    <a:pt x="1" y="455"/>
                  </a:lnTo>
                  <a:lnTo>
                    <a:pt x="3" y="448"/>
                  </a:lnTo>
                  <a:lnTo>
                    <a:pt x="0" y="446"/>
                  </a:lnTo>
                  <a:lnTo>
                    <a:pt x="0" y="439"/>
                  </a:lnTo>
                  <a:lnTo>
                    <a:pt x="7" y="432"/>
                  </a:lnTo>
                  <a:lnTo>
                    <a:pt x="14" y="423"/>
                  </a:lnTo>
                  <a:lnTo>
                    <a:pt x="17" y="414"/>
                  </a:lnTo>
                  <a:lnTo>
                    <a:pt x="19" y="400"/>
                  </a:lnTo>
                  <a:lnTo>
                    <a:pt x="22" y="385"/>
                  </a:lnTo>
                  <a:lnTo>
                    <a:pt x="31" y="369"/>
                  </a:lnTo>
                  <a:lnTo>
                    <a:pt x="39" y="358"/>
                  </a:lnTo>
                  <a:lnTo>
                    <a:pt x="47" y="350"/>
                  </a:lnTo>
                  <a:lnTo>
                    <a:pt x="58" y="345"/>
                  </a:lnTo>
                  <a:lnTo>
                    <a:pt x="62" y="328"/>
                  </a:lnTo>
                  <a:lnTo>
                    <a:pt x="64" y="328"/>
                  </a:lnTo>
                  <a:lnTo>
                    <a:pt x="79" y="328"/>
                  </a:lnTo>
                  <a:lnTo>
                    <a:pt x="101" y="323"/>
                  </a:lnTo>
                  <a:lnTo>
                    <a:pt x="116" y="324"/>
                  </a:lnTo>
                  <a:lnTo>
                    <a:pt x="127" y="334"/>
                  </a:lnTo>
                  <a:lnTo>
                    <a:pt x="130" y="339"/>
                  </a:lnTo>
                  <a:lnTo>
                    <a:pt x="130" y="340"/>
                  </a:lnTo>
                  <a:lnTo>
                    <a:pt x="134" y="343"/>
                  </a:lnTo>
                  <a:lnTo>
                    <a:pt x="143" y="350"/>
                  </a:lnTo>
                  <a:lnTo>
                    <a:pt x="156" y="351"/>
                  </a:lnTo>
                  <a:lnTo>
                    <a:pt x="165" y="348"/>
                  </a:lnTo>
                  <a:lnTo>
                    <a:pt x="168" y="342"/>
                  </a:lnTo>
                  <a:lnTo>
                    <a:pt x="170" y="333"/>
                  </a:lnTo>
                  <a:lnTo>
                    <a:pt x="188" y="302"/>
                  </a:lnTo>
                  <a:lnTo>
                    <a:pt x="198" y="280"/>
                  </a:lnTo>
                  <a:lnTo>
                    <a:pt x="200" y="273"/>
                  </a:lnTo>
                  <a:lnTo>
                    <a:pt x="204" y="257"/>
                  </a:lnTo>
                  <a:lnTo>
                    <a:pt x="210" y="241"/>
                  </a:lnTo>
                  <a:lnTo>
                    <a:pt x="221" y="229"/>
                  </a:lnTo>
                  <a:lnTo>
                    <a:pt x="236" y="222"/>
                  </a:lnTo>
                  <a:lnTo>
                    <a:pt x="238" y="217"/>
                  </a:lnTo>
                  <a:lnTo>
                    <a:pt x="240" y="211"/>
                  </a:lnTo>
                  <a:lnTo>
                    <a:pt x="241" y="199"/>
                  </a:lnTo>
                  <a:lnTo>
                    <a:pt x="249" y="171"/>
                  </a:lnTo>
                  <a:lnTo>
                    <a:pt x="251" y="160"/>
                  </a:lnTo>
                  <a:lnTo>
                    <a:pt x="254" y="149"/>
                  </a:lnTo>
                  <a:lnTo>
                    <a:pt x="263" y="131"/>
                  </a:lnTo>
                  <a:lnTo>
                    <a:pt x="270" y="108"/>
                  </a:lnTo>
                  <a:lnTo>
                    <a:pt x="274" y="101"/>
                  </a:lnTo>
                  <a:lnTo>
                    <a:pt x="279" y="95"/>
                  </a:lnTo>
                  <a:lnTo>
                    <a:pt x="288" y="85"/>
                  </a:lnTo>
                  <a:lnTo>
                    <a:pt x="291" y="84"/>
                  </a:lnTo>
                  <a:lnTo>
                    <a:pt x="307" y="77"/>
                  </a:lnTo>
                  <a:lnTo>
                    <a:pt x="310" y="74"/>
                  </a:lnTo>
                  <a:lnTo>
                    <a:pt x="329" y="61"/>
                  </a:lnTo>
                  <a:lnTo>
                    <a:pt x="327" y="48"/>
                  </a:lnTo>
                  <a:lnTo>
                    <a:pt x="328" y="31"/>
                  </a:lnTo>
                  <a:lnTo>
                    <a:pt x="326" y="26"/>
                  </a:lnTo>
                  <a:lnTo>
                    <a:pt x="323" y="23"/>
                  </a:lnTo>
                  <a:lnTo>
                    <a:pt x="322" y="22"/>
                  </a:lnTo>
                  <a:lnTo>
                    <a:pt x="311" y="18"/>
                  </a:lnTo>
                  <a:lnTo>
                    <a:pt x="310" y="15"/>
                  </a:lnTo>
                  <a:lnTo>
                    <a:pt x="315" y="15"/>
                  </a:lnTo>
                  <a:lnTo>
                    <a:pt x="323" y="3"/>
                  </a:lnTo>
                  <a:lnTo>
                    <a:pt x="332" y="0"/>
                  </a:lnTo>
                  <a:lnTo>
                    <a:pt x="338" y="0"/>
                  </a:lnTo>
                  <a:lnTo>
                    <a:pt x="340" y="1"/>
                  </a:lnTo>
                  <a:lnTo>
                    <a:pt x="340" y="4"/>
                  </a:lnTo>
                  <a:lnTo>
                    <a:pt x="347" y="32"/>
                  </a:lnTo>
                  <a:lnTo>
                    <a:pt x="353" y="41"/>
                  </a:lnTo>
                  <a:lnTo>
                    <a:pt x="355" y="48"/>
                  </a:lnTo>
                  <a:lnTo>
                    <a:pt x="354" y="68"/>
                  </a:lnTo>
                  <a:lnTo>
                    <a:pt x="353" y="79"/>
                  </a:lnTo>
                  <a:lnTo>
                    <a:pt x="349" y="90"/>
                  </a:lnTo>
                  <a:lnTo>
                    <a:pt x="349" y="98"/>
                  </a:lnTo>
                  <a:lnTo>
                    <a:pt x="359" y="119"/>
                  </a:lnTo>
                  <a:lnTo>
                    <a:pt x="374" y="140"/>
                  </a:lnTo>
                  <a:lnTo>
                    <a:pt x="376" y="146"/>
                  </a:lnTo>
                  <a:lnTo>
                    <a:pt x="377" y="155"/>
                  </a:lnTo>
                  <a:lnTo>
                    <a:pt x="376" y="157"/>
                  </a:lnTo>
                  <a:lnTo>
                    <a:pt x="372" y="160"/>
                  </a:lnTo>
                  <a:lnTo>
                    <a:pt x="353" y="156"/>
                  </a:lnTo>
                  <a:lnTo>
                    <a:pt x="337" y="154"/>
                  </a:lnTo>
                  <a:lnTo>
                    <a:pt x="322" y="155"/>
                  </a:lnTo>
                  <a:lnTo>
                    <a:pt x="318" y="156"/>
                  </a:lnTo>
                  <a:lnTo>
                    <a:pt x="315" y="159"/>
                  </a:lnTo>
                  <a:lnTo>
                    <a:pt x="310" y="165"/>
                  </a:lnTo>
                  <a:lnTo>
                    <a:pt x="310" y="179"/>
                  </a:lnTo>
                  <a:lnTo>
                    <a:pt x="311" y="192"/>
                  </a:lnTo>
                  <a:lnTo>
                    <a:pt x="322" y="205"/>
                  </a:lnTo>
                  <a:lnTo>
                    <a:pt x="329" y="211"/>
                  </a:lnTo>
                  <a:lnTo>
                    <a:pt x="338" y="215"/>
                  </a:lnTo>
                  <a:lnTo>
                    <a:pt x="350" y="217"/>
                  </a:lnTo>
                  <a:lnTo>
                    <a:pt x="354" y="220"/>
                  </a:lnTo>
                  <a:lnTo>
                    <a:pt x="360" y="230"/>
                  </a:lnTo>
                  <a:lnTo>
                    <a:pt x="370" y="257"/>
                  </a:lnTo>
                  <a:lnTo>
                    <a:pt x="375" y="275"/>
                  </a:lnTo>
                  <a:lnTo>
                    <a:pt x="376" y="292"/>
                  </a:lnTo>
                  <a:lnTo>
                    <a:pt x="377" y="295"/>
                  </a:lnTo>
                  <a:lnTo>
                    <a:pt x="380" y="297"/>
                  </a:lnTo>
                  <a:lnTo>
                    <a:pt x="370" y="323"/>
                  </a:lnTo>
                  <a:lnTo>
                    <a:pt x="360" y="338"/>
                  </a:lnTo>
                  <a:lnTo>
                    <a:pt x="353" y="354"/>
                  </a:lnTo>
                  <a:lnTo>
                    <a:pt x="343" y="369"/>
                  </a:lnTo>
                  <a:lnTo>
                    <a:pt x="332" y="380"/>
                  </a:lnTo>
                  <a:lnTo>
                    <a:pt x="332" y="393"/>
                  </a:lnTo>
                  <a:lnTo>
                    <a:pt x="335" y="407"/>
                  </a:lnTo>
                  <a:lnTo>
                    <a:pt x="334" y="424"/>
                  </a:lnTo>
                  <a:lnTo>
                    <a:pt x="335" y="440"/>
                  </a:lnTo>
                  <a:lnTo>
                    <a:pt x="345" y="458"/>
                  </a:lnTo>
                  <a:lnTo>
                    <a:pt x="354" y="469"/>
                  </a:lnTo>
                  <a:lnTo>
                    <a:pt x="378" y="516"/>
                  </a:lnTo>
                  <a:lnTo>
                    <a:pt x="390" y="528"/>
                  </a:lnTo>
                  <a:lnTo>
                    <a:pt x="413" y="548"/>
                  </a:lnTo>
                  <a:lnTo>
                    <a:pt x="420" y="548"/>
                  </a:lnTo>
                  <a:lnTo>
                    <a:pt x="418" y="559"/>
                  </a:lnTo>
                  <a:lnTo>
                    <a:pt x="420" y="602"/>
                  </a:lnTo>
                  <a:lnTo>
                    <a:pt x="418" y="612"/>
                  </a:lnTo>
                  <a:lnTo>
                    <a:pt x="413" y="615"/>
                  </a:lnTo>
                  <a:lnTo>
                    <a:pt x="390" y="597"/>
                  </a:lnTo>
                  <a:lnTo>
                    <a:pt x="380" y="597"/>
                  </a:lnTo>
                  <a:lnTo>
                    <a:pt x="366" y="592"/>
                  </a:lnTo>
                  <a:lnTo>
                    <a:pt x="351" y="591"/>
                  </a:lnTo>
                  <a:lnTo>
                    <a:pt x="340" y="585"/>
                  </a:lnTo>
                  <a:lnTo>
                    <a:pt x="264" y="585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27" name="Freeform 7"/>
            <p:cNvSpPr>
              <a:spLocks noChangeAspect="1"/>
            </p:cNvSpPr>
            <p:nvPr/>
          </p:nvSpPr>
          <p:spPr bwMode="gray">
            <a:xfrm>
              <a:off x="3267454" y="4022984"/>
              <a:ext cx="43584" cy="89811"/>
            </a:xfrm>
            <a:custGeom>
              <a:avLst/>
              <a:gdLst/>
              <a:ahLst/>
              <a:cxnLst>
                <a:cxn ang="0">
                  <a:pos x="147" y="30"/>
                </a:cxn>
                <a:cxn ang="0">
                  <a:pos x="128" y="12"/>
                </a:cxn>
                <a:cxn ang="0">
                  <a:pos x="114" y="0"/>
                </a:cxn>
                <a:cxn ang="0">
                  <a:pos x="101" y="5"/>
                </a:cxn>
                <a:cxn ang="0">
                  <a:pos x="90" y="12"/>
                </a:cxn>
                <a:cxn ang="0">
                  <a:pos x="90" y="25"/>
                </a:cxn>
                <a:cxn ang="0">
                  <a:pos x="90" y="26"/>
                </a:cxn>
                <a:cxn ang="0">
                  <a:pos x="85" y="35"/>
                </a:cxn>
                <a:cxn ang="0">
                  <a:pos x="83" y="39"/>
                </a:cxn>
                <a:cxn ang="0">
                  <a:pos x="66" y="53"/>
                </a:cxn>
                <a:cxn ang="0">
                  <a:pos x="52" y="53"/>
                </a:cxn>
                <a:cxn ang="0">
                  <a:pos x="37" y="49"/>
                </a:cxn>
                <a:cxn ang="0">
                  <a:pos x="27" y="63"/>
                </a:cxn>
                <a:cxn ang="0">
                  <a:pos x="21" y="64"/>
                </a:cxn>
                <a:cxn ang="0">
                  <a:pos x="17" y="68"/>
                </a:cxn>
                <a:cxn ang="0">
                  <a:pos x="12" y="74"/>
                </a:cxn>
                <a:cxn ang="0">
                  <a:pos x="6" y="80"/>
                </a:cxn>
                <a:cxn ang="0">
                  <a:pos x="1" y="95"/>
                </a:cxn>
                <a:cxn ang="0">
                  <a:pos x="0" y="113"/>
                </a:cxn>
                <a:cxn ang="0">
                  <a:pos x="11" y="121"/>
                </a:cxn>
                <a:cxn ang="0">
                  <a:pos x="20" y="124"/>
                </a:cxn>
                <a:cxn ang="0">
                  <a:pos x="41" y="159"/>
                </a:cxn>
                <a:cxn ang="0">
                  <a:pos x="50" y="189"/>
                </a:cxn>
                <a:cxn ang="0">
                  <a:pos x="54" y="204"/>
                </a:cxn>
                <a:cxn ang="0">
                  <a:pos x="58" y="234"/>
                </a:cxn>
                <a:cxn ang="0">
                  <a:pos x="54" y="308"/>
                </a:cxn>
                <a:cxn ang="0">
                  <a:pos x="58" y="331"/>
                </a:cxn>
                <a:cxn ang="0">
                  <a:pos x="61" y="339"/>
                </a:cxn>
                <a:cxn ang="0">
                  <a:pos x="112" y="337"/>
                </a:cxn>
                <a:cxn ang="0">
                  <a:pos x="107" y="295"/>
                </a:cxn>
                <a:cxn ang="0">
                  <a:pos x="113" y="265"/>
                </a:cxn>
                <a:cxn ang="0">
                  <a:pos x="113" y="215"/>
                </a:cxn>
                <a:cxn ang="0">
                  <a:pos x="129" y="183"/>
                </a:cxn>
                <a:cxn ang="0">
                  <a:pos x="133" y="159"/>
                </a:cxn>
                <a:cxn ang="0">
                  <a:pos x="156" y="138"/>
                </a:cxn>
                <a:cxn ang="0">
                  <a:pos x="160" y="129"/>
                </a:cxn>
                <a:cxn ang="0">
                  <a:pos x="160" y="124"/>
                </a:cxn>
                <a:cxn ang="0">
                  <a:pos x="155" y="117"/>
                </a:cxn>
                <a:cxn ang="0">
                  <a:pos x="160" y="109"/>
                </a:cxn>
                <a:cxn ang="0">
                  <a:pos x="166" y="107"/>
                </a:cxn>
                <a:cxn ang="0">
                  <a:pos x="162" y="74"/>
                </a:cxn>
                <a:cxn ang="0">
                  <a:pos x="151" y="59"/>
                </a:cxn>
                <a:cxn ang="0">
                  <a:pos x="151" y="43"/>
                </a:cxn>
              </a:cxnLst>
              <a:rect l="0" t="0" r="r" b="b"/>
              <a:pathLst>
                <a:path w="166" h="340">
                  <a:moveTo>
                    <a:pt x="156" y="37"/>
                  </a:moveTo>
                  <a:lnTo>
                    <a:pt x="147" y="30"/>
                  </a:lnTo>
                  <a:lnTo>
                    <a:pt x="140" y="25"/>
                  </a:lnTo>
                  <a:lnTo>
                    <a:pt x="128" y="12"/>
                  </a:lnTo>
                  <a:lnTo>
                    <a:pt x="117" y="1"/>
                  </a:lnTo>
                  <a:lnTo>
                    <a:pt x="114" y="0"/>
                  </a:lnTo>
                  <a:lnTo>
                    <a:pt x="106" y="4"/>
                  </a:lnTo>
                  <a:lnTo>
                    <a:pt x="101" y="5"/>
                  </a:lnTo>
                  <a:lnTo>
                    <a:pt x="90" y="8"/>
                  </a:lnTo>
                  <a:lnTo>
                    <a:pt x="90" y="12"/>
                  </a:lnTo>
                  <a:lnTo>
                    <a:pt x="97" y="21"/>
                  </a:lnTo>
                  <a:lnTo>
                    <a:pt x="90" y="25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31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3" y="39"/>
                  </a:lnTo>
                  <a:lnTo>
                    <a:pt x="71" y="51"/>
                  </a:lnTo>
                  <a:lnTo>
                    <a:pt x="66" y="53"/>
                  </a:lnTo>
                  <a:lnTo>
                    <a:pt x="60" y="51"/>
                  </a:lnTo>
                  <a:lnTo>
                    <a:pt x="52" y="53"/>
                  </a:lnTo>
                  <a:lnTo>
                    <a:pt x="43" y="49"/>
                  </a:lnTo>
                  <a:lnTo>
                    <a:pt x="37" y="49"/>
                  </a:lnTo>
                  <a:lnTo>
                    <a:pt x="34" y="51"/>
                  </a:lnTo>
                  <a:lnTo>
                    <a:pt x="27" y="63"/>
                  </a:lnTo>
                  <a:lnTo>
                    <a:pt x="23" y="62"/>
                  </a:lnTo>
                  <a:lnTo>
                    <a:pt x="21" y="64"/>
                  </a:lnTo>
                  <a:lnTo>
                    <a:pt x="20" y="65"/>
                  </a:lnTo>
                  <a:lnTo>
                    <a:pt x="17" y="68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5" y="87"/>
                  </a:lnTo>
                  <a:lnTo>
                    <a:pt x="1" y="95"/>
                  </a:lnTo>
                  <a:lnTo>
                    <a:pt x="0" y="105"/>
                  </a:lnTo>
                  <a:lnTo>
                    <a:pt x="0" y="113"/>
                  </a:lnTo>
                  <a:lnTo>
                    <a:pt x="5" y="117"/>
                  </a:lnTo>
                  <a:lnTo>
                    <a:pt x="11" y="121"/>
                  </a:lnTo>
                  <a:lnTo>
                    <a:pt x="15" y="121"/>
                  </a:lnTo>
                  <a:lnTo>
                    <a:pt x="20" y="124"/>
                  </a:lnTo>
                  <a:lnTo>
                    <a:pt x="32" y="139"/>
                  </a:lnTo>
                  <a:lnTo>
                    <a:pt x="41" y="159"/>
                  </a:lnTo>
                  <a:lnTo>
                    <a:pt x="47" y="180"/>
                  </a:lnTo>
                  <a:lnTo>
                    <a:pt x="50" y="189"/>
                  </a:lnTo>
                  <a:lnTo>
                    <a:pt x="52" y="195"/>
                  </a:lnTo>
                  <a:lnTo>
                    <a:pt x="54" y="204"/>
                  </a:lnTo>
                  <a:lnTo>
                    <a:pt x="56" y="215"/>
                  </a:lnTo>
                  <a:lnTo>
                    <a:pt x="58" y="234"/>
                  </a:lnTo>
                  <a:lnTo>
                    <a:pt x="58" y="285"/>
                  </a:lnTo>
                  <a:lnTo>
                    <a:pt x="54" y="308"/>
                  </a:lnTo>
                  <a:lnTo>
                    <a:pt x="54" y="318"/>
                  </a:lnTo>
                  <a:lnTo>
                    <a:pt x="58" y="331"/>
                  </a:lnTo>
                  <a:lnTo>
                    <a:pt x="60" y="338"/>
                  </a:lnTo>
                  <a:lnTo>
                    <a:pt x="61" y="339"/>
                  </a:lnTo>
                  <a:lnTo>
                    <a:pt x="68" y="340"/>
                  </a:lnTo>
                  <a:lnTo>
                    <a:pt x="112" y="337"/>
                  </a:lnTo>
                  <a:lnTo>
                    <a:pt x="109" y="334"/>
                  </a:lnTo>
                  <a:lnTo>
                    <a:pt x="107" y="295"/>
                  </a:lnTo>
                  <a:lnTo>
                    <a:pt x="108" y="286"/>
                  </a:lnTo>
                  <a:lnTo>
                    <a:pt x="113" y="265"/>
                  </a:lnTo>
                  <a:lnTo>
                    <a:pt x="112" y="235"/>
                  </a:lnTo>
                  <a:lnTo>
                    <a:pt x="113" y="215"/>
                  </a:lnTo>
                  <a:lnTo>
                    <a:pt x="117" y="203"/>
                  </a:lnTo>
                  <a:lnTo>
                    <a:pt x="129" y="183"/>
                  </a:lnTo>
                  <a:lnTo>
                    <a:pt x="130" y="168"/>
                  </a:lnTo>
                  <a:lnTo>
                    <a:pt x="133" y="159"/>
                  </a:lnTo>
                  <a:lnTo>
                    <a:pt x="141" y="149"/>
                  </a:lnTo>
                  <a:lnTo>
                    <a:pt x="156" y="138"/>
                  </a:lnTo>
                  <a:lnTo>
                    <a:pt x="156" y="132"/>
                  </a:lnTo>
                  <a:lnTo>
                    <a:pt x="160" y="129"/>
                  </a:lnTo>
                  <a:lnTo>
                    <a:pt x="160" y="128"/>
                  </a:lnTo>
                  <a:lnTo>
                    <a:pt x="160" y="124"/>
                  </a:lnTo>
                  <a:lnTo>
                    <a:pt x="155" y="119"/>
                  </a:lnTo>
                  <a:lnTo>
                    <a:pt x="155" y="117"/>
                  </a:lnTo>
                  <a:lnTo>
                    <a:pt x="157" y="111"/>
                  </a:lnTo>
                  <a:lnTo>
                    <a:pt x="160" y="109"/>
                  </a:lnTo>
                  <a:lnTo>
                    <a:pt x="165" y="109"/>
                  </a:lnTo>
                  <a:lnTo>
                    <a:pt x="166" y="107"/>
                  </a:lnTo>
                  <a:lnTo>
                    <a:pt x="166" y="89"/>
                  </a:lnTo>
                  <a:lnTo>
                    <a:pt x="162" y="74"/>
                  </a:lnTo>
                  <a:lnTo>
                    <a:pt x="161" y="69"/>
                  </a:lnTo>
                  <a:lnTo>
                    <a:pt x="151" y="59"/>
                  </a:lnTo>
                  <a:lnTo>
                    <a:pt x="150" y="54"/>
                  </a:lnTo>
                  <a:lnTo>
                    <a:pt x="151" y="43"/>
                  </a:lnTo>
                  <a:lnTo>
                    <a:pt x="156" y="3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28" name="Freeform 8"/>
            <p:cNvSpPr>
              <a:spLocks noChangeAspect="1"/>
            </p:cNvSpPr>
            <p:nvPr/>
          </p:nvSpPr>
          <p:spPr bwMode="gray">
            <a:xfrm>
              <a:off x="3449717" y="3856570"/>
              <a:ext cx="155848" cy="239054"/>
            </a:xfrm>
            <a:custGeom>
              <a:avLst/>
              <a:gdLst/>
              <a:ahLst/>
              <a:cxnLst>
                <a:cxn ang="0">
                  <a:pos x="99" y="122"/>
                </a:cxn>
                <a:cxn ang="0">
                  <a:pos x="106" y="143"/>
                </a:cxn>
                <a:cxn ang="0">
                  <a:pos x="122" y="160"/>
                </a:cxn>
                <a:cxn ang="0">
                  <a:pos x="117" y="276"/>
                </a:cxn>
                <a:cxn ang="0">
                  <a:pos x="19" y="479"/>
                </a:cxn>
                <a:cxn ang="0">
                  <a:pos x="13" y="502"/>
                </a:cxn>
                <a:cxn ang="0">
                  <a:pos x="3" y="520"/>
                </a:cxn>
                <a:cxn ang="0">
                  <a:pos x="30" y="534"/>
                </a:cxn>
                <a:cxn ang="0">
                  <a:pos x="57" y="568"/>
                </a:cxn>
                <a:cxn ang="0">
                  <a:pos x="83" y="571"/>
                </a:cxn>
                <a:cxn ang="0">
                  <a:pos x="95" y="587"/>
                </a:cxn>
                <a:cxn ang="0">
                  <a:pos x="68" y="608"/>
                </a:cxn>
                <a:cxn ang="0">
                  <a:pos x="77" y="640"/>
                </a:cxn>
                <a:cxn ang="0">
                  <a:pos x="84" y="676"/>
                </a:cxn>
                <a:cxn ang="0">
                  <a:pos x="79" y="706"/>
                </a:cxn>
                <a:cxn ang="0">
                  <a:pos x="106" y="754"/>
                </a:cxn>
                <a:cxn ang="0">
                  <a:pos x="102" y="768"/>
                </a:cxn>
                <a:cxn ang="0">
                  <a:pos x="52" y="763"/>
                </a:cxn>
                <a:cxn ang="0">
                  <a:pos x="40" y="773"/>
                </a:cxn>
                <a:cxn ang="0">
                  <a:pos x="52" y="813"/>
                </a:cxn>
                <a:cxn ang="0">
                  <a:pos x="80" y="825"/>
                </a:cxn>
                <a:cxn ang="0">
                  <a:pos x="100" y="865"/>
                </a:cxn>
                <a:cxn ang="0">
                  <a:pos x="107" y="903"/>
                </a:cxn>
                <a:cxn ang="0">
                  <a:pos x="122" y="902"/>
                </a:cxn>
                <a:cxn ang="0">
                  <a:pos x="139" y="903"/>
                </a:cxn>
                <a:cxn ang="0">
                  <a:pos x="167" y="892"/>
                </a:cxn>
                <a:cxn ang="0">
                  <a:pos x="175" y="882"/>
                </a:cxn>
                <a:cxn ang="0">
                  <a:pos x="185" y="889"/>
                </a:cxn>
                <a:cxn ang="0">
                  <a:pos x="198" y="897"/>
                </a:cxn>
                <a:cxn ang="0">
                  <a:pos x="215" y="888"/>
                </a:cxn>
                <a:cxn ang="0">
                  <a:pos x="245" y="875"/>
                </a:cxn>
                <a:cxn ang="0">
                  <a:pos x="267" y="871"/>
                </a:cxn>
                <a:cxn ang="0">
                  <a:pos x="294" y="864"/>
                </a:cxn>
                <a:cxn ang="0">
                  <a:pos x="306" y="857"/>
                </a:cxn>
                <a:cxn ang="0">
                  <a:pos x="316" y="841"/>
                </a:cxn>
                <a:cxn ang="0">
                  <a:pos x="307" y="827"/>
                </a:cxn>
                <a:cxn ang="0">
                  <a:pos x="321" y="818"/>
                </a:cxn>
                <a:cxn ang="0">
                  <a:pos x="354" y="814"/>
                </a:cxn>
                <a:cxn ang="0">
                  <a:pos x="379" y="811"/>
                </a:cxn>
                <a:cxn ang="0">
                  <a:pos x="393" y="807"/>
                </a:cxn>
                <a:cxn ang="0">
                  <a:pos x="417" y="792"/>
                </a:cxn>
                <a:cxn ang="0">
                  <a:pos x="440" y="763"/>
                </a:cxn>
                <a:cxn ang="0">
                  <a:pos x="455" y="749"/>
                </a:cxn>
                <a:cxn ang="0">
                  <a:pos x="467" y="720"/>
                </a:cxn>
                <a:cxn ang="0">
                  <a:pos x="495" y="711"/>
                </a:cxn>
                <a:cxn ang="0">
                  <a:pos x="524" y="701"/>
                </a:cxn>
                <a:cxn ang="0">
                  <a:pos x="518" y="679"/>
                </a:cxn>
                <a:cxn ang="0">
                  <a:pos x="498" y="640"/>
                </a:cxn>
                <a:cxn ang="0">
                  <a:pos x="478" y="612"/>
                </a:cxn>
                <a:cxn ang="0">
                  <a:pos x="470" y="597"/>
                </a:cxn>
                <a:cxn ang="0">
                  <a:pos x="479" y="572"/>
                </a:cxn>
                <a:cxn ang="0">
                  <a:pos x="484" y="544"/>
                </a:cxn>
                <a:cxn ang="0">
                  <a:pos x="494" y="533"/>
                </a:cxn>
                <a:cxn ang="0">
                  <a:pos x="509" y="494"/>
                </a:cxn>
                <a:cxn ang="0">
                  <a:pos x="526" y="455"/>
                </a:cxn>
                <a:cxn ang="0">
                  <a:pos x="542" y="443"/>
                </a:cxn>
                <a:cxn ang="0">
                  <a:pos x="586" y="441"/>
                </a:cxn>
                <a:cxn ang="0">
                  <a:pos x="588" y="283"/>
                </a:cxn>
                <a:cxn ang="0">
                  <a:pos x="532" y="202"/>
                </a:cxn>
                <a:cxn ang="0">
                  <a:pos x="391" y="129"/>
                </a:cxn>
                <a:cxn ang="0">
                  <a:pos x="251" y="54"/>
                </a:cxn>
                <a:cxn ang="0">
                  <a:pos x="147" y="0"/>
                </a:cxn>
                <a:cxn ang="0">
                  <a:pos x="91" y="106"/>
                </a:cxn>
              </a:cxnLst>
              <a:rect l="0" t="0" r="r" b="b"/>
              <a:pathLst>
                <a:path w="588" h="905">
                  <a:moveTo>
                    <a:pt x="91" y="106"/>
                  </a:moveTo>
                  <a:lnTo>
                    <a:pt x="94" y="112"/>
                  </a:lnTo>
                  <a:lnTo>
                    <a:pt x="99" y="122"/>
                  </a:lnTo>
                  <a:lnTo>
                    <a:pt x="99" y="124"/>
                  </a:lnTo>
                  <a:lnTo>
                    <a:pt x="102" y="131"/>
                  </a:lnTo>
                  <a:lnTo>
                    <a:pt x="106" y="143"/>
                  </a:lnTo>
                  <a:lnTo>
                    <a:pt x="110" y="149"/>
                  </a:lnTo>
                  <a:lnTo>
                    <a:pt x="116" y="155"/>
                  </a:lnTo>
                  <a:lnTo>
                    <a:pt x="122" y="160"/>
                  </a:lnTo>
                  <a:lnTo>
                    <a:pt x="145" y="173"/>
                  </a:lnTo>
                  <a:lnTo>
                    <a:pt x="132" y="197"/>
                  </a:lnTo>
                  <a:lnTo>
                    <a:pt x="117" y="276"/>
                  </a:lnTo>
                  <a:lnTo>
                    <a:pt x="111" y="375"/>
                  </a:lnTo>
                  <a:lnTo>
                    <a:pt x="107" y="380"/>
                  </a:lnTo>
                  <a:lnTo>
                    <a:pt x="19" y="479"/>
                  </a:lnTo>
                  <a:lnTo>
                    <a:pt x="19" y="490"/>
                  </a:lnTo>
                  <a:lnTo>
                    <a:pt x="13" y="493"/>
                  </a:lnTo>
                  <a:lnTo>
                    <a:pt x="13" y="502"/>
                  </a:lnTo>
                  <a:lnTo>
                    <a:pt x="5" y="504"/>
                  </a:lnTo>
                  <a:lnTo>
                    <a:pt x="0" y="509"/>
                  </a:lnTo>
                  <a:lnTo>
                    <a:pt x="3" y="520"/>
                  </a:lnTo>
                  <a:lnTo>
                    <a:pt x="19" y="525"/>
                  </a:lnTo>
                  <a:lnTo>
                    <a:pt x="22" y="531"/>
                  </a:lnTo>
                  <a:lnTo>
                    <a:pt x="30" y="534"/>
                  </a:lnTo>
                  <a:lnTo>
                    <a:pt x="36" y="543"/>
                  </a:lnTo>
                  <a:lnTo>
                    <a:pt x="40" y="564"/>
                  </a:lnTo>
                  <a:lnTo>
                    <a:pt x="57" y="568"/>
                  </a:lnTo>
                  <a:lnTo>
                    <a:pt x="69" y="565"/>
                  </a:lnTo>
                  <a:lnTo>
                    <a:pt x="75" y="569"/>
                  </a:lnTo>
                  <a:lnTo>
                    <a:pt x="83" y="571"/>
                  </a:lnTo>
                  <a:lnTo>
                    <a:pt x="90" y="569"/>
                  </a:lnTo>
                  <a:lnTo>
                    <a:pt x="97" y="582"/>
                  </a:lnTo>
                  <a:lnTo>
                    <a:pt x="95" y="587"/>
                  </a:lnTo>
                  <a:lnTo>
                    <a:pt x="94" y="596"/>
                  </a:lnTo>
                  <a:lnTo>
                    <a:pt x="84" y="603"/>
                  </a:lnTo>
                  <a:lnTo>
                    <a:pt x="68" y="608"/>
                  </a:lnTo>
                  <a:lnTo>
                    <a:pt x="70" y="609"/>
                  </a:lnTo>
                  <a:lnTo>
                    <a:pt x="70" y="612"/>
                  </a:lnTo>
                  <a:lnTo>
                    <a:pt x="77" y="640"/>
                  </a:lnTo>
                  <a:lnTo>
                    <a:pt x="83" y="649"/>
                  </a:lnTo>
                  <a:lnTo>
                    <a:pt x="85" y="656"/>
                  </a:lnTo>
                  <a:lnTo>
                    <a:pt x="84" y="676"/>
                  </a:lnTo>
                  <a:lnTo>
                    <a:pt x="83" y="687"/>
                  </a:lnTo>
                  <a:lnTo>
                    <a:pt x="79" y="698"/>
                  </a:lnTo>
                  <a:lnTo>
                    <a:pt x="79" y="706"/>
                  </a:lnTo>
                  <a:lnTo>
                    <a:pt x="89" y="727"/>
                  </a:lnTo>
                  <a:lnTo>
                    <a:pt x="104" y="748"/>
                  </a:lnTo>
                  <a:lnTo>
                    <a:pt x="106" y="754"/>
                  </a:lnTo>
                  <a:lnTo>
                    <a:pt x="107" y="763"/>
                  </a:lnTo>
                  <a:lnTo>
                    <a:pt x="106" y="765"/>
                  </a:lnTo>
                  <a:lnTo>
                    <a:pt x="102" y="768"/>
                  </a:lnTo>
                  <a:lnTo>
                    <a:pt x="83" y="764"/>
                  </a:lnTo>
                  <a:lnTo>
                    <a:pt x="67" y="762"/>
                  </a:lnTo>
                  <a:lnTo>
                    <a:pt x="52" y="763"/>
                  </a:lnTo>
                  <a:lnTo>
                    <a:pt x="48" y="764"/>
                  </a:lnTo>
                  <a:lnTo>
                    <a:pt x="45" y="767"/>
                  </a:lnTo>
                  <a:lnTo>
                    <a:pt x="40" y="773"/>
                  </a:lnTo>
                  <a:lnTo>
                    <a:pt x="40" y="787"/>
                  </a:lnTo>
                  <a:lnTo>
                    <a:pt x="41" y="800"/>
                  </a:lnTo>
                  <a:lnTo>
                    <a:pt x="52" y="813"/>
                  </a:lnTo>
                  <a:lnTo>
                    <a:pt x="59" y="819"/>
                  </a:lnTo>
                  <a:lnTo>
                    <a:pt x="68" y="823"/>
                  </a:lnTo>
                  <a:lnTo>
                    <a:pt x="80" y="825"/>
                  </a:lnTo>
                  <a:lnTo>
                    <a:pt x="84" y="828"/>
                  </a:lnTo>
                  <a:lnTo>
                    <a:pt x="90" y="838"/>
                  </a:lnTo>
                  <a:lnTo>
                    <a:pt x="100" y="865"/>
                  </a:lnTo>
                  <a:lnTo>
                    <a:pt x="105" y="883"/>
                  </a:lnTo>
                  <a:lnTo>
                    <a:pt x="106" y="900"/>
                  </a:lnTo>
                  <a:lnTo>
                    <a:pt x="107" y="903"/>
                  </a:lnTo>
                  <a:lnTo>
                    <a:pt x="110" y="905"/>
                  </a:lnTo>
                  <a:lnTo>
                    <a:pt x="113" y="903"/>
                  </a:lnTo>
                  <a:lnTo>
                    <a:pt x="122" y="902"/>
                  </a:lnTo>
                  <a:lnTo>
                    <a:pt x="128" y="900"/>
                  </a:lnTo>
                  <a:lnTo>
                    <a:pt x="133" y="900"/>
                  </a:lnTo>
                  <a:lnTo>
                    <a:pt x="139" y="903"/>
                  </a:lnTo>
                  <a:lnTo>
                    <a:pt x="144" y="902"/>
                  </a:lnTo>
                  <a:lnTo>
                    <a:pt x="154" y="894"/>
                  </a:lnTo>
                  <a:lnTo>
                    <a:pt x="167" y="892"/>
                  </a:lnTo>
                  <a:lnTo>
                    <a:pt x="170" y="884"/>
                  </a:lnTo>
                  <a:lnTo>
                    <a:pt x="174" y="884"/>
                  </a:lnTo>
                  <a:lnTo>
                    <a:pt x="175" y="882"/>
                  </a:lnTo>
                  <a:lnTo>
                    <a:pt x="178" y="882"/>
                  </a:lnTo>
                  <a:lnTo>
                    <a:pt x="181" y="883"/>
                  </a:lnTo>
                  <a:lnTo>
                    <a:pt x="185" y="889"/>
                  </a:lnTo>
                  <a:lnTo>
                    <a:pt x="187" y="892"/>
                  </a:lnTo>
                  <a:lnTo>
                    <a:pt x="194" y="898"/>
                  </a:lnTo>
                  <a:lnTo>
                    <a:pt x="198" y="897"/>
                  </a:lnTo>
                  <a:lnTo>
                    <a:pt x="201" y="893"/>
                  </a:lnTo>
                  <a:lnTo>
                    <a:pt x="209" y="892"/>
                  </a:lnTo>
                  <a:lnTo>
                    <a:pt x="215" y="888"/>
                  </a:lnTo>
                  <a:lnTo>
                    <a:pt x="219" y="886"/>
                  </a:lnTo>
                  <a:lnTo>
                    <a:pt x="223" y="882"/>
                  </a:lnTo>
                  <a:lnTo>
                    <a:pt x="245" y="875"/>
                  </a:lnTo>
                  <a:lnTo>
                    <a:pt x="251" y="875"/>
                  </a:lnTo>
                  <a:lnTo>
                    <a:pt x="260" y="875"/>
                  </a:lnTo>
                  <a:lnTo>
                    <a:pt x="267" y="871"/>
                  </a:lnTo>
                  <a:lnTo>
                    <a:pt x="291" y="871"/>
                  </a:lnTo>
                  <a:lnTo>
                    <a:pt x="293" y="870"/>
                  </a:lnTo>
                  <a:lnTo>
                    <a:pt x="294" y="864"/>
                  </a:lnTo>
                  <a:lnTo>
                    <a:pt x="296" y="861"/>
                  </a:lnTo>
                  <a:lnTo>
                    <a:pt x="301" y="860"/>
                  </a:lnTo>
                  <a:lnTo>
                    <a:pt x="306" y="857"/>
                  </a:lnTo>
                  <a:lnTo>
                    <a:pt x="309" y="849"/>
                  </a:lnTo>
                  <a:lnTo>
                    <a:pt x="314" y="845"/>
                  </a:lnTo>
                  <a:lnTo>
                    <a:pt x="316" y="841"/>
                  </a:lnTo>
                  <a:lnTo>
                    <a:pt x="314" y="834"/>
                  </a:lnTo>
                  <a:lnTo>
                    <a:pt x="307" y="829"/>
                  </a:lnTo>
                  <a:lnTo>
                    <a:pt x="307" y="827"/>
                  </a:lnTo>
                  <a:lnTo>
                    <a:pt x="309" y="823"/>
                  </a:lnTo>
                  <a:lnTo>
                    <a:pt x="311" y="822"/>
                  </a:lnTo>
                  <a:lnTo>
                    <a:pt x="321" y="818"/>
                  </a:lnTo>
                  <a:lnTo>
                    <a:pt x="332" y="817"/>
                  </a:lnTo>
                  <a:lnTo>
                    <a:pt x="352" y="817"/>
                  </a:lnTo>
                  <a:lnTo>
                    <a:pt x="354" y="814"/>
                  </a:lnTo>
                  <a:lnTo>
                    <a:pt x="364" y="813"/>
                  </a:lnTo>
                  <a:lnTo>
                    <a:pt x="371" y="811"/>
                  </a:lnTo>
                  <a:lnTo>
                    <a:pt x="379" y="811"/>
                  </a:lnTo>
                  <a:lnTo>
                    <a:pt x="384" y="813"/>
                  </a:lnTo>
                  <a:lnTo>
                    <a:pt x="391" y="810"/>
                  </a:lnTo>
                  <a:lnTo>
                    <a:pt x="393" y="807"/>
                  </a:lnTo>
                  <a:lnTo>
                    <a:pt x="398" y="800"/>
                  </a:lnTo>
                  <a:lnTo>
                    <a:pt x="404" y="798"/>
                  </a:lnTo>
                  <a:lnTo>
                    <a:pt x="417" y="792"/>
                  </a:lnTo>
                  <a:lnTo>
                    <a:pt x="420" y="789"/>
                  </a:lnTo>
                  <a:lnTo>
                    <a:pt x="424" y="779"/>
                  </a:lnTo>
                  <a:lnTo>
                    <a:pt x="440" y="763"/>
                  </a:lnTo>
                  <a:lnTo>
                    <a:pt x="445" y="762"/>
                  </a:lnTo>
                  <a:lnTo>
                    <a:pt x="449" y="759"/>
                  </a:lnTo>
                  <a:lnTo>
                    <a:pt x="455" y="749"/>
                  </a:lnTo>
                  <a:lnTo>
                    <a:pt x="462" y="747"/>
                  </a:lnTo>
                  <a:lnTo>
                    <a:pt x="462" y="731"/>
                  </a:lnTo>
                  <a:lnTo>
                    <a:pt x="467" y="720"/>
                  </a:lnTo>
                  <a:lnTo>
                    <a:pt x="473" y="715"/>
                  </a:lnTo>
                  <a:lnTo>
                    <a:pt x="479" y="712"/>
                  </a:lnTo>
                  <a:lnTo>
                    <a:pt x="495" y="711"/>
                  </a:lnTo>
                  <a:lnTo>
                    <a:pt x="504" y="708"/>
                  </a:lnTo>
                  <a:lnTo>
                    <a:pt x="515" y="705"/>
                  </a:lnTo>
                  <a:lnTo>
                    <a:pt x="524" y="701"/>
                  </a:lnTo>
                  <a:lnTo>
                    <a:pt x="524" y="693"/>
                  </a:lnTo>
                  <a:lnTo>
                    <a:pt x="521" y="684"/>
                  </a:lnTo>
                  <a:lnTo>
                    <a:pt x="518" y="679"/>
                  </a:lnTo>
                  <a:lnTo>
                    <a:pt x="511" y="676"/>
                  </a:lnTo>
                  <a:lnTo>
                    <a:pt x="510" y="674"/>
                  </a:lnTo>
                  <a:lnTo>
                    <a:pt x="498" y="640"/>
                  </a:lnTo>
                  <a:lnTo>
                    <a:pt x="493" y="624"/>
                  </a:lnTo>
                  <a:lnTo>
                    <a:pt x="494" y="608"/>
                  </a:lnTo>
                  <a:lnTo>
                    <a:pt x="478" y="612"/>
                  </a:lnTo>
                  <a:lnTo>
                    <a:pt x="473" y="613"/>
                  </a:lnTo>
                  <a:lnTo>
                    <a:pt x="470" y="613"/>
                  </a:lnTo>
                  <a:lnTo>
                    <a:pt x="470" y="597"/>
                  </a:lnTo>
                  <a:lnTo>
                    <a:pt x="471" y="592"/>
                  </a:lnTo>
                  <a:lnTo>
                    <a:pt x="477" y="581"/>
                  </a:lnTo>
                  <a:lnTo>
                    <a:pt x="479" y="572"/>
                  </a:lnTo>
                  <a:lnTo>
                    <a:pt x="479" y="558"/>
                  </a:lnTo>
                  <a:lnTo>
                    <a:pt x="481" y="548"/>
                  </a:lnTo>
                  <a:lnTo>
                    <a:pt x="484" y="544"/>
                  </a:lnTo>
                  <a:lnTo>
                    <a:pt x="492" y="539"/>
                  </a:lnTo>
                  <a:lnTo>
                    <a:pt x="493" y="538"/>
                  </a:lnTo>
                  <a:lnTo>
                    <a:pt x="494" y="533"/>
                  </a:lnTo>
                  <a:lnTo>
                    <a:pt x="493" y="525"/>
                  </a:lnTo>
                  <a:lnTo>
                    <a:pt x="493" y="512"/>
                  </a:lnTo>
                  <a:lnTo>
                    <a:pt x="509" y="494"/>
                  </a:lnTo>
                  <a:lnTo>
                    <a:pt x="521" y="477"/>
                  </a:lnTo>
                  <a:lnTo>
                    <a:pt x="525" y="466"/>
                  </a:lnTo>
                  <a:lnTo>
                    <a:pt x="526" y="455"/>
                  </a:lnTo>
                  <a:lnTo>
                    <a:pt x="529" y="446"/>
                  </a:lnTo>
                  <a:lnTo>
                    <a:pt x="530" y="445"/>
                  </a:lnTo>
                  <a:lnTo>
                    <a:pt x="542" y="443"/>
                  </a:lnTo>
                  <a:lnTo>
                    <a:pt x="551" y="442"/>
                  </a:lnTo>
                  <a:lnTo>
                    <a:pt x="580" y="442"/>
                  </a:lnTo>
                  <a:lnTo>
                    <a:pt x="586" y="441"/>
                  </a:lnTo>
                  <a:lnTo>
                    <a:pt x="588" y="392"/>
                  </a:lnTo>
                  <a:lnTo>
                    <a:pt x="588" y="337"/>
                  </a:lnTo>
                  <a:lnTo>
                    <a:pt x="588" y="283"/>
                  </a:lnTo>
                  <a:lnTo>
                    <a:pt x="588" y="227"/>
                  </a:lnTo>
                  <a:lnTo>
                    <a:pt x="579" y="226"/>
                  </a:lnTo>
                  <a:lnTo>
                    <a:pt x="532" y="202"/>
                  </a:lnTo>
                  <a:lnTo>
                    <a:pt x="486" y="178"/>
                  </a:lnTo>
                  <a:lnTo>
                    <a:pt x="438" y="154"/>
                  </a:lnTo>
                  <a:lnTo>
                    <a:pt x="391" y="129"/>
                  </a:lnTo>
                  <a:lnTo>
                    <a:pt x="344" y="104"/>
                  </a:lnTo>
                  <a:lnTo>
                    <a:pt x="298" y="79"/>
                  </a:lnTo>
                  <a:lnTo>
                    <a:pt x="251" y="54"/>
                  </a:lnTo>
                  <a:lnTo>
                    <a:pt x="204" y="30"/>
                  </a:lnTo>
                  <a:lnTo>
                    <a:pt x="158" y="5"/>
                  </a:lnTo>
                  <a:lnTo>
                    <a:pt x="147" y="0"/>
                  </a:lnTo>
                  <a:lnTo>
                    <a:pt x="97" y="17"/>
                  </a:lnTo>
                  <a:lnTo>
                    <a:pt x="91" y="20"/>
                  </a:lnTo>
                  <a:lnTo>
                    <a:pt x="91" y="106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29" name="Freeform 9"/>
            <p:cNvSpPr>
              <a:spLocks noChangeAspect="1"/>
            </p:cNvSpPr>
            <p:nvPr/>
          </p:nvSpPr>
          <p:spPr bwMode="gray">
            <a:xfrm>
              <a:off x="3785185" y="3938456"/>
              <a:ext cx="95093" cy="85848"/>
            </a:xfrm>
            <a:custGeom>
              <a:avLst/>
              <a:gdLst/>
              <a:ahLst/>
              <a:cxnLst>
                <a:cxn ang="0">
                  <a:pos x="100" y="24"/>
                </a:cxn>
                <a:cxn ang="0">
                  <a:pos x="58" y="43"/>
                </a:cxn>
                <a:cxn ang="0">
                  <a:pos x="31" y="56"/>
                </a:cxn>
                <a:cxn ang="0">
                  <a:pos x="23" y="94"/>
                </a:cxn>
                <a:cxn ang="0">
                  <a:pos x="4" y="163"/>
                </a:cxn>
                <a:cxn ang="0">
                  <a:pos x="3" y="216"/>
                </a:cxn>
                <a:cxn ang="0">
                  <a:pos x="23" y="219"/>
                </a:cxn>
                <a:cxn ang="0">
                  <a:pos x="31" y="213"/>
                </a:cxn>
                <a:cxn ang="0">
                  <a:pos x="47" y="215"/>
                </a:cxn>
                <a:cxn ang="0">
                  <a:pos x="75" y="184"/>
                </a:cxn>
                <a:cxn ang="0">
                  <a:pos x="92" y="195"/>
                </a:cxn>
                <a:cxn ang="0">
                  <a:pos x="103" y="210"/>
                </a:cxn>
                <a:cxn ang="0">
                  <a:pos x="129" y="206"/>
                </a:cxn>
                <a:cxn ang="0">
                  <a:pos x="140" y="197"/>
                </a:cxn>
                <a:cxn ang="0">
                  <a:pos x="150" y="208"/>
                </a:cxn>
                <a:cxn ang="0">
                  <a:pos x="163" y="202"/>
                </a:cxn>
                <a:cxn ang="0">
                  <a:pos x="182" y="206"/>
                </a:cxn>
                <a:cxn ang="0">
                  <a:pos x="189" y="208"/>
                </a:cxn>
                <a:cxn ang="0">
                  <a:pos x="224" y="223"/>
                </a:cxn>
                <a:cxn ang="0">
                  <a:pos x="251" y="246"/>
                </a:cxn>
                <a:cxn ang="0">
                  <a:pos x="285" y="277"/>
                </a:cxn>
                <a:cxn ang="0">
                  <a:pos x="297" y="299"/>
                </a:cxn>
                <a:cxn ang="0">
                  <a:pos x="317" y="316"/>
                </a:cxn>
                <a:cxn ang="0">
                  <a:pos x="343" y="310"/>
                </a:cxn>
                <a:cxn ang="0">
                  <a:pos x="350" y="296"/>
                </a:cxn>
                <a:cxn ang="0">
                  <a:pos x="340" y="282"/>
                </a:cxn>
                <a:cxn ang="0">
                  <a:pos x="326" y="277"/>
                </a:cxn>
                <a:cxn ang="0">
                  <a:pos x="318" y="261"/>
                </a:cxn>
                <a:cxn ang="0">
                  <a:pos x="307" y="253"/>
                </a:cxn>
                <a:cxn ang="0">
                  <a:pos x="296" y="242"/>
                </a:cxn>
                <a:cxn ang="0">
                  <a:pos x="286" y="237"/>
                </a:cxn>
                <a:cxn ang="0">
                  <a:pos x="264" y="201"/>
                </a:cxn>
                <a:cxn ang="0">
                  <a:pos x="240" y="192"/>
                </a:cxn>
                <a:cxn ang="0">
                  <a:pos x="229" y="181"/>
                </a:cxn>
                <a:cxn ang="0">
                  <a:pos x="215" y="176"/>
                </a:cxn>
                <a:cxn ang="0">
                  <a:pos x="205" y="179"/>
                </a:cxn>
                <a:cxn ang="0">
                  <a:pos x="194" y="162"/>
                </a:cxn>
                <a:cxn ang="0">
                  <a:pos x="192" y="153"/>
                </a:cxn>
                <a:cxn ang="0">
                  <a:pos x="182" y="153"/>
                </a:cxn>
                <a:cxn ang="0">
                  <a:pos x="184" y="168"/>
                </a:cxn>
                <a:cxn ang="0">
                  <a:pos x="176" y="163"/>
                </a:cxn>
                <a:cxn ang="0">
                  <a:pos x="171" y="145"/>
                </a:cxn>
                <a:cxn ang="0">
                  <a:pos x="162" y="141"/>
                </a:cxn>
                <a:cxn ang="0">
                  <a:pos x="160" y="129"/>
                </a:cxn>
                <a:cxn ang="0">
                  <a:pos x="145" y="104"/>
                </a:cxn>
                <a:cxn ang="0">
                  <a:pos x="139" y="68"/>
                </a:cxn>
                <a:cxn ang="0">
                  <a:pos x="132" y="38"/>
                </a:cxn>
                <a:cxn ang="0">
                  <a:pos x="120" y="16"/>
                </a:cxn>
                <a:cxn ang="0">
                  <a:pos x="113" y="0"/>
                </a:cxn>
              </a:cxnLst>
              <a:rect l="0" t="0" r="r" b="b"/>
              <a:pathLst>
                <a:path w="360" h="324">
                  <a:moveTo>
                    <a:pt x="109" y="0"/>
                  </a:moveTo>
                  <a:lnTo>
                    <a:pt x="107" y="9"/>
                  </a:lnTo>
                  <a:lnTo>
                    <a:pt x="100" y="24"/>
                  </a:lnTo>
                  <a:lnTo>
                    <a:pt x="87" y="30"/>
                  </a:lnTo>
                  <a:lnTo>
                    <a:pt x="79" y="33"/>
                  </a:lnTo>
                  <a:lnTo>
                    <a:pt x="58" y="43"/>
                  </a:lnTo>
                  <a:lnTo>
                    <a:pt x="53" y="50"/>
                  </a:lnTo>
                  <a:lnTo>
                    <a:pt x="44" y="55"/>
                  </a:lnTo>
                  <a:lnTo>
                    <a:pt x="31" y="56"/>
                  </a:lnTo>
                  <a:lnTo>
                    <a:pt x="27" y="65"/>
                  </a:lnTo>
                  <a:lnTo>
                    <a:pt x="23" y="86"/>
                  </a:lnTo>
                  <a:lnTo>
                    <a:pt x="23" y="94"/>
                  </a:lnTo>
                  <a:lnTo>
                    <a:pt x="20" y="115"/>
                  </a:lnTo>
                  <a:lnTo>
                    <a:pt x="11" y="149"/>
                  </a:lnTo>
                  <a:lnTo>
                    <a:pt x="4" y="163"/>
                  </a:lnTo>
                  <a:lnTo>
                    <a:pt x="0" y="180"/>
                  </a:lnTo>
                  <a:lnTo>
                    <a:pt x="0" y="200"/>
                  </a:lnTo>
                  <a:lnTo>
                    <a:pt x="3" y="216"/>
                  </a:lnTo>
                  <a:lnTo>
                    <a:pt x="5" y="217"/>
                  </a:lnTo>
                  <a:lnTo>
                    <a:pt x="20" y="217"/>
                  </a:lnTo>
                  <a:lnTo>
                    <a:pt x="23" y="219"/>
                  </a:lnTo>
                  <a:lnTo>
                    <a:pt x="27" y="219"/>
                  </a:lnTo>
                  <a:lnTo>
                    <a:pt x="30" y="216"/>
                  </a:lnTo>
                  <a:lnTo>
                    <a:pt x="31" y="213"/>
                  </a:lnTo>
                  <a:lnTo>
                    <a:pt x="34" y="210"/>
                  </a:lnTo>
                  <a:lnTo>
                    <a:pt x="42" y="210"/>
                  </a:lnTo>
                  <a:lnTo>
                    <a:pt x="47" y="215"/>
                  </a:lnTo>
                  <a:lnTo>
                    <a:pt x="47" y="218"/>
                  </a:lnTo>
                  <a:lnTo>
                    <a:pt x="55" y="228"/>
                  </a:lnTo>
                  <a:lnTo>
                    <a:pt x="75" y="184"/>
                  </a:lnTo>
                  <a:lnTo>
                    <a:pt x="79" y="189"/>
                  </a:lnTo>
                  <a:lnTo>
                    <a:pt x="85" y="195"/>
                  </a:lnTo>
                  <a:lnTo>
                    <a:pt x="92" y="195"/>
                  </a:lnTo>
                  <a:lnTo>
                    <a:pt x="95" y="196"/>
                  </a:lnTo>
                  <a:lnTo>
                    <a:pt x="95" y="199"/>
                  </a:lnTo>
                  <a:lnTo>
                    <a:pt x="103" y="210"/>
                  </a:lnTo>
                  <a:lnTo>
                    <a:pt x="112" y="210"/>
                  </a:lnTo>
                  <a:lnTo>
                    <a:pt x="116" y="208"/>
                  </a:lnTo>
                  <a:lnTo>
                    <a:pt x="129" y="206"/>
                  </a:lnTo>
                  <a:lnTo>
                    <a:pt x="135" y="201"/>
                  </a:lnTo>
                  <a:lnTo>
                    <a:pt x="135" y="197"/>
                  </a:lnTo>
                  <a:lnTo>
                    <a:pt x="140" y="197"/>
                  </a:lnTo>
                  <a:lnTo>
                    <a:pt x="145" y="202"/>
                  </a:lnTo>
                  <a:lnTo>
                    <a:pt x="148" y="208"/>
                  </a:lnTo>
                  <a:lnTo>
                    <a:pt x="150" y="208"/>
                  </a:lnTo>
                  <a:lnTo>
                    <a:pt x="151" y="207"/>
                  </a:lnTo>
                  <a:lnTo>
                    <a:pt x="159" y="206"/>
                  </a:lnTo>
                  <a:lnTo>
                    <a:pt x="163" y="202"/>
                  </a:lnTo>
                  <a:lnTo>
                    <a:pt x="167" y="202"/>
                  </a:lnTo>
                  <a:lnTo>
                    <a:pt x="172" y="206"/>
                  </a:lnTo>
                  <a:lnTo>
                    <a:pt x="182" y="206"/>
                  </a:lnTo>
                  <a:lnTo>
                    <a:pt x="184" y="210"/>
                  </a:lnTo>
                  <a:lnTo>
                    <a:pt x="187" y="210"/>
                  </a:lnTo>
                  <a:lnTo>
                    <a:pt x="189" y="208"/>
                  </a:lnTo>
                  <a:lnTo>
                    <a:pt x="202" y="207"/>
                  </a:lnTo>
                  <a:lnTo>
                    <a:pt x="214" y="218"/>
                  </a:lnTo>
                  <a:lnTo>
                    <a:pt x="224" y="223"/>
                  </a:lnTo>
                  <a:lnTo>
                    <a:pt x="231" y="224"/>
                  </a:lnTo>
                  <a:lnTo>
                    <a:pt x="243" y="235"/>
                  </a:lnTo>
                  <a:lnTo>
                    <a:pt x="251" y="246"/>
                  </a:lnTo>
                  <a:lnTo>
                    <a:pt x="256" y="255"/>
                  </a:lnTo>
                  <a:lnTo>
                    <a:pt x="273" y="267"/>
                  </a:lnTo>
                  <a:lnTo>
                    <a:pt x="285" y="277"/>
                  </a:lnTo>
                  <a:lnTo>
                    <a:pt x="291" y="283"/>
                  </a:lnTo>
                  <a:lnTo>
                    <a:pt x="294" y="292"/>
                  </a:lnTo>
                  <a:lnTo>
                    <a:pt x="297" y="299"/>
                  </a:lnTo>
                  <a:lnTo>
                    <a:pt x="306" y="303"/>
                  </a:lnTo>
                  <a:lnTo>
                    <a:pt x="313" y="309"/>
                  </a:lnTo>
                  <a:lnTo>
                    <a:pt x="317" y="316"/>
                  </a:lnTo>
                  <a:lnTo>
                    <a:pt x="323" y="324"/>
                  </a:lnTo>
                  <a:lnTo>
                    <a:pt x="328" y="318"/>
                  </a:lnTo>
                  <a:lnTo>
                    <a:pt x="343" y="310"/>
                  </a:lnTo>
                  <a:lnTo>
                    <a:pt x="360" y="299"/>
                  </a:lnTo>
                  <a:lnTo>
                    <a:pt x="356" y="293"/>
                  </a:lnTo>
                  <a:lnTo>
                    <a:pt x="350" y="296"/>
                  </a:lnTo>
                  <a:lnTo>
                    <a:pt x="344" y="292"/>
                  </a:lnTo>
                  <a:lnTo>
                    <a:pt x="342" y="289"/>
                  </a:lnTo>
                  <a:lnTo>
                    <a:pt x="340" y="282"/>
                  </a:lnTo>
                  <a:lnTo>
                    <a:pt x="339" y="281"/>
                  </a:lnTo>
                  <a:lnTo>
                    <a:pt x="331" y="280"/>
                  </a:lnTo>
                  <a:lnTo>
                    <a:pt x="326" y="277"/>
                  </a:lnTo>
                  <a:lnTo>
                    <a:pt x="324" y="274"/>
                  </a:lnTo>
                  <a:lnTo>
                    <a:pt x="322" y="264"/>
                  </a:lnTo>
                  <a:lnTo>
                    <a:pt x="318" y="261"/>
                  </a:lnTo>
                  <a:lnTo>
                    <a:pt x="317" y="256"/>
                  </a:lnTo>
                  <a:lnTo>
                    <a:pt x="311" y="255"/>
                  </a:lnTo>
                  <a:lnTo>
                    <a:pt x="307" y="253"/>
                  </a:lnTo>
                  <a:lnTo>
                    <a:pt x="302" y="243"/>
                  </a:lnTo>
                  <a:lnTo>
                    <a:pt x="301" y="240"/>
                  </a:lnTo>
                  <a:lnTo>
                    <a:pt x="296" y="242"/>
                  </a:lnTo>
                  <a:lnTo>
                    <a:pt x="291" y="239"/>
                  </a:lnTo>
                  <a:lnTo>
                    <a:pt x="289" y="239"/>
                  </a:lnTo>
                  <a:lnTo>
                    <a:pt x="286" y="237"/>
                  </a:lnTo>
                  <a:lnTo>
                    <a:pt x="286" y="232"/>
                  </a:lnTo>
                  <a:lnTo>
                    <a:pt x="279" y="223"/>
                  </a:lnTo>
                  <a:lnTo>
                    <a:pt x="264" y="201"/>
                  </a:lnTo>
                  <a:lnTo>
                    <a:pt x="256" y="196"/>
                  </a:lnTo>
                  <a:lnTo>
                    <a:pt x="246" y="196"/>
                  </a:lnTo>
                  <a:lnTo>
                    <a:pt x="240" y="192"/>
                  </a:lnTo>
                  <a:lnTo>
                    <a:pt x="236" y="192"/>
                  </a:lnTo>
                  <a:lnTo>
                    <a:pt x="232" y="189"/>
                  </a:lnTo>
                  <a:lnTo>
                    <a:pt x="229" y="181"/>
                  </a:lnTo>
                  <a:lnTo>
                    <a:pt x="226" y="179"/>
                  </a:lnTo>
                  <a:lnTo>
                    <a:pt x="221" y="176"/>
                  </a:lnTo>
                  <a:lnTo>
                    <a:pt x="215" y="176"/>
                  </a:lnTo>
                  <a:lnTo>
                    <a:pt x="213" y="180"/>
                  </a:lnTo>
                  <a:lnTo>
                    <a:pt x="209" y="181"/>
                  </a:lnTo>
                  <a:lnTo>
                    <a:pt x="205" y="179"/>
                  </a:lnTo>
                  <a:lnTo>
                    <a:pt x="199" y="170"/>
                  </a:lnTo>
                  <a:lnTo>
                    <a:pt x="195" y="165"/>
                  </a:lnTo>
                  <a:lnTo>
                    <a:pt x="194" y="162"/>
                  </a:lnTo>
                  <a:lnTo>
                    <a:pt x="197" y="157"/>
                  </a:lnTo>
                  <a:lnTo>
                    <a:pt x="195" y="154"/>
                  </a:lnTo>
                  <a:lnTo>
                    <a:pt x="192" y="153"/>
                  </a:lnTo>
                  <a:lnTo>
                    <a:pt x="188" y="149"/>
                  </a:lnTo>
                  <a:lnTo>
                    <a:pt x="184" y="151"/>
                  </a:lnTo>
                  <a:lnTo>
                    <a:pt x="182" y="153"/>
                  </a:lnTo>
                  <a:lnTo>
                    <a:pt x="182" y="158"/>
                  </a:lnTo>
                  <a:lnTo>
                    <a:pt x="186" y="162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77" y="165"/>
                  </a:lnTo>
                  <a:lnTo>
                    <a:pt x="176" y="163"/>
                  </a:lnTo>
                  <a:lnTo>
                    <a:pt x="176" y="158"/>
                  </a:lnTo>
                  <a:lnTo>
                    <a:pt x="173" y="156"/>
                  </a:lnTo>
                  <a:lnTo>
                    <a:pt x="171" y="145"/>
                  </a:lnTo>
                  <a:lnTo>
                    <a:pt x="170" y="143"/>
                  </a:lnTo>
                  <a:lnTo>
                    <a:pt x="165" y="142"/>
                  </a:lnTo>
                  <a:lnTo>
                    <a:pt x="162" y="141"/>
                  </a:lnTo>
                  <a:lnTo>
                    <a:pt x="162" y="137"/>
                  </a:lnTo>
                  <a:lnTo>
                    <a:pt x="160" y="136"/>
                  </a:lnTo>
                  <a:lnTo>
                    <a:pt x="160" y="129"/>
                  </a:lnTo>
                  <a:lnTo>
                    <a:pt x="154" y="125"/>
                  </a:lnTo>
                  <a:lnTo>
                    <a:pt x="150" y="120"/>
                  </a:lnTo>
                  <a:lnTo>
                    <a:pt x="145" y="104"/>
                  </a:lnTo>
                  <a:lnTo>
                    <a:pt x="144" y="94"/>
                  </a:lnTo>
                  <a:lnTo>
                    <a:pt x="141" y="84"/>
                  </a:lnTo>
                  <a:lnTo>
                    <a:pt x="139" y="68"/>
                  </a:lnTo>
                  <a:lnTo>
                    <a:pt x="138" y="63"/>
                  </a:lnTo>
                  <a:lnTo>
                    <a:pt x="134" y="49"/>
                  </a:lnTo>
                  <a:lnTo>
                    <a:pt x="132" y="38"/>
                  </a:lnTo>
                  <a:lnTo>
                    <a:pt x="130" y="30"/>
                  </a:lnTo>
                  <a:lnTo>
                    <a:pt x="125" y="20"/>
                  </a:lnTo>
                  <a:lnTo>
                    <a:pt x="120" y="16"/>
                  </a:lnTo>
                  <a:lnTo>
                    <a:pt x="118" y="8"/>
                  </a:lnTo>
                  <a:lnTo>
                    <a:pt x="114" y="1"/>
                  </a:lnTo>
                  <a:lnTo>
                    <a:pt x="113" y="0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0" name="Freeform 10"/>
            <p:cNvSpPr>
              <a:spLocks noChangeAspect="1"/>
            </p:cNvSpPr>
            <p:nvPr/>
          </p:nvSpPr>
          <p:spPr bwMode="gray">
            <a:xfrm>
              <a:off x="3081230" y="3831476"/>
              <a:ext cx="235092" cy="224526"/>
            </a:xfrm>
            <a:custGeom>
              <a:avLst/>
              <a:gdLst/>
              <a:ahLst/>
              <a:cxnLst>
                <a:cxn ang="0">
                  <a:pos x="727" y="243"/>
                </a:cxn>
                <a:cxn ang="0">
                  <a:pos x="755" y="259"/>
                </a:cxn>
                <a:cxn ang="0">
                  <a:pos x="780" y="281"/>
                </a:cxn>
                <a:cxn ang="0">
                  <a:pos x="809" y="291"/>
                </a:cxn>
                <a:cxn ang="0">
                  <a:pos x="839" y="303"/>
                </a:cxn>
                <a:cxn ang="0">
                  <a:pos x="841" y="319"/>
                </a:cxn>
                <a:cxn ang="0">
                  <a:pos x="840" y="336"/>
                </a:cxn>
                <a:cxn ang="0">
                  <a:pos x="858" y="356"/>
                </a:cxn>
                <a:cxn ang="0">
                  <a:pos x="890" y="346"/>
                </a:cxn>
                <a:cxn ang="0">
                  <a:pos x="891" y="522"/>
                </a:cxn>
                <a:cxn ang="0">
                  <a:pos x="861" y="550"/>
                </a:cxn>
                <a:cxn ang="0">
                  <a:pos x="829" y="559"/>
                </a:cxn>
                <a:cxn ang="0">
                  <a:pos x="674" y="582"/>
                </a:cxn>
                <a:cxn ang="0">
                  <a:pos x="561" y="631"/>
                </a:cxn>
                <a:cxn ang="0">
                  <a:pos x="468" y="677"/>
                </a:cxn>
                <a:cxn ang="0">
                  <a:pos x="439" y="716"/>
                </a:cxn>
                <a:cxn ang="0">
                  <a:pos x="395" y="770"/>
                </a:cxn>
                <a:cxn ang="0">
                  <a:pos x="379" y="830"/>
                </a:cxn>
                <a:cxn ang="0">
                  <a:pos x="361" y="835"/>
                </a:cxn>
                <a:cxn ang="0">
                  <a:pos x="336" y="846"/>
                </a:cxn>
                <a:cxn ang="0">
                  <a:pos x="325" y="828"/>
                </a:cxn>
                <a:cxn ang="0">
                  <a:pos x="312" y="828"/>
                </a:cxn>
                <a:cxn ang="0">
                  <a:pos x="299" y="831"/>
                </a:cxn>
                <a:cxn ang="0">
                  <a:pos x="282" y="846"/>
                </a:cxn>
                <a:cxn ang="0">
                  <a:pos x="266" y="844"/>
                </a:cxn>
                <a:cxn ang="0">
                  <a:pos x="256" y="835"/>
                </a:cxn>
                <a:cxn ang="0">
                  <a:pos x="239" y="840"/>
                </a:cxn>
                <a:cxn ang="0">
                  <a:pos x="227" y="842"/>
                </a:cxn>
                <a:cxn ang="0">
                  <a:pos x="210" y="806"/>
                </a:cxn>
                <a:cxn ang="0">
                  <a:pos x="191" y="808"/>
                </a:cxn>
                <a:cxn ang="0">
                  <a:pos x="201" y="792"/>
                </a:cxn>
                <a:cxn ang="0">
                  <a:pos x="201" y="782"/>
                </a:cxn>
                <a:cxn ang="0">
                  <a:pos x="183" y="767"/>
                </a:cxn>
                <a:cxn ang="0">
                  <a:pos x="178" y="737"/>
                </a:cxn>
                <a:cxn ang="0">
                  <a:pos x="170" y="721"/>
                </a:cxn>
                <a:cxn ang="0">
                  <a:pos x="153" y="720"/>
                </a:cxn>
                <a:cxn ang="0">
                  <a:pos x="136" y="743"/>
                </a:cxn>
                <a:cxn ang="0">
                  <a:pos x="99" y="736"/>
                </a:cxn>
                <a:cxn ang="0">
                  <a:pos x="78" y="750"/>
                </a:cxn>
                <a:cxn ang="0">
                  <a:pos x="52" y="747"/>
                </a:cxn>
                <a:cxn ang="0">
                  <a:pos x="43" y="732"/>
                </a:cxn>
                <a:cxn ang="0">
                  <a:pos x="44" y="717"/>
                </a:cxn>
                <a:cxn ang="0">
                  <a:pos x="45" y="697"/>
                </a:cxn>
                <a:cxn ang="0">
                  <a:pos x="36" y="682"/>
                </a:cxn>
                <a:cxn ang="0">
                  <a:pos x="24" y="673"/>
                </a:cxn>
                <a:cxn ang="0">
                  <a:pos x="9" y="652"/>
                </a:cxn>
                <a:cxn ang="0">
                  <a:pos x="9" y="621"/>
                </a:cxn>
                <a:cxn ang="0">
                  <a:pos x="1" y="608"/>
                </a:cxn>
                <a:cxn ang="0">
                  <a:pos x="30" y="554"/>
                </a:cxn>
                <a:cxn ang="0">
                  <a:pos x="45" y="533"/>
                </a:cxn>
                <a:cxn ang="0">
                  <a:pos x="84" y="572"/>
                </a:cxn>
                <a:cxn ang="0">
                  <a:pos x="344" y="555"/>
                </a:cxn>
                <a:cxn ang="0">
                  <a:pos x="341" y="389"/>
                </a:cxn>
                <a:cxn ang="0">
                  <a:pos x="313" y="114"/>
                </a:cxn>
              </a:cxnLst>
              <a:rect l="0" t="0" r="r" b="b"/>
              <a:pathLst>
                <a:path w="891" h="851">
                  <a:moveTo>
                    <a:pt x="462" y="44"/>
                  </a:moveTo>
                  <a:lnTo>
                    <a:pt x="724" y="226"/>
                  </a:lnTo>
                  <a:lnTo>
                    <a:pt x="724" y="231"/>
                  </a:lnTo>
                  <a:lnTo>
                    <a:pt x="728" y="234"/>
                  </a:lnTo>
                  <a:lnTo>
                    <a:pt x="727" y="243"/>
                  </a:lnTo>
                  <a:lnTo>
                    <a:pt x="728" y="247"/>
                  </a:lnTo>
                  <a:lnTo>
                    <a:pt x="734" y="250"/>
                  </a:lnTo>
                  <a:lnTo>
                    <a:pt x="742" y="252"/>
                  </a:lnTo>
                  <a:lnTo>
                    <a:pt x="753" y="258"/>
                  </a:lnTo>
                  <a:lnTo>
                    <a:pt x="755" y="259"/>
                  </a:lnTo>
                  <a:lnTo>
                    <a:pt x="756" y="265"/>
                  </a:lnTo>
                  <a:lnTo>
                    <a:pt x="758" y="270"/>
                  </a:lnTo>
                  <a:lnTo>
                    <a:pt x="765" y="276"/>
                  </a:lnTo>
                  <a:lnTo>
                    <a:pt x="770" y="279"/>
                  </a:lnTo>
                  <a:lnTo>
                    <a:pt x="780" y="281"/>
                  </a:lnTo>
                  <a:lnTo>
                    <a:pt x="788" y="280"/>
                  </a:lnTo>
                  <a:lnTo>
                    <a:pt x="791" y="281"/>
                  </a:lnTo>
                  <a:lnTo>
                    <a:pt x="794" y="288"/>
                  </a:lnTo>
                  <a:lnTo>
                    <a:pt x="798" y="291"/>
                  </a:lnTo>
                  <a:lnTo>
                    <a:pt x="809" y="291"/>
                  </a:lnTo>
                  <a:lnTo>
                    <a:pt x="813" y="293"/>
                  </a:lnTo>
                  <a:lnTo>
                    <a:pt x="818" y="293"/>
                  </a:lnTo>
                  <a:lnTo>
                    <a:pt x="826" y="298"/>
                  </a:lnTo>
                  <a:lnTo>
                    <a:pt x="835" y="301"/>
                  </a:lnTo>
                  <a:lnTo>
                    <a:pt x="839" y="303"/>
                  </a:lnTo>
                  <a:lnTo>
                    <a:pt x="840" y="307"/>
                  </a:lnTo>
                  <a:lnTo>
                    <a:pt x="841" y="307"/>
                  </a:lnTo>
                  <a:lnTo>
                    <a:pt x="842" y="313"/>
                  </a:lnTo>
                  <a:lnTo>
                    <a:pt x="841" y="315"/>
                  </a:lnTo>
                  <a:lnTo>
                    <a:pt x="841" y="319"/>
                  </a:lnTo>
                  <a:lnTo>
                    <a:pt x="844" y="324"/>
                  </a:lnTo>
                  <a:lnTo>
                    <a:pt x="844" y="325"/>
                  </a:lnTo>
                  <a:lnTo>
                    <a:pt x="840" y="328"/>
                  </a:lnTo>
                  <a:lnTo>
                    <a:pt x="839" y="330"/>
                  </a:lnTo>
                  <a:lnTo>
                    <a:pt x="840" y="336"/>
                  </a:lnTo>
                  <a:lnTo>
                    <a:pt x="837" y="341"/>
                  </a:lnTo>
                  <a:lnTo>
                    <a:pt x="837" y="346"/>
                  </a:lnTo>
                  <a:lnTo>
                    <a:pt x="845" y="355"/>
                  </a:lnTo>
                  <a:lnTo>
                    <a:pt x="851" y="356"/>
                  </a:lnTo>
                  <a:lnTo>
                    <a:pt x="858" y="356"/>
                  </a:lnTo>
                  <a:lnTo>
                    <a:pt x="867" y="351"/>
                  </a:lnTo>
                  <a:lnTo>
                    <a:pt x="875" y="351"/>
                  </a:lnTo>
                  <a:lnTo>
                    <a:pt x="885" y="346"/>
                  </a:lnTo>
                  <a:lnTo>
                    <a:pt x="890" y="344"/>
                  </a:lnTo>
                  <a:lnTo>
                    <a:pt x="890" y="346"/>
                  </a:lnTo>
                  <a:lnTo>
                    <a:pt x="891" y="347"/>
                  </a:lnTo>
                  <a:lnTo>
                    <a:pt x="891" y="358"/>
                  </a:lnTo>
                  <a:lnTo>
                    <a:pt x="891" y="414"/>
                  </a:lnTo>
                  <a:lnTo>
                    <a:pt x="891" y="468"/>
                  </a:lnTo>
                  <a:lnTo>
                    <a:pt x="891" y="522"/>
                  </a:lnTo>
                  <a:lnTo>
                    <a:pt x="888" y="523"/>
                  </a:lnTo>
                  <a:lnTo>
                    <a:pt x="878" y="529"/>
                  </a:lnTo>
                  <a:lnTo>
                    <a:pt x="874" y="535"/>
                  </a:lnTo>
                  <a:lnTo>
                    <a:pt x="873" y="543"/>
                  </a:lnTo>
                  <a:lnTo>
                    <a:pt x="861" y="550"/>
                  </a:lnTo>
                  <a:lnTo>
                    <a:pt x="857" y="553"/>
                  </a:lnTo>
                  <a:lnTo>
                    <a:pt x="855" y="556"/>
                  </a:lnTo>
                  <a:lnTo>
                    <a:pt x="855" y="561"/>
                  </a:lnTo>
                  <a:lnTo>
                    <a:pt x="842" y="560"/>
                  </a:lnTo>
                  <a:lnTo>
                    <a:pt x="829" y="559"/>
                  </a:lnTo>
                  <a:lnTo>
                    <a:pt x="829" y="562"/>
                  </a:lnTo>
                  <a:lnTo>
                    <a:pt x="824" y="561"/>
                  </a:lnTo>
                  <a:lnTo>
                    <a:pt x="735" y="562"/>
                  </a:lnTo>
                  <a:lnTo>
                    <a:pt x="711" y="582"/>
                  </a:lnTo>
                  <a:lnTo>
                    <a:pt x="674" y="582"/>
                  </a:lnTo>
                  <a:lnTo>
                    <a:pt x="641" y="583"/>
                  </a:lnTo>
                  <a:lnTo>
                    <a:pt x="621" y="591"/>
                  </a:lnTo>
                  <a:lnTo>
                    <a:pt x="613" y="594"/>
                  </a:lnTo>
                  <a:lnTo>
                    <a:pt x="598" y="607"/>
                  </a:lnTo>
                  <a:lnTo>
                    <a:pt x="561" y="631"/>
                  </a:lnTo>
                  <a:lnTo>
                    <a:pt x="549" y="647"/>
                  </a:lnTo>
                  <a:lnTo>
                    <a:pt x="530" y="661"/>
                  </a:lnTo>
                  <a:lnTo>
                    <a:pt x="492" y="673"/>
                  </a:lnTo>
                  <a:lnTo>
                    <a:pt x="480" y="675"/>
                  </a:lnTo>
                  <a:lnTo>
                    <a:pt x="468" y="677"/>
                  </a:lnTo>
                  <a:lnTo>
                    <a:pt x="462" y="678"/>
                  </a:lnTo>
                  <a:lnTo>
                    <a:pt x="453" y="684"/>
                  </a:lnTo>
                  <a:lnTo>
                    <a:pt x="448" y="690"/>
                  </a:lnTo>
                  <a:lnTo>
                    <a:pt x="443" y="701"/>
                  </a:lnTo>
                  <a:lnTo>
                    <a:pt x="439" y="716"/>
                  </a:lnTo>
                  <a:lnTo>
                    <a:pt x="432" y="734"/>
                  </a:lnTo>
                  <a:lnTo>
                    <a:pt x="425" y="744"/>
                  </a:lnTo>
                  <a:lnTo>
                    <a:pt x="409" y="756"/>
                  </a:lnTo>
                  <a:lnTo>
                    <a:pt x="399" y="765"/>
                  </a:lnTo>
                  <a:lnTo>
                    <a:pt x="395" y="770"/>
                  </a:lnTo>
                  <a:lnTo>
                    <a:pt x="390" y="779"/>
                  </a:lnTo>
                  <a:lnTo>
                    <a:pt x="389" y="788"/>
                  </a:lnTo>
                  <a:lnTo>
                    <a:pt x="380" y="806"/>
                  </a:lnTo>
                  <a:lnTo>
                    <a:pt x="379" y="817"/>
                  </a:lnTo>
                  <a:lnTo>
                    <a:pt x="379" y="830"/>
                  </a:lnTo>
                  <a:lnTo>
                    <a:pt x="380" y="841"/>
                  </a:lnTo>
                  <a:lnTo>
                    <a:pt x="369" y="844"/>
                  </a:lnTo>
                  <a:lnTo>
                    <a:pt x="367" y="842"/>
                  </a:lnTo>
                  <a:lnTo>
                    <a:pt x="363" y="836"/>
                  </a:lnTo>
                  <a:lnTo>
                    <a:pt x="361" y="835"/>
                  </a:lnTo>
                  <a:lnTo>
                    <a:pt x="350" y="835"/>
                  </a:lnTo>
                  <a:lnTo>
                    <a:pt x="346" y="836"/>
                  </a:lnTo>
                  <a:lnTo>
                    <a:pt x="344" y="842"/>
                  </a:lnTo>
                  <a:lnTo>
                    <a:pt x="340" y="842"/>
                  </a:lnTo>
                  <a:lnTo>
                    <a:pt x="336" y="846"/>
                  </a:lnTo>
                  <a:lnTo>
                    <a:pt x="326" y="846"/>
                  </a:lnTo>
                  <a:lnTo>
                    <a:pt x="328" y="844"/>
                  </a:lnTo>
                  <a:lnTo>
                    <a:pt x="326" y="833"/>
                  </a:lnTo>
                  <a:lnTo>
                    <a:pt x="325" y="829"/>
                  </a:lnTo>
                  <a:lnTo>
                    <a:pt x="325" y="828"/>
                  </a:lnTo>
                  <a:lnTo>
                    <a:pt x="325" y="823"/>
                  </a:lnTo>
                  <a:lnTo>
                    <a:pt x="323" y="819"/>
                  </a:lnTo>
                  <a:lnTo>
                    <a:pt x="320" y="820"/>
                  </a:lnTo>
                  <a:lnTo>
                    <a:pt x="314" y="820"/>
                  </a:lnTo>
                  <a:lnTo>
                    <a:pt x="312" y="828"/>
                  </a:lnTo>
                  <a:lnTo>
                    <a:pt x="310" y="828"/>
                  </a:lnTo>
                  <a:lnTo>
                    <a:pt x="304" y="824"/>
                  </a:lnTo>
                  <a:lnTo>
                    <a:pt x="302" y="824"/>
                  </a:lnTo>
                  <a:lnTo>
                    <a:pt x="299" y="828"/>
                  </a:lnTo>
                  <a:lnTo>
                    <a:pt x="299" y="831"/>
                  </a:lnTo>
                  <a:lnTo>
                    <a:pt x="301" y="837"/>
                  </a:lnTo>
                  <a:lnTo>
                    <a:pt x="299" y="840"/>
                  </a:lnTo>
                  <a:lnTo>
                    <a:pt x="288" y="840"/>
                  </a:lnTo>
                  <a:lnTo>
                    <a:pt x="282" y="842"/>
                  </a:lnTo>
                  <a:lnTo>
                    <a:pt x="282" y="846"/>
                  </a:lnTo>
                  <a:lnTo>
                    <a:pt x="280" y="851"/>
                  </a:lnTo>
                  <a:lnTo>
                    <a:pt x="276" y="851"/>
                  </a:lnTo>
                  <a:lnTo>
                    <a:pt x="272" y="849"/>
                  </a:lnTo>
                  <a:lnTo>
                    <a:pt x="269" y="844"/>
                  </a:lnTo>
                  <a:lnTo>
                    <a:pt x="266" y="844"/>
                  </a:lnTo>
                  <a:lnTo>
                    <a:pt x="264" y="845"/>
                  </a:lnTo>
                  <a:lnTo>
                    <a:pt x="262" y="846"/>
                  </a:lnTo>
                  <a:lnTo>
                    <a:pt x="261" y="846"/>
                  </a:lnTo>
                  <a:lnTo>
                    <a:pt x="260" y="840"/>
                  </a:lnTo>
                  <a:lnTo>
                    <a:pt x="256" y="835"/>
                  </a:lnTo>
                  <a:lnTo>
                    <a:pt x="253" y="834"/>
                  </a:lnTo>
                  <a:lnTo>
                    <a:pt x="249" y="837"/>
                  </a:lnTo>
                  <a:lnTo>
                    <a:pt x="244" y="836"/>
                  </a:lnTo>
                  <a:lnTo>
                    <a:pt x="242" y="837"/>
                  </a:lnTo>
                  <a:lnTo>
                    <a:pt x="239" y="840"/>
                  </a:lnTo>
                  <a:lnTo>
                    <a:pt x="238" y="844"/>
                  </a:lnTo>
                  <a:lnTo>
                    <a:pt x="235" y="847"/>
                  </a:lnTo>
                  <a:lnTo>
                    <a:pt x="229" y="849"/>
                  </a:lnTo>
                  <a:lnTo>
                    <a:pt x="229" y="846"/>
                  </a:lnTo>
                  <a:lnTo>
                    <a:pt x="227" y="842"/>
                  </a:lnTo>
                  <a:lnTo>
                    <a:pt x="222" y="840"/>
                  </a:lnTo>
                  <a:lnTo>
                    <a:pt x="220" y="835"/>
                  </a:lnTo>
                  <a:lnTo>
                    <a:pt x="215" y="835"/>
                  </a:lnTo>
                  <a:lnTo>
                    <a:pt x="211" y="829"/>
                  </a:lnTo>
                  <a:lnTo>
                    <a:pt x="210" y="806"/>
                  </a:lnTo>
                  <a:lnTo>
                    <a:pt x="210" y="802"/>
                  </a:lnTo>
                  <a:lnTo>
                    <a:pt x="205" y="801"/>
                  </a:lnTo>
                  <a:lnTo>
                    <a:pt x="200" y="801"/>
                  </a:lnTo>
                  <a:lnTo>
                    <a:pt x="194" y="808"/>
                  </a:lnTo>
                  <a:lnTo>
                    <a:pt x="191" y="808"/>
                  </a:lnTo>
                  <a:lnTo>
                    <a:pt x="191" y="801"/>
                  </a:lnTo>
                  <a:lnTo>
                    <a:pt x="192" y="798"/>
                  </a:lnTo>
                  <a:lnTo>
                    <a:pt x="197" y="797"/>
                  </a:lnTo>
                  <a:lnTo>
                    <a:pt x="197" y="792"/>
                  </a:lnTo>
                  <a:lnTo>
                    <a:pt x="201" y="792"/>
                  </a:lnTo>
                  <a:lnTo>
                    <a:pt x="204" y="788"/>
                  </a:lnTo>
                  <a:lnTo>
                    <a:pt x="207" y="788"/>
                  </a:lnTo>
                  <a:lnTo>
                    <a:pt x="207" y="782"/>
                  </a:lnTo>
                  <a:lnTo>
                    <a:pt x="206" y="782"/>
                  </a:lnTo>
                  <a:lnTo>
                    <a:pt x="201" y="782"/>
                  </a:lnTo>
                  <a:lnTo>
                    <a:pt x="197" y="779"/>
                  </a:lnTo>
                  <a:lnTo>
                    <a:pt x="194" y="776"/>
                  </a:lnTo>
                  <a:lnTo>
                    <a:pt x="189" y="766"/>
                  </a:lnTo>
                  <a:lnTo>
                    <a:pt x="184" y="769"/>
                  </a:lnTo>
                  <a:lnTo>
                    <a:pt x="183" y="767"/>
                  </a:lnTo>
                  <a:lnTo>
                    <a:pt x="183" y="750"/>
                  </a:lnTo>
                  <a:lnTo>
                    <a:pt x="181" y="745"/>
                  </a:lnTo>
                  <a:lnTo>
                    <a:pt x="179" y="745"/>
                  </a:lnTo>
                  <a:lnTo>
                    <a:pt x="179" y="739"/>
                  </a:lnTo>
                  <a:lnTo>
                    <a:pt x="178" y="737"/>
                  </a:lnTo>
                  <a:lnTo>
                    <a:pt x="174" y="737"/>
                  </a:lnTo>
                  <a:lnTo>
                    <a:pt x="173" y="737"/>
                  </a:lnTo>
                  <a:lnTo>
                    <a:pt x="174" y="724"/>
                  </a:lnTo>
                  <a:lnTo>
                    <a:pt x="174" y="723"/>
                  </a:lnTo>
                  <a:lnTo>
                    <a:pt x="170" y="721"/>
                  </a:lnTo>
                  <a:lnTo>
                    <a:pt x="168" y="721"/>
                  </a:lnTo>
                  <a:lnTo>
                    <a:pt x="164" y="724"/>
                  </a:lnTo>
                  <a:lnTo>
                    <a:pt x="163" y="724"/>
                  </a:lnTo>
                  <a:lnTo>
                    <a:pt x="156" y="720"/>
                  </a:lnTo>
                  <a:lnTo>
                    <a:pt x="153" y="720"/>
                  </a:lnTo>
                  <a:lnTo>
                    <a:pt x="152" y="721"/>
                  </a:lnTo>
                  <a:lnTo>
                    <a:pt x="152" y="729"/>
                  </a:lnTo>
                  <a:lnTo>
                    <a:pt x="149" y="733"/>
                  </a:lnTo>
                  <a:lnTo>
                    <a:pt x="136" y="737"/>
                  </a:lnTo>
                  <a:lnTo>
                    <a:pt x="136" y="743"/>
                  </a:lnTo>
                  <a:lnTo>
                    <a:pt x="134" y="747"/>
                  </a:lnTo>
                  <a:lnTo>
                    <a:pt x="120" y="743"/>
                  </a:lnTo>
                  <a:lnTo>
                    <a:pt x="110" y="737"/>
                  </a:lnTo>
                  <a:lnTo>
                    <a:pt x="102" y="736"/>
                  </a:lnTo>
                  <a:lnTo>
                    <a:pt x="99" y="736"/>
                  </a:lnTo>
                  <a:lnTo>
                    <a:pt x="95" y="742"/>
                  </a:lnTo>
                  <a:lnTo>
                    <a:pt x="89" y="743"/>
                  </a:lnTo>
                  <a:lnTo>
                    <a:pt x="87" y="749"/>
                  </a:lnTo>
                  <a:lnTo>
                    <a:pt x="83" y="753"/>
                  </a:lnTo>
                  <a:lnTo>
                    <a:pt x="78" y="750"/>
                  </a:lnTo>
                  <a:lnTo>
                    <a:pt x="70" y="739"/>
                  </a:lnTo>
                  <a:lnTo>
                    <a:pt x="67" y="737"/>
                  </a:lnTo>
                  <a:lnTo>
                    <a:pt x="62" y="737"/>
                  </a:lnTo>
                  <a:lnTo>
                    <a:pt x="56" y="743"/>
                  </a:lnTo>
                  <a:lnTo>
                    <a:pt x="52" y="747"/>
                  </a:lnTo>
                  <a:lnTo>
                    <a:pt x="48" y="748"/>
                  </a:lnTo>
                  <a:lnTo>
                    <a:pt x="43" y="744"/>
                  </a:lnTo>
                  <a:lnTo>
                    <a:pt x="38" y="740"/>
                  </a:lnTo>
                  <a:lnTo>
                    <a:pt x="39" y="737"/>
                  </a:lnTo>
                  <a:lnTo>
                    <a:pt x="43" y="732"/>
                  </a:lnTo>
                  <a:lnTo>
                    <a:pt x="43" y="728"/>
                  </a:lnTo>
                  <a:lnTo>
                    <a:pt x="46" y="724"/>
                  </a:lnTo>
                  <a:lnTo>
                    <a:pt x="48" y="723"/>
                  </a:lnTo>
                  <a:lnTo>
                    <a:pt x="48" y="721"/>
                  </a:lnTo>
                  <a:lnTo>
                    <a:pt x="44" y="717"/>
                  </a:lnTo>
                  <a:lnTo>
                    <a:pt x="44" y="710"/>
                  </a:lnTo>
                  <a:lnTo>
                    <a:pt x="46" y="706"/>
                  </a:lnTo>
                  <a:lnTo>
                    <a:pt x="46" y="702"/>
                  </a:lnTo>
                  <a:lnTo>
                    <a:pt x="45" y="699"/>
                  </a:lnTo>
                  <a:lnTo>
                    <a:pt x="45" y="697"/>
                  </a:lnTo>
                  <a:lnTo>
                    <a:pt x="46" y="697"/>
                  </a:lnTo>
                  <a:lnTo>
                    <a:pt x="45" y="694"/>
                  </a:lnTo>
                  <a:lnTo>
                    <a:pt x="41" y="689"/>
                  </a:lnTo>
                  <a:lnTo>
                    <a:pt x="39" y="684"/>
                  </a:lnTo>
                  <a:lnTo>
                    <a:pt x="36" y="682"/>
                  </a:lnTo>
                  <a:lnTo>
                    <a:pt x="35" y="678"/>
                  </a:lnTo>
                  <a:lnTo>
                    <a:pt x="32" y="674"/>
                  </a:lnTo>
                  <a:lnTo>
                    <a:pt x="32" y="670"/>
                  </a:lnTo>
                  <a:lnTo>
                    <a:pt x="27" y="670"/>
                  </a:lnTo>
                  <a:lnTo>
                    <a:pt x="24" y="673"/>
                  </a:lnTo>
                  <a:lnTo>
                    <a:pt x="20" y="673"/>
                  </a:lnTo>
                  <a:lnTo>
                    <a:pt x="19" y="672"/>
                  </a:lnTo>
                  <a:lnTo>
                    <a:pt x="17" y="666"/>
                  </a:lnTo>
                  <a:lnTo>
                    <a:pt x="9" y="654"/>
                  </a:lnTo>
                  <a:lnTo>
                    <a:pt x="9" y="652"/>
                  </a:lnTo>
                  <a:lnTo>
                    <a:pt x="14" y="646"/>
                  </a:lnTo>
                  <a:lnTo>
                    <a:pt x="13" y="641"/>
                  </a:lnTo>
                  <a:lnTo>
                    <a:pt x="11" y="635"/>
                  </a:lnTo>
                  <a:lnTo>
                    <a:pt x="11" y="629"/>
                  </a:lnTo>
                  <a:lnTo>
                    <a:pt x="9" y="621"/>
                  </a:lnTo>
                  <a:lnTo>
                    <a:pt x="6" y="618"/>
                  </a:lnTo>
                  <a:lnTo>
                    <a:pt x="5" y="618"/>
                  </a:lnTo>
                  <a:lnTo>
                    <a:pt x="3" y="614"/>
                  </a:lnTo>
                  <a:lnTo>
                    <a:pt x="1" y="614"/>
                  </a:lnTo>
                  <a:lnTo>
                    <a:pt x="1" y="608"/>
                  </a:lnTo>
                  <a:lnTo>
                    <a:pt x="3" y="600"/>
                  </a:lnTo>
                  <a:lnTo>
                    <a:pt x="2" y="597"/>
                  </a:lnTo>
                  <a:lnTo>
                    <a:pt x="0" y="594"/>
                  </a:lnTo>
                  <a:lnTo>
                    <a:pt x="23" y="572"/>
                  </a:lnTo>
                  <a:lnTo>
                    <a:pt x="30" y="554"/>
                  </a:lnTo>
                  <a:lnTo>
                    <a:pt x="34" y="543"/>
                  </a:lnTo>
                  <a:lnTo>
                    <a:pt x="39" y="532"/>
                  </a:lnTo>
                  <a:lnTo>
                    <a:pt x="41" y="530"/>
                  </a:lnTo>
                  <a:lnTo>
                    <a:pt x="45" y="532"/>
                  </a:lnTo>
                  <a:lnTo>
                    <a:pt x="45" y="533"/>
                  </a:lnTo>
                  <a:lnTo>
                    <a:pt x="51" y="534"/>
                  </a:lnTo>
                  <a:lnTo>
                    <a:pt x="55" y="537"/>
                  </a:lnTo>
                  <a:lnTo>
                    <a:pt x="60" y="550"/>
                  </a:lnTo>
                  <a:lnTo>
                    <a:pt x="70" y="568"/>
                  </a:lnTo>
                  <a:lnTo>
                    <a:pt x="84" y="572"/>
                  </a:lnTo>
                  <a:lnTo>
                    <a:pt x="87" y="572"/>
                  </a:lnTo>
                  <a:lnTo>
                    <a:pt x="113" y="550"/>
                  </a:lnTo>
                  <a:lnTo>
                    <a:pt x="200" y="553"/>
                  </a:lnTo>
                  <a:lnTo>
                    <a:pt x="271" y="554"/>
                  </a:lnTo>
                  <a:lnTo>
                    <a:pt x="344" y="555"/>
                  </a:lnTo>
                  <a:lnTo>
                    <a:pt x="362" y="555"/>
                  </a:lnTo>
                  <a:lnTo>
                    <a:pt x="374" y="508"/>
                  </a:lnTo>
                  <a:lnTo>
                    <a:pt x="352" y="501"/>
                  </a:lnTo>
                  <a:lnTo>
                    <a:pt x="346" y="444"/>
                  </a:lnTo>
                  <a:lnTo>
                    <a:pt x="341" y="389"/>
                  </a:lnTo>
                  <a:lnTo>
                    <a:pt x="335" y="335"/>
                  </a:lnTo>
                  <a:lnTo>
                    <a:pt x="329" y="281"/>
                  </a:lnTo>
                  <a:lnTo>
                    <a:pt x="324" y="226"/>
                  </a:lnTo>
                  <a:lnTo>
                    <a:pt x="318" y="169"/>
                  </a:lnTo>
                  <a:lnTo>
                    <a:pt x="313" y="114"/>
                  </a:lnTo>
                  <a:lnTo>
                    <a:pt x="307" y="58"/>
                  </a:lnTo>
                  <a:lnTo>
                    <a:pt x="301" y="0"/>
                  </a:lnTo>
                  <a:lnTo>
                    <a:pt x="398" y="0"/>
                  </a:lnTo>
                  <a:lnTo>
                    <a:pt x="462" y="4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1" name="Freeform 11"/>
            <p:cNvSpPr>
              <a:spLocks noChangeAspect="1"/>
            </p:cNvSpPr>
            <p:nvPr/>
          </p:nvSpPr>
          <p:spPr bwMode="gray">
            <a:xfrm>
              <a:off x="3362547" y="3622799"/>
              <a:ext cx="58113" cy="122829"/>
            </a:xfrm>
            <a:custGeom>
              <a:avLst/>
              <a:gdLst/>
              <a:ahLst/>
              <a:cxnLst>
                <a:cxn ang="0">
                  <a:pos x="123" y="461"/>
                </a:cxn>
                <a:cxn ang="0">
                  <a:pos x="145" y="444"/>
                </a:cxn>
                <a:cxn ang="0">
                  <a:pos x="151" y="424"/>
                </a:cxn>
                <a:cxn ang="0">
                  <a:pos x="147" y="387"/>
                </a:cxn>
                <a:cxn ang="0">
                  <a:pos x="164" y="373"/>
                </a:cxn>
                <a:cxn ang="0">
                  <a:pos x="178" y="355"/>
                </a:cxn>
                <a:cxn ang="0">
                  <a:pos x="213" y="331"/>
                </a:cxn>
                <a:cxn ang="0">
                  <a:pos x="217" y="284"/>
                </a:cxn>
                <a:cxn ang="0">
                  <a:pos x="212" y="277"/>
                </a:cxn>
                <a:cxn ang="0">
                  <a:pos x="202" y="278"/>
                </a:cxn>
                <a:cxn ang="0">
                  <a:pos x="198" y="269"/>
                </a:cxn>
                <a:cxn ang="0">
                  <a:pos x="186" y="251"/>
                </a:cxn>
                <a:cxn ang="0">
                  <a:pos x="172" y="252"/>
                </a:cxn>
                <a:cxn ang="0">
                  <a:pos x="164" y="249"/>
                </a:cxn>
                <a:cxn ang="0">
                  <a:pos x="153" y="246"/>
                </a:cxn>
                <a:cxn ang="0">
                  <a:pos x="138" y="226"/>
                </a:cxn>
                <a:cxn ang="0">
                  <a:pos x="150" y="219"/>
                </a:cxn>
                <a:cxn ang="0">
                  <a:pos x="153" y="203"/>
                </a:cxn>
                <a:cxn ang="0">
                  <a:pos x="166" y="195"/>
                </a:cxn>
                <a:cxn ang="0">
                  <a:pos x="185" y="181"/>
                </a:cxn>
                <a:cxn ang="0">
                  <a:pos x="198" y="163"/>
                </a:cxn>
                <a:cxn ang="0">
                  <a:pos x="204" y="132"/>
                </a:cxn>
                <a:cxn ang="0">
                  <a:pos x="194" y="111"/>
                </a:cxn>
                <a:cxn ang="0">
                  <a:pos x="181" y="101"/>
                </a:cxn>
                <a:cxn ang="0">
                  <a:pos x="172" y="79"/>
                </a:cxn>
                <a:cxn ang="0">
                  <a:pos x="183" y="59"/>
                </a:cxn>
                <a:cxn ang="0">
                  <a:pos x="207" y="31"/>
                </a:cxn>
                <a:cxn ang="0">
                  <a:pos x="194" y="19"/>
                </a:cxn>
                <a:cxn ang="0">
                  <a:pos x="182" y="32"/>
                </a:cxn>
                <a:cxn ang="0">
                  <a:pos x="171" y="39"/>
                </a:cxn>
                <a:cxn ang="0">
                  <a:pos x="161" y="24"/>
                </a:cxn>
                <a:cxn ang="0">
                  <a:pos x="155" y="9"/>
                </a:cxn>
                <a:cxn ang="0">
                  <a:pos x="138" y="0"/>
                </a:cxn>
                <a:cxn ang="0">
                  <a:pos x="115" y="2"/>
                </a:cxn>
                <a:cxn ang="0">
                  <a:pos x="91" y="13"/>
                </a:cxn>
                <a:cxn ang="0">
                  <a:pos x="79" y="24"/>
                </a:cxn>
                <a:cxn ang="0">
                  <a:pos x="73" y="31"/>
                </a:cxn>
                <a:cxn ang="0">
                  <a:pos x="62" y="41"/>
                </a:cxn>
                <a:cxn ang="0">
                  <a:pos x="51" y="55"/>
                </a:cxn>
                <a:cxn ang="0">
                  <a:pos x="58" y="61"/>
                </a:cxn>
                <a:cxn ang="0">
                  <a:pos x="52" y="101"/>
                </a:cxn>
                <a:cxn ang="0">
                  <a:pos x="56" y="134"/>
                </a:cxn>
                <a:cxn ang="0">
                  <a:pos x="59" y="147"/>
                </a:cxn>
                <a:cxn ang="0">
                  <a:pos x="49" y="185"/>
                </a:cxn>
                <a:cxn ang="0">
                  <a:pos x="27" y="208"/>
                </a:cxn>
                <a:cxn ang="0">
                  <a:pos x="14" y="217"/>
                </a:cxn>
                <a:cxn ang="0">
                  <a:pos x="3" y="226"/>
                </a:cxn>
                <a:cxn ang="0">
                  <a:pos x="3" y="234"/>
                </a:cxn>
                <a:cxn ang="0">
                  <a:pos x="14" y="272"/>
                </a:cxn>
                <a:cxn ang="0">
                  <a:pos x="37" y="285"/>
                </a:cxn>
                <a:cxn ang="0">
                  <a:pos x="46" y="323"/>
                </a:cxn>
                <a:cxn ang="0">
                  <a:pos x="89" y="348"/>
                </a:cxn>
                <a:cxn ang="0">
                  <a:pos x="91" y="349"/>
                </a:cxn>
                <a:cxn ang="0">
                  <a:pos x="110" y="459"/>
                </a:cxn>
              </a:cxnLst>
              <a:rect l="0" t="0" r="r" b="b"/>
              <a:pathLst>
                <a:path w="218" h="462">
                  <a:moveTo>
                    <a:pt x="111" y="462"/>
                  </a:moveTo>
                  <a:lnTo>
                    <a:pt x="123" y="461"/>
                  </a:lnTo>
                  <a:lnTo>
                    <a:pt x="135" y="452"/>
                  </a:lnTo>
                  <a:lnTo>
                    <a:pt x="145" y="444"/>
                  </a:lnTo>
                  <a:lnTo>
                    <a:pt x="151" y="434"/>
                  </a:lnTo>
                  <a:lnTo>
                    <a:pt x="151" y="424"/>
                  </a:lnTo>
                  <a:lnTo>
                    <a:pt x="145" y="396"/>
                  </a:lnTo>
                  <a:lnTo>
                    <a:pt x="147" y="387"/>
                  </a:lnTo>
                  <a:lnTo>
                    <a:pt x="151" y="379"/>
                  </a:lnTo>
                  <a:lnTo>
                    <a:pt x="164" y="373"/>
                  </a:lnTo>
                  <a:lnTo>
                    <a:pt x="174" y="365"/>
                  </a:lnTo>
                  <a:lnTo>
                    <a:pt x="178" y="355"/>
                  </a:lnTo>
                  <a:lnTo>
                    <a:pt x="207" y="336"/>
                  </a:lnTo>
                  <a:lnTo>
                    <a:pt x="213" y="331"/>
                  </a:lnTo>
                  <a:lnTo>
                    <a:pt x="218" y="320"/>
                  </a:lnTo>
                  <a:lnTo>
                    <a:pt x="217" y="284"/>
                  </a:lnTo>
                  <a:lnTo>
                    <a:pt x="218" y="281"/>
                  </a:lnTo>
                  <a:lnTo>
                    <a:pt x="212" y="277"/>
                  </a:lnTo>
                  <a:lnTo>
                    <a:pt x="208" y="278"/>
                  </a:lnTo>
                  <a:lnTo>
                    <a:pt x="202" y="278"/>
                  </a:lnTo>
                  <a:lnTo>
                    <a:pt x="198" y="273"/>
                  </a:lnTo>
                  <a:lnTo>
                    <a:pt x="198" y="269"/>
                  </a:lnTo>
                  <a:lnTo>
                    <a:pt x="191" y="251"/>
                  </a:lnTo>
                  <a:lnTo>
                    <a:pt x="186" y="251"/>
                  </a:lnTo>
                  <a:lnTo>
                    <a:pt x="177" y="257"/>
                  </a:lnTo>
                  <a:lnTo>
                    <a:pt x="172" y="252"/>
                  </a:lnTo>
                  <a:lnTo>
                    <a:pt x="170" y="246"/>
                  </a:lnTo>
                  <a:lnTo>
                    <a:pt x="164" y="249"/>
                  </a:lnTo>
                  <a:lnTo>
                    <a:pt x="159" y="249"/>
                  </a:lnTo>
                  <a:lnTo>
                    <a:pt x="153" y="246"/>
                  </a:lnTo>
                  <a:lnTo>
                    <a:pt x="142" y="239"/>
                  </a:lnTo>
                  <a:lnTo>
                    <a:pt x="138" y="226"/>
                  </a:lnTo>
                  <a:lnTo>
                    <a:pt x="138" y="215"/>
                  </a:lnTo>
                  <a:lnTo>
                    <a:pt x="150" y="219"/>
                  </a:lnTo>
                  <a:lnTo>
                    <a:pt x="150" y="210"/>
                  </a:lnTo>
                  <a:lnTo>
                    <a:pt x="153" y="203"/>
                  </a:lnTo>
                  <a:lnTo>
                    <a:pt x="160" y="201"/>
                  </a:lnTo>
                  <a:lnTo>
                    <a:pt x="166" y="195"/>
                  </a:lnTo>
                  <a:lnTo>
                    <a:pt x="172" y="192"/>
                  </a:lnTo>
                  <a:lnTo>
                    <a:pt x="185" y="181"/>
                  </a:lnTo>
                  <a:lnTo>
                    <a:pt x="192" y="174"/>
                  </a:lnTo>
                  <a:lnTo>
                    <a:pt x="198" y="163"/>
                  </a:lnTo>
                  <a:lnTo>
                    <a:pt x="207" y="140"/>
                  </a:lnTo>
                  <a:lnTo>
                    <a:pt x="204" y="132"/>
                  </a:lnTo>
                  <a:lnTo>
                    <a:pt x="202" y="116"/>
                  </a:lnTo>
                  <a:lnTo>
                    <a:pt x="194" y="111"/>
                  </a:lnTo>
                  <a:lnTo>
                    <a:pt x="191" y="104"/>
                  </a:lnTo>
                  <a:lnTo>
                    <a:pt x="181" y="101"/>
                  </a:lnTo>
                  <a:lnTo>
                    <a:pt x="176" y="95"/>
                  </a:lnTo>
                  <a:lnTo>
                    <a:pt x="172" y="79"/>
                  </a:lnTo>
                  <a:lnTo>
                    <a:pt x="175" y="66"/>
                  </a:lnTo>
                  <a:lnTo>
                    <a:pt x="183" y="59"/>
                  </a:lnTo>
                  <a:lnTo>
                    <a:pt x="194" y="55"/>
                  </a:lnTo>
                  <a:lnTo>
                    <a:pt x="207" y="31"/>
                  </a:lnTo>
                  <a:lnTo>
                    <a:pt x="201" y="19"/>
                  </a:lnTo>
                  <a:lnTo>
                    <a:pt x="194" y="19"/>
                  </a:lnTo>
                  <a:lnTo>
                    <a:pt x="188" y="27"/>
                  </a:lnTo>
                  <a:lnTo>
                    <a:pt x="182" y="32"/>
                  </a:lnTo>
                  <a:lnTo>
                    <a:pt x="175" y="35"/>
                  </a:lnTo>
                  <a:lnTo>
                    <a:pt x="171" y="39"/>
                  </a:lnTo>
                  <a:lnTo>
                    <a:pt x="160" y="35"/>
                  </a:lnTo>
                  <a:lnTo>
                    <a:pt x="161" y="24"/>
                  </a:lnTo>
                  <a:lnTo>
                    <a:pt x="156" y="15"/>
                  </a:lnTo>
                  <a:lnTo>
                    <a:pt x="155" y="9"/>
                  </a:lnTo>
                  <a:lnTo>
                    <a:pt x="156" y="7"/>
                  </a:lnTo>
                  <a:lnTo>
                    <a:pt x="138" y="0"/>
                  </a:lnTo>
                  <a:lnTo>
                    <a:pt x="128" y="0"/>
                  </a:lnTo>
                  <a:lnTo>
                    <a:pt x="115" y="2"/>
                  </a:lnTo>
                  <a:lnTo>
                    <a:pt x="104" y="7"/>
                  </a:lnTo>
                  <a:lnTo>
                    <a:pt x="91" y="13"/>
                  </a:lnTo>
                  <a:lnTo>
                    <a:pt x="83" y="19"/>
                  </a:lnTo>
                  <a:lnTo>
                    <a:pt x="79" y="24"/>
                  </a:lnTo>
                  <a:lnTo>
                    <a:pt x="75" y="25"/>
                  </a:lnTo>
                  <a:lnTo>
                    <a:pt x="73" y="31"/>
                  </a:lnTo>
                  <a:lnTo>
                    <a:pt x="68" y="35"/>
                  </a:lnTo>
                  <a:lnTo>
                    <a:pt x="62" y="41"/>
                  </a:lnTo>
                  <a:lnTo>
                    <a:pt x="53" y="50"/>
                  </a:lnTo>
                  <a:lnTo>
                    <a:pt x="51" y="55"/>
                  </a:lnTo>
                  <a:lnTo>
                    <a:pt x="57" y="57"/>
                  </a:lnTo>
                  <a:lnTo>
                    <a:pt x="58" y="61"/>
                  </a:lnTo>
                  <a:lnTo>
                    <a:pt x="53" y="93"/>
                  </a:lnTo>
                  <a:lnTo>
                    <a:pt x="52" y="101"/>
                  </a:lnTo>
                  <a:lnTo>
                    <a:pt x="54" y="111"/>
                  </a:lnTo>
                  <a:lnTo>
                    <a:pt x="56" y="134"/>
                  </a:lnTo>
                  <a:lnTo>
                    <a:pt x="59" y="140"/>
                  </a:lnTo>
                  <a:lnTo>
                    <a:pt x="59" y="147"/>
                  </a:lnTo>
                  <a:lnTo>
                    <a:pt x="53" y="171"/>
                  </a:lnTo>
                  <a:lnTo>
                    <a:pt x="49" y="185"/>
                  </a:lnTo>
                  <a:lnTo>
                    <a:pt x="30" y="197"/>
                  </a:lnTo>
                  <a:lnTo>
                    <a:pt x="27" y="208"/>
                  </a:lnTo>
                  <a:lnTo>
                    <a:pt x="19" y="212"/>
                  </a:lnTo>
                  <a:lnTo>
                    <a:pt x="14" y="217"/>
                  </a:lnTo>
                  <a:lnTo>
                    <a:pt x="13" y="220"/>
                  </a:lnTo>
                  <a:lnTo>
                    <a:pt x="3" y="226"/>
                  </a:lnTo>
                  <a:lnTo>
                    <a:pt x="0" y="226"/>
                  </a:lnTo>
                  <a:lnTo>
                    <a:pt x="3" y="234"/>
                  </a:lnTo>
                  <a:lnTo>
                    <a:pt x="8" y="246"/>
                  </a:lnTo>
                  <a:lnTo>
                    <a:pt x="14" y="272"/>
                  </a:lnTo>
                  <a:lnTo>
                    <a:pt x="32" y="279"/>
                  </a:lnTo>
                  <a:lnTo>
                    <a:pt x="37" y="285"/>
                  </a:lnTo>
                  <a:lnTo>
                    <a:pt x="46" y="305"/>
                  </a:lnTo>
                  <a:lnTo>
                    <a:pt x="46" y="323"/>
                  </a:lnTo>
                  <a:lnTo>
                    <a:pt x="64" y="336"/>
                  </a:lnTo>
                  <a:lnTo>
                    <a:pt x="89" y="348"/>
                  </a:lnTo>
                  <a:lnTo>
                    <a:pt x="91" y="348"/>
                  </a:lnTo>
                  <a:lnTo>
                    <a:pt x="91" y="349"/>
                  </a:lnTo>
                  <a:lnTo>
                    <a:pt x="105" y="422"/>
                  </a:lnTo>
                  <a:lnTo>
                    <a:pt x="110" y="459"/>
                  </a:lnTo>
                  <a:lnTo>
                    <a:pt x="111" y="46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2" name="Freeform 12"/>
            <p:cNvSpPr>
              <a:spLocks noChangeAspect="1"/>
            </p:cNvSpPr>
            <p:nvPr/>
          </p:nvSpPr>
          <p:spPr bwMode="gray">
            <a:xfrm>
              <a:off x="3612168" y="3723175"/>
              <a:ext cx="162451" cy="159809"/>
            </a:xfrm>
            <a:custGeom>
              <a:avLst/>
              <a:gdLst/>
              <a:ahLst/>
              <a:cxnLst>
                <a:cxn ang="0">
                  <a:pos x="24" y="438"/>
                </a:cxn>
                <a:cxn ang="0">
                  <a:pos x="24" y="265"/>
                </a:cxn>
                <a:cxn ang="0">
                  <a:pos x="7" y="146"/>
                </a:cxn>
                <a:cxn ang="0">
                  <a:pos x="1" y="120"/>
                </a:cxn>
                <a:cxn ang="0">
                  <a:pos x="3" y="90"/>
                </a:cxn>
                <a:cxn ang="0">
                  <a:pos x="15" y="74"/>
                </a:cxn>
                <a:cxn ang="0">
                  <a:pos x="7" y="22"/>
                </a:cxn>
                <a:cxn ang="0">
                  <a:pos x="18" y="2"/>
                </a:cxn>
                <a:cxn ang="0">
                  <a:pos x="35" y="8"/>
                </a:cxn>
                <a:cxn ang="0">
                  <a:pos x="91" y="7"/>
                </a:cxn>
                <a:cxn ang="0">
                  <a:pos x="153" y="27"/>
                </a:cxn>
                <a:cxn ang="0">
                  <a:pos x="185" y="38"/>
                </a:cxn>
                <a:cxn ang="0">
                  <a:pos x="228" y="45"/>
                </a:cxn>
                <a:cxn ang="0">
                  <a:pos x="269" y="40"/>
                </a:cxn>
                <a:cxn ang="0">
                  <a:pos x="311" y="13"/>
                </a:cxn>
                <a:cxn ang="0">
                  <a:pos x="336" y="8"/>
                </a:cxn>
                <a:cxn ang="0">
                  <a:pos x="322" y="20"/>
                </a:cxn>
                <a:cxn ang="0">
                  <a:pos x="349" y="13"/>
                </a:cxn>
                <a:cxn ang="0">
                  <a:pos x="365" y="11"/>
                </a:cxn>
                <a:cxn ang="0">
                  <a:pos x="400" y="6"/>
                </a:cxn>
                <a:cxn ang="0">
                  <a:pos x="408" y="16"/>
                </a:cxn>
                <a:cxn ang="0">
                  <a:pos x="426" y="28"/>
                </a:cxn>
                <a:cxn ang="0">
                  <a:pos x="447" y="40"/>
                </a:cxn>
                <a:cxn ang="0">
                  <a:pos x="463" y="34"/>
                </a:cxn>
                <a:cxn ang="0">
                  <a:pos x="510" y="29"/>
                </a:cxn>
                <a:cxn ang="0">
                  <a:pos x="523" y="35"/>
                </a:cxn>
                <a:cxn ang="0">
                  <a:pos x="561" y="144"/>
                </a:cxn>
                <a:cxn ang="0">
                  <a:pos x="539" y="211"/>
                </a:cxn>
                <a:cxn ang="0">
                  <a:pos x="538" y="234"/>
                </a:cxn>
                <a:cxn ang="0">
                  <a:pos x="518" y="242"/>
                </a:cxn>
                <a:cxn ang="0">
                  <a:pos x="486" y="207"/>
                </a:cxn>
                <a:cxn ang="0">
                  <a:pos x="473" y="175"/>
                </a:cxn>
                <a:cxn ang="0">
                  <a:pos x="454" y="144"/>
                </a:cxn>
                <a:cxn ang="0">
                  <a:pos x="440" y="109"/>
                </a:cxn>
                <a:cxn ang="0">
                  <a:pos x="436" y="104"/>
                </a:cxn>
                <a:cxn ang="0">
                  <a:pos x="429" y="119"/>
                </a:cxn>
                <a:cxn ang="0">
                  <a:pos x="437" y="143"/>
                </a:cxn>
                <a:cxn ang="0">
                  <a:pos x="441" y="167"/>
                </a:cxn>
                <a:cxn ang="0">
                  <a:pos x="475" y="223"/>
                </a:cxn>
                <a:cxn ang="0">
                  <a:pos x="490" y="256"/>
                </a:cxn>
                <a:cxn ang="0">
                  <a:pos x="512" y="304"/>
                </a:cxn>
                <a:cxn ang="0">
                  <a:pos x="530" y="346"/>
                </a:cxn>
                <a:cxn ang="0">
                  <a:pos x="558" y="401"/>
                </a:cxn>
                <a:cxn ang="0">
                  <a:pos x="578" y="444"/>
                </a:cxn>
                <a:cxn ang="0">
                  <a:pos x="608" y="471"/>
                </a:cxn>
                <a:cxn ang="0">
                  <a:pos x="598" y="476"/>
                </a:cxn>
                <a:cxn ang="0">
                  <a:pos x="598" y="488"/>
                </a:cxn>
                <a:cxn ang="0">
                  <a:pos x="581" y="545"/>
                </a:cxn>
                <a:cxn ang="0">
                  <a:pos x="526" y="578"/>
                </a:cxn>
                <a:cxn ang="0">
                  <a:pos x="473" y="592"/>
                </a:cxn>
                <a:cxn ang="0">
                  <a:pos x="378" y="579"/>
                </a:cxn>
                <a:cxn ang="0">
                  <a:pos x="366" y="590"/>
                </a:cxn>
                <a:cxn ang="0">
                  <a:pos x="233" y="590"/>
                </a:cxn>
                <a:cxn ang="0">
                  <a:pos x="77" y="590"/>
                </a:cxn>
              </a:cxnLst>
              <a:rect l="0" t="0" r="r" b="b"/>
              <a:pathLst>
                <a:path w="612" h="605">
                  <a:moveTo>
                    <a:pt x="24" y="552"/>
                  </a:moveTo>
                  <a:lnTo>
                    <a:pt x="24" y="496"/>
                  </a:lnTo>
                  <a:lnTo>
                    <a:pt x="24" y="438"/>
                  </a:lnTo>
                  <a:lnTo>
                    <a:pt x="24" y="382"/>
                  </a:lnTo>
                  <a:lnTo>
                    <a:pt x="24" y="324"/>
                  </a:lnTo>
                  <a:lnTo>
                    <a:pt x="24" y="265"/>
                  </a:lnTo>
                  <a:lnTo>
                    <a:pt x="24" y="207"/>
                  </a:lnTo>
                  <a:lnTo>
                    <a:pt x="24" y="164"/>
                  </a:lnTo>
                  <a:lnTo>
                    <a:pt x="7" y="146"/>
                  </a:lnTo>
                  <a:lnTo>
                    <a:pt x="10" y="133"/>
                  </a:lnTo>
                  <a:lnTo>
                    <a:pt x="8" y="130"/>
                  </a:lnTo>
                  <a:lnTo>
                    <a:pt x="1" y="120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3" y="90"/>
                  </a:lnTo>
                  <a:lnTo>
                    <a:pt x="13" y="86"/>
                  </a:lnTo>
                  <a:lnTo>
                    <a:pt x="13" y="83"/>
                  </a:lnTo>
                  <a:lnTo>
                    <a:pt x="15" y="74"/>
                  </a:lnTo>
                  <a:lnTo>
                    <a:pt x="12" y="57"/>
                  </a:lnTo>
                  <a:lnTo>
                    <a:pt x="11" y="30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15" y="11"/>
                  </a:lnTo>
                  <a:lnTo>
                    <a:pt x="18" y="2"/>
                  </a:lnTo>
                  <a:lnTo>
                    <a:pt x="26" y="0"/>
                  </a:lnTo>
                  <a:lnTo>
                    <a:pt x="28" y="6"/>
                  </a:lnTo>
                  <a:lnTo>
                    <a:pt x="35" y="8"/>
                  </a:lnTo>
                  <a:lnTo>
                    <a:pt x="54" y="3"/>
                  </a:lnTo>
                  <a:lnTo>
                    <a:pt x="67" y="3"/>
                  </a:lnTo>
                  <a:lnTo>
                    <a:pt x="91" y="7"/>
                  </a:lnTo>
                  <a:lnTo>
                    <a:pt x="123" y="12"/>
                  </a:lnTo>
                  <a:lnTo>
                    <a:pt x="142" y="19"/>
                  </a:lnTo>
                  <a:lnTo>
                    <a:pt x="153" y="27"/>
                  </a:lnTo>
                  <a:lnTo>
                    <a:pt x="169" y="29"/>
                  </a:lnTo>
                  <a:lnTo>
                    <a:pt x="177" y="31"/>
                  </a:lnTo>
                  <a:lnTo>
                    <a:pt x="185" y="38"/>
                  </a:lnTo>
                  <a:lnTo>
                    <a:pt x="201" y="38"/>
                  </a:lnTo>
                  <a:lnTo>
                    <a:pt x="214" y="39"/>
                  </a:lnTo>
                  <a:lnTo>
                    <a:pt x="228" y="45"/>
                  </a:lnTo>
                  <a:lnTo>
                    <a:pt x="239" y="52"/>
                  </a:lnTo>
                  <a:lnTo>
                    <a:pt x="255" y="47"/>
                  </a:lnTo>
                  <a:lnTo>
                    <a:pt x="269" y="40"/>
                  </a:lnTo>
                  <a:lnTo>
                    <a:pt x="285" y="28"/>
                  </a:lnTo>
                  <a:lnTo>
                    <a:pt x="301" y="20"/>
                  </a:lnTo>
                  <a:lnTo>
                    <a:pt x="311" y="13"/>
                  </a:lnTo>
                  <a:lnTo>
                    <a:pt x="324" y="12"/>
                  </a:lnTo>
                  <a:lnTo>
                    <a:pt x="334" y="8"/>
                  </a:lnTo>
                  <a:lnTo>
                    <a:pt x="336" y="8"/>
                  </a:lnTo>
                  <a:lnTo>
                    <a:pt x="336" y="11"/>
                  </a:lnTo>
                  <a:lnTo>
                    <a:pt x="324" y="16"/>
                  </a:lnTo>
                  <a:lnTo>
                    <a:pt x="322" y="20"/>
                  </a:lnTo>
                  <a:lnTo>
                    <a:pt x="324" y="20"/>
                  </a:lnTo>
                  <a:lnTo>
                    <a:pt x="344" y="17"/>
                  </a:lnTo>
                  <a:lnTo>
                    <a:pt x="349" y="13"/>
                  </a:lnTo>
                  <a:lnTo>
                    <a:pt x="354" y="7"/>
                  </a:lnTo>
                  <a:lnTo>
                    <a:pt x="361" y="11"/>
                  </a:lnTo>
                  <a:lnTo>
                    <a:pt x="365" y="11"/>
                  </a:lnTo>
                  <a:lnTo>
                    <a:pt x="388" y="11"/>
                  </a:lnTo>
                  <a:lnTo>
                    <a:pt x="390" y="11"/>
                  </a:lnTo>
                  <a:lnTo>
                    <a:pt x="400" y="6"/>
                  </a:lnTo>
                  <a:lnTo>
                    <a:pt x="401" y="8"/>
                  </a:lnTo>
                  <a:lnTo>
                    <a:pt x="405" y="14"/>
                  </a:lnTo>
                  <a:lnTo>
                    <a:pt x="408" y="16"/>
                  </a:lnTo>
                  <a:lnTo>
                    <a:pt x="411" y="20"/>
                  </a:lnTo>
                  <a:lnTo>
                    <a:pt x="416" y="24"/>
                  </a:lnTo>
                  <a:lnTo>
                    <a:pt x="426" y="28"/>
                  </a:lnTo>
                  <a:lnTo>
                    <a:pt x="431" y="35"/>
                  </a:lnTo>
                  <a:lnTo>
                    <a:pt x="435" y="40"/>
                  </a:lnTo>
                  <a:lnTo>
                    <a:pt x="447" y="40"/>
                  </a:lnTo>
                  <a:lnTo>
                    <a:pt x="456" y="39"/>
                  </a:lnTo>
                  <a:lnTo>
                    <a:pt x="459" y="35"/>
                  </a:lnTo>
                  <a:lnTo>
                    <a:pt x="463" y="34"/>
                  </a:lnTo>
                  <a:lnTo>
                    <a:pt x="468" y="40"/>
                  </a:lnTo>
                  <a:lnTo>
                    <a:pt x="491" y="38"/>
                  </a:lnTo>
                  <a:lnTo>
                    <a:pt x="510" y="29"/>
                  </a:lnTo>
                  <a:lnTo>
                    <a:pt x="521" y="20"/>
                  </a:lnTo>
                  <a:lnTo>
                    <a:pt x="523" y="30"/>
                  </a:lnTo>
                  <a:lnTo>
                    <a:pt x="523" y="35"/>
                  </a:lnTo>
                  <a:lnTo>
                    <a:pt x="527" y="41"/>
                  </a:lnTo>
                  <a:lnTo>
                    <a:pt x="545" y="99"/>
                  </a:lnTo>
                  <a:lnTo>
                    <a:pt x="561" y="144"/>
                  </a:lnTo>
                  <a:lnTo>
                    <a:pt x="554" y="164"/>
                  </a:lnTo>
                  <a:lnTo>
                    <a:pt x="549" y="187"/>
                  </a:lnTo>
                  <a:lnTo>
                    <a:pt x="539" y="211"/>
                  </a:lnTo>
                  <a:lnTo>
                    <a:pt x="539" y="221"/>
                  </a:lnTo>
                  <a:lnTo>
                    <a:pt x="539" y="228"/>
                  </a:lnTo>
                  <a:lnTo>
                    <a:pt x="538" y="234"/>
                  </a:lnTo>
                  <a:lnTo>
                    <a:pt x="534" y="238"/>
                  </a:lnTo>
                  <a:lnTo>
                    <a:pt x="527" y="242"/>
                  </a:lnTo>
                  <a:lnTo>
                    <a:pt x="518" y="242"/>
                  </a:lnTo>
                  <a:lnTo>
                    <a:pt x="510" y="235"/>
                  </a:lnTo>
                  <a:lnTo>
                    <a:pt x="499" y="219"/>
                  </a:lnTo>
                  <a:lnTo>
                    <a:pt x="486" y="207"/>
                  </a:lnTo>
                  <a:lnTo>
                    <a:pt x="476" y="192"/>
                  </a:lnTo>
                  <a:lnTo>
                    <a:pt x="474" y="189"/>
                  </a:lnTo>
                  <a:lnTo>
                    <a:pt x="473" y="175"/>
                  </a:lnTo>
                  <a:lnTo>
                    <a:pt x="469" y="165"/>
                  </a:lnTo>
                  <a:lnTo>
                    <a:pt x="458" y="154"/>
                  </a:lnTo>
                  <a:lnTo>
                    <a:pt x="454" y="144"/>
                  </a:lnTo>
                  <a:lnTo>
                    <a:pt x="447" y="135"/>
                  </a:lnTo>
                  <a:lnTo>
                    <a:pt x="442" y="115"/>
                  </a:lnTo>
                  <a:lnTo>
                    <a:pt x="440" y="109"/>
                  </a:lnTo>
                  <a:lnTo>
                    <a:pt x="438" y="105"/>
                  </a:lnTo>
                  <a:lnTo>
                    <a:pt x="436" y="104"/>
                  </a:lnTo>
                  <a:lnTo>
                    <a:pt x="436" y="104"/>
                  </a:lnTo>
                  <a:lnTo>
                    <a:pt x="432" y="108"/>
                  </a:lnTo>
                  <a:lnTo>
                    <a:pt x="433" y="113"/>
                  </a:lnTo>
                  <a:lnTo>
                    <a:pt x="429" y="119"/>
                  </a:lnTo>
                  <a:lnTo>
                    <a:pt x="427" y="131"/>
                  </a:lnTo>
                  <a:lnTo>
                    <a:pt x="429" y="135"/>
                  </a:lnTo>
                  <a:lnTo>
                    <a:pt x="437" y="143"/>
                  </a:lnTo>
                  <a:lnTo>
                    <a:pt x="440" y="148"/>
                  </a:lnTo>
                  <a:lnTo>
                    <a:pt x="442" y="154"/>
                  </a:lnTo>
                  <a:lnTo>
                    <a:pt x="441" y="167"/>
                  </a:lnTo>
                  <a:lnTo>
                    <a:pt x="443" y="174"/>
                  </a:lnTo>
                  <a:lnTo>
                    <a:pt x="458" y="203"/>
                  </a:lnTo>
                  <a:lnTo>
                    <a:pt x="475" y="223"/>
                  </a:lnTo>
                  <a:lnTo>
                    <a:pt x="483" y="230"/>
                  </a:lnTo>
                  <a:lnTo>
                    <a:pt x="487" y="232"/>
                  </a:lnTo>
                  <a:lnTo>
                    <a:pt x="490" y="256"/>
                  </a:lnTo>
                  <a:lnTo>
                    <a:pt x="495" y="265"/>
                  </a:lnTo>
                  <a:lnTo>
                    <a:pt x="506" y="278"/>
                  </a:lnTo>
                  <a:lnTo>
                    <a:pt x="512" y="304"/>
                  </a:lnTo>
                  <a:lnTo>
                    <a:pt x="515" y="314"/>
                  </a:lnTo>
                  <a:lnTo>
                    <a:pt x="517" y="323"/>
                  </a:lnTo>
                  <a:lnTo>
                    <a:pt x="530" y="346"/>
                  </a:lnTo>
                  <a:lnTo>
                    <a:pt x="535" y="362"/>
                  </a:lnTo>
                  <a:lnTo>
                    <a:pt x="545" y="374"/>
                  </a:lnTo>
                  <a:lnTo>
                    <a:pt x="558" y="401"/>
                  </a:lnTo>
                  <a:lnTo>
                    <a:pt x="562" y="412"/>
                  </a:lnTo>
                  <a:lnTo>
                    <a:pt x="567" y="418"/>
                  </a:lnTo>
                  <a:lnTo>
                    <a:pt x="578" y="444"/>
                  </a:lnTo>
                  <a:lnTo>
                    <a:pt x="588" y="455"/>
                  </a:lnTo>
                  <a:lnTo>
                    <a:pt x="604" y="469"/>
                  </a:lnTo>
                  <a:lnTo>
                    <a:pt x="608" y="471"/>
                  </a:lnTo>
                  <a:lnTo>
                    <a:pt x="612" y="476"/>
                  </a:lnTo>
                  <a:lnTo>
                    <a:pt x="612" y="479"/>
                  </a:lnTo>
                  <a:lnTo>
                    <a:pt x="598" y="476"/>
                  </a:lnTo>
                  <a:lnTo>
                    <a:pt x="596" y="476"/>
                  </a:lnTo>
                  <a:lnTo>
                    <a:pt x="594" y="479"/>
                  </a:lnTo>
                  <a:lnTo>
                    <a:pt x="598" y="488"/>
                  </a:lnTo>
                  <a:lnTo>
                    <a:pt x="599" y="513"/>
                  </a:lnTo>
                  <a:lnTo>
                    <a:pt x="603" y="525"/>
                  </a:lnTo>
                  <a:lnTo>
                    <a:pt x="581" y="545"/>
                  </a:lnTo>
                  <a:lnTo>
                    <a:pt x="567" y="540"/>
                  </a:lnTo>
                  <a:lnTo>
                    <a:pt x="555" y="571"/>
                  </a:lnTo>
                  <a:lnTo>
                    <a:pt x="526" y="578"/>
                  </a:lnTo>
                  <a:lnTo>
                    <a:pt x="518" y="603"/>
                  </a:lnTo>
                  <a:lnTo>
                    <a:pt x="491" y="605"/>
                  </a:lnTo>
                  <a:lnTo>
                    <a:pt x="473" y="592"/>
                  </a:lnTo>
                  <a:lnTo>
                    <a:pt x="376" y="590"/>
                  </a:lnTo>
                  <a:lnTo>
                    <a:pt x="381" y="579"/>
                  </a:lnTo>
                  <a:lnTo>
                    <a:pt x="378" y="579"/>
                  </a:lnTo>
                  <a:lnTo>
                    <a:pt x="376" y="578"/>
                  </a:lnTo>
                  <a:lnTo>
                    <a:pt x="373" y="578"/>
                  </a:lnTo>
                  <a:lnTo>
                    <a:pt x="366" y="590"/>
                  </a:lnTo>
                  <a:lnTo>
                    <a:pt x="338" y="590"/>
                  </a:lnTo>
                  <a:lnTo>
                    <a:pt x="285" y="590"/>
                  </a:lnTo>
                  <a:lnTo>
                    <a:pt x="233" y="590"/>
                  </a:lnTo>
                  <a:lnTo>
                    <a:pt x="180" y="590"/>
                  </a:lnTo>
                  <a:lnTo>
                    <a:pt x="129" y="590"/>
                  </a:lnTo>
                  <a:lnTo>
                    <a:pt x="77" y="590"/>
                  </a:lnTo>
                  <a:lnTo>
                    <a:pt x="24" y="590"/>
                  </a:lnTo>
                  <a:lnTo>
                    <a:pt x="24" y="55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3" name="Freeform 13"/>
            <p:cNvSpPr>
              <a:spLocks noChangeAspect="1"/>
            </p:cNvSpPr>
            <p:nvPr/>
          </p:nvSpPr>
          <p:spPr bwMode="gray">
            <a:xfrm>
              <a:off x="3132738" y="3626761"/>
              <a:ext cx="293204" cy="298488"/>
            </a:xfrm>
            <a:custGeom>
              <a:avLst/>
              <a:gdLst/>
              <a:ahLst/>
              <a:cxnLst>
                <a:cxn ang="0">
                  <a:pos x="0" y="608"/>
                </a:cxn>
                <a:cxn ang="0">
                  <a:pos x="66" y="499"/>
                </a:cxn>
                <a:cxn ang="0">
                  <a:pos x="97" y="485"/>
                </a:cxn>
                <a:cxn ang="0">
                  <a:pos x="114" y="474"/>
                </a:cxn>
                <a:cxn ang="0">
                  <a:pos x="178" y="463"/>
                </a:cxn>
                <a:cxn ang="0">
                  <a:pos x="196" y="437"/>
                </a:cxn>
                <a:cxn ang="0">
                  <a:pos x="274" y="403"/>
                </a:cxn>
                <a:cxn ang="0">
                  <a:pos x="267" y="390"/>
                </a:cxn>
                <a:cxn ang="0">
                  <a:pos x="268" y="372"/>
                </a:cxn>
                <a:cxn ang="0">
                  <a:pos x="268" y="355"/>
                </a:cxn>
                <a:cxn ang="0">
                  <a:pos x="308" y="348"/>
                </a:cxn>
                <a:cxn ang="0">
                  <a:pos x="316" y="328"/>
                </a:cxn>
                <a:cxn ang="0">
                  <a:pos x="371" y="324"/>
                </a:cxn>
                <a:cxn ang="0">
                  <a:pos x="409" y="327"/>
                </a:cxn>
                <a:cxn ang="0">
                  <a:pos x="416" y="304"/>
                </a:cxn>
                <a:cxn ang="0">
                  <a:pos x="393" y="268"/>
                </a:cxn>
                <a:cxn ang="0">
                  <a:pos x="391" y="238"/>
                </a:cxn>
                <a:cxn ang="0">
                  <a:pos x="387" y="204"/>
                </a:cxn>
                <a:cxn ang="0">
                  <a:pos x="381" y="167"/>
                </a:cxn>
                <a:cxn ang="0">
                  <a:pos x="373" y="155"/>
                </a:cxn>
                <a:cxn ang="0">
                  <a:pos x="371" y="137"/>
                </a:cxn>
                <a:cxn ang="0">
                  <a:pos x="438" y="91"/>
                </a:cxn>
                <a:cxn ang="0">
                  <a:pos x="484" y="73"/>
                </a:cxn>
                <a:cxn ang="0">
                  <a:pos x="543" y="41"/>
                </a:cxn>
                <a:cxn ang="0">
                  <a:pos x="640" y="20"/>
                </a:cxn>
                <a:cxn ang="0">
                  <a:pos x="689" y="14"/>
                </a:cxn>
                <a:cxn ang="0">
                  <a:pos x="764" y="27"/>
                </a:cxn>
                <a:cxn ang="0">
                  <a:pos x="819" y="0"/>
                </a:cxn>
                <a:cxn ang="0">
                  <a:pos x="866" y="9"/>
                </a:cxn>
                <a:cxn ang="0">
                  <a:pos x="921" y="10"/>
                </a:cxn>
                <a:cxn ang="0">
                  <a:pos x="935" y="26"/>
                </a:cxn>
                <a:cxn ang="0">
                  <a:pos x="926" y="78"/>
                </a:cxn>
                <a:cxn ang="0">
                  <a:pos x="932" y="132"/>
                </a:cxn>
                <a:cxn ang="0">
                  <a:pos x="892" y="197"/>
                </a:cxn>
                <a:cxn ang="0">
                  <a:pos x="876" y="219"/>
                </a:cxn>
                <a:cxn ang="0">
                  <a:pos x="919" y="290"/>
                </a:cxn>
                <a:cxn ang="0">
                  <a:pos x="964" y="334"/>
                </a:cxn>
                <a:cxn ang="0">
                  <a:pos x="973" y="457"/>
                </a:cxn>
                <a:cxn ang="0">
                  <a:pos x="1001" y="554"/>
                </a:cxn>
                <a:cxn ang="0">
                  <a:pos x="999" y="684"/>
                </a:cxn>
                <a:cxn ang="0">
                  <a:pos x="1001" y="737"/>
                </a:cxn>
                <a:cxn ang="0">
                  <a:pos x="1048" y="801"/>
                </a:cxn>
                <a:cxn ang="0">
                  <a:pos x="1112" y="864"/>
                </a:cxn>
                <a:cxn ang="0">
                  <a:pos x="911" y="1005"/>
                </a:cxn>
                <a:cxn ang="0">
                  <a:pos x="704" y="1115"/>
                </a:cxn>
                <a:cxn ang="0">
                  <a:pos x="663" y="1129"/>
                </a:cxn>
                <a:cxn ang="0">
                  <a:pos x="645" y="1109"/>
                </a:cxn>
                <a:cxn ang="0">
                  <a:pos x="646" y="1092"/>
                </a:cxn>
                <a:cxn ang="0">
                  <a:pos x="644" y="1076"/>
                </a:cxn>
                <a:cxn ang="0">
                  <a:pos x="614" y="1064"/>
                </a:cxn>
                <a:cxn ang="0">
                  <a:pos x="585" y="1054"/>
                </a:cxn>
                <a:cxn ang="0">
                  <a:pos x="560" y="1032"/>
                </a:cxn>
                <a:cxn ang="0">
                  <a:pos x="532" y="1016"/>
                </a:cxn>
                <a:cxn ang="0">
                  <a:pos x="203" y="773"/>
                </a:cxn>
              </a:cxnLst>
              <a:rect l="0" t="0" r="r" b="b"/>
              <a:pathLst>
                <a:path w="1112" h="1129">
                  <a:moveTo>
                    <a:pt x="203" y="773"/>
                  </a:moveTo>
                  <a:lnTo>
                    <a:pt x="126" y="722"/>
                  </a:lnTo>
                  <a:lnTo>
                    <a:pt x="67" y="684"/>
                  </a:lnTo>
                  <a:lnTo>
                    <a:pt x="0" y="640"/>
                  </a:lnTo>
                  <a:lnTo>
                    <a:pt x="0" y="608"/>
                  </a:lnTo>
                  <a:lnTo>
                    <a:pt x="0" y="539"/>
                  </a:lnTo>
                  <a:lnTo>
                    <a:pt x="26" y="519"/>
                  </a:lnTo>
                  <a:lnTo>
                    <a:pt x="47" y="505"/>
                  </a:lnTo>
                  <a:lnTo>
                    <a:pt x="59" y="505"/>
                  </a:lnTo>
                  <a:lnTo>
                    <a:pt x="66" y="499"/>
                  </a:lnTo>
                  <a:lnTo>
                    <a:pt x="72" y="495"/>
                  </a:lnTo>
                  <a:lnTo>
                    <a:pt x="79" y="489"/>
                  </a:lnTo>
                  <a:lnTo>
                    <a:pt x="83" y="485"/>
                  </a:lnTo>
                  <a:lnTo>
                    <a:pt x="90" y="487"/>
                  </a:lnTo>
                  <a:lnTo>
                    <a:pt x="97" y="485"/>
                  </a:lnTo>
                  <a:lnTo>
                    <a:pt x="102" y="488"/>
                  </a:lnTo>
                  <a:lnTo>
                    <a:pt x="110" y="488"/>
                  </a:lnTo>
                  <a:lnTo>
                    <a:pt x="113" y="487"/>
                  </a:lnTo>
                  <a:lnTo>
                    <a:pt x="113" y="478"/>
                  </a:lnTo>
                  <a:lnTo>
                    <a:pt x="114" y="474"/>
                  </a:lnTo>
                  <a:lnTo>
                    <a:pt x="131" y="476"/>
                  </a:lnTo>
                  <a:lnTo>
                    <a:pt x="136" y="473"/>
                  </a:lnTo>
                  <a:lnTo>
                    <a:pt x="145" y="473"/>
                  </a:lnTo>
                  <a:lnTo>
                    <a:pt x="161" y="471"/>
                  </a:lnTo>
                  <a:lnTo>
                    <a:pt x="178" y="463"/>
                  </a:lnTo>
                  <a:lnTo>
                    <a:pt x="184" y="458"/>
                  </a:lnTo>
                  <a:lnTo>
                    <a:pt x="190" y="453"/>
                  </a:lnTo>
                  <a:lnTo>
                    <a:pt x="193" y="447"/>
                  </a:lnTo>
                  <a:lnTo>
                    <a:pt x="193" y="445"/>
                  </a:lnTo>
                  <a:lnTo>
                    <a:pt x="196" y="437"/>
                  </a:lnTo>
                  <a:lnTo>
                    <a:pt x="206" y="430"/>
                  </a:lnTo>
                  <a:lnTo>
                    <a:pt x="221" y="424"/>
                  </a:lnTo>
                  <a:lnTo>
                    <a:pt x="227" y="424"/>
                  </a:lnTo>
                  <a:lnTo>
                    <a:pt x="253" y="407"/>
                  </a:lnTo>
                  <a:lnTo>
                    <a:pt x="274" y="403"/>
                  </a:lnTo>
                  <a:lnTo>
                    <a:pt x="276" y="399"/>
                  </a:lnTo>
                  <a:lnTo>
                    <a:pt x="275" y="396"/>
                  </a:lnTo>
                  <a:lnTo>
                    <a:pt x="270" y="392"/>
                  </a:lnTo>
                  <a:lnTo>
                    <a:pt x="269" y="390"/>
                  </a:lnTo>
                  <a:lnTo>
                    <a:pt x="267" y="390"/>
                  </a:lnTo>
                  <a:lnTo>
                    <a:pt x="264" y="391"/>
                  </a:lnTo>
                  <a:lnTo>
                    <a:pt x="263" y="391"/>
                  </a:lnTo>
                  <a:lnTo>
                    <a:pt x="264" y="380"/>
                  </a:lnTo>
                  <a:lnTo>
                    <a:pt x="269" y="375"/>
                  </a:lnTo>
                  <a:lnTo>
                    <a:pt x="268" y="372"/>
                  </a:lnTo>
                  <a:lnTo>
                    <a:pt x="263" y="372"/>
                  </a:lnTo>
                  <a:lnTo>
                    <a:pt x="262" y="370"/>
                  </a:lnTo>
                  <a:lnTo>
                    <a:pt x="262" y="364"/>
                  </a:lnTo>
                  <a:lnTo>
                    <a:pt x="263" y="359"/>
                  </a:lnTo>
                  <a:lnTo>
                    <a:pt x="268" y="355"/>
                  </a:lnTo>
                  <a:lnTo>
                    <a:pt x="273" y="355"/>
                  </a:lnTo>
                  <a:lnTo>
                    <a:pt x="280" y="356"/>
                  </a:lnTo>
                  <a:lnTo>
                    <a:pt x="287" y="355"/>
                  </a:lnTo>
                  <a:lnTo>
                    <a:pt x="295" y="354"/>
                  </a:lnTo>
                  <a:lnTo>
                    <a:pt x="308" y="348"/>
                  </a:lnTo>
                  <a:lnTo>
                    <a:pt x="311" y="345"/>
                  </a:lnTo>
                  <a:lnTo>
                    <a:pt x="312" y="339"/>
                  </a:lnTo>
                  <a:lnTo>
                    <a:pt x="311" y="334"/>
                  </a:lnTo>
                  <a:lnTo>
                    <a:pt x="313" y="329"/>
                  </a:lnTo>
                  <a:lnTo>
                    <a:pt x="316" y="328"/>
                  </a:lnTo>
                  <a:lnTo>
                    <a:pt x="323" y="331"/>
                  </a:lnTo>
                  <a:lnTo>
                    <a:pt x="327" y="329"/>
                  </a:lnTo>
                  <a:lnTo>
                    <a:pt x="330" y="327"/>
                  </a:lnTo>
                  <a:lnTo>
                    <a:pt x="340" y="324"/>
                  </a:lnTo>
                  <a:lnTo>
                    <a:pt x="371" y="324"/>
                  </a:lnTo>
                  <a:lnTo>
                    <a:pt x="376" y="323"/>
                  </a:lnTo>
                  <a:lnTo>
                    <a:pt x="387" y="324"/>
                  </a:lnTo>
                  <a:lnTo>
                    <a:pt x="399" y="324"/>
                  </a:lnTo>
                  <a:lnTo>
                    <a:pt x="407" y="328"/>
                  </a:lnTo>
                  <a:lnTo>
                    <a:pt x="409" y="327"/>
                  </a:lnTo>
                  <a:lnTo>
                    <a:pt x="409" y="324"/>
                  </a:lnTo>
                  <a:lnTo>
                    <a:pt x="407" y="320"/>
                  </a:lnTo>
                  <a:lnTo>
                    <a:pt x="408" y="313"/>
                  </a:lnTo>
                  <a:lnTo>
                    <a:pt x="411" y="306"/>
                  </a:lnTo>
                  <a:lnTo>
                    <a:pt x="416" y="304"/>
                  </a:lnTo>
                  <a:lnTo>
                    <a:pt x="416" y="302"/>
                  </a:lnTo>
                  <a:lnTo>
                    <a:pt x="409" y="297"/>
                  </a:lnTo>
                  <a:lnTo>
                    <a:pt x="400" y="289"/>
                  </a:lnTo>
                  <a:lnTo>
                    <a:pt x="393" y="274"/>
                  </a:lnTo>
                  <a:lnTo>
                    <a:pt x="393" y="268"/>
                  </a:lnTo>
                  <a:lnTo>
                    <a:pt x="391" y="261"/>
                  </a:lnTo>
                  <a:lnTo>
                    <a:pt x="388" y="253"/>
                  </a:lnTo>
                  <a:lnTo>
                    <a:pt x="389" y="248"/>
                  </a:lnTo>
                  <a:lnTo>
                    <a:pt x="391" y="242"/>
                  </a:lnTo>
                  <a:lnTo>
                    <a:pt x="391" y="238"/>
                  </a:lnTo>
                  <a:lnTo>
                    <a:pt x="391" y="234"/>
                  </a:lnTo>
                  <a:lnTo>
                    <a:pt x="383" y="226"/>
                  </a:lnTo>
                  <a:lnTo>
                    <a:pt x="386" y="223"/>
                  </a:lnTo>
                  <a:lnTo>
                    <a:pt x="386" y="213"/>
                  </a:lnTo>
                  <a:lnTo>
                    <a:pt x="387" y="204"/>
                  </a:lnTo>
                  <a:lnTo>
                    <a:pt x="384" y="193"/>
                  </a:lnTo>
                  <a:lnTo>
                    <a:pt x="382" y="186"/>
                  </a:lnTo>
                  <a:lnTo>
                    <a:pt x="386" y="178"/>
                  </a:lnTo>
                  <a:lnTo>
                    <a:pt x="380" y="170"/>
                  </a:lnTo>
                  <a:lnTo>
                    <a:pt x="381" y="167"/>
                  </a:lnTo>
                  <a:lnTo>
                    <a:pt x="382" y="167"/>
                  </a:lnTo>
                  <a:lnTo>
                    <a:pt x="383" y="165"/>
                  </a:lnTo>
                  <a:lnTo>
                    <a:pt x="381" y="161"/>
                  </a:lnTo>
                  <a:lnTo>
                    <a:pt x="377" y="160"/>
                  </a:lnTo>
                  <a:lnTo>
                    <a:pt x="373" y="155"/>
                  </a:lnTo>
                  <a:lnTo>
                    <a:pt x="372" y="153"/>
                  </a:lnTo>
                  <a:lnTo>
                    <a:pt x="366" y="148"/>
                  </a:lnTo>
                  <a:lnTo>
                    <a:pt x="364" y="143"/>
                  </a:lnTo>
                  <a:lnTo>
                    <a:pt x="364" y="138"/>
                  </a:lnTo>
                  <a:lnTo>
                    <a:pt x="371" y="137"/>
                  </a:lnTo>
                  <a:lnTo>
                    <a:pt x="384" y="132"/>
                  </a:lnTo>
                  <a:lnTo>
                    <a:pt x="399" y="123"/>
                  </a:lnTo>
                  <a:lnTo>
                    <a:pt x="418" y="100"/>
                  </a:lnTo>
                  <a:lnTo>
                    <a:pt x="429" y="92"/>
                  </a:lnTo>
                  <a:lnTo>
                    <a:pt x="438" y="91"/>
                  </a:lnTo>
                  <a:lnTo>
                    <a:pt x="445" y="92"/>
                  </a:lnTo>
                  <a:lnTo>
                    <a:pt x="456" y="82"/>
                  </a:lnTo>
                  <a:lnTo>
                    <a:pt x="467" y="87"/>
                  </a:lnTo>
                  <a:lnTo>
                    <a:pt x="478" y="82"/>
                  </a:lnTo>
                  <a:lnTo>
                    <a:pt x="484" y="73"/>
                  </a:lnTo>
                  <a:lnTo>
                    <a:pt x="491" y="65"/>
                  </a:lnTo>
                  <a:lnTo>
                    <a:pt x="497" y="62"/>
                  </a:lnTo>
                  <a:lnTo>
                    <a:pt x="505" y="59"/>
                  </a:lnTo>
                  <a:lnTo>
                    <a:pt x="516" y="51"/>
                  </a:lnTo>
                  <a:lnTo>
                    <a:pt x="543" y="41"/>
                  </a:lnTo>
                  <a:lnTo>
                    <a:pt x="555" y="37"/>
                  </a:lnTo>
                  <a:lnTo>
                    <a:pt x="608" y="33"/>
                  </a:lnTo>
                  <a:lnTo>
                    <a:pt x="620" y="33"/>
                  </a:lnTo>
                  <a:lnTo>
                    <a:pt x="630" y="28"/>
                  </a:lnTo>
                  <a:lnTo>
                    <a:pt x="640" y="20"/>
                  </a:lnTo>
                  <a:lnTo>
                    <a:pt x="646" y="22"/>
                  </a:lnTo>
                  <a:lnTo>
                    <a:pt x="658" y="21"/>
                  </a:lnTo>
                  <a:lnTo>
                    <a:pt x="663" y="24"/>
                  </a:lnTo>
                  <a:lnTo>
                    <a:pt x="673" y="21"/>
                  </a:lnTo>
                  <a:lnTo>
                    <a:pt x="689" y="14"/>
                  </a:lnTo>
                  <a:lnTo>
                    <a:pt x="705" y="14"/>
                  </a:lnTo>
                  <a:lnTo>
                    <a:pt x="720" y="12"/>
                  </a:lnTo>
                  <a:lnTo>
                    <a:pt x="744" y="15"/>
                  </a:lnTo>
                  <a:lnTo>
                    <a:pt x="753" y="24"/>
                  </a:lnTo>
                  <a:lnTo>
                    <a:pt x="764" y="27"/>
                  </a:lnTo>
                  <a:lnTo>
                    <a:pt x="775" y="25"/>
                  </a:lnTo>
                  <a:lnTo>
                    <a:pt x="784" y="20"/>
                  </a:lnTo>
                  <a:lnTo>
                    <a:pt x="801" y="16"/>
                  </a:lnTo>
                  <a:lnTo>
                    <a:pt x="812" y="12"/>
                  </a:lnTo>
                  <a:lnTo>
                    <a:pt x="819" y="0"/>
                  </a:lnTo>
                  <a:lnTo>
                    <a:pt x="832" y="4"/>
                  </a:lnTo>
                  <a:lnTo>
                    <a:pt x="840" y="10"/>
                  </a:lnTo>
                  <a:lnTo>
                    <a:pt x="846" y="10"/>
                  </a:lnTo>
                  <a:lnTo>
                    <a:pt x="855" y="14"/>
                  </a:lnTo>
                  <a:lnTo>
                    <a:pt x="866" y="9"/>
                  </a:lnTo>
                  <a:lnTo>
                    <a:pt x="872" y="1"/>
                  </a:lnTo>
                  <a:lnTo>
                    <a:pt x="892" y="9"/>
                  </a:lnTo>
                  <a:lnTo>
                    <a:pt x="900" y="15"/>
                  </a:lnTo>
                  <a:lnTo>
                    <a:pt x="913" y="14"/>
                  </a:lnTo>
                  <a:lnTo>
                    <a:pt x="921" y="10"/>
                  </a:lnTo>
                  <a:lnTo>
                    <a:pt x="935" y="12"/>
                  </a:lnTo>
                  <a:lnTo>
                    <a:pt x="948" y="10"/>
                  </a:lnTo>
                  <a:lnTo>
                    <a:pt x="946" y="16"/>
                  </a:lnTo>
                  <a:lnTo>
                    <a:pt x="941" y="20"/>
                  </a:lnTo>
                  <a:lnTo>
                    <a:pt x="935" y="26"/>
                  </a:lnTo>
                  <a:lnTo>
                    <a:pt x="926" y="35"/>
                  </a:lnTo>
                  <a:lnTo>
                    <a:pt x="924" y="40"/>
                  </a:lnTo>
                  <a:lnTo>
                    <a:pt x="930" y="42"/>
                  </a:lnTo>
                  <a:lnTo>
                    <a:pt x="931" y="46"/>
                  </a:lnTo>
                  <a:lnTo>
                    <a:pt x="926" y="78"/>
                  </a:lnTo>
                  <a:lnTo>
                    <a:pt x="925" y="86"/>
                  </a:lnTo>
                  <a:lnTo>
                    <a:pt x="927" y="96"/>
                  </a:lnTo>
                  <a:lnTo>
                    <a:pt x="929" y="119"/>
                  </a:lnTo>
                  <a:lnTo>
                    <a:pt x="932" y="125"/>
                  </a:lnTo>
                  <a:lnTo>
                    <a:pt x="932" y="132"/>
                  </a:lnTo>
                  <a:lnTo>
                    <a:pt x="926" y="156"/>
                  </a:lnTo>
                  <a:lnTo>
                    <a:pt x="922" y="170"/>
                  </a:lnTo>
                  <a:lnTo>
                    <a:pt x="903" y="182"/>
                  </a:lnTo>
                  <a:lnTo>
                    <a:pt x="900" y="193"/>
                  </a:lnTo>
                  <a:lnTo>
                    <a:pt x="892" y="197"/>
                  </a:lnTo>
                  <a:lnTo>
                    <a:pt x="887" y="202"/>
                  </a:lnTo>
                  <a:lnTo>
                    <a:pt x="886" y="205"/>
                  </a:lnTo>
                  <a:lnTo>
                    <a:pt x="876" y="211"/>
                  </a:lnTo>
                  <a:lnTo>
                    <a:pt x="873" y="211"/>
                  </a:lnTo>
                  <a:lnTo>
                    <a:pt x="876" y="219"/>
                  </a:lnTo>
                  <a:lnTo>
                    <a:pt x="881" y="231"/>
                  </a:lnTo>
                  <a:lnTo>
                    <a:pt x="887" y="257"/>
                  </a:lnTo>
                  <a:lnTo>
                    <a:pt x="905" y="264"/>
                  </a:lnTo>
                  <a:lnTo>
                    <a:pt x="910" y="270"/>
                  </a:lnTo>
                  <a:lnTo>
                    <a:pt x="919" y="290"/>
                  </a:lnTo>
                  <a:lnTo>
                    <a:pt x="919" y="308"/>
                  </a:lnTo>
                  <a:lnTo>
                    <a:pt x="937" y="321"/>
                  </a:lnTo>
                  <a:lnTo>
                    <a:pt x="962" y="333"/>
                  </a:lnTo>
                  <a:lnTo>
                    <a:pt x="964" y="333"/>
                  </a:lnTo>
                  <a:lnTo>
                    <a:pt x="964" y="334"/>
                  </a:lnTo>
                  <a:lnTo>
                    <a:pt x="978" y="407"/>
                  </a:lnTo>
                  <a:lnTo>
                    <a:pt x="983" y="444"/>
                  </a:lnTo>
                  <a:lnTo>
                    <a:pt x="984" y="447"/>
                  </a:lnTo>
                  <a:lnTo>
                    <a:pt x="983" y="450"/>
                  </a:lnTo>
                  <a:lnTo>
                    <a:pt x="973" y="457"/>
                  </a:lnTo>
                  <a:lnTo>
                    <a:pt x="972" y="473"/>
                  </a:lnTo>
                  <a:lnTo>
                    <a:pt x="983" y="487"/>
                  </a:lnTo>
                  <a:lnTo>
                    <a:pt x="995" y="509"/>
                  </a:lnTo>
                  <a:lnTo>
                    <a:pt x="1000" y="532"/>
                  </a:lnTo>
                  <a:lnTo>
                    <a:pt x="1001" y="554"/>
                  </a:lnTo>
                  <a:lnTo>
                    <a:pt x="1001" y="585"/>
                  </a:lnTo>
                  <a:lnTo>
                    <a:pt x="1004" y="593"/>
                  </a:lnTo>
                  <a:lnTo>
                    <a:pt x="1004" y="606"/>
                  </a:lnTo>
                  <a:lnTo>
                    <a:pt x="1000" y="628"/>
                  </a:lnTo>
                  <a:lnTo>
                    <a:pt x="999" y="684"/>
                  </a:lnTo>
                  <a:lnTo>
                    <a:pt x="990" y="691"/>
                  </a:lnTo>
                  <a:lnTo>
                    <a:pt x="979" y="693"/>
                  </a:lnTo>
                  <a:lnTo>
                    <a:pt x="978" y="702"/>
                  </a:lnTo>
                  <a:lnTo>
                    <a:pt x="983" y="715"/>
                  </a:lnTo>
                  <a:lnTo>
                    <a:pt x="1001" y="737"/>
                  </a:lnTo>
                  <a:lnTo>
                    <a:pt x="1011" y="753"/>
                  </a:lnTo>
                  <a:lnTo>
                    <a:pt x="1012" y="773"/>
                  </a:lnTo>
                  <a:lnTo>
                    <a:pt x="1015" y="785"/>
                  </a:lnTo>
                  <a:lnTo>
                    <a:pt x="1029" y="800"/>
                  </a:lnTo>
                  <a:lnTo>
                    <a:pt x="1048" y="801"/>
                  </a:lnTo>
                  <a:lnTo>
                    <a:pt x="1059" y="801"/>
                  </a:lnTo>
                  <a:lnTo>
                    <a:pt x="1088" y="815"/>
                  </a:lnTo>
                  <a:lnTo>
                    <a:pt x="1106" y="844"/>
                  </a:lnTo>
                  <a:lnTo>
                    <a:pt x="1110" y="858"/>
                  </a:lnTo>
                  <a:lnTo>
                    <a:pt x="1112" y="864"/>
                  </a:lnTo>
                  <a:lnTo>
                    <a:pt x="1086" y="882"/>
                  </a:lnTo>
                  <a:lnTo>
                    <a:pt x="1042" y="913"/>
                  </a:lnTo>
                  <a:lnTo>
                    <a:pt x="999" y="944"/>
                  </a:lnTo>
                  <a:lnTo>
                    <a:pt x="956" y="974"/>
                  </a:lnTo>
                  <a:lnTo>
                    <a:pt x="911" y="1005"/>
                  </a:lnTo>
                  <a:lnTo>
                    <a:pt x="867" y="1036"/>
                  </a:lnTo>
                  <a:lnTo>
                    <a:pt x="824" y="1066"/>
                  </a:lnTo>
                  <a:lnTo>
                    <a:pt x="781" y="1096"/>
                  </a:lnTo>
                  <a:lnTo>
                    <a:pt x="766" y="1101"/>
                  </a:lnTo>
                  <a:lnTo>
                    <a:pt x="704" y="1115"/>
                  </a:lnTo>
                  <a:lnTo>
                    <a:pt x="695" y="1117"/>
                  </a:lnTo>
                  <a:lnTo>
                    <a:pt x="690" y="1119"/>
                  </a:lnTo>
                  <a:lnTo>
                    <a:pt x="680" y="1124"/>
                  </a:lnTo>
                  <a:lnTo>
                    <a:pt x="672" y="1124"/>
                  </a:lnTo>
                  <a:lnTo>
                    <a:pt x="663" y="1129"/>
                  </a:lnTo>
                  <a:lnTo>
                    <a:pt x="656" y="1129"/>
                  </a:lnTo>
                  <a:lnTo>
                    <a:pt x="650" y="1128"/>
                  </a:lnTo>
                  <a:lnTo>
                    <a:pt x="642" y="1119"/>
                  </a:lnTo>
                  <a:lnTo>
                    <a:pt x="642" y="1114"/>
                  </a:lnTo>
                  <a:lnTo>
                    <a:pt x="645" y="1109"/>
                  </a:lnTo>
                  <a:lnTo>
                    <a:pt x="644" y="1103"/>
                  </a:lnTo>
                  <a:lnTo>
                    <a:pt x="645" y="1101"/>
                  </a:lnTo>
                  <a:lnTo>
                    <a:pt x="649" y="1098"/>
                  </a:lnTo>
                  <a:lnTo>
                    <a:pt x="649" y="1096"/>
                  </a:lnTo>
                  <a:lnTo>
                    <a:pt x="646" y="1092"/>
                  </a:lnTo>
                  <a:lnTo>
                    <a:pt x="646" y="1088"/>
                  </a:lnTo>
                  <a:lnTo>
                    <a:pt x="647" y="1086"/>
                  </a:lnTo>
                  <a:lnTo>
                    <a:pt x="646" y="1080"/>
                  </a:lnTo>
                  <a:lnTo>
                    <a:pt x="645" y="1080"/>
                  </a:lnTo>
                  <a:lnTo>
                    <a:pt x="644" y="1076"/>
                  </a:lnTo>
                  <a:lnTo>
                    <a:pt x="640" y="1074"/>
                  </a:lnTo>
                  <a:lnTo>
                    <a:pt x="631" y="1071"/>
                  </a:lnTo>
                  <a:lnTo>
                    <a:pt x="623" y="1066"/>
                  </a:lnTo>
                  <a:lnTo>
                    <a:pt x="618" y="1066"/>
                  </a:lnTo>
                  <a:lnTo>
                    <a:pt x="614" y="1064"/>
                  </a:lnTo>
                  <a:lnTo>
                    <a:pt x="603" y="1064"/>
                  </a:lnTo>
                  <a:lnTo>
                    <a:pt x="599" y="1061"/>
                  </a:lnTo>
                  <a:lnTo>
                    <a:pt x="596" y="1054"/>
                  </a:lnTo>
                  <a:lnTo>
                    <a:pt x="593" y="1053"/>
                  </a:lnTo>
                  <a:lnTo>
                    <a:pt x="585" y="1054"/>
                  </a:lnTo>
                  <a:lnTo>
                    <a:pt x="575" y="1052"/>
                  </a:lnTo>
                  <a:lnTo>
                    <a:pt x="570" y="1049"/>
                  </a:lnTo>
                  <a:lnTo>
                    <a:pt x="563" y="1043"/>
                  </a:lnTo>
                  <a:lnTo>
                    <a:pt x="561" y="1038"/>
                  </a:lnTo>
                  <a:lnTo>
                    <a:pt x="560" y="1032"/>
                  </a:lnTo>
                  <a:lnTo>
                    <a:pt x="558" y="1031"/>
                  </a:lnTo>
                  <a:lnTo>
                    <a:pt x="547" y="1025"/>
                  </a:lnTo>
                  <a:lnTo>
                    <a:pt x="539" y="1023"/>
                  </a:lnTo>
                  <a:lnTo>
                    <a:pt x="533" y="1020"/>
                  </a:lnTo>
                  <a:lnTo>
                    <a:pt x="532" y="1016"/>
                  </a:lnTo>
                  <a:lnTo>
                    <a:pt x="533" y="1007"/>
                  </a:lnTo>
                  <a:lnTo>
                    <a:pt x="529" y="1004"/>
                  </a:lnTo>
                  <a:lnTo>
                    <a:pt x="529" y="999"/>
                  </a:lnTo>
                  <a:lnTo>
                    <a:pt x="267" y="817"/>
                  </a:lnTo>
                  <a:lnTo>
                    <a:pt x="203" y="77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4" name="Freeform 14"/>
            <p:cNvSpPr>
              <a:spLocks noChangeAspect="1"/>
            </p:cNvSpPr>
            <p:nvPr/>
          </p:nvSpPr>
          <p:spPr bwMode="gray">
            <a:xfrm>
              <a:off x="3011231" y="3795816"/>
              <a:ext cx="174338" cy="192828"/>
            </a:xfrm>
            <a:custGeom>
              <a:avLst/>
              <a:gdLst/>
              <a:ahLst/>
              <a:cxnLst>
                <a:cxn ang="0">
                  <a:pos x="96" y="347"/>
                </a:cxn>
                <a:cxn ang="0">
                  <a:pos x="14" y="353"/>
                </a:cxn>
                <a:cxn ang="0">
                  <a:pos x="5" y="364"/>
                </a:cxn>
                <a:cxn ang="0">
                  <a:pos x="0" y="369"/>
                </a:cxn>
                <a:cxn ang="0">
                  <a:pos x="22" y="391"/>
                </a:cxn>
                <a:cxn ang="0">
                  <a:pos x="40" y="409"/>
                </a:cxn>
                <a:cxn ang="0">
                  <a:pos x="41" y="437"/>
                </a:cxn>
                <a:cxn ang="0">
                  <a:pos x="28" y="460"/>
                </a:cxn>
                <a:cxn ang="0">
                  <a:pos x="49" y="501"/>
                </a:cxn>
                <a:cxn ang="0">
                  <a:pos x="50" y="563"/>
                </a:cxn>
                <a:cxn ang="0">
                  <a:pos x="30" y="623"/>
                </a:cxn>
                <a:cxn ang="0">
                  <a:pos x="24" y="650"/>
                </a:cxn>
                <a:cxn ang="0">
                  <a:pos x="37" y="627"/>
                </a:cxn>
                <a:cxn ang="0">
                  <a:pos x="50" y="627"/>
                </a:cxn>
                <a:cxn ang="0">
                  <a:pos x="76" y="628"/>
                </a:cxn>
                <a:cxn ang="0">
                  <a:pos x="98" y="624"/>
                </a:cxn>
                <a:cxn ang="0">
                  <a:pos x="102" y="619"/>
                </a:cxn>
                <a:cxn ang="0">
                  <a:pos x="119" y="620"/>
                </a:cxn>
                <a:cxn ang="0">
                  <a:pos x="141" y="620"/>
                </a:cxn>
                <a:cxn ang="0">
                  <a:pos x="161" y="635"/>
                </a:cxn>
                <a:cxn ang="0">
                  <a:pos x="173" y="647"/>
                </a:cxn>
                <a:cxn ang="0">
                  <a:pos x="183" y="651"/>
                </a:cxn>
                <a:cxn ang="0">
                  <a:pos x="200" y="662"/>
                </a:cxn>
                <a:cxn ang="0">
                  <a:pos x="209" y="677"/>
                </a:cxn>
                <a:cxn ang="0">
                  <a:pos x="215" y="686"/>
                </a:cxn>
                <a:cxn ang="0">
                  <a:pos x="222" y="692"/>
                </a:cxn>
                <a:cxn ang="0">
                  <a:pos x="223" y="698"/>
                </a:cxn>
                <a:cxn ang="0">
                  <a:pos x="231" y="704"/>
                </a:cxn>
                <a:cxn ang="0">
                  <a:pos x="244" y="709"/>
                </a:cxn>
                <a:cxn ang="0">
                  <a:pos x="250" y="719"/>
                </a:cxn>
                <a:cxn ang="0">
                  <a:pos x="286" y="705"/>
                </a:cxn>
                <a:cxn ang="0">
                  <a:pos x="302" y="665"/>
                </a:cxn>
                <a:cxn ang="0">
                  <a:pos x="308" y="666"/>
                </a:cxn>
                <a:cxn ang="0">
                  <a:pos x="323" y="683"/>
                </a:cxn>
                <a:cxn ang="0">
                  <a:pos x="350" y="705"/>
                </a:cxn>
                <a:cxn ang="0">
                  <a:pos x="534" y="687"/>
                </a:cxn>
                <a:cxn ang="0">
                  <a:pos x="637" y="641"/>
                </a:cxn>
                <a:cxn ang="0">
                  <a:pos x="604" y="522"/>
                </a:cxn>
                <a:cxn ang="0">
                  <a:pos x="587" y="359"/>
                </a:cxn>
                <a:cxn ang="0">
                  <a:pos x="570" y="191"/>
                </a:cxn>
                <a:cxn ang="0">
                  <a:pos x="584" y="82"/>
                </a:cxn>
                <a:cxn ang="0">
                  <a:pos x="458" y="70"/>
                </a:cxn>
                <a:cxn ang="0">
                  <a:pos x="299" y="70"/>
                </a:cxn>
                <a:cxn ang="0">
                  <a:pos x="281" y="187"/>
                </a:cxn>
                <a:cxn ang="0">
                  <a:pos x="244" y="231"/>
                </a:cxn>
                <a:cxn ang="0">
                  <a:pos x="220" y="245"/>
                </a:cxn>
                <a:cxn ang="0">
                  <a:pos x="215" y="290"/>
                </a:cxn>
                <a:cxn ang="0">
                  <a:pos x="222" y="347"/>
                </a:cxn>
              </a:cxnLst>
              <a:rect l="0" t="0" r="r" b="b"/>
              <a:pathLst>
                <a:path w="661" h="727">
                  <a:moveTo>
                    <a:pt x="196" y="347"/>
                  </a:moveTo>
                  <a:lnTo>
                    <a:pt x="148" y="347"/>
                  </a:lnTo>
                  <a:lnTo>
                    <a:pt x="96" y="347"/>
                  </a:lnTo>
                  <a:lnTo>
                    <a:pt x="45" y="347"/>
                  </a:lnTo>
                  <a:lnTo>
                    <a:pt x="16" y="347"/>
                  </a:lnTo>
                  <a:lnTo>
                    <a:pt x="14" y="353"/>
                  </a:lnTo>
                  <a:lnTo>
                    <a:pt x="6" y="360"/>
                  </a:lnTo>
                  <a:lnTo>
                    <a:pt x="2" y="365"/>
                  </a:lnTo>
                  <a:lnTo>
                    <a:pt x="5" y="364"/>
                  </a:lnTo>
                  <a:lnTo>
                    <a:pt x="0" y="369"/>
                  </a:lnTo>
                  <a:lnTo>
                    <a:pt x="0" y="371"/>
                  </a:lnTo>
                  <a:lnTo>
                    <a:pt x="0" y="369"/>
                  </a:lnTo>
                  <a:lnTo>
                    <a:pt x="10" y="365"/>
                  </a:lnTo>
                  <a:lnTo>
                    <a:pt x="12" y="369"/>
                  </a:lnTo>
                  <a:lnTo>
                    <a:pt x="22" y="391"/>
                  </a:lnTo>
                  <a:lnTo>
                    <a:pt x="23" y="393"/>
                  </a:lnTo>
                  <a:lnTo>
                    <a:pt x="30" y="391"/>
                  </a:lnTo>
                  <a:lnTo>
                    <a:pt x="40" y="409"/>
                  </a:lnTo>
                  <a:lnTo>
                    <a:pt x="41" y="414"/>
                  </a:lnTo>
                  <a:lnTo>
                    <a:pt x="41" y="429"/>
                  </a:lnTo>
                  <a:lnTo>
                    <a:pt x="41" y="437"/>
                  </a:lnTo>
                  <a:lnTo>
                    <a:pt x="35" y="455"/>
                  </a:lnTo>
                  <a:lnTo>
                    <a:pt x="33" y="458"/>
                  </a:lnTo>
                  <a:lnTo>
                    <a:pt x="28" y="460"/>
                  </a:lnTo>
                  <a:lnTo>
                    <a:pt x="27" y="463"/>
                  </a:lnTo>
                  <a:lnTo>
                    <a:pt x="45" y="488"/>
                  </a:lnTo>
                  <a:lnTo>
                    <a:pt x="49" y="501"/>
                  </a:lnTo>
                  <a:lnTo>
                    <a:pt x="50" y="515"/>
                  </a:lnTo>
                  <a:lnTo>
                    <a:pt x="51" y="527"/>
                  </a:lnTo>
                  <a:lnTo>
                    <a:pt x="50" y="563"/>
                  </a:lnTo>
                  <a:lnTo>
                    <a:pt x="46" y="577"/>
                  </a:lnTo>
                  <a:lnTo>
                    <a:pt x="32" y="614"/>
                  </a:lnTo>
                  <a:lnTo>
                    <a:pt x="30" y="623"/>
                  </a:lnTo>
                  <a:lnTo>
                    <a:pt x="24" y="639"/>
                  </a:lnTo>
                  <a:lnTo>
                    <a:pt x="23" y="651"/>
                  </a:lnTo>
                  <a:lnTo>
                    <a:pt x="24" y="650"/>
                  </a:lnTo>
                  <a:lnTo>
                    <a:pt x="28" y="647"/>
                  </a:lnTo>
                  <a:lnTo>
                    <a:pt x="32" y="640"/>
                  </a:lnTo>
                  <a:lnTo>
                    <a:pt x="37" y="627"/>
                  </a:lnTo>
                  <a:lnTo>
                    <a:pt x="40" y="627"/>
                  </a:lnTo>
                  <a:lnTo>
                    <a:pt x="43" y="625"/>
                  </a:lnTo>
                  <a:lnTo>
                    <a:pt x="50" y="627"/>
                  </a:lnTo>
                  <a:lnTo>
                    <a:pt x="59" y="627"/>
                  </a:lnTo>
                  <a:lnTo>
                    <a:pt x="69" y="629"/>
                  </a:lnTo>
                  <a:lnTo>
                    <a:pt x="76" y="628"/>
                  </a:lnTo>
                  <a:lnTo>
                    <a:pt x="78" y="625"/>
                  </a:lnTo>
                  <a:lnTo>
                    <a:pt x="89" y="623"/>
                  </a:lnTo>
                  <a:lnTo>
                    <a:pt x="98" y="624"/>
                  </a:lnTo>
                  <a:lnTo>
                    <a:pt x="100" y="623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8" y="619"/>
                  </a:lnTo>
                  <a:lnTo>
                    <a:pt x="113" y="618"/>
                  </a:lnTo>
                  <a:lnTo>
                    <a:pt x="119" y="620"/>
                  </a:lnTo>
                  <a:lnTo>
                    <a:pt x="135" y="620"/>
                  </a:lnTo>
                  <a:lnTo>
                    <a:pt x="136" y="622"/>
                  </a:lnTo>
                  <a:lnTo>
                    <a:pt x="141" y="620"/>
                  </a:lnTo>
                  <a:lnTo>
                    <a:pt x="143" y="625"/>
                  </a:lnTo>
                  <a:lnTo>
                    <a:pt x="150" y="627"/>
                  </a:lnTo>
                  <a:lnTo>
                    <a:pt x="161" y="635"/>
                  </a:lnTo>
                  <a:lnTo>
                    <a:pt x="162" y="641"/>
                  </a:lnTo>
                  <a:lnTo>
                    <a:pt x="169" y="649"/>
                  </a:lnTo>
                  <a:lnTo>
                    <a:pt x="173" y="647"/>
                  </a:lnTo>
                  <a:lnTo>
                    <a:pt x="179" y="646"/>
                  </a:lnTo>
                  <a:lnTo>
                    <a:pt x="179" y="650"/>
                  </a:lnTo>
                  <a:lnTo>
                    <a:pt x="183" y="651"/>
                  </a:lnTo>
                  <a:lnTo>
                    <a:pt x="188" y="647"/>
                  </a:lnTo>
                  <a:lnTo>
                    <a:pt x="190" y="647"/>
                  </a:lnTo>
                  <a:lnTo>
                    <a:pt x="200" y="662"/>
                  </a:lnTo>
                  <a:lnTo>
                    <a:pt x="205" y="672"/>
                  </a:lnTo>
                  <a:lnTo>
                    <a:pt x="205" y="676"/>
                  </a:lnTo>
                  <a:lnTo>
                    <a:pt x="209" y="677"/>
                  </a:lnTo>
                  <a:lnTo>
                    <a:pt x="212" y="682"/>
                  </a:lnTo>
                  <a:lnTo>
                    <a:pt x="212" y="684"/>
                  </a:lnTo>
                  <a:lnTo>
                    <a:pt x="215" y="686"/>
                  </a:lnTo>
                  <a:lnTo>
                    <a:pt x="218" y="684"/>
                  </a:lnTo>
                  <a:lnTo>
                    <a:pt x="220" y="684"/>
                  </a:lnTo>
                  <a:lnTo>
                    <a:pt x="222" y="692"/>
                  </a:lnTo>
                  <a:lnTo>
                    <a:pt x="225" y="693"/>
                  </a:lnTo>
                  <a:lnTo>
                    <a:pt x="227" y="697"/>
                  </a:lnTo>
                  <a:lnTo>
                    <a:pt x="223" y="698"/>
                  </a:lnTo>
                  <a:lnTo>
                    <a:pt x="223" y="699"/>
                  </a:lnTo>
                  <a:lnTo>
                    <a:pt x="228" y="700"/>
                  </a:lnTo>
                  <a:lnTo>
                    <a:pt x="231" y="704"/>
                  </a:lnTo>
                  <a:lnTo>
                    <a:pt x="234" y="706"/>
                  </a:lnTo>
                  <a:lnTo>
                    <a:pt x="238" y="706"/>
                  </a:lnTo>
                  <a:lnTo>
                    <a:pt x="244" y="709"/>
                  </a:lnTo>
                  <a:lnTo>
                    <a:pt x="247" y="713"/>
                  </a:lnTo>
                  <a:lnTo>
                    <a:pt x="248" y="717"/>
                  </a:lnTo>
                  <a:lnTo>
                    <a:pt x="250" y="719"/>
                  </a:lnTo>
                  <a:lnTo>
                    <a:pt x="256" y="721"/>
                  </a:lnTo>
                  <a:lnTo>
                    <a:pt x="263" y="727"/>
                  </a:lnTo>
                  <a:lnTo>
                    <a:pt x="286" y="705"/>
                  </a:lnTo>
                  <a:lnTo>
                    <a:pt x="293" y="687"/>
                  </a:lnTo>
                  <a:lnTo>
                    <a:pt x="297" y="676"/>
                  </a:lnTo>
                  <a:lnTo>
                    <a:pt x="302" y="665"/>
                  </a:lnTo>
                  <a:lnTo>
                    <a:pt x="304" y="663"/>
                  </a:lnTo>
                  <a:lnTo>
                    <a:pt x="307" y="665"/>
                  </a:lnTo>
                  <a:lnTo>
                    <a:pt x="308" y="666"/>
                  </a:lnTo>
                  <a:lnTo>
                    <a:pt x="314" y="667"/>
                  </a:lnTo>
                  <a:lnTo>
                    <a:pt x="318" y="670"/>
                  </a:lnTo>
                  <a:lnTo>
                    <a:pt x="323" y="683"/>
                  </a:lnTo>
                  <a:lnTo>
                    <a:pt x="333" y="701"/>
                  </a:lnTo>
                  <a:lnTo>
                    <a:pt x="347" y="705"/>
                  </a:lnTo>
                  <a:lnTo>
                    <a:pt x="350" y="705"/>
                  </a:lnTo>
                  <a:lnTo>
                    <a:pt x="376" y="683"/>
                  </a:lnTo>
                  <a:lnTo>
                    <a:pt x="463" y="686"/>
                  </a:lnTo>
                  <a:lnTo>
                    <a:pt x="534" y="687"/>
                  </a:lnTo>
                  <a:lnTo>
                    <a:pt x="607" y="688"/>
                  </a:lnTo>
                  <a:lnTo>
                    <a:pt x="625" y="688"/>
                  </a:lnTo>
                  <a:lnTo>
                    <a:pt x="637" y="641"/>
                  </a:lnTo>
                  <a:lnTo>
                    <a:pt x="615" y="634"/>
                  </a:lnTo>
                  <a:lnTo>
                    <a:pt x="609" y="577"/>
                  </a:lnTo>
                  <a:lnTo>
                    <a:pt x="604" y="522"/>
                  </a:lnTo>
                  <a:lnTo>
                    <a:pt x="598" y="468"/>
                  </a:lnTo>
                  <a:lnTo>
                    <a:pt x="592" y="414"/>
                  </a:lnTo>
                  <a:lnTo>
                    <a:pt x="587" y="359"/>
                  </a:lnTo>
                  <a:lnTo>
                    <a:pt x="581" y="302"/>
                  </a:lnTo>
                  <a:lnTo>
                    <a:pt x="576" y="247"/>
                  </a:lnTo>
                  <a:lnTo>
                    <a:pt x="570" y="191"/>
                  </a:lnTo>
                  <a:lnTo>
                    <a:pt x="564" y="133"/>
                  </a:lnTo>
                  <a:lnTo>
                    <a:pt x="661" y="133"/>
                  </a:lnTo>
                  <a:lnTo>
                    <a:pt x="584" y="82"/>
                  </a:lnTo>
                  <a:lnTo>
                    <a:pt x="525" y="44"/>
                  </a:lnTo>
                  <a:lnTo>
                    <a:pt x="458" y="0"/>
                  </a:lnTo>
                  <a:lnTo>
                    <a:pt x="458" y="70"/>
                  </a:lnTo>
                  <a:lnTo>
                    <a:pt x="405" y="70"/>
                  </a:lnTo>
                  <a:lnTo>
                    <a:pt x="352" y="70"/>
                  </a:lnTo>
                  <a:lnTo>
                    <a:pt x="299" y="70"/>
                  </a:lnTo>
                  <a:lnTo>
                    <a:pt x="281" y="70"/>
                  </a:lnTo>
                  <a:lnTo>
                    <a:pt x="281" y="128"/>
                  </a:lnTo>
                  <a:lnTo>
                    <a:pt x="281" y="187"/>
                  </a:lnTo>
                  <a:lnTo>
                    <a:pt x="281" y="222"/>
                  </a:lnTo>
                  <a:lnTo>
                    <a:pt x="261" y="229"/>
                  </a:lnTo>
                  <a:lnTo>
                    <a:pt x="244" y="231"/>
                  </a:lnTo>
                  <a:lnTo>
                    <a:pt x="228" y="236"/>
                  </a:lnTo>
                  <a:lnTo>
                    <a:pt x="223" y="240"/>
                  </a:lnTo>
                  <a:lnTo>
                    <a:pt x="220" y="245"/>
                  </a:lnTo>
                  <a:lnTo>
                    <a:pt x="215" y="256"/>
                  </a:lnTo>
                  <a:lnTo>
                    <a:pt x="213" y="264"/>
                  </a:lnTo>
                  <a:lnTo>
                    <a:pt x="215" y="290"/>
                  </a:lnTo>
                  <a:lnTo>
                    <a:pt x="218" y="310"/>
                  </a:lnTo>
                  <a:lnTo>
                    <a:pt x="218" y="331"/>
                  </a:lnTo>
                  <a:lnTo>
                    <a:pt x="222" y="347"/>
                  </a:lnTo>
                  <a:lnTo>
                    <a:pt x="196" y="34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5" name="Freeform 15"/>
            <p:cNvSpPr>
              <a:spLocks noChangeAspect="1"/>
            </p:cNvSpPr>
            <p:nvPr/>
          </p:nvSpPr>
          <p:spPr bwMode="gray">
            <a:xfrm>
              <a:off x="3069343" y="3649214"/>
              <a:ext cx="173017" cy="138678"/>
            </a:xfrm>
            <a:custGeom>
              <a:avLst/>
              <a:gdLst/>
              <a:ahLst/>
              <a:cxnLst>
                <a:cxn ang="0">
                  <a:pos x="204" y="526"/>
                </a:cxn>
                <a:cxn ang="0">
                  <a:pos x="79" y="526"/>
                </a:cxn>
                <a:cxn ang="0">
                  <a:pos x="0" y="526"/>
                </a:cxn>
                <a:cxn ang="0">
                  <a:pos x="27" y="511"/>
                </a:cxn>
                <a:cxn ang="0">
                  <a:pos x="86" y="487"/>
                </a:cxn>
                <a:cxn ang="0">
                  <a:pos x="112" y="464"/>
                </a:cxn>
                <a:cxn ang="0">
                  <a:pos x="144" y="439"/>
                </a:cxn>
                <a:cxn ang="0">
                  <a:pos x="166" y="411"/>
                </a:cxn>
                <a:cxn ang="0">
                  <a:pos x="182" y="362"/>
                </a:cxn>
                <a:cxn ang="0">
                  <a:pos x="175" y="305"/>
                </a:cxn>
                <a:cxn ang="0">
                  <a:pos x="194" y="263"/>
                </a:cxn>
                <a:cxn ang="0">
                  <a:pos x="214" y="235"/>
                </a:cxn>
                <a:cxn ang="0">
                  <a:pos x="244" y="184"/>
                </a:cxn>
                <a:cxn ang="0">
                  <a:pos x="299" y="155"/>
                </a:cxn>
                <a:cxn ang="0">
                  <a:pos x="348" y="120"/>
                </a:cxn>
                <a:cxn ang="0">
                  <a:pos x="376" y="56"/>
                </a:cxn>
                <a:cxn ang="0">
                  <a:pos x="419" y="0"/>
                </a:cxn>
                <a:cxn ang="0">
                  <a:pos x="465" y="48"/>
                </a:cxn>
                <a:cxn ang="0">
                  <a:pos x="507" y="45"/>
                </a:cxn>
                <a:cxn ang="0">
                  <a:pos x="548" y="40"/>
                </a:cxn>
                <a:cxn ang="0">
                  <a:pos x="574" y="53"/>
                </a:cxn>
                <a:cxn ang="0">
                  <a:pos x="604" y="56"/>
                </a:cxn>
                <a:cxn ang="0">
                  <a:pos x="612" y="71"/>
                </a:cxn>
                <a:cxn ang="0">
                  <a:pos x="621" y="79"/>
                </a:cxn>
                <a:cxn ang="0">
                  <a:pos x="621" y="85"/>
                </a:cxn>
                <a:cxn ang="0">
                  <a:pos x="622" y="104"/>
                </a:cxn>
                <a:cxn ang="0">
                  <a:pos x="626" y="131"/>
                </a:cxn>
                <a:cxn ang="0">
                  <a:pos x="631" y="152"/>
                </a:cxn>
                <a:cxn ang="0">
                  <a:pos x="629" y="166"/>
                </a:cxn>
                <a:cxn ang="0">
                  <a:pos x="633" y="186"/>
                </a:cxn>
                <a:cxn ang="0">
                  <a:pos x="649" y="215"/>
                </a:cxn>
                <a:cxn ang="0">
                  <a:pos x="651" y="224"/>
                </a:cxn>
                <a:cxn ang="0">
                  <a:pos x="649" y="242"/>
                </a:cxn>
                <a:cxn ang="0">
                  <a:pos x="639" y="242"/>
                </a:cxn>
                <a:cxn ang="0">
                  <a:pos x="611" y="242"/>
                </a:cxn>
                <a:cxn ang="0">
                  <a:pos x="567" y="247"/>
                </a:cxn>
                <a:cxn ang="0">
                  <a:pos x="553" y="247"/>
                </a:cxn>
                <a:cxn ang="0">
                  <a:pos x="551" y="263"/>
                </a:cxn>
                <a:cxn ang="0">
                  <a:pos x="527" y="273"/>
                </a:cxn>
                <a:cxn ang="0">
                  <a:pos x="508" y="273"/>
                </a:cxn>
                <a:cxn ang="0">
                  <a:pos x="502" y="288"/>
                </a:cxn>
                <a:cxn ang="0">
                  <a:pos x="509" y="293"/>
                </a:cxn>
                <a:cxn ang="0">
                  <a:pos x="504" y="309"/>
                </a:cxn>
                <a:cxn ang="0">
                  <a:pos x="510" y="310"/>
                </a:cxn>
                <a:cxn ang="0">
                  <a:pos x="514" y="321"/>
                </a:cxn>
                <a:cxn ang="0">
                  <a:pos x="461" y="342"/>
                </a:cxn>
                <a:cxn ang="0">
                  <a:pos x="433" y="363"/>
                </a:cxn>
                <a:cxn ang="0">
                  <a:pos x="424" y="376"/>
                </a:cxn>
                <a:cxn ang="0">
                  <a:pos x="385" y="391"/>
                </a:cxn>
                <a:cxn ang="0">
                  <a:pos x="354" y="392"/>
                </a:cxn>
                <a:cxn ang="0">
                  <a:pos x="350" y="406"/>
                </a:cxn>
                <a:cxn ang="0">
                  <a:pos x="330" y="405"/>
                </a:cxn>
                <a:cxn ang="0">
                  <a:pos x="312" y="413"/>
                </a:cxn>
                <a:cxn ang="0">
                  <a:pos x="287" y="423"/>
                </a:cxn>
              </a:cxnLst>
              <a:rect l="0" t="0" r="r" b="b"/>
              <a:pathLst>
                <a:path w="656" h="526">
                  <a:moveTo>
                    <a:pt x="240" y="457"/>
                  </a:moveTo>
                  <a:lnTo>
                    <a:pt x="240" y="526"/>
                  </a:lnTo>
                  <a:lnTo>
                    <a:pt x="204" y="526"/>
                  </a:lnTo>
                  <a:lnTo>
                    <a:pt x="161" y="526"/>
                  </a:lnTo>
                  <a:lnTo>
                    <a:pt x="120" y="526"/>
                  </a:lnTo>
                  <a:lnTo>
                    <a:pt x="79" y="526"/>
                  </a:lnTo>
                  <a:lnTo>
                    <a:pt x="43" y="526"/>
                  </a:lnTo>
                  <a:lnTo>
                    <a:pt x="9" y="526"/>
                  </a:lnTo>
                  <a:lnTo>
                    <a:pt x="0" y="526"/>
                  </a:lnTo>
                  <a:lnTo>
                    <a:pt x="5" y="515"/>
                  </a:lnTo>
                  <a:lnTo>
                    <a:pt x="14" y="511"/>
                  </a:lnTo>
                  <a:lnTo>
                    <a:pt x="27" y="511"/>
                  </a:lnTo>
                  <a:lnTo>
                    <a:pt x="46" y="507"/>
                  </a:lnTo>
                  <a:lnTo>
                    <a:pt x="77" y="495"/>
                  </a:lnTo>
                  <a:lnTo>
                    <a:pt x="86" y="487"/>
                  </a:lnTo>
                  <a:lnTo>
                    <a:pt x="97" y="475"/>
                  </a:lnTo>
                  <a:lnTo>
                    <a:pt x="101" y="472"/>
                  </a:lnTo>
                  <a:lnTo>
                    <a:pt x="112" y="464"/>
                  </a:lnTo>
                  <a:lnTo>
                    <a:pt x="129" y="456"/>
                  </a:lnTo>
                  <a:lnTo>
                    <a:pt x="140" y="445"/>
                  </a:lnTo>
                  <a:lnTo>
                    <a:pt x="144" y="439"/>
                  </a:lnTo>
                  <a:lnTo>
                    <a:pt x="149" y="437"/>
                  </a:lnTo>
                  <a:lnTo>
                    <a:pt x="154" y="433"/>
                  </a:lnTo>
                  <a:lnTo>
                    <a:pt x="166" y="411"/>
                  </a:lnTo>
                  <a:lnTo>
                    <a:pt x="182" y="384"/>
                  </a:lnTo>
                  <a:lnTo>
                    <a:pt x="183" y="379"/>
                  </a:lnTo>
                  <a:lnTo>
                    <a:pt x="182" y="362"/>
                  </a:lnTo>
                  <a:lnTo>
                    <a:pt x="172" y="343"/>
                  </a:lnTo>
                  <a:lnTo>
                    <a:pt x="175" y="332"/>
                  </a:lnTo>
                  <a:lnTo>
                    <a:pt x="175" y="305"/>
                  </a:lnTo>
                  <a:lnTo>
                    <a:pt x="177" y="297"/>
                  </a:lnTo>
                  <a:lnTo>
                    <a:pt x="194" y="267"/>
                  </a:lnTo>
                  <a:lnTo>
                    <a:pt x="194" y="263"/>
                  </a:lnTo>
                  <a:lnTo>
                    <a:pt x="207" y="256"/>
                  </a:lnTo>
                  <a:lnTo>
                    <a:pt x="204" y="258"/>
                  </a:lnTo>
                  <a:lnTo>
                    <a:pt x="214" y="235"/>
                  </a:lnTo>
                  <a:lnTo>
                    <a:pt x="213" y="224"/>
                  </a:lnTo>
                  <a:lnTo>
                    <a:pt x="235" y="198"/>
                  </a:lnTo>
                  <a:lnTo>
                    <a:pt x="244" y="184"/>
                  </a:lnTo>
                  <a:lnTo>
                    <a:pt x="253" y="175"/>
                  </a:lnTo>
                  <a:lnTo>
                    <a:pt x="271" y="166"/>
                  </a:lnTo>
                  <a:lnTo>
                    <a:pt x="299" y="155"/>
                  </a:lnTo>
                  <a:lnTo>
                    <a:pt x="314" y="148"/>
                  </a:lnTo>
                  <a:lnTo>
                    <a:pt x="337" y="132"/>
                  </a:lnTo>
                  <a:lnTo>
                    <a:pt x="348" y="120"/>
                  </a:lnTo>
                  <a:lnTo>
                    <a:pt x="354" y="102"/>
                  </a:lnTo>
                  <a:lnTo>
                    <a:pt x="365" y="89"/>
                  </a:lnTo>
                  <a:lnTo>
                    <a:pt x="376" y="56"/>
                  </a:lnTo>
                  <a:lnTo>
                    <a:pt x="392" y="12"/>
                  </a:lnTo>
                  <a:lnTo>
                    <a:pt x="398" y="7"/>
                  </a:lnTo>
                  <a:lnTo>
                    <a:pt x="419" y="0"/>
                  </a:lnTo>
                  <a:lnTo>
                    <a:pt x="429" y="18"/>
                  </a:lnTo>
                  <a:lnTo>
                    <a:pt x="443" y="32"/>
                  </a:lnTo>
                  <a:lnTo>
                    <a:pt x="465" y="48"/>
                  </a:lnTo>
                  <a:lnTo>
                    <a:pt x="475" y="51"/>
                  </a:lnTo>
                  <a:lnTo>
                    <a:pt x="499" y="42"/>
                  </a:lnTo>
                  <a:lnTo>
                    <a:pt x="507" y="45"/>
                  </a:lnTo>
                  <a:lnTo>
                    <a:pt x="525" y="45"/>
                  </a:lnTo>
                  <a:lnTo>
                    <a:pt x="541" y="43"/>
                  </a:lnTo>
                  <a:lnTo>
                    <a:pt x="548" y="40"/>
                  </a:lnTo>
                  <a:lnTo>
                    <a:pt x="557" y="45"/>
                  </a:lnTo>
                  <a:lnTo>
                    <a:pt x="564" y="51"/>
                  </a:lnTo>
                  <a:lnTo>
                    <a:pt x="574" y="53"/>
                  </a:lnTo>
                  <a:lnTo>
                    <a:pt x="580" y="53"/>
                  </a:lnTo>
                  <a:lnTo>
                    <a:pt x="585" y="52"/>
                  </a:lnTo>
                  <a:lnTo>
                    <a:pt x="604" y="56"/>
                  </a:lnTo>
                  <a:lnTo>
                    <a:pt x="604" y="61"/>
                  </a:lnTo>
                  <a:lnTo>
                    <a:pt x="606" y="66"/>
                  </a:lnTo>
                  <a:lnTo>
                    <a:pt x="612" y="71"/>
                  </a:lnTo>
                  <a:lnTo>
                    <a:pt x="613" y="73"/>
                  </a:lnTo>
                  <a:lnTo>
                    <a:pt x="617" y="78"/>
                  </a:lnTo>
                  <a:lnTo>
                    <a:pt x="621" y="79"/>
                  </a:lnTo>
                  <a:lnTo>
                    <a:pt x="623" y="83"/>
                  </a:lnTo>
                  <a:lnTo>
                    <a:pt x="622" y="85"/>
                  </a:lnTo>
                  <a:lnTo>
                    <a:pt x="621" y="85"/>
                  </a:lnTo>
                  <a:lnTo>
                    <a:pt x="620" y="88"/>
                  </a:lnTo>
                  <a:lnTo>
                    <a:pt x="626" y="96"/>
                  </a:lnTo>
                  <a:lnTo>
                    <a:pt x="622" y="104"/>
                  </a:lnTo>
                  <a:lnTo>
                    <a:pt x="624" y="111"/>
                  </a:lnTo>
                  <a:lnTo>
                    <a:pt x="627" y="122"/>
                  </a:lnTo>
                  <a:lnTo>
                    <a:pt x="626" y="131"/>
                  </a:lnTo>
                  <a:lnTo>
                    <a:pt x="626" y="141"/>
                  </a:lnTo>
                  <a:lnTo>
                    <a:pt x="623" y="144"/>
                  </a:lnTo>
                  <a:lnTo>
                    <a:pt x="631" y="152"/>
                  </a:lnTo>
                  <a:lnTo>
                    <a:pt x="631" y="156"/>
                  </a:lnTo>
                  <a:lnTo>
                    <a:pt x="631" y="160"/>
                  </a:lnTo>
                  <a:lnTo>
                    <a:pt x="629" y="166"/>
                  </a:lnTo>
                  <a:lnTo>
                    <a:pt x="628" y="171"/>
                  </a:lnTo>
                  <a:lnTo>
                    <a:pt x="631" y="179"/>
                  </a:lnTo>
                  <a:lnTo>
                    <a:pt x="633" y="186"/>
                  </a:lnTo>
                  <a:lnTo>
                    <a:pt x="633" y="192"/>
                  </a:lnTo>
                  <a:lnTo>
                    <a:pt x="640" y="207"/>
                  </a:lnTo>
                  <a:lnTo>
                    <a:pt x="649" y="215"/>
                  </a:lnTo>
                  <a:lnTo>
                    <a:pt x="656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8" y="231"/>
                  </a:lnTo>
                  <a:lnTo>
                    <a:pt x="647" y="238"/>
                  </a:lnTo>
                  <a:lnTo>
                    <a:pt x="649" y="242"/>
                  </a:lnTo>
                  <a:lnTo>
                    <a:pt x="649" y="245"/>
                  </a:lnTo>
                  <a:lnTo>
                    <a:pt x="647" y="246"/>
                  </a:lnTo>
                  <a:lnTo>
                    <a:pt x="639" y="242"/>
                  </a:lnTo>
                  <a:lnTo>
                    <a:pt x="627" y="242"/>
                  </a:lnTo>
                  <a:lnTo>
                    <a:pt x="616" y="241"/>
                  </a:lnTo>
                  <a:lnTo>
                    <a:pt x="611" y="242"/>
                  </a:lnTo>
                  <a:lnTo>
                    <a:pt x="580" y="242"/>
                  </a:lnTo>
                  <a:lnTo>
                    <a:pt x="570" y="245"/>
                  </a:lnTo>
                  <a:lnTo>
                    <a:pt x="567" y="247"/>
                  </a:lnTo>
                  <a:lnTo>
                    <a:pt x="563" y="249"/>
                  </a:lnTo>
                  <a:lnTo>
                    <a:pt x="556" y="246"/>
                  </a:lnTo>
                  <a:lnTo>
                    <a:pt x="553" y="247"/>
                  </a:lnTo>
                  <a:lnTo>
                    <a:pt x="551" y="252"/>
                  </a:lnTo>
                  <a:lnTo>
                    <a:pt x="552" y="257"/>
                  </a:lnTo>
                  <a:lnTo>
                    <a:pt x="551" y="263"/>
                  </a:lnTo>
                  <a:lnTo>
                    <a:pt x="548" y="266"/>
                  </a:lnTo>
                  <a:lnTo>
                    <a:pt x="535" y="272"/>
                  </a:lnTo>
                  <a:lnTo>
                    <a:pt x="527" y="273"/>
                  </a:lnTo>
                  <a:lnTo>
                    <a:pt x="520" y="274"/>
                  </a:lnTo>
                  <a:lnTo>
                    <a:pt x="513" y="273"/>
                  </a:lnTo>
                  <a:lnTo>
                    <a:pt x="508" y="273"/>
                  </a:lnTo>
                  <a:lnTo>
                    <a:pt x="503" y="277"/>
                  </a:lnTo>
                  <a:lnTo>
                    <a:pt x="502" y="282"/>
                  </a:lnTo>
                  <a:lnTo>
                    <a:pt x="502" y="288"/>
                  </a:lnTo>
                  <a:lnTo>
                    <a:pt x="503" y="290"/>
                  </a:lnTo>
                  <a:lnTo>
                    <a:pt x="508" y="290"/>
                  </a:lnTo>
                  <a:lnTo>
                    <a:pt x="509" y="293"/>
                  </a:lnTo>
                  <a:lnTo>
                    <a:pt x="504" y="298"/>
                  </a:lnTo>
                  <a:lnTo>
                    <a:pt x="503" y="309"/>
                  </a:lnTo>
                  <a:lnTo>
                    <a:pt x="504" y="309"/>
                  </a:lnTo>
                  <a:lnTo>
                    <a:pt x="507" y="308"/>
                  </a:lnTo>
                  <a:lnTo>
                    <a:pt x="509" y="308"/>
                  </a:lnTo>
                  <a:lnTo>
                    <a:pt x="510" y="310"/>
                  </a:lnTo>
                  <a:lnTo>
                    <a:pt x="515" y="314"/>
                  </a:lnTo>
                  <a:lnTo>
                    <a:pt x="516" y="317"/>
                  </a:lnTo>
                  <a:lnTo>
                    <a:pt x="514" y="321"/>
                  </a:lnTo>
                  <a:lnTo>
                    <a:pt x="493" y="325"/>
                  </a:lnTo>
                  <a:lnTo>
                    <a:pt x="467" y="342"/>
                  </a:lnTo>
                  <a:lnTo>
                    <a:pt x="461" y="342"/>
                  </a:lnTo>
                  <a:lnTo>
                    <a:pt x="446" y="348"/>
                  </a:lnTo>
                  <a:lnTo>
                    <a:pt x="436" y="355"/>
                  </a:lnTo>
                  <a:lnTo>
                    <a:pt x="433" y="363"/>
                  </a:lnTo>
                  <a:lnTo>
                    <a:pt x="433" y="365"/>
                  </a:lnTo>
                  <a:lnTo>
                    <a:pt x="430" y="371"/>
                  </a:lnTo>
                  <a:lnTo>
                    <a:pt x="424" y="376"/>
                  </a:lnTo>
                  <a:lnTo>
                    <a:pt x="418" y="381"/>
                  </a:lnTo>
                  <a:lnTo>
                    <a:pt x="401" y="389"/>
                  </a:lnTo>
                  <a:lnTo>
                    <a:pt x="385" y="391"/>
                  </a:lnTo>
                  <a:lnTo>
                    <a:pt x="376" y="391"/>
                  </a:lnTo>
                  <a:lnTo>
                    <a:pt x="371" y="394"/>
                  </a:lnTo>
                  <a:lnTo>
                    <a:pt x="354" y="392"/>
                  </a:lnTo>
                  <a:lnTo>
                    <a:pt x="353" y="396"/>
                  </a:lnTo>
                  <a:lnTo>
                    <a:pt x="353" y="405"/>
                  </a:lnTo>
                  <a:lnTo>
                    <a:pt x="350" y="406"/>
                  </a:lnTo>
                  <a:lnTo>
                    <a:pt x="342" y="406"/>
                  </a:lnTo>
                  <a:lnTo>
                    <a:pt x="337" y="403"/>
                  </a:lnTo>
                  <a:lnTo>
                    <a:pt x="330" y="405"/>
                  </a:lnTo>
                  <a:lnTo>
                    <a:pt x="323" y="403"/>
                  </a:lnTo>
                  <a:lnTo>
                    <a:pt x="319" y="407"/>
                  </a:lnTo>
                  <a:lnTo>
                    <a:pt x="312" y="413"/>
                  </a:lnTo>
                  <a:lnTo>
                    <a:pt x="306" y="417"/>
                  </a:lnTo>
                  <a:lnTo>
                    <a:pt x="299" y="423"/>
                  </a:lnTo>
                  <a:lnTo>
                    <a:pt x="287" y="423"/>
                  </a:lnTo>
                  <a:lnTo>
                    <a:pt x="266" y="437"/>
                  </a:lnTo>
                  <a:lnTo>
                    <a:pt x="240" y="45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6" name="Freeform 16"/>
            <p:cNvSpPr>
              <a:spLocks noChangeAspect="1"/>
            </p:cNvSpPr>
            <p:nvPr/>
          </p:nvSpPr>
          <p:spPr bwMode="gray">
            <a:xfrm>
              <a:off x="3851222" y="4030908"/>
              <a:ext cx="147923" cy="195470"/>
            </a:xfrm>
            <a:custGeom>
              <a:avLst/>
              <a:gdLst/>
              <a:ahLst/>
              <a:cxnLst>
                <a:cxn ang="0">
                  <a:pos x="6" y="708"/>
                </a:cxn>
                <a:cxn ang="0">
                  <a:pos x="0" y="604"/>
                </a:cxn>
                <a:cxn ang="0">
                  <a:pos x="3" y="496"/>
                </a:cxn>
                <a:cxn ang="0">
                  <a:pos x="48" y="437"/>
                </a:cxn>
                <a:cxn ang="0">
                  <a:pos x="102" y="414"/>
                </a:cxn>
                <a:cxn ang="0">
                  <a:pos x="148" y="384"/>
                </a:cxn>
                <a:cxn ang="0">
                  <a:pos x="302" y="297"/>
                </a:cxn>
                <a:cxn ang="0">
                  <a:pos x="384" y="212"/>
                </a:cxn>
                <a:cxn ang="0">
                  <a:pos x="166" y="154"/>
                </a:cxn>
                <a:cxn ang="0">
                  <a:pos x="132" y="122"/>
                </a:cxn>
                <a:cxn ang="0">
                  <a:pos x="119" y="107"/>
                </a:cxn>
                <a:cxn ang="0">
                  <a:pos x="103" y="88"/>
                </a:cxn>
                <a:cxn ang="0">
                  <a:pos x="103" y="55"/>
                </a:cxn>
                <a:cxn ang="0">
                  <a:pos x="120" y="25"/>
                </a:cxn>
                <a:cxn ang="0">
                  <a:pos x="130" y="29"/>
                </a:cxn>
                <a:cxn ang="0">
                  <a:pos x="151" y="57"/>
                </a:cxn>
                <a:cxn ang="0">
                  <a:pos x="186" y="84"/>
                </a:cxn>
                <a:cxn ang="0">
                  <a:pos x="222" y="77"/>
                </a:cxn>
                <a:cxn ang="0">
                  <a:pos x="248" y="64"/>
                </a:cxn>
                <a:cxn ang="0">
                  <a:pos x="258" y="57"/>
                </a:cxn>
                <a:cxn ang="0">
                  <a:pos x="269" y="61"/>
                </a:cxn>
                <a:cxn ang="0">
                  <a:pos x="291" y="67"/>
                </a:cxn>
                <a:cxn ang="0">
                  <a:pos x="317" y="61"/>
                </a:cxn>
                <a:cxn ang="0">
                  <a:pos x="336" y="48"/>
                </a:cxn>
                <a:cxn ang="0">
                  <a:pos x="365" y="46"/>
                </a:cxn>
                <a:cxn ang="0">
                  <a:pos x="393" y="43"/>
                </a:cxn>
                <a:cxn ang="0">
                  <a:pos x="417" y="33"/>
                </a:cxn>
                <a:cxn ang="0">
                  <a:pos x="451" y="28"/>
                </a:cxn>
                <a:cxn ang="0">
                  <a:pos x="473" y="25"/>
                </a:cxn>
                <a:cxn ang="0">
                  <a:pos x="501" y="17"/>
                </a:cxn>
                <a:cxn ang="0">
                  <a:pos x="527" y="0"/>
                </a:cxn>
                <a:cxn ang="0">
                  <a:pos x="555" y="7"/>
                </a:cxn>
                <a:cxn ang="0">
                  <a:pos x="555" y="19"/>
                </a:cxn>
                <a:cxn ang="0">
                  <a:pos x="548" y="41"/>
                </a:cxn>
                <a:cxn ang="0">
                  <a:pos x="552" y="59"/>
                </a:cxn>
                <a:cxn ang="0">
                  <a:pos x="551" y="78"/>
                </a:cxn>
                <a:cxn ang="0">
                  <a:pos x="551" y="84"/>
                </a:cxn>
                <a:cxn ang="0">
                  <a:pos x="556" y="84"/>
                </a:cxn>
                <a:cxn ang="0">
                  <a:pos x="560" y="91"/>
                </a:cxn>
                <a:cxn ang="0">
                  <a:pos x="545" y="88"/>
                </a:cxn>
                <a:cxn ang="0">
                  <a:pos x="539" y="99"/>
                </a:cxn>
                <a:cxn ang="0">
                  <a:pos x="530" y="145"/>
                </a:cxn>
                <a:cxn ang="0">
                  <a:pos x="518" y="164"/>
                </a:cxn>
                <a:cxn ang="0">
                  <a:pos x="497" y="202"/>
                </a:cxn>
                <a:cxn ang="0">
                  <a:pos x="485" y="215"/>
                </a:cxn>
                <a:cxn ang="0">
                  <a:pos x="479" y="237"/>
                </a:cxn>
                <a:cxn ang="0">
                  <a:pos x="444" y="303"/>
                </a:cxn>
                <a:cxn ang="0">
                  <a:pos x="422" y="351"/>
                </a:cxn>
                <a:cxn ang="0">
                  <a:pos x="414" y="358"/>
                </a:cxn>
                <a:cxn ang="0">
                  <a:pos x="389" y="389"/>
                </a:cxn>
                <a:cxn ang="0">
                  <a:pos x="382" y="405"/>
                </a:cxn>
                <a:cxn ang="0">
                  <a:pos x="363" y="432"/>
                </a:cxn>
                <a:cxn ang="0">
                  <a:pos x="334" y="461"/>
                </a:cxn>
                <a:cxn ang="0">
                  <a:pos x="297" y="492"/>
                </a:cxn>
                <a:cxn ang="0">
                  <a:pos x="277" y="520"/>
                </a:cxn>
                <a:cxn ang="0">
                  <a:pos x="243" y="545"/>
                </a:cxn>
                <a:cxn ang="0">
                  <a:pos x="216" y="554"/>
                </a:cxn>
                <a:cxn ang="0">
                  <a:pos x="120" y="640"/>
                </a:cxn>
                <a:cxn ang="0">
                  <a:pos x="91" y="663"/>
                </a:cxn>
                <a:cxn ang="0">
                  <a:pos x="87" y="665"/>
                </a:cxn>
                <a:cxn ang="0">
                  <a:pos x="83" y="674"/>
                </a:cxn>
                <a:cxn ang="0">
                  <a:pos x="61" y="705"/>
                </a:cxn>
                <a:cxn ang="0">
                  <a:pos x="32" y="739"/>
                </a:cxn>
              </a:cxnLst>
              <a:rect l="0" t="0" r="r" b="b"/>
              <a:pathLst>
                <a:path w="561" h="740">
                  <a:moveTo>
                    <a:pt x="30" y="740"/>
                  </a:moveTo>
                  <a:lnTo>
                    <a:pt x="29" y="737"/>
                  </a:lnTo>
                  <a:lnTo>
                    <a:pt x="6" y="708"/>
                  </a:lnTo>
                  <a:lnTo>
                    <a:pt x="0" y="700"/>
                  </a:lnTo>
                  <a:lnTo>
                    <a:pt x="0" y="657"/>
                  </a:lnTo>
                  <a:lnTo>
                    <a:pt x="0" y="604"/>
                  </a:lnTo>
                  <a:lnTo>
                    <a:pt x="0" y="551"/>
                  </a:lnTo>
                  <a:lnTo>
                    <a:pt x="0" y="498"/>
                  </a:lnTo>
                  <a:lnTo>
                    <a:pt x="3" y="496"/>
                  </a:lnTo>
                  <a:lnTo>
                    <a:pt x="25" y="474"/>
                  </a:lnTo>
                  <a:lnTo>
                    <a:pt x="46" y="442"/>
                  </a:lnTo>
                  <a:lnTo>
                    <a:pt x="48" y="437"/>
                  </a:lnTo>
                  <a:lnTo>
                    <a:pt x="51" y="433"/>
                  </a:lnTo>
                  <a:lnTo>
                    <a:pt x="66" y="426"/>
                  </a:lnTo>
                  <a:lnTo>
                    <a:pt x="102" y="414"/>
                  </a:lnTo>
                  <a:lnTo>
                    <a:pt x="114" y="401"/>
                  </a:lnTo>
                  <a:lnTo>
                    <a:pt x="127" y="393"/>
                  </a:lnTo>
                  <a:lnTo>
                    <a:pt x="148" y="384"/>
                  </a:lnTo>
                  <a:lnTo>
                    <a:pt x="157" y="379"/>
                  </a:lnTo>
                  <a:lnTo>
                    <a:pt x="221" y="379"/>
                  </a:lnTo>
                  <a:lnTo>
                    <a:pt x="302" y="297"/>
                  </a:lnTo>
                  <a:lnTo>
                    <a:pt x="373" y="227"/>
                  </a:lnTo>
                  <a:lnTo>
                    <a:pt x="383" y="215"/>
                  </a:lnTo>
                  <a:lnTo>
                    <a:pt x="384" y="212"/>
                  </a:lnTo>
                  <a:lnTo>
                    <a:pt x="331" y="213"/>
                  </a:lnTo>
                  <a:lnTo>
                    <a:pt x="244" y="181"/>
                  </a:lnTo>
                  <a:lnTo>
                    <a:pt x="166" y="154"/>
                  </a:lnTo>
                  <a:lnTo>
                    <a:pt x="159" y="147"/>
                  </a:lnTo>
                  <a:lnTo>
                    <a:pt x="140" y="132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4" y="110"/>
                  </a:lnTo>
                  <a:lnTo>
                    <a:pt x="119" y="107"/>
                  </a:lnTo>
                  <a:lnTo>
                    <a:pt x="113" y="100"/>
                  </a:lnTo>
                  <a:lnTo>
                    <a:pt x="110" y="95"/>
                  </a:lnTo>
                  <a:lnTo>
                    <a:pt x="103" y="88"/>
                  </a:lnTo>
                  <a:lnTo>
                    <a:pt x="98" y="65"/>
                  </a:lnTo>
                  <a:lnTo>
                    <a:pt x="99" y="60"/>
                  </a:lnTo>
                  <a:lnTo>
                    <a:pt x="103" y="55"/>
                  </a:lnTo>
                  <a:lnTo>
                    <a:pt x="105" y="49"/>
                  </a:lnTo>
                  <a:lnTo>
                    <a:pt x="115" y="37"/>
                  </a:lnTo>
                  <a:lnTo>
                    <a:pt x="120" y="25"/>
                  </a:lnTo>
                  <a:lnTo>
                    <a:pt x="123" y="23"/>
                  </a:lnTo>
                  <a:lnTo>
                    <a:pt x="125" y="27"/>
                  </a:lnTo>
                  <a:lnTo>
                    <a:pt x="130" y="29"/>
                  </a:lnTo>
                  <a:lnTo>
                    <a:pt x="135" y="38"/>
                  </a:lnTo>
                  <a:lnTo>
                    <a:pt x="140" y="41"/>
                  </a:lnTo>
                  <a:lnTo>
                    <a:pt x="151" y="57"/>
                  </a:lnTo>
                  <a:lnTo>
                    <a:pt x="167" y="73"/>
                  </a:lnTo>
                  <a:lnTo>
                    <a:pt x="179" y="82"/>
                  </a:lnTo>
                  <a:lnTo>
                    <a:pt x="186" y="84"/>
                  </a:lnTo>
                  <a:lnTo>
                    <a:pt x="193" y="82"/>
                  </a:lnTo>
                  <a:lnTo>
                    <a:pt x="215" y="83"/>
                  </a:lnTo>
                  <a:lnTo>
                    <a:pt x="222" y="77"/>
                  </a:lnTo>
                  <a:lnTo>
                    <a:pt x="231" y="72"/>
                  </a:lnTo>
                  <a:lnTo>
                    <a:pt x="238" y="70"/>
                  </a:lnTo>
                  <a:lnTo>
                    <a:pt x="248" y="64"/>
                  </a:lnTo>
                  <a:lnTo>
                    <a:pt x="253" y="62"/>
                  </a:lnTo>
                  <a:lnTo>
                    <a:pt x="255" y="60"/>
                  </a:lnTo>
                  <a:lnTo>
                    <a:pt x="258" y="57"/>
                  </a:lnTo>
                  <a:lnTo>
                    <a:pt x="260" y="57"/>
                  </a:lnTo>
                  <a:lnTo>
                    <a:pt x="265" y="61"/>
                  </a:lnTo>
                  <a:lnTo>
                    <a:pt x="269" y="61"/>
                  </a:lnTo>
                  <a:lnTo>
                    <a:pt x="271" y="62"/>
                  </a:lnTo>
                  <a:lnTo>
                    <a:pt x="283" y="61"/>
                  </a:lnTo>
                  <a:lnTo>
                    <a:pt x="291" y="67"/>
                  </a:lnTo>
                  <a:lnTo>
                    <a:pt x="302" y="67"/>
                  </a:lnTo>
                  <a:lnTo>
                    <a:pt x="312" y="65"/>
                  </a:lnTo>
                  <a:lnTo>
                    <a:pt x="317" y="61"/>
                  </a:lnTo>
                  <a:lnTo>
                    <a:pt x="322" y="56"/>
                  </a:lnTo>
                  <a:lnTo>
                    <a:pt x="331" y="54"/>
                  </a:lnTo>
                  <a:lnTo>
                    <a:pt x="336" y="48"/>
                  </a:lnTo>
                  <a:lnTo>
                    <a:pt x="342" y="44"/>
                  </a:lnTo>
                  <a:lnTo>
                    <a:pt x="353" y="41"/>
                  </a:lnTo>
                  <a:lnTo>
                    <a:pt x="365" y="46"/>
                  </a:lnTo>
                  <a:lnTo>
                    <a:pt x="372" y="45"/>
                  </a:lnTo>
                  <a:lnTo>
                    <a:pt x="382" y="44"/>
                  </a:lnTo>
                  <a:lnTo>
                    <a:pt x="393" y="43"/>
                  </a:lnTo>
                  <a:lnTo>
                    <a:pt x="398" y="41"/>
                  </a:lnTo>
                  <a:lnTo>
                    <a:pt x="411" y="33"/>
                  </a:lnTo>
                  <a:lnTo>
                    <a:pt x="417" y="33"/>
                  </a:lnTo>
                  <a:lnTo>
                    <a:pt x="430" y="37"/>
                  </a:lnTo>
                  <a:lnTo>
                    <a:pt x="447" y="29"/>
                  </a:lnTo>
                  <a:lnTo>
                    <a:pt x="451" y="28"/>
                  </a:lnTo>
                  <a:lnTo>
                    <a:pt x="458" y="29"/>
                  </a:lnTo>
                  <a:lnTo>
                    <a:pt x="462" y="24"/>
                  </a:lnTo>
                  <a:lnTo>
                    <a:pt x="473" y="25"/>
                  </a:lnTo>
                  <a:lnTo>
                    <a:pt x="481" y="24"/>
                  </a:lnTo>
                  <a:lnTo>
                    <a:pt x="496" y="21"/>
                  </a:lnTo>
                  <a:lnTo>
                    <a:pt x="501" y="17"/>
                  </a:lnTo>
                  <a:lnTo>
                    <a:pt x="514" y="12"/>
                  </a:lnTo>
                  <a:lnTo>
                    <a:pt x="518" y="2"/>
                  </a:lnTo>
                  <a:lnTo>
                    <a:pt x="527" y="0"/>
                  </a:lnTo>
                  <a:lnTo>
                    <a:pt x="535" y="0"/>
                  </a:lnTo>
                  <a:lnTo>
                    <a:pt x="546" y="7"/>
                  </a:lnTo>
                  <a:lnTo>
                    <a:pt x="555" y="7"/>
                  </a:lnTo>
                  <a:lnTo>
                    <a:pt x="556" y="8"/>
                  </a:lnTo>
                  <a:lnTo>
                    <a:pt x="555" y="14"/>
                  </a:lnTo>
                  <a:lnTo>
                    <a:pt x="555" y="19"/>
                  </a:lnTo>
                  <a:lnTo>
                    <a:pt x="549" y="27"/>
                  </a:lnTo>
                  <a:lnTo>
                    <a:pt x="548" y="33"/>
                  </a:lnTo>
                  <a:lnTo>
                    <a:pt x="548" y="41"/>
                  </a:lnTo>
                  <a:lnTo>
                    <a:pt x="554" y="46"/>
                  </a:lnTo>
                  <a:lnTo>
                    <a:pt x="551" y="52"/>
                  </a:lnTo>
                  <a:lnTo>
                    <a:pt x="552" y="59"/>
                  </a:lnTo>
                  <a:lnTo>
                    <a:pt x="551" y="66"/>
                  </a:lnTo>
                  <a:lnTo>
                    <a:pt x="552" y="75"/>
                  </a:lnTo>
                  <a:lnTo>
                    <a:pt x="551" y="78"/>
                  </a:lnTo>
                  <a:lnTo>
                    <a:pt x="544" y="83"/>
                  </a:lnTo>
                  <a:lnTo>
                    <a:pt x="545" y="86"/>
                  </a:lnTo>
                  <a:lnTo>
                    <a:pt x="551" y="84"/>
                  </a:lnTo>
                  <a:lnTo>
                    <a:pt x="552" y="82"/>
                  </a:lnTo>
                  <a:lnTo>
                    <a:pt x="554" y="82"/>
                  </a:lnTo>
                  <a:lnTo>
                    <a:pt x="556" y="84"/>
                  </a:lnTo>
                  <a:lnTo>
                    <a:pt x="561" y="86"/>
                  </a:lnTo>
                  <a:lnTo>
                    <a:pt x="561" y="89"/>
                  </a:lnTo>
                  <a:lnTo>
                    <a:pt x="560" y="91"/>
                  </a:lnTo>
                  <a:lnTo>
                    <a:pt x="559" y="91"/>
                  </a:lnTo>
                  <a:lnTo>
                    <a:pt x="552" y="88"/>
                  </a:lnTo>
                  <a:lnTo>
                    <a:pt x="545" y="88"/>
                  </a:lnTo>
                  <a:lnTo>
                    <a:pt x="540" y="91"/>
                  </a:lnTo>
                  <a:lnTo>
                    <a:pt x="539" y="92"/>
                  </a:lnTo>
                  <a:lnTo>
                    <a:pt x="539" y="99"/>
                  </a:lnTo>
                  <a:lnTo>
                    <a:pt x="533" y="125"/>
                  </a:lnTo>
                  <a:lnTo>
                    <a:pt x="533" y="141"/>
                  </a:lnTo>
                  <a:lnTo>
                    <a:pt x="530" y="145"/>
                  </a:lnTo>
                  <a:lnTo>
                    <a:pt x="528" y="156"/>
                  </a:lnTo>
                  <a:lnTo>
                    <a:pt x="524" y="159"/>
                  </a:lnTo>
                  <a:lnTo>
                    <a:pt x="518" y="164"/>
                  </a:lnTo>
                  <a:lnTo>
                    <a:pt x="511" y="181"/>
                  </a:lnTo>
                  <a:lnTo>
                    <a:pt x="502" y="190"/>
                  </a:lnTo>
                  <a:lnTo>
                    <a:pt x="497" y="202"/>
                  </a:lnTo>
                  <a:lnTo>
                    <a:pt x="497" y="204"/>
                  </a:lnTo>
                  <a:lnTo>
                    <a:pt x="492" y="207"/>
                  </a:lnTo>
                  <a:lnTo>
                    <a:pt x="485" y="215"/>
                  </a:lnTo>
                  <a:lnTo>
                    <a:pt x="482" y="220"/>
                  </a:lnTo>
                  <a:lnTo>
                    <a:pt x="480" y="226"/>
                  </a:lnTo>
                  <a:lnTo>
                    <a:pt x="479" y="237"/>
                  </a:lnTo>
                  <a:lnTo>
                    <a:pt x="462" y="271"/>
                  </a:lnTo>
                  <a:lnTo>
                    <a:pt x="447" y="296"/>
                  </a:lnTo>
                  <a:lnTo>
                    <a:pt x="444" y="303"/>
                  </a:lnTo>
                  <a:lnTo>
                    <a:pt x="438" y="325"/>
                  </a:lnTo>
                  <a:lnTo>
                    <a:pt x="431" y="344"/>
                  </a:lnTo>
                  <a:lnTo>
                    <a:pt x="422" y="351"/>
                  </a:lnTo>
                  <a:lnTo>
                    <a:pt x="419" y="353"/>
                  </a:lnTo>
                  <a:lnTo>
                    <a:pt x="416" y="357"/>
                  </a:lnTo>
                  <a:lnTo>
                    <a:pt x="414" y="358"/>
                  </a:lnTo>
                  <a:lnTo>
                    <a:pt x="409" y="363"/>
                  </a:lnTo>
                  <a:lnTo>
                    <a:pt x="394" y="378"/>
                  </a:lnTo>
                  <a:lnTo>
                    <a:pt x="389" y="389"/>
                  </a:lnTo>
                  <a:lnTo>
                    <a:pt x="389" y="390"/>
                  </a:lnTo>
                  <a:lnTo>
                    <a:pt x="388" y="395"/>
                  </a:lnTo>
                  <a:lnTo>
                    <a:pt x="382" y="405"/>
                  </a:lnTo>
                  <a:lnTo>
                    <a:pt x="373" y="420"/>
                  </a:lnTo>
                  <a:lnTo>
                    <a:pt x="362" y="432"/>
                  </a:lnTo>
                  <a:lnTo>
                    <a:pt x="363" y="432"/>
                  </a:lnTo>
                  <a:lnTo>
                    <a:pt x="352" y="442"/>
                  </a:lnTo>
                  <a:lnTo>
                    <a:pt x="340" y="453"/>
                  </a:lnTo>
                  <a:lnTo>
                    <a:pt x="334" y="461"/>
                  </a:lnTo>
                  <a:lnTo>
                    <a:pt x="323" y="474"/>
                  </a:lnTo>
                  <a:lnTo>
                    <a:pt x="306" y="486"/>
                  </a:lnTo>
                  <a:lnTo>
                    <a:pt x="297" y="492"/>
                  </a:lnTo>
                  <a:lnTo>
                    <a:pt x="297" y="495"/>
                  </a:lnTo>
                  <a:lnTo>
                    <a:pt x="290" y="506"/>
                  </a:lnTo>
                  <a:lnTo>
                    <a:pt x="277" y="520"/>
                  </a:lnTo>
                  <a:lnTo>
                    <a:pt x="264" y="532"/>
                  </a:lnTo>
                  <a:lnTo>
                    <a:pt x="249" y="541"/>
                  </a:lnTo>
                  <a:lnTo>
                    <a:pt x="243" y="545"/>
                  </a:lnTo>
                  <a:lnTo>
                    <a:pt x="231" y="549"/>
                  </a:lnTo>
                  <a:lnTo>
                    <a:pt x="223" y="550"/>
                  </a:lnTo>
                  <a:lnTo>
                    <a:pt x="216" y="554"/>
                  </a:lnTo>
                  <a:lnTo>
                    <a:pt x="193" y="572"/>
                  </a:lnTo>
                  <a:lnTo>
                    <a:pt x="139" y="620"/>
                  </a:lnTo>
                  <a:lnTo>
                    <a:pt x="120" y="640"/>
                  </a:lnTo>
                  <a:lnTo>
                    <a:pt x="113" y="648"/>
                  </a:lnTo>
                  <a:lnTo>
                    <a:pt x="103" y="659"/>
                  </a:lnTo>
                  <a:lnTo>
                    <a:pt x="91" y="663"/>
                  </a:lnTo>
                  <a:lnTo>
                    <a:pt x="87" y="660"/>
                  </a:lnTo>
                  <a:lnTo>
                    <a:pt x="84" y="665"/>
                  </a:lnTo>
                  <a:lnTo>
                    <a:pt x="87" y="665"/>
                  </a:lnTo>
                  <a:lnTo>
                    <a:pt x="88" y="669"/>
                  </a:lnTo>
                  <a:lnTo>
                    <a:pt x="87" y="672"/>
                  </a:lnTo>
                  <a:lnTo>
                    <a:pt x="83" y="674"/>
                  </a:lnTo>
                  <a:lnTo>
                    <a:pt x="81" y="681"/>
                  </a:lnTo>
                  <a:lnTo>
                    <a:pt x="75" y="691"/>
                  </a:lnTo>
                  <a:lnTo>
                    <a:pt x="61" y="705"/>
                  </a:lnTo>
                  <a:lnTo>
                    <a:pt x="50" y="718"/>
                  </a:lnTo>
                  <a:lnTo>
                    <a:pt x="37" y="730"/>
                  </a:lnTo>
                  <a:lnTo>
                    <a:pt x="32" y="739"/>
                  </a:lnTo>
                  <a:lnTo>
                    <a:pt x="30" y="74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7" name="Freeform 17"/>
            <p:cNvSpPr>
              <a:spLocks noChangeAspect="1"/>
            </p:cNvSpPr>
            <p:nvPr/>
          </p:nvSpPr>
          <p:spPr bwMode="gray">
            <a:xfrm>
              <a:off x="3573866" y="3861853"/>
              <a:ext cx="239054" cy="289243"/>
            </a:xfrm>
            <a:custGeom>
              <a:avLst/>
              <a:gdLst/>
              <a:ahLst/>
              <a:cxnLst>
                <a:cxn ang="0">
                  <a:pos x="118" y="375"/>
                </a:cxn>
                <a:cxn ang="0">
                  <a:pos x="72" y="426"/>
                </a:cxn>
                <a:cxn ang="0">
                  <a:pos x="55" y="449"/>
                </a:cxn>
                <a:cxn ang="0">
                  <a:pos x="23" y="508"/>
                </a:cxn>
                <a:cxn ang="0">
                  <a:pos x="14" y="527"/>
                </a:cxn>
                <a:cxn ang="0">
                  <a:pos x="7" y="564"/>
                </a:cxn>
                <a:cxn ang="0">
                  <a:pos x="3" y="596"/>
                </a:cxn>
                <a:cxn ang="0">
                  <a:pos x="28" y="623"/>
                </a:cxn>
                <a:cxn ang="0">
                  <a:pos x="51" y="667"/>
                </a:cxn>
                <a:cxn ang="0">
                  <a:pos x="55" y="703"/>
                </a:cxn>
                <a:cxn ang="0">
                  <a:pos x="88" y="777"/>
                </a:cxn>
                <a:cxn ang="0">
                  <a:pos x="109" y="817"/>
                </a:cxn>
                <a:cxn ang="0">
                  <a:pos x="161" y="840"/>
                </a:cxn>
                <a:cxn ang="0">
                  <a:pos x="179" y="869"/>
                </a:cxn>
                <a:cxn ang="0">
                  <a:pos x="229" y="914"/>
                </a:cxn>
                <a:cxn ang="0">
                  <a:pos x="256" y="950"/>
                </a:cxn>
                <a:cxn ang="0">
                  <a:pos x="303" y="993"/>
                </a:cxn>
                <a:cxn ang="0">
                  <a:pos x="329" y="1031"/>
                </a:cxn>
                <a:cxn ang="0">
                  <a:pos x="369" y="1055"/>
                </a:cxn>
                <a:cxn ang="0">
                  <a:pos x="426" y="1042"/>
                </a:cxn>
                <a:cxn ang="0">
                  <a:pos x="484" y="1091"/>
                </a:cxn>
                <a:cxn ang="0">
                  <a:pos x="517" y="1090"/>
                </a:cxn>
                <a:cxn ang="0">
                  <a:pos x="556" y="1097"/>
                </a:cxn>
                <a:cxn ang="0">
                  <a:pos x="616" y="1089"/>
                </a:cxn>
                <a:cxn ang="0">
                  <a:pos x="662" y="1071"/>
                </a:cxn>
                <a:cxn ang="0">
                  <a:pos x="731" y="1046"/>
                </a:cxn>
                <a:cxn ang="0">
                  <a:pos x="767" y="1011"/>
                </a:cxn>
                <a:cxn ang="0">
                  <a:pos x="727" y="988"/>
                </a:cxn>
                <a:cxn ang="0">
                  <a:pos x="702" y="930"/>
                </a:cxn>
                <a:cxn ang="0">
                  <a:pos x="665" y="891"/>
                </a:cxn>
                <a:cxn ang="0">
                  <a:pos x="629" y="874"/>
                </a:cxn>
                <a:cxn ang="0">
                  <a:pos x="614" y="855"/>
                </a:cxn>
                <a:cxn ang="0">
                  <a:pos x="652" y="834"/>
                </a:cxn>
                <a:cxn ang="0">
                  <a:pos x="672" y="763"/>
                </a:cxn>
                <a:cxn ang="0">
                  <a:pos x="676" y="719"/>
                </a:cxn>
                <a:cxn ang="0">
                  <a:pos x="697" y="697"/>
                </a:cxn>
                <a:cxn ang="0">
                  <a:pos x="723" y="651"/>
                </a:cxn>
                <a:cxn ang="0">
                  <a:pos x="783" y="582"/>
                </a:cxn>
                <a:cxn ang="0">
                  <a:pos x="798" y="473"/>
                </a:cxn>
                <a:cxn ang="0">
                  <a:pos x="821" y="387"/>
                </a:cxn>
                <a:cxn ang="0">
                  <a:pos x="842" y="348"/>
                </a:cxn>
                <a:cxn ang="0">
                  <a:pos x="885" y="323"/>
                </a:cxn>
                <a:cxn ang="0">
                  <a:pos x="904" y="284"/>
                </a:cxn>
                <a:cxn ang="0">
                  <a:pos x="887" y="270"/>
                </a:cxn>
                <a:cxn ang="0">
                  <a:pos x="852" y="252"/>
                </a:cxn>
                <a:cxn ang="0">
                  <a:pos x="837" y="157"/>
                </a:cxn>
                <a:cxn ang="0">
                  <a:pos x="821" y="94"/>
                </a:cxn>
                <a:cxn ang="0">
                  <a:pos x="798" y="44"/>
                </a:cxn>
                <a:cxn ang="0">
                  <a:pos x="749" y="0"/>
                </a:cxn>
                <a:cxn ang="0">
                  <a:pos x="672" y="53"/>
                </a:cxn>
                <a:cxn ang="0">
                  <a:pos x="522" y="65"/>
                </a:cxn>
                <a:cxn ang="0">
                  <a:pos x="519" y="53"/>
                </a:cxn>
                <a:cxn ang="0">
                  <a:pos x="379" y="65"/>
                </a:cxn>
                <a:cxn ang="0">
                  <a:pos x="170" y="65"/>
                </a:cxn>
                <a:cxn ang="0">
                  <a:pos x="118" y="210"/>
                </a:cxn>
              </a:cxnLst>
              <a:rect l="0" t="0" r="r" b="b"/>
              <a:pathLst>
                <a:path w="907" h="1097">
                  <a:moveTo>
                    <a:pt x="118" y="210"/>
                  </a:moveTo>
                  <a:lnTo>
                    <a:pt x="118" y="266"/>
                  </a:lnTo>
                  <a:lnTo>
                    <a:pt x="118" y="320"/>
                  </a:lnTo>
                  <a:lnTo>
                    <a:pt x="118" y="375"/>
                  </a:lnTo>
                  <a:lnTo>
                    <a:pt x="116" y="424"/>
                  </a:lnTo>
                  <a:lnTo>
                    <a:pt x="110" y="425"/>
                  </a:lnTo>
                  <a:lnTo>
                    <a:pt x="81" y="425"/>
                  </a:lnTo>
                  <a:lnTo>
                    <a:pt x="72" y="426"/>
                  </a:lnTo>
                  <a:lnTo>
                    <a:pt x="60" y="428"/>
                  </a:lnTo>
                  <a:lnTo>
                    <a:pt x="59" y="429"/>
                  </a:lnTo>
                  <a:lnTo>
                    <a:pt x="56" y="438"/>
                  </a:lnTo>
                  <a:lnTo>
                    <a:pt x="55" y="449"/>
                  </a:lnTo>
                  <a:lnTo>
                    <a:pt x="51" y="460"/>
                  </a:lnTo>
                  <a:lnTo>
                    <a:pt x="39" y="477"/>
                  </a:lnTo>
                  <a:lnTo>
                    <a:pt x="23" y="495"/>
                  </a:lnTo>
                  <a:lnTo>
                    <a:pt x="23" y="508"/>
                  </a:lnTo>
                  <a:lnTo>
                    <a:pt x="24" y="516"/>
                  </a:lnTo>
                  <a:lnTo>
                    <a:pt x="23" y="521"/>
                  </a:lnTo>
                  <a:lnTo>
                    <a:pt x="22" y="522"/>
                  </a:lnTo>
                  <a:lnTo>
                    <a:pt x="14" y="527"/>
                  </a:lnTo>
                  <a:lnTo>
                    <a:pt x="11" y="531"/>
                  </a:lnTo>
                  <a:lnTo>
                    <a:pt x="9" y="541"/>
                  </a:lnTo>
                  <a:lnTo>
                    <a:pt x="9" y="555"/>
                  </a:lnTo>
                  <a:lnTo>
                    <a:pt x="7" y="564"/>
                  </a:lnTo>
                  <a:lnTo>
                    <a:pt x="1" y="575"/>
                  </a:lnTo>
                  <a:lnTo>
                    <a:pt x="0" y="580"/>
                  </a:lnTo>
                  <a:lnTo>
                    <a:pt x="0" y="596"/>
                  </a:lnTo>
                  <a:lnTo>
                    <a:pt x="3" y="596"/>
                  </a:lnTo>
                  <a:lnTo>
                    <a:pt x="8" y="595"/>
                  </a:lnTo>
                  <a:lnTo>
                    <a:pt x="24" y="591"/>
                  </a:lnTo>
                  <a:lnTo>
                    <a:pt x="23" y="607"/>
                  </a:lnTo>
                  <a:lnTo>
                    <a:pt x="28" y="623"/>
                  </a:lnTo>
                  <a:lnTo>
                    <a:pt x="40" y="657"/>
                  </a:lnTo>
                  <a:lnTo>
                    <a:pt x="41" y="659"/>
                  </a:lnTo>
                  <a:lnTo>
                    <a:pt x="48" y="662"/>
                  </a:lnTo>
                  <a:lnTo>
                    <a:pt x="51" y="667"/>
                  </a:lnTo>
                  <a:lnTo>
                    <a:pt x="54" y="676"/>
                  </a:lnTo>
                  <a:lnTo>
                    <a:pt x="54" y="684"/>
                  </a:lnTo>
                  <a:lnTo>
                    <a:pt x="45" y="688"/>
                  </a:lnTo>
                  <a:lnTo>
                    <a:pt x="55" y="703"/>
                  </a:lnTo>
                  <a:lnTo>
                    <a:pt x="72" y="722"/>
                  </a:lnTo>
                  <a:lnTo>
                    <a:pt x="88" y="743"/>
                  </a:lnTo>
                  <a:lnTo>
                    <a:pt x="93" y="759"/>
                  </a:lnTo>
                  <a:lnTo>
                    <a:pt x="88" y="777"/>
                  </a:lnTo>
                  <a:lnTo>
                    <a:pt x="86" y="793"/>
                  </a:lnTo>
                  <a:lnTo>
                    <a:pt x="88" y="806"/>
                  </a:lnTo>
                  <a:lnTo>
                    <a:pt x="98" y="816"/>
                  </a:lnTo>
                  <a:lnTo>
                    <a:pt x="109" y="817"/>
                  </a:lnTo>
                  <a:lnTo>
                    <a:pt x="122" y="821"/>
                  </a:lnTo>
                  <a:lnTo>
                    <a:pt x="127" y="836"/>
                  </a:lnTo>
                  <a:lnTo>
                    <a:pt x="138" y="840"/>
                  </a:lnTo>
                  <a:lnTo>
                    <a:pt x="161" y="840"/>
                  </a:lnTo>
                  <a:lnTo>
                    <a:pt x="169" y="847"/>
                  </a:lnTo>
                  <a:lnTo>
                    <a:pt x="179" y="854"/>
                  </a:lnTo>
                  <a:lnTo>
                    <a:pt x="180" y="859"/>
                  </a:lnTo>
                  <a:lnTo>
                    <a:pt x="179" y="869"/>
                  </a:lnTo>
                  <a:lnTo>
                    <a:pt x="185" y="880"/>
                  </a:lnTo>
                  <a:lnTo>
                    <a:pt x="204" y="892"/>
                  </a:lnTo>
                  <a:lnTo>
                    <a:pt x="222" y="904"/>
                  </a:lnTo>
                  <a:lnTo>
                    <a:pt x="229" y="914"/>
                  </a:lnTo>
                  <a:lnTo>
                    <a:pt x="240" y="920"/>
                  </a:lnTo>
                  <a:lnTo>
                    <a:pt x="245" y="930"/>
                  </a:lnTo>
                  <a:lnTo>
                    <a:pt x="249" y="941"/>
                  </a:lnTo>
                  <a:lnTo>
                    <a:pt x="256" y="950"/>
                  </a:lnTo>
                  <a:lnTo>
                    <a:pt x="258" y="961"/>
                  </a:lnTo>
                  <a:lnTo>
                    <a:pt x="267" y="964"/>
                  </a:lnTo>
                  <a:lnTo>
                    <a:pt x="297" y="984"/>
                  </a:lnTo>
                  <a:lnTo>
                    <a:pt x="303" y="993"/>
                  </a:lnTo>
                  <a:lnTo>
                    <a:pt x="304" y="1004"/>
                  </a:lnTo>
                  <a:lnTo>
                    <a:pt x="310" y="1011"/>
                  </a:lnTo>
                  <a:lnTo>
                    <a:pt x="317" y="1022"/>
                  </a:lnTo>
                  <a:lnTo>
                    <a:pt x="329" y="1031"/>
                  </a:lnTo>
                  <a:lnTo>
                    <a:pt x="335" y="1039"/>
                  </a:lnTo>
                  <a:lnTo>
                    <a:pt x="340" y="1049"/>
                  </a:lnTo>
                  <a:lnTo>
                    <a:pt x="363" y="1058"/>
                  </a:lnTo>
                  <a:lnTo>
                    <a:pt x="369" y="1055"/>
                  </a:lnTo>
                  <a:lnTo>
                    <a:pt x="376" y="1047"/>
                  </a:lnTo>
                  <a:lnTo>
                    <a:pt x="403" y="1053"/>
                  </a:lnTo>
                  <a:lnTo>
                    <a:pt x="414" y="1052"/>
                  </a:lnTo>
                  <a:lnTo>
                    <a:pt x="426" y="1042"/>
                  </a:lnTo>
                  <a:lnTo>
                    <a:pt x="437" y="1048"/>
                  </a:lnTo>
                  <a:lnTo>
                    <a:pt x="461" y="1074"/>
                  </a:lnTo>
                  <a:lnTo>
                    <a:pt x="475" y="1082"/>
                  </a:lnTo>
                  <a:lnTo>
                    <a:pt x="484" y="1091"/>
                  </a:lnTo>
                  <a:lnTo>
                    <a:pt x="490" y="1096"/>
                  </a:lnTo>
                  <a:lnTo>
                    <a:pt x="496" y="1096"/>
                  </a:lnTo>
                  <a:lnTo>
                    <a:pt x="503" y="1091"/>
                  </a:lnTo>
                  <a:lnTo>
                    <a:pt x="517" y="1090"/>
                  </a:lnTo>
                  <a:lnTo>
                    <a:pt x="528" y="1093"/>
                  </a:lnTo>
                  <a:lnTo>
                    <a:pt x="538" y="1091"/>
                  </a:lnTo>
                  <a:lnTo>
                    <a:pt x="550" y="1090"/>
                  </a:lnTo>
                  <a:lnTo>
                    <a:pt x="556" y="1097"/>
                  </a:lnTo>
                  <a:lnTo>
                    <a:pt x="573" y="1093"/>
                  </a:lnTo>
                  <a:lnTo>
                    <a:pt x="587" y="1092"/>
                  </a:lnTo>
                  <a:lnTo>
                    <a:pt x="600" y="1087"/>
                  </a:lnTo>
                  <a:lnTo>
                    <a:pt x="616" y="1089"/>
                  </a:lnTo>
                  <a:lnTo>
                    <a:pt x="635" y="1089"/>
                  </a:lnTo>
                  <a:lnTo>
                    <a:pt x="662" y="1071"/>
                  </a:lnTo>
                  <a:lnTo>
                    <a:pt x="662" y="1068"/>
                  </a:lnTo>
                  <a:lnTo>
                    <a:pt x="662" y="1071"/>
                  </a:lnTo>
                  <a:lnTo>
                    <a:pt x="678" y="1052"/>
                  </a:lnTo>
                  <a:lnTo>
                    <a:pt x="690" y="1044"/>
                  </a:lnTo>
                  <a:lnTo>
                    <a:pt x="701" y="1043"/>
                  </a:lnTo>
                  <a:lnTo>
                    <a:pt x="731" y="1046"/>
                  </a:lnTo>
                  <a:lnTo>
                    <a:pt x="744" y="1046"/>
                  </a:lnTo>
                  <a:lnTo>
                    <a:pt x="765" y="1043"/>
                  </a:lnTo>
                  <a:lnTo>
                    <a:pt x="766" y="1021"/>
                  </a:lnTo>
                  <a:lnTo>
                    <a:pt x="767" y="1011"/>
                  </a:lnTo>
                  <a:lnTo>
                    <a:pt x="766" y="1004"/>
                  </a:lnTo>
                  <a:lnTo>
                    <a:pt x="759" y="999"/>
                  </a:lnTo>
                  <a:lnTo>
                    <a:pt x="735" y="994"/>
                  </a:lnTo>
                  <a:lnTo>
                    <a:pt x="727" y="988"/>
                  </a:lnTo>
                  <a:lnTo>
                    <a:pt x="722" y="979"/>
                  </a:lnTo>
                  <a:lnTo>
                    <a:pt x="712" y="952"/>
                  </a:lnTo>
                  <a:lnTo>
                    <a:pt x="707" y="940"/>
                  </a:lnTo>
                  <a:lnTo>
                    <a:pt x="702" y="930"/>
                  </a:lnTo>
                  <a:lnTo>
                    <a:pt x="680" y="917"/>
                  </a:lnTo>
                  <a:lnTo>
                    <a:pt x="673" y="909"/>
                  </a:lnTo>
                  <a:lnTo>
                    <a:pt x="667" y="901"/>
                  </a:lnTo>
                  <a:lnTo>
                    <a:pt x="665" y="891"/>
                  </a:lnTo>
                  <a:lnTo>
                    <a:pt x="657" y="881"/>
                  </a:lnTo>
                  <a:lnTo>
                    <a:pt x="648" y="876"/>
                  </a:lnTo>
                  <a:lnTo>
                    <a:pt x="637" y="872"/>
                  </a:lnTo>
                  <a:lnTo>
                    <a:pt x="629" y="874"/>
                  </a:lnTo>
                  <a:lnTo>
                    <a:pt x="621" y="867"/>
                  </a:lnTo>
                  <a:lnTo>
                    <a:pt x="615" y="867"/>
                  </a:lnTo>
                  <a:lnTo>
                    <a:pt x="609" y="863"/>
                  </a:lnTo>
                  <a:lnTo>
                    <a:pt x="614" y="855"/>
                  </a:lnTo>
                  <a:lnTo>
                    <a:pt x="620" y="850"/>
                  </a:lnTo>
                  <a:lnTo>
                    <a:pt x="620" y="836"/>
                  </a:lnTo>
                  <a:lnTo>
                    <a:pt x="630" y="832"/>
                  </a:lnTo>
                  <a:lnTo>
                    <a:pt x="652" y="834"/>
                  </a:lnTo>
                  <a:lnTo>
                    <a:pt x="663" y="829"/>
                  </a:lnTo>
                  <a:lnTo>
                    <a:pt x="670" y="823"/>
                  </a:lnTo>
                  <a:lnTo>
                    <a:pt x="672" y="808"/>
                  </a:lnTo>
                  <a:lnTo>
                    <a:pt x="672" y="763"/>
                  </a:lnTo>
                  <a:lnTo>
                    <a:pt x="676" y="747"/>
                  </a:lnTo>
                  <a:lnTo>
                    <a:pt x="678" y="736"/>
                  </a:lnTo>
                  <a:lnTo>
                    <a:pt x="676" y="730"/>
                  </a:lnTo>
                  <a:lnTo>
                    <a:pt x="676" y="719"/>
                  </a:lnTo>
                  <a:lnTo>
                    <a:pt x="680" y="721"/>
                  </a:lnTo>
                  <a:lnTo>
                    <a:pt x="683" y="714"/>
                  </a:lnTo>
                  <a:lnTo>
                    <a:pt x="690" y="702"/>
                  </a:lnTo>
                  <a:lnTo>
                    <a:pt x="697" y="697"/>
                  </a:lnTo>
                  <a:lnTo>
                    <a:pt x="708" y="697"/>
                  </a:lnTo>
                  <a:lnTo>
                    <a:pt x="713" y="692"/>
                  </a:lnTo>
                  <a:lnTo>
                    <a:pt x="718" y="665"/>
                  </a:lnTo>
                  <a:lnTo>
                    <a:pt x="723" y="651"/>
                  </a:lnTo>
                  <a:lnTo>
                    <a:pt x="758" y="602"/>
                  </a:lnTo>
                  <a:lnTo>
                    <a:pt x="767" y="592"/>
                  </a:lnTo>
                  <a:lnTo>
                    <a:pt x="776" y="590"/>
                  </a:lnTo>
                  <a:lnTo>
                    <a:pt x="783" y="582"/>
                  </a:lnTo>
                  <a:lnTo>
                    <a:pt x="801" y="525"/>
                  </a:lnTo>
                  <a:lnTo>
                    <a:pt x="801" y="509"/>
                  </a:lnTo>
                  <a:lnTo>
                    <a:pt x="798" y="493"/>
                  </a:lnTo>
                  <a:lnTo>
                    <a:pt x="798" y="473"/>
                  </a:lnTo>
                  <a:lnTo>
                    <a:pt x="802" y="456"/>
                  </a:lnTo>
                  <a:lnTo>
                    <a:pt x="809" y="442"/>
                  </a:lnTo>
                  <a:lnTo>
                    <a:pt x="818" y="408"/>
                  </a:lnTo>
                  <a:lnTo>
                    <a:pt x="821" y="387"/>
                  </a:lnTo>
                  <a:lnTo>
                    <a:pt x="821" y="379"/>
                  </a:lnTo>
                  <a:lnTo>
                    <a:pt x="825" y="358"/>
                  </a:lnTo>
                  <a:lnTo>
                    <a:pt x="829" y="349"/>
                  </a:lnTo>
                  <a:lnTo>
                    <a:pt x="842" y="348"/>
                  </a:lnTo>
                  <a:lnTo>
                    <a:pt x="851" y="343"/>
                  </a:lnTo>
                  <a:lnTo>
                    <a:pt x="856" y="336"/>
                  </a:lnTo>
                  <a:lnTo>
                    <a:pt x="877" y="326"/>
                  </a:lnTo>
                  <a:lnTo>
                    <a:pt x="885" y="323"/>
                  </a:lnTo>
                  <a:lnTo>
                    <a:pt x="898" y="317"/>
                  </a:lnTo>
                  <a:lnTo>
                    <a:pt x="905" y="302"/>
                  </a:lnTo>
                  <a:lnTo>
                    <a:pt x="907" y="293"/>
                  </a:lnTo>
                  <a:lnTo>
                    <a:pt x="904" y="284"/>
                  </a:lnTo>
                  <a:lnTo>
                    <a:pt x="899" y="284"/>
                  </a:lnTo>
                  <a:lnTo>
                    <a:pt x="896" y="280"/>
                  </a:lnTo>
                  <a:lnTo>
                    <a:pt x="891" y="282"/>
                  </a:lnTo>
                  <a:lnTo>
                    <a:pt x="887" y="270"/>
                  </a:lnTo>
                  <a:lnTo>
                    <a:pt x="880" y="264"/>
                  </a:lnTo>
                  <a:lnTo>
                    <a:pt x="873" y="263"/>
                  </a:lnTo>
                  <a:lnTo>
                    <a:pt x="858" y="257"/>
                  </a:lnTo>
                  <a:lnTo>
                    <a:pt x="852" y="252"/>
                  </a:lnTo>
                  <a:lnTo>
                    <a:pt x="847" y="245"/>
                  </a:lnTo>
                  <a:lnTo>
                    <a:pt x="840" y="214"/>
                  </a:lnTo>
                  <a:lnTo>
                    <a:pt x="837" y="191"/>
                  </a:lnTo>
                  <a:lnTo>
                    <a:pt x="837" y="157"/>
                  </a:lnTo>
                  <a:lnTo>
                    <a:pt x="836" y="117"/>
                  </a:lnTo>
                  <a:lnTo>
                    <a:pt x="839" y="118"/>
                  </a:lnTo>
                  <a:lnTo>
                    <a:pt x="836" y="111"/>
                  </a:lnTo>
                  <a:lnTo>
                    <a:pt x="821" y="94"/>
                  </a:lnTo>
                  <a:lnTo>
                    <a:pt x="820" y="81"/>
                  </a:lnTo>
                  <a:lnTo>
                    <a:pt x="819" y="65"/>
                  </a:lnTo>
                  <a:lnTo>
                    <a:pt x="808" y="49"/>
                  </a:lnTo>
                  <a:lnTo>
                    <a:pt x="798" y="44"/>
                  </a:lnTo>
                  <a:lnTo>
                    <a:pt x="787" y="31"/>
                  </a:lnTo>
                  <a:lnTo>
                    <a:pt x="776" y="25"/>
                  </a:lnTo>
                  <a:lnTo>
                    <a:pt x="761" y="19"/>
                  </a:lnTo>
                  <a:lnTo>
                    <a:pt x="749" y="0"/>
                  </a:lnTo>
                  <a:lnTo>
                    <a:pt x="727" y="20"/>
                  </a:lnTo>
                  <a:lnTo>
                    <a:pt x="713" y="15"/>
                  </a:lnTo>
                  <a:lnTo>
                    <a:pt x="701" y="46"/>
                  </a:lnTo>
                  <a:lnTo>
                    <a:pt x="672" y="53"/>
                  </a:lnTo>
                  <a:lnTo>
                    <a:pt x="664" y="78"/>
                  </a:lnTo>
                  <a:lnTo>
                    <a:pt x="637" y="80"/>
                  </a:lnTo>
                  <a:lnTo>
                    <a:pt x="619" y="67"/>
                  </a:lnTo>
                  <a:lnTo>
                    <a:pt x="522" y="65"/>
                  </a:lnTo>
                  <a:lnTo>
                    <a:pt x="527" y="54"/>
                  </a:lnTo>
                  <a:lnTo>
                    <a:pt x="524" y="54"/>
                  </a:lnTo>
                  <a:lnTo>
                    <a:pt x="522" y="53"/>
                  </a:lnTo>
                  <a:lnTo>
                    <a:pt x="519" y="53"/>
                  </a:lnTo>
                  <a:lnTo>
                    <a:pt x="512" y="65"/>
                  </a:lnTo>
                  <a:lnTo>
                    <a:pt x="484" y="65"/>
                  </a:lnTo>
                  <a:lnTo>
                    <a:pt x="431" y="65"/>
                  </a:lnTo>
                  <a:lnTo>
                    <a:pt x="379" y="65"/>
                  </a:lnTo>
                  <a:lnTo>
                    <a:pt x="326" y="65"/>
                  </a:lnTo>
                  <a:lnTo>
                    <a:pt x="275" y="65"/>
                  </a:lnTo>
                  <a:lnTo>
                    <a:pt x="223" y="65"/>
                  </a:lnTo>
                  <a:lnTo>
                    <a:pt x="170" y="65"/>
                  </a:lnTo>
                  <a:lnTo>
                    <a:pt x="170" y="118"/>
                  </a:lnTo>
                  <a:lnTo>
                    <a:pt x="170" y="177"/>
                  </a:lnTo>
                  <a:lnTo>
                    <a:pt x="118" y="177"/>
                  </a:lnTo>
                  <a:lnTo>
                    <a:pt x="118" y="21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8" name="Freeform 18"/>
            <p:cNvSpPr>
              <a:spLocks noChangeAspect="1"/>
            </p:cNvSpPr>
            <p:nvPr/>
          </p:nvSpPr>
          <p:spPr bwMode="gray">
            <a:xfrm>
              <a:off x="3258209" y="3853929"/>
              <a:ext cx="229809" cy="179621"/>
            </a:xfrm>
            <a:custGeom>
              <a:avLst/>
              <a:gdLst/>
              <a:ahLst/>
              <a:cxnLst>
                <a:cxn ang="0">
                  <a:pos x="222" y="381"/>
                </a:cxn>
                <a:cxn ang="0">
                  <a:pos x="209" y="442"/>
                </a:cxn>
                <a:cxn ang="0">
                  <a:pos x="192" y="463"/>
                </a:cxn>
                <a:cxn ang="0">
                  <a:pos x="186" y="474"/>
                </a:cxn>
                <a:cxn ang="0">
                  <a:pos x="160" y="475"/>
                </a:cxn>
                <a:cxn ang="0">
                  <a:pos x="42" y="495"/>
                </a:cxn>
                <a:cxn ang="0">
                  <a:pos x="3" y="511"/>
                </a:cxn>
                <a:cxn ang="0">
                  <a:pos x="11" y="532"/>
                </a:cxn>
                <a:cxn ang="0">
                  <a:pos x="15" y="550"/>
                </a:cxn>
                <a:cxn ang="0">
                  <a:pos x="49" y="588"/>
                </a:cxn>
                <a:cxn ang="0">
                  <a:pos x="70" y="622"/>
                </a:cxn>
                <a:cxn ang="0">
                  <a:pos x="92" y="629"/>
                </a:cxn>
                <a:cxn ang="0">
                  <a:pos x="106" y="622"/>
                </a:cxn>
                <a:cxn ang="0">
                  <a:pos x="119" y="637"/>
                </a:cxn>
                <a:cxn ang="0">
                  <a:pos x="109" y="641"/>
                </a:cxn>
                <a:cxn ang="0">
                  <a:pos x="116" y="656"/>
                </a:cxn>
                <a:cxn ang="0">
                  <a:pos x="127" y="653"/>
                </a:cxn>
                <a:cxn ang="0">
                  <a:pos x="143" y="645"/>
                </a:cxn>
                <a:cxn ang="0">
                  <a:pos x="165" y="653"/>
                </a:cxn>
                <a:cxn ang="0">
                  <a:pos x="193" y="678"/>
                </a:cxn>
                <a:cxn ang="0">
                  <a:pos x="193" y="637"/>
                </a:cxn>
                <a:cxn ang="0">
                  <a:pos x="206" y="624"/>
                </a:cxn>
                <a:cxn ang="0">
                  <a:pos x="221" y="586"/>
                </a:cxn>
                <a:cxn ang="0">
                  <a:pos x="259" y="565"/>
                </a:cxn>
                <a:cxn ang="0">
                  <a:pos x="291" y="561"/>
                </a:cxn>
                <a:cxn ang="0">
                  <a:pos x="365" y="602"/>
                </a:cxn>
                <a:cxn ang="0">
                  <a:pos x="386" y="609"/>
                </a:cxn>
                <a:cxn ang="0">
                  <a:pos x="418" y="588"/>
                </a:cxn>
                <a:cxn ang="0">
                  <a:pos x="471" y="613"/>
                </a:cxn>
                <a:cxn ang="0">
                  <a:pos x="519" y="618"/>
                </a:cxn>
                <a:cxn ang="0">
                  <a:pos x="559" y="588"/>
                </a:cxn>
                <a:cxn ang="0">
                  <a:pos x="613" y="587"/>
                </a:cxn>
                <a:cxn ang="0">
                  <a:pos x="647" y="591"/>
                </a:cxn>
                <a:cxn ang="0">
                  <a:pos x="672" y="597"/>
                </a:cxn>
                <a:cxn ang="0">
                  <a:pos x="688" y="582"/>
                </a:cxn>
                <a:cxn ang="0">
                  <a:pos x="708" y="576"/>
                </a:cxn>
                <a:cxn ang="0">
                  <a:pos x="718" y="561"/>
                </a:cxn>
                <a:cxn ang="0">
                  <a:pos x="709" y="545"/>
                </a:cxn>
                <a:cxn ang="0">
                  <a:pos x="725" y="533"/>
                </a:cxn>
                <a:cxn ang="0">
                  <a:pos x="732" y="515"/>
                </a:cxn>
                <a:cxn ang="0">
                  <a:pos x="746" y="501"/>
                </a:cxn>
                <a:cxn ang="0">
                  <a:pos x="838" y="386"/>
                </a:cxn>
                <a:cxn ang="0">
                  <a:pos x="872" y="184"/>
                </a:cxn>
                <a:cxn ang="0">
                  <a:pos x="837" y="160"/>
                </a:cxn>
                <a:cxn ang="0">
                  <a:pos x="826" y="135"/>
                </a:cxn>
                <a:cxn ang="0">
                  <a:pos x="818" y="117"/>
                </a:cxn>
                <a:cxn ang="0">
                  <a:pos x="795" y="26"/>
                </a:cxn>
                <a:cxn ang="0">
                  <a:pos x="773" y="11"/>
                </a:cxn>
                <a:cxn ang="0">
                  <a:pos x="720" y="1"/>
                </a:cxn>
                <a:cxn ang="0">
                  <a:pos x="643" y="1"/>
                </a:cxn>
                <a:cxn ang="0">
                  <a:pos x="568" y="53"/>
                </a:cxn>
                <a:cxn ang="0">
                  <a:pos x="437" y="145"/>
                </a:cxn>
                <a:cxn ang="0">
                  <a:pos x="307" y="236"/>
                </a:cxn>
                <a:cxn ang="0">
                  <a:pos x="221" y="257"/>
                </a:cxn>
                <a:cxn ang="0">
                  <a:pos x="222" y="271"/>
                </a:cxn>
              </a:cxnLst>
              <a:rect l="0" t="0" r="r" b="b"/>
              <a:pathLst>
                <a:path w="872" h="678">
                  <a:moveTo>
                    <a:pt x="222" y="271"/>
                  </a:moveTo>
                  <a:lnTo>
                    <a:pt x="222" y="327"/>
                  </a:lnTo>
                  <a:lnTo>
                    <a:pt x="222" y="381"/>
                  </a:lnTo>
                  <a:lnTo>
                    <a:pt x="222" y="435"/>
                  </a:lnTo>
                  <a:lnTo>
                    <a:pt x="219" y="436"/>
                  </a:lnTo>
                  <a:lnTo>
                    <a:pt x="209" y="442"/>
                  </a:lnTo>
                  <a:lnTo>
                    <a:pt x="205" y="448"/>
                  </a:lnTo>
                  <a:lnTo>
                    <a:pt x="204" y="456"/>
                  </a:lnTo>
                  <a:lnTo>
                    <a:pt x="192" y="463"/>
                  </a:lnTo>
                  <a:lnTo>
                    <a:pt x="188" y="466"/>
                  </a:lnTo>
                  <a:lnTo>
                    <a:pt x="186" y="469"/>
                  </a:lnTo>
                  <a:lnTo>
                    <a:pt x="186" y="474"/>
                  </a:lnTo>
                  <a:lnTo>
                    <a:pt x="173" y="473"/>
                  </a:lnTo>
                  <a:lnTo>
                    <a:pt x="160" y="472"/>
                  </a:lnTo>
                  <a:lnTo>
                    <a:pt x="160" y="475"/>
                  </a:lnTo>
                  <a:lnTo>
                    <a:pt x="155" y="474"/>
                  </a:lnTo>
                  <a:lnTo>
                    <a:pt x="66" y="475"/>
                  </a:lnTo>
                  <a:lnTo>
                    <a:pt x="42" y="495"/>
                  </a:lnTo>
                  <a:lnTo>
                    <a:pt x="5" y="495"/>
                  </a:lnTo>
                  <a:lnTo>
                    <a:pt x="4" y="499"/>
                  </a:lnTo>
                  <a:lnTo>
                    <a:pt x="3" y="511"/>
                  </a:lnTo>
                  <a:lnTo>
                    <a:pt x="0" y="521"/>
                  </a:lnTo>
                  <a:lnTo>
                    <a:pt x="1" y="523"/>
                  </a:lnTo>
                  <a:lnTo>
                    <a:pt x="11" y="532"/>
                  </a:lnTo>
                  <a:lnTo>
                    <a:pt x="12" y="534"/>
                  </a:lnTo>
                  <a:lnTo>
                    <a:pt x="11" y="543"/>
                  </a:lnTo>
                  <a:lnTo>
                    <a:pt x="15" y="550"/>
                  </a:lnTo>
                  <a:lnTo>
                    <a:pt x="27" y="565"/>
                  </a:lnTo>
                  <a:lnTo>
                    <a:pt x="44" y="579"/>
                  </a:lnTo>
                  <a:lnTo>
                    <a:pt x="49" y="588"/>
                  </a:lnTo>
                  <a:lnTo>
                    <a:pt x="55" y="603"/>
                  </a:lnTo>
                  <a:lnTo>
                    <a:pt x="59" y="609"/>
                  </a:lnTo>
                  <a:lnTo>
                    <a:pt x="70" y="622"/>
                  </a:lnTo>
                  <a:lnTo>
                    <a:pt x="78" y="626"/>
                  </a:lnTo>
                  <a:lnTo>
                    <a:pt x="89" y="629"/>
                  </a:lnTo>
                  <a:lnTo>
                    <a:pt x="92" y="629"/>
                  </a:lnTo>
                  <a:lnTo>
                    <a:pt x="97" y="628"/>
                  </a:lnTo>
                  <a:lnTo>
                    <a:pt x="102" y="623"/>
                  </a:lnTo>
                  <a:lnTo>
                    <a:pt x="106" y="622"/>
                  </a:lnTo>
                  <a:lnTo>
                    <a:pt x="112" y="625"/>
                  </a:lnTo>
                  <a:lnTo>
                    <a:pt x="118" y="635"/>
                  </a:lnTo>
                  <a:lnTo>
                    <a:pt x="119" y="637"/>
                  </a:lnTo>
                  <a:lnTo>
                    <a:pt x="118" y="640"/>
                  </a:lnTo>
                  <a:lnTo>
                    <a:pt x="113" y="640"/>
                  </a:lnTo>
                  <a:lnTo>
                    <a:pt x="109" y="641"/>
                  </a:lnTo>
                  <a:lnTo>
                    <a:pt x="108" y="645"/>
                  </a:lnTo>
                  <a:lnTo>
                    <a:pt x="109" y="649"/>
                  </a:lnTo>
                  <a:lnTo>
                    <a:pt x="116" y="656"/>
                  </a:lnTo>
                  <a:lnTo>
                    <a:pt x="127" y="666"/>
                  </a:lnTo>
                  <a:lnTo>
                    <a:pt x="134" y="662"/>
                  </a:lnTo>
                  <a:lnTo>
                    <a:pt x="127" y="653"/>
                  </a:lnTo>
                  <a:lnTo>
                    <a:pt x="127" y="649"/>
                  </a:lnTo>
                  <a:lnTo>
                    <a:pt x="138" y="646"/>
                  </a:lnTo>
                  <a:lnTo>
                    <a:pt x="143" y="645"/>
                  </a:lnTo>
                  <a:lnTo>
                    <a:pt x="151" y="641"/>
                  </a:lnTo>
                  <a:lnTo>
                    <a:pt x="154" y="642"/>
                  </a:lnTo>
                  <a:lnTo>
                    <a:pt x="165" y="653"/>
                  </a:lnTo>
                  <a:lnTo>
                    <a:pt x="177" y="666"/>
                  </a:lnTo>
                  <a:lnTo>
                    <a:pt x="184" y="671"/>
                  </a:lnTo>
                  <a:lnTo>
                    <a:pt x="193" y="678"/>
                  </a:lnTo>
                  <a:lnTo>
                    <a:pt x="194" y="671"/>
                  </a:lnTo>
                  <a:lnTo>
                    <a:pt x="192" y="646"/>
                  </a:lnTo>
                  <a:lnTo>
                    <a:pt x="193" y="637"/>
                  </a:lnTo>
                  <a:lnTo>
                    <a:pt x="195" y="633"/>
                  </a:lnTo>
                  <a:lnTo>
                    <a:pt x="199" y="628"/>
                  </a:lnTo>
                  <a:lnTo>
                    <a:pt x="206" y="624"/>
                  </a:lnTo>
                  <a:lnTo>
                    <a:pt x="211" y="618"/>
                  </a:lnTo>
                  <a:lnTo>
                    <a:pt x="219" y="604"/>
                  </a:lnTo>
                  <a:lnTo>
                    <a:pt x="221" y="586"/>
                  </a:lnTo>
                  <a:lnTo>
                    <a:pt x="222" y="582"/>
                  </a:lnTo>
                  <a:lnTo>
                    <a:pt x="240" y="570"/>
                  </a:lnTo>
                  <a:lnTo>
                    <a:pt x="259" y="565"/>
                  </a:lnTo>
                  <a:lnTo>
                    <a:pt x="277" y="565"/>
                  </a:lnTo>
                  <a:lnTo>
                    <a:pt x="283" y="564"/>
                  </a:lnTo>
                  <a:lnTo>
                    <a:pt x="291" y="561"/>
                  </a:lnTo>
                  <a:lnTo>
                    <a:pt x="306" y="563"/>
                  </a:lnTo>
                  <a:lnTo>
                    <a:pt x="343" y="581"/>
                  </a:lnTo>
                  <a:lnTo>
                    <a:pt x="365" y="602"/>
                  </a:lnTo>
                  <a:lnTo>
                    <a:pt x="372" y="607"/>
                  </a:lnTo>
                  <a:lnTo>
                    <a:pt x="377" y="609"/>
                  </a:lnTo>
                  <a:lnTo>
                    <a:pt x="386" y="609"/>
                  </a:lnTo>
                  <a:lnTo>
                    <a:pt x="392" y="599"/>
                  </a:lnTo>
                  <a:lnTo>
                    <a:pt x="408" y="591"/>
                  </a:lnTo>
                  <a:lnTo>
                    <a:pt x="418" y="588"/>
                  </a:lnTo>
                  <a:lnTo>
                    <a:pt x="430" y="588"/>
                  </a:lnTo>
                  <a:lnTo>
                    <a:pt x="447" y="598"/>
                  </a:lnTo>
                  <a:lnTo>
                    <a:pt x="471" y="613"/>
                  </a:lnTo>
                  <a:lnTo>
                    <a:pt x="483" y="617"/>
                  </a:lnTo>
                  <a:lnTo>
                    <a:pt x="506" y="619"/>
                  </a:lnTo>
                  <a:lnTo>
                    <a:pt x="519" y="618"/>
                  </a:lnTo>
                  <a:lnTo>
                    <a:pt x="533" y="608"/>
                  </a:lnTo>
                  <a:lnTo>
                    <a:pt x="550" y="593"/>
                  </a:lnTo>
                  <a:lnTo>
                    <a:pt x="559" y="588"/>
                  </a:lnTo>
                  <a:lnTo>
                    <a:pt x="585" y="588"/>
                  </a:lnTo>
                  <a:lnTo>
                    <a:pt x="603" y="591"/>
                  </a:lnTo>
                  <a:lnTo>
                    <a:pt x="613" y="587"/>
                  </a:lnTo>
                  <a:lnTo>
                    <a:pt x="633" y="585"/>
                  </a:lnTo>
                  <a:lnTo>
                    <a:pt x="640" y="587"/>
                  </a:lnTo>
                  <a:lnTo>
                    <a:pt x="647" y="591"/>
                  </a:lnTo>
                  <a:lnTo>
                    <a:pt x="655" y="593"/>
                  </a:lnTo>
                  <a:lnTo>
                    <a:pt x="661" y="597"/>
                  </a:lnTo>
                  <a:lnTo>
                    <a:pt x="672" y="597"/>
                  </a:lnTo>
                  <a:lnTo>
                    <a:pt x="678" y="593"/>
                  </a:lnTo>
                  <a:lnTo>
                    <a:pt x="688" y="583"/>
                  </a:lnTo>
                  <a:lnTo>
                    <a:pt x="688" y="582"/>
                  </a:lnTo>
                  <a:lnTo>
                    <a:pt x="694" y="577"/>
                  </a:lnTo>
                  <a:lnTo>
                    <a:pt x="702" y="576"/>
                  </a:lnTo>
                  <a:lnTo>
                    <a:pt x="708" y="576"/>
                  </a:lnTo>
                  <a:lnTo>
                    <a:pt x="714" y="564"/>
                  </a:lnTo>
                  <a:lnTo>
                    <a:pt x="715" y="564"/>
                  </a:lnTo>
                  <a:lnTo>
                    <a:pt x="718" y="561"/>
                  </a:lnTo>
                  <a:lnTo>
                    <a:pt x="713" y="556"/>
                  </a:lnTo>
                  <a:lnTo>
                    <a:pt x="709" y="550"/>
                  </a:lnTo>
                  <a:lnTo>
                    <a:pt x="709" y="545"/>
                  </a:lnTo>
                  <a:lnTo>
                    <a:pt x="714" y="538"/>
                  </a:lnTo>
                  <a:lnTo>
                    <a:pt x="720" y="534"/>
                  </a:lnTo>
                  <a:lnTo>
                    <a:pt x="725" y="533"/>
                  </a:lnTo>
                  <a:lnTo>
                    <a:pt x="730" y="531"/>
                  </a:lnTo>
                  <a:lnTo>
                    <a:pt x="727" y="520"/>
                  </a:lnTo>
                  <a:lnTo>
                    <a:pt x="732" y="515"/>
                  </a:lnTo>
                  <a:lnTo>
                    <a:pt x="740" y="513"/>
                  </a:lnTo>
                  <a:lnTo>
                    <a:pt x="740" y="504"/>
                  </a:lnTo>
                  <a:lnTo>
                    <a:pt x="746" y="501"/>
                  </a:lnTo>
                  <a:lnTo>
                    <a:pt x="746" y="490"/>
                  </a:lnTo>
                  <a:lnTo>
                    <a:pt x="834" y="391"/>
                  </a:lnTo>
                  <a:lnTo>
                    <a:pt x="838" y="386"/>
                  </a:lnTo>
                  <a:lnTo>
                    <a:pt x="844" y="287"/>
                  </a:lnTo>
                  <a:lnTo>
                    <a:pt x="859" y="208"/>
                  </a:lnTo>
                  <a:lnTo>
                    <a:pt x="872" y="184"/>
                  </a:lnTo>
                  <a:lnTo>
                    <a:pt x="849" y="171"/>
                  </a:lnTo>
                  <a:lnTo>
                    <a:pt x="843" y="166"/>
                  </a:lnTo>
                  <a:lnTo>
                    <a:pt x="837" y="160"/>
                  </a:lnTo>
                  <a:lnTo>
                    <a:pt x="833" y="154"/>
                  </a:lnTo>
                  <a:lnTo>
                    <a:pt x="829" y="142"/>
                  </a:lnTo>
                  <a:lnTo>
                    <a:pt x="826" y="135"/>
                  </a:lnTo>
                  <a:lnTo>
                    <a:pt x="826" y="133"/>
                  </a:lnTo>
                  <a:lnTo>
                    <a:pt x="821" y="123"/>
                  </a:lnTo>
                  <a:lnTo>
                    <a:pt x="818" y="117"/>
                  </a:lnTo>
                  <a:lnTo>
                    <a:pt x="818" y="31"/>
                  </a:lnTo>
                  <a:lnTo>
                    <a:pt x="801" y="36"/>
                  </a:lnTo>
                  <a:lnTo>
                    <a:pt x="795" y="26"/>
                  </a:lnTo>
                  <a:lnTo>
                    <a:pt x="791" y="22"/>
                  </a:lnTo>
                  <a:lnTo>
                    <a:pt x="776" y="15"/>
                  </a:lnTo>
                  <a:lnTo>
                    <a:pt x="773" y="11"/>
                  </a:lnTo>
                  <a:lnTo>
                    <a:pt x="768" y="7"/>
                  </a:lnTo>
                  <a:lnTo>
                    <a:pt x="759" y="5"/>
                  </a:lnTo>
                  <a:lnTo>
                    <a:pt x="720" y="1"/>
                  </a:lnTo>
                  <a:lnTo>
                    <a:pt x="677" y="2"/>
                  </a:lnTo>
                  <a:lnTo>
                    <a:pt x="646" y="0"/>
                  </a:lnTo>
                  <a:lnTo>
                    <a:pt x="643" y="1"/>
                  </a:lnTo>
                  <a:lnTo>
                    <a:pt x="638" y="4"/>
                  </a:lnTo>
                  <a:lnTo>
                    <a:pt x="612" y="22"/>
                  </a:lnTo>
                  <a:lnTo>
                    <a:pt x="568" y="53"/>
                  </a:lnTo>
                  <a:lnTo>
                    <a:pt x="525" y="84"/>
                  </a:lnTo>
                  <a:lnTo>
                    <a:pt x="482" y="114"/>
                  </a:lnTo>
                  <a:lnTo>
                    <a:pt x="437" y="145"/>
                  </a:lnTo>
                  <a:lnTo>
                    <a:pt x="393" y="176"/>
                  </a:lnTo>
                  <a:lnTo>
                    <a:pt x="350" y="206"/>
                  </a:lnTo>
                  <a:lnTo>
                    <a:pt x="307" y="236"/>
                  </a:lnTo>
                  <a:lnTo>
                    <a:pt x="292" y="241"/>
                  </a:lnTo>
                  <a:lnTo>
                    <a:pt x="230" y="255"/>
                  </a:lnTo>
                  <a:lnTo>
                    <a:pt x="221" y="257"/>
                  </a:lnTo>
                  <a:lnTo>
                    <a:pt x="221" y="259"/>
                  </a:lnTo>
                  <a:lnTo>
                    <a:pt x="222" y="260"/>
                  </a:lnTo>
                  <a:lnTo>
                    <a:pt x="222" y="27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39" name="Freeform 19"/>
            <p:cNvSpPr>
              <a:spLocks noChangeAspect="1"/>
            </p:cNvSpPr>
            <p:nvPr/>
          </p:nvSpPr>
          <p:spPr bwMode="gray">
            <a:xfrm>
              <a:off x="3734997" y="3987324"/>
              <a:ext cx="217922" cy="165093"/>
            </a:xfrm>
            <a:custGeom>
              <a:avLst/>
              <a:gdLst/>
              <a:ahLst/>
              <a:cxnLst>
                <a:cxn ang="0">
                  <a:pos x="174" y="105"/>
                </a:cxn>
                <a:cxn ang="0">
                  <a:pos x="149" y="125"/>
                </a:cxn>
                <a:cxn ang="0">
                  <a:pos x="104" y="215"/>
                </a:cxn>
                <a:cxn ang="0">
                  <a:pos x="81" y="225"/>
                </a:cxn>
                <a:cxn ang="0">
                  <a:pos x="67" y="242"/>
                </a:cxn>
                <a:cxn ang="0">
                  <a:pos x="67" y="270"/>
                </a:cxn>
                <a:cxn ang="0">
                  <a:pos x="61" y="346"/>
                </a:cxn>
                <a:cxn ang="0">
                  <a:pos x="21" y="355"/>
                </a:cxn>
                <a:cxn ang="0">
                  <a:pos x="5" y="378"/>
                </a:cxn>
                <a:cxn ang="0">
                  <a:pos x="12" y="390"/>
                </a:cxn>
                <a:cxn ang="0">
                  <a:pos x="39" y="399"/>
                </a:cxn>
                <a:cxn ang="0">
                  <a:pos x="58" y="424"/>
                </a:cxn>
                <a:cxn ang="0">
                  <a:pos x="93" y="453"/>
                </a:cxn>
                <a:cxn ang="0">
                  <a:pos x="113" y="502"/>
                </a:cxn>
                <a:cxn ang="0">
                  <a:pos x="150" y="522"/>
                </a:cxn>
                <a:cxn ang="0">
                  <a:pos x="157" y="544"/>
                </a:cxn>
                <a:cxn ang="0">
                  <a:pos x="185" y="569"/>
                </a:cxn>
                <a:cxn ang="0">
                  <a:pos x="255" y="600"/>
                </a:cxn>
                <a:cxn ang="0">
                  <a:pos x="303" y="619"/>
                </a:cxn>
                <a:cxn ang="0">
                  <a:pos x="373" y="614"/>
                </a:cxn>
                <a:cxn ang="0">
                  <a:pos x="427" y="588"/>
                </a:cxn>
                <a:cxn ang="0">
                  <a:pos x="483" y="604"/>
                </a:cxn>
                <a:cxn ang="0">
                  <a:pos x="506" y="592"/>
                </a:cxn>
                <a:cxn ang="0">
                  <a:pos x="567" y="559"/>
                </a:cxn>
                <a:cxn ang="0">
                  <a:pos x="661" y="545"/>
                </a:cxn>
                <a:cxn ang="0">
                  <a:pos x="823" y="381"/>
                </a:cxn>
                <a:cxn ang="0">
                  <a:pos x="684" y="347"/>
                </a:cxn>
                <a:cxn ang="0">
                  <a:pos x="579" y="298"/>
                </a:cxn>
                <a:cxn ang="0">
                  <a:pos x="564" y="276"/>
                </a:cxn>
                <a:cxn ang="0">
                  <a:pos x="550" y="261"/>
                </a:cxn>
                <a:cxn ang="0">
                  <a:pos x="539" y="226"/>
                </a:cxn>
                <a:cxn ang="0">
                  <a:pos x="534" y="212"/>
                </a:cxn>
                <a:cxn ang="0">
                  <a:pos x="516" y="218"/>
                </a:cxn>
                <a:cxn ang="0">
                  <a:pos x="504" y="220"/>
                </a:cxn>
                <a:cxn ang="0">
                  <a:pos x="484" y="203"/>
                </a:cxn>
                <a:cxn ang="0">
                  <a:pos x="499" y="177"/>
                </a:cxn>
                <a:cxn ang="0">
                  <a:pos x="512" y="140"/>
                </a:cxn>
                <a:cxn ang="0">
                  <a:pos x="495" y="119"/>
                </a:cxn>
                <a:cxn ang="0">
                  <a:pos x="480" y="99"/>
                </a:cxn>
                <a:cxn ang="0">
                  <a:pos x="445" y="71"/>
                </a:cxn>
                <a:cxn ang="0">
                  <a:pos x="420" y="40"/>
                </a:cxn>
                <a:cxn ang="0">
                  <a:pos x="389" y="23"/>
                </a:cxn>
                <a:cxn ang="0">
                  <a:pos x="372" y="26"/>
                </a:cxn>
                <a:cxn ang="0">
                  <a:pos x="356" y="18"/>
                </a:cxn>
                <a:cxn ang="0">
                  <a:pos x="340" y="23"/>
                </a:cxn>
                <a:cxn ang="0">
                  <a:pos x="334" y="18"/>
                </a:cxn>
                <a:cxn ang="0">
                  <a:pos x="324" y="17"/>
                </a:cxn>
                <a:cxn ang="0">
                  <a:pos x="301" y="26"/>
                </a:cxn>
                <a:cxn ang="0">
                  <a:pos x="284" y="12"/>
                </a:cxn>
                <a:cxn ang="0">
                  <a:pos x="268" y="5"/>
                </a:cxn>
                <a:cxn ang="0">
                  <a:pos x="236" y="34"/>
                </a:cxn>
                <a:cxn ang="0">
                  <a:pos x="223" y="26"/>
                </a:cxn>
                <a:cxn ang="0">
                  <a:pos x="216" y="35"/>
                </a:cxn>
                <a:cxn ang="0">
                  <a:pos x="194" y="33"/>
                </a:cxn>
              </a:cxnLst>
              <a:rect l="0" t="0" r="r" b="b"/>
              <a:pathLst>
                <a:path w="824" h="626">
                  <a:moveTo>
                    <a:pt x="192" y="32"/>
                  </a:moveTo>
                  <a:lnTo>
                    <a:pt x="192" y="48"/>
                  </a:lnTo>
                  <a:lnTo>
                    <a:pt x="174" y="105"/>
                  </a:lnTo>
                  <a:lnTo>
                    <a:pt x="167" y="113"/>
                  </a:lnTo>
                  <a:lnTo>
                    <a:pt x="158" y="115"/>
                  </a:lnTo>
                  <a:lnTo>
                    <a:pt x="149" y="125"/>
                  </a:lnTo>
                  <a:lnTo>
                    <a:pt x="114" y="174"/>
                  </a:lnTo>
                  <a:lnTo>
                    <a:pt x="109" y="188"/>
                  </a:lnTo>
                  <a:lnTo>
                    <a:pt x="104" y="215"/>
                  </a:lnTo>
                  <a:lnTo>
                    <a:pt x="99" y="220"/>
                  </a:lnTo>
                  <a:lnTo>
                    <a:pt x="88" y="220"/>
                  </a:lnTo>
                  <a:lnTo>
                    <a:pt x="81" y="225"/>
                  </a:lnTo>
                  <a:lnTo>
                    <a:pt x="74" y="237"/>
                  </a:lnTo>
                  <a:lnTo>
                    <a:pt x="71" y="244"/>
                  </a:lnTo>
                  <a:lnTo>
                    <a:pt x="67" y="242"/>
                  </a:lnTo>
                  <a:lnTo>
                    <a:pt x="67" y="253"/>
                  </a:lnTo>
                  <a:lnTo>
                    <a:pt x="69" y="259"/>
                  </a:lnTo>
                  <a:lnTo>
                    <a:pt x="67" y="270"/>
                  </a:lnTo>
                  <a:lnTo>
                    <a:pt x="63" y="286"/>
                  </a:lnTo>
                  <a:lnTo>
                    <a:pt x="63" y="331"/>
                  </a:lnTo>
                  <a:lnTo>
                    <a:pt x="61" y="346"/>
                  </a:lnTo>
                  <a:lnTo>
                    <a:pt x="54" y="352"/>
                  </a:lnTo>
                  <a:lnTo>
                    <a:pt x="43" y="357"/>
                  </a:lnTo>
                  <a:lnTo>
                    <a:pt x="21" y="355"/>
                  </a:lnTo>
                  <a:lnTo>
                    <a:pt x="11" y="359"/>
                  </a:lnTo>
                  <a:lnTo>
                    <a:pt x="11" y="373"/>
                  </a:lnTo>
                  <a:lnTo>
                    <a:pt x="5" y="378"/>
                  </a:lnTo>
                  <a:lnTo>
                    <a:pt x="0" y="386"/>
                  </a:lnTo>
                  <a:lnTo>
                    <a:pt x="6" y="390"/>
                  </a:lnTo>
                  <a:lnTo>
                    <a:pt x="12" y="390"/>
                  </a:lnTo>
                  <a:lnTo>
                    <a:pt x="20" y="397"/>
                  </a:lnTo>
                  <a:lnTo>
                    <a:pt x="28" y="395"/>
                  </a:lnTo>
                  <a:lnTo>
                    <a:pt x="39" y="399"/>
                  </a:lnTo>
                  <a:lnTo>
                    <a:pt x="48" y="404"/>
                  </a:lnTo>
                  <a:lnTo>
                    <a:pt x="56" y="414"/>
                  </a:lnTo>
                  <a:lnTo>
                    <a:pt x="58" y="424"/>
                  </a:lnTo>
                  <a:lnTo>
                    <a:pt x="64" y="432"/>
                  </a:lnTo>
                  <a:lnTo>
                    <a:pt x="71" y="440"/>
                  </a:lnTo>
                  <a:lnTo>
                    <a:pt x="93" y="453"/>
                  </a:lnTo>
                  <a:lnTo>
                    <a:pt x="98" y="463"/>
                  </a:lnTo>
                  <a:lnTo>
                    <a:pt x="103" y="475"/>
                  </a:lnTo>
                  <a:lnTo>
                    <a:pt x="113" y="502"/>
                  </a:lnTo>
                  <a:lnTo>
                    <a:pt x="118" y="511"/>
                  </a:lnTo>
                  <a:lnTo>
                    <a:pt x="126" y="517"/>
                  </a:lnTo>
                  <a:lnTo>
                    <a:pt x="150" y="522"/>
                  </a:lnTo>
                  <a:lnTo>
                    <a:pt x="157" y="527"/>
                  </a:lnTo>
                  <a:lnTo>
                    <a:pt x="158" y="534"/>
                  </a:lnTo>
                  <a:lnTo>
                    <a:pt x="157" y="544"/>
                  </a:lnTo>
                  <a:lnTo>
                    <a:pt x="156" y="566"/>
                  </a:lnTo>
                  <a:lnTo>
                    <a:pt x="169" y="571"/>
                  </a:lnTo>
                  <a:lnTo>
                    <a:pt x="185" y="569"/>
                  </a:lnTo>
                  <a:lnTo>
                    <a:pt x="200" y="570"/>
                  </a:lnTo>
                  <a:lnTo>
                    <a:pt x="217" y="578"/>
                  </a:lnTo>
                  <a:lnTo>
                    <a:pt x="255" y="600"/>
                  </a:lnTo>
                  <a:lnTo>
                    <a:pt x="266" y="613"/>
                  </a:lnTo>
                  <a:lnTo>
                    <a:pt x="286" y="619"/>
                  </a:lnTo>
                  <a:lnTo>
                    <a:pt x="303" y="619"/>
                  </a:lnTo>
                  <a:lnTo>
                    <a:pt x="325" y="625"/>
                  </a:lnTo>
                  <a:lnTo>
                    <a:pt x="350" y="626"/>
                  </a:lnTo>
                  <a:lnTo>
                    <a:pt x="373" y="614"/>
                  </a:lnTo>
                  <a:lnTo>
                    <a:pt x="389" y="598"/>
                  </a:lnTo>
                  <a:lnTo>
                    <a:pt x="408" y="592"/>
                  </a:lnTo>
                  <a:lnTo>
                    <a:pt x="427" y="588"/>
                  </a:lnTo>
                  <a:lnTo>
                    <a:pt x="461" y="604"/>
                  </a:lnTo>
                  <a:lnTo>
                    <a:pt x="474" y="603"/>
                  </a:lnTo>
                  <a:lnTo>
                    <a:pt x="483" y="604"/>
                  </a:lnTo>
                  <a:lnTo>
                    <a:pt x="488" y="603"/>
                  </a:lnTo>
                  <a:lnTo>
                    <a:pt x="491" y="599"/>
                  </a:lnTo>
                  <a:lnTo>
                    <a:pt x="506" y="592"/>
                  </a:lnTo>
                  <a:lnTo>
                    <a:pt x="542" y="580"/>
                  </a:lnTo>
                  <a:lnTo>
                    <a:pt x="554" y="567"/>
                  </a:lnTo>
                  <a:lnTo>
                    <a:pt x="567" y="559"/>
                  </a:lnTo>
                  <a:lnTo>
                    <a:pt x="588" y="550"/>
                  </a:lnTo>
                  <a:lnTo>
                    <a:pt x="596" y="545"/>
                  </a:lnTo>
                  <a:lnTo>
                    <a:pt x="661" y="545"/>
                  </a:lnTo>
                  <a:lnTo>
                    <a:pt x="742" y="463"/>
                  </a:lnTo>
                  <a:lnTo>
                    <a:pt x="813" y="393"/>
                  </a:lnTo>
                  <a:lnTo>
                    <a:pt x="823" y="381"/>
                  </a:lnTo>
                  <a:lnTo>
                    <a:pt x="824" y="378"/>
                  </a:lnTo>
                  <a:lnTo>
                    <a:pt x="771" y="379"/>
                  </a:lnTo>
                  <a:lnTo>
                    <a:pt x="684" y="347"/>
                  </a:lnTo>
                  <a:lnTo>
                    <a:pt x="606" y="320"/>
                  </a:lnTo>
                  <a:lnTo>
                    <a:pt x="599" y="313"/>
                  </a:lnTo>
                  <a:lnTo>
                    <a:pt x="579" y="298"/>
                  </a:lnTo>
                  <a:lnTo>
                    <a:pt x="572" y="288"/>
                  </a:lnTo>
                  <a:lnTo>
                    <a:pt x="566" y="282"/>
                  </a:lnTo>
                  <a:lnTo>
                    <a:pt x="564" y="276"/>
                  </a:lnTo>
                  <a:lnTo>
                    <a:pt x="559" y="273"/>
                  </a:lnTo>
                  <a:lnTo>
                    <a:pt x="553" y="266"/>
                  </a:lnTo>
                  <a:lnTo>
                    <a:pt x="550" y="261"/>
                  </a:lnTo>
                  <a:lnTo>
                    <a:pt x="543" y="254"/>
                  </a:lnTo>
                  <a:lnTo>
                    <a:pt x="538" y="231"/>
                  </a:lnTo>
                  <a:lnTo>
                    <a:pt x="539" y="226"/>
                  </a:lnTo>
                  <a:lnTo>
                    <a:pt x="543" y="221"/>
                  </a:lnTo>
                  <a:lnTo>
                    <a:pt x="543" y="220"/>
                  </a:lnTo>
                  <a:lnTo>
                    <a:pt x="534" y="212"/>
                  </a:lnTo>
                  <a:lnTo>
                    <a:pt x="529" y="211"/>
                  </a:lnTo>
                  <a:lnTo>
                    <a:pt x="517" y="216"/>
                  </a:lnTo>
                  <a:lnTo>
                    <a:pt x="516" y="218"/>
                  </a:lnTo>
                  <a:lnTo>
                    <a:pt x="515" y="220"/>
                  </a:lnTo>
                  <a:lnTo>
                    <a:pt x="508" y="217"/>
                  </a:lnTo>
                  <a:lnTo>
                    <a:pt x="504" y="220"/>
                  </a:lnTo>
                  <a:lnTo>
                    <a:pt x="491" y="218"/>
                  </a:lnTo>
                  <a:lnTo>
                    <a:pt x="485" y="212"/>
                  </a:lnTo>
                  <a:lnTo>
                    <a:pt x="484" y="203"/>
                  </a:lnTo>
                  <a:lnTo>
                    <a:pt x="484" y="200"/>
                  </a:lnTo>
                  <a:lnTo>
                    <a:pt x="493" y="190"/>
                  </a:lnTo>
                  <a:lnTo>
                    <a:pt x="499" y="177"/>
                  </a:lnTo>
                  <a:lnTo>
                    <a:pt x="501" y="166"/>
                  </a:lnTo>
                  <a:lnTo>
                    <a:pt x="506" y="144"/>
                  </a:lnTo>
                  <a:lnTo>
                    <a:pt x="512" y="140"/>
                  </a:lnTo>
                  <a:lnTo>
                    <a:pt x="506" y="132"/>
                  </a:lnTo>
                  <a:lnTo>
                    <a:pt x="502" y="125"/>
                  </a:lnTo>
                  <a:lnTo>
                    <a:pt x="495" y="119"/>
                  </a:lnTo>
                  <a:lnTo>
                    <a:pt x="486" y="115"/>
                  </a:lnTo>
                  <a:lnTo>
                    <a:pt x="483" y="109"/>
                  </a:lnTo>
                  <a:lnTo>
                    <a:pt x="480" y="99"/>
                  </a:lnTo>
                  <a:lnTo>
                    <a:pt x="474" y="93"/>
                  </a:lnTo>
                  <a:lnTo>
                    <a:pt x="462" y="83"/>
                  </a:lnTo>
                  <a:lnTo>
                    <a:pt x="445" y="71"/>
                  </a:lnTo>
                  <a:lnTo>
                    <a:pt x="440" y="62"/>
                  </a:lnTo>
                  <a:lnTo>
                    <a:pt x="432" y="51"/>
                  </a:lnTo>
                  <a:lnTo>
                    <a:pt x="420" y="40"/>
                  </a:lnTo>
                  <a:lnTo>
                    <a:pt x="413" y="39"/>
                  </a:lnTo>
                  <a:lnTo>
                    <a:pt x="403" y="34"/>
                  </a:lnTo>
                  <a:lnTo>
                    <a:pt x="389" y="23"/>
                  </a:lnTo>
                  <a:lnTo>
                    <a:pt x="378" y="24"/>
                  </a:lnTo>
                  <a:lnTo>
                    <a:pt x="376" y="26"/>
                  </a:lnTo>
                  <a:lnTo>
                    <a:pt x="372" y="26"/>
                  </a:lnTo>
                  <a:lnTo>
                    <a:pt x="371" y="22"/>
                  </a:lnTo>
                  <a:lnTo>
                    <a:pt x="361" y="22"/>
                  </a:lnTo>
                  <a:lnTo>
                    <a:pt x="356" y="18"/>
                  </a:lnTo>
                  <a:lnTo>
                    <a:pt x="352" y="18"/>
                  </a:lnTo>
                  <a:lnTo>
                    <a:pt x="348" y="22"/>
                  </a:lnTo>
                  <a:lnTo>
                    <a:pt x="340" y="23"/>
                  </a:lnTo>
                  <a:lnTo>
                    <a:pt x="339" y="24"/>
                  </a:lnTo>
                  <a:lnTo>
                    <a:pt x="337" y="24"/>
                  </a:lnTo>
                  <a:lnTo>
                    <a:pt x="334" y="18"/>
                  </a:lnTo>
                  <a:lnTo>
                    <a:pt x="329" y="13"/>
                  </a:lnTo>
                  <a:lnTo>
                    <a:pt x="324" y="13"/>
                  </a:lnTo>
                  <a:lnTo>
                    <a:pt x="324" y="17"/>
                  </a:lnTo>
                  <a:lnTo>
                    <a:pt x="318" y="22"/>
                  </a:lnTo>
                  <a:lnTo>
                    <a:pt x="305" y="24"/>
                  </a:lnTo>
                  <a:lnTo>
                    <a:pt x="301" y="26"/>
                  </a:lnTo>
                  <a:lnTo>
                    <a:pt x="292" y="26"/>
                  </a:lnTo>
                  <a:lnTo>
                    <a:pt x="284" y="15"/>
                  </a:lnTo>
                  <a:lnTo>
                    <a:pt x="284" y="12"/>
                  </a:lnTo>
                  <a:lnTo>
                    <a:pt x="281" y="11"/>
                  </a:lnTo>
                  <a:lnTo>
                    <a:pt x="274" y="11"/>
                  </a:lnTo>
                  <a:lnTo>
                    <a:pt x="268" y="5"/>
                  </a:lnTo>
                  <a:lnTo>
                    <a:pt x="264" y="0"/>
                  </a:lnTo>
                  <a:lnTo>
                    <a:pt x="244" y="44"/>
                  </a:lnTo>
                  <a:lnTo>
                    <a:pt x="236" y="34"/>
                  </a:lnTo>
                  <a:lnTo>
                    <a:pt x="236" y="31"/>
                  </a:lnTo>
                  <a:lnTo>
                    <a:pt x="231" y="26"/>
                  </a:lnTo>
                  <a:lnTo>
                    <a:pt x="223" y="26"/>
                  </a:lnTo>
                  <a:lnTo>
                    <a:pt x="220" y="29"/>
                  </a:lnTo>
                  <a:lnTo>
                    <a:pt x="219" y="33"/>
                  </a:lnTo>
                  <a:lnTo>
                    <a:pt x="216" y="35"/>
                  </a:lnTo>
                  <a:lnTo>
                    <a:pt x="212" y="35"/>
                  </a:lnTo>
                  <a:lnTo>
                    <a:pt x="208" y="33"/>
                  </a:lnTo>
                  <a:lnTo>
                    <a:pt x="194" y="33"/>
                  </a:lnTo>
                  <a:lnTo>
                    <a:pt x="192" y="3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1" name="Freeform 20"/>
            <p:cNvSpPr>
              <a:spLocks noChangeAspect="1"/>
            </p:cNvSpPr>
            <p:nvPr/>
          </p:nvSpPr>
          <p:spPr bwMode="gray">
            <a:xfrm>
              <a:off x="3388963" y="3696760"/>
              <a:ext cx="229809" cy="220564"/>
            </a:xfrm>
            <a:custGeom>
              <a:avLst/>
              <a:gdLst/>
              <a:ahLst/>
              <a:cxnLst>
                <a:cxn ang="0">
                  <a:pos x="134" y="578"/>
                </a:cxn>
                <a:cxn ang="0">
                  <a:pos x="76" y="535"/>
                </a:cxn>
                <a:cxn ang="0">
                  <a:pos x="40" y="507"/>
                </a:cxn>
                <a:cxn ang="0">
                  <a:pos x="11" y="449"/>
                </a:cxn>
                <a:cxn ang="0">
                  <a:pos x="18" y="425"/>
                </a:cxn>
                <a:cxn ang="0">
                  <a:pos x="32" y="340"/>
                </a:cxn>
                <a:cxn ang="0">
                  <a:pos x="29" y="288"/>
                </a:cxn>
                <a:cxn ang="0">
                  <a:pos x="11" y="222"/>
                </a:cxn>
                <a:cxn ang="0">
                  <a:pos x="11" y="184"/>
                </a:cxn>
                <a:cxn ang="0">
                  <a:pos x="36" y="171"/>
                </a:cxn>
                <a:cxn ang="0">
                  <a:pos x="52" y="143"/>
                </a:cxn>
                <a:cxn ang="0">
                  <a:pos x="52" y="98"/>
                </a:cxn>
                <a:cxn ang="0">
                  <a:pos x="79" y="74"/>
                </a:cxn>
                <a:cxn ang="0">
                  <a:pos x="119" y="39"/>
                </a:cxn>
                <a:cxn ang="0">
                  <a:pos x="130" y="2"/>
                </a:cxn>
                <a:cxn ang="0">
                  <a:pos x="190" y="22"/>
                </a:cxn>
                <a:cxn ang="0">
                  <a:pos x="237" y="23"/>
                </a:cxn>
                <a:cxn ang="0">
                  <a:pos x="276" y="35"/>
                </a:cxn>
                <a:cxn ang="0">
                  <a:pos x="323" y="52"/>
                </a:cxn>
                <a:cxn ang="0">
                  <a:pos x="333" y="84"/>
                </a:cxn>
                <a:cxn ang="0">
                  <a:pos x="371" y="121"/>
                </a:cxn>
                <a:cxn ang="0">
                  <a:pos x="431" y="130"/>
                </a:cxn>
                <a:cxn ang="0">
                  <a:pos x="482" y="151"/>
                </a:cxn>
                <a:cxn ang="0">
                  <a:pos x="514" y="178"/>
                </a:cxn>
                <a:cxn ang="0">
                  <a:pos x="561" y="176"/>
                </a:cxn>
                <a:cxn ang="0">
                  <a:pos x="587" y="148"/>
                </a:cxn>
                <a:cxn ang="0">
                  <a:pos x="589" y="117"/>
                </a:cxn>
                <a:cxn ang="0">
                  <a:pos x="582" y="83"/>
                </a:cxn>
                <a:cxn ang="0">
                  <a:pos x="606" y="47"/>
                </a:cxn>
                <a:cxn ang="0">
                  <a:pos x="658" y="22"/>
                </a:cxn>
                <a:cxn ang="0">
                  <a:pos x="729" y="25"/>
                </a:cxn>
                <a:cxn ang="0">
                  <a:pos x="754" y="35"/>
                </a:cxn>
                <a:cxn ang="0">
                  <a:pos x="751" y="46"/>
                </a:cxn>
                <a:cxn ang="0">
                  <a:pos x="767" y="63"/>
                </a:cxn>
                <a:cxn ang="0">
                  <a:pos x="797" y="67"/>
                </a:cxn>
                <a:cxn ang="0">
                  <a:pos x="831" y="77"/>
                </a:cxn>
                <a:cxn ang="0">
                  <a:pos x="868" y="95"/>
                </a:cxn>
                <a:cxn ang="0">
                  <a:pos x="860" y="108"/>
                </a:cxn>
                <a:cxn ang="0">
                  <a:pos x="856" y="127"/>
                </a:cxn>
                <a:cxn ang="0">
                  <a:pos x="858" y="180"/>
                </a:cxn>
                <a:cxn ang="0">
                  <a:pos x="845" y="192"/>
                </a:cxn>
                <a:cxn ang="0">
                  <a:pos x="853" y="227"/>
                </a:cxn>
                <a:cxn ang="0">
                  <a:pos x="869" y="261"/>
                </a:cxn>
                <a:cxn ang="0">
                  <a:pos x="869" y="421"/>
                </a:cxn>
                <a:cxn ang="0">
                  <a:pos x="869" y="593"/>
                </a:cxn>
                <a:cxn ang="0">
                  <a:pos x="869" y="740"/>
                </a:cxn>
                <a:cxn ang="0">
                  <a:pos x="817" y="832"/>
                </a:cxn>
                <a:cxn ang="0">
                  <a:pos x="715" y="783"/>
                </a:cxn>
                <a:cxn ang="0">
                  <a:pos x="573" y="709"/>
                </a:cxn>
                <a:cxn ang="0">
                  <a:pos x="433" y="635"/>
                </a:cxn>
                <a:cxn ang="0">
                  <a:pos x="326" y="622"/>
                </a:cxn>
                <a:cxn ang="0">
                  <a:pos x="297" y="620"/>
                </a:cxn>
                <a:cxn ang="0">
                  <a:pos x="275" y="605"/>
                </a:cxn>
                <a:cxn ang="0">
                  <a:pos x="222" y="595"/>
                </a:cxn>
                <a:cxn ang="0">
                  <a:pos x="145" y="595"/>
                </a:cxn>
              </a:cxnLst>
              <a:rect l="0" t="0" r="r" b="b"/>
              <a:pathLst>
                <a:path w="871" h="832">
                  <a:moveTo>
                    <a:pt x="140" y="598"/>
                  </a:moveTo>
                  <a:lnTo>
                    <a:pt x="138" y="592"/>
                  </a:lnTo>
                  <a:lnTo>
                    <a:pt x="134" y="578"/>
                  </a:lnTo>
                  <a:lnTo>
                    <a:pt x="116" y="549"/>
                  </a:lnTo>
                  <a:lnTo>
                    <a:pt x="87" y="535"/>
                  </a:lnTo>
                  <a:lnTo>
                    <a:pt x="76" y="535"/>
                  </a:lnTo>
                  <a:lnTo>
                    <a:pt x="57" y="534"/>
                  </a:lnTo>
                  <a:lnTo>
                    <a:pt x="43" y="519"/>
                  </a:lnTo>
                  <a:lnTo>
                    <a:pt x="40" y="507"/>
                  </a:lnTo>
                  <a:lnTo>
                    <a:pt x="39" y="487"/>
                  </a:lnTo>
                  <a:lnTo>
                    <a:pt x="29" y="471"/>
                  </a:lnTo>
                  <a:lnTo>
                    <a:pt x="11" y="449"/>
                  </a:lnTo>
                  <a:lnTo>
                    <a:pt x="6" y="436"/>
                  </a:lnTo>
                  <a:lnTo>
                    <a:pt x="7" y="428"/>
                  </a:lnTo>
                  <a:lnTo>
                    <a:pt x="18" y="425"/>
                  </a:lnTo>
                  <a:lnTo>
                    <a:pt x="27" y="418"/>
                  </a:lnTo>
                  <a:lnTo>
                    <a:pt x="28" y="362"/>
                  </a:lnTo>
                  <a:lnTo>
                    <a:pt x="32" y="340"/>
                  </a:lnTo>
                  <a:lnTo>
                    <a:pt x="32" y="327"/>
                  </a:lnTo>
                  <a:lnTo>
                    <a:pt x="29" y="319"/>
                  </a:lnTo>
                  <a:lnTo>
                    <a:pt x="29" y="288"/>
                  </a:lnTo>
                  <a:lnTo>
                    <a:pt x="28" y="266"/>
                  </a:lnTo>
                  <a:lnTo>
                    <a:pt x="23" y="243"/>
                  </a:lnTo>
                  <a:lnTo>
                    <a:pt x="11" y="222"/>
                  </a:lnTo>
                  <a:lnTo>
                    <a:pt x="0" y="207"/>
                  </a:lnTo>
                  <a:lnTo>
                    <a:pt x="1" y="191"/>
                  </a:lnTo>
                  <a:lnTo>
                    <a:pt x="11" y="184"/>
                  </a:lnTo>
                  <a:lnTo>
                    <a:pt x="12" y="181"/>
                  </a:lnTo>
                  <a:lnTo>
                    <a:pt x="24" y="180"/>
                  </a:lnTo>
                  <a:lnTo>
                    <a:pt x="36" y="171"/>
                  </a:lnTo>
                  <a:lnTo>
                    <a:pt x="46" y="163"/>
                  </a:lnTo>
                  <a:lnTo>
                    <a:pt x="52" y="153"/>
                  </a:lnTo>
                  <a:lnTo>
                    <a:pt x="52" y="143"/>
                  </a:lnTo>
                  <a:lnTo>
                    <a:pt x="46" y="115"/>
                  </a:lnTo>
                  <a:lnTo>
                    <a:pt x="48" y="106"/>
                  </a:lnTo>
                  <a:lnTo>
                    <a:pt x="52" y="98"/>
                  </a:lnTo>
                  <a:lnTo>
                    <a:pt x="65" y="92"/>
                  </a:lnTo>
                  <a:lnTo>
                    <a:pt x="75" y="85"/>
                  </a:lnTo>
                  <a:lnTo>
                    <a:pt x="79" y="74"/>
                  </a:lnTo>
                  <a:lnTo>
                    <a:pt x="108" y="55"/>
                  </a:lnTo>
                  <a:lnTo>
                    <a:pt x="114" y="50"/>
                  </a:lnTo>
                  <a:lnTo>
                    <a:pt x="119" y="39"/>
                  </a:lnTo>
                  <a:lnTo>
                    <a:pt x="118" y="3"/>
                  </a:lnTo>
                  <a:lnTo>
                    <a:pt x="119" y="0"/>
                  </a:lnTo>
                  <a:lnTo>
                    <a:pt x="130" y="2"/>
                  </a:lnTo>
                  <a:lnTo>
                    <a:pt x="142" y="9"/>
                  </a:lnTo>
                  <a:lnTo>
                    <a:pt x="169" y="20"/>
                  </a:lnTo>
                  <a:lnTo>
                    <a:pt x="190" y="22"/>
                  </a:lnTo>
                  <a:lnTo>
                    <a:pt x="211" y="17"/>
                  </a:lnTo>
                  <a:lnTo>
                    <a:pt x="226" y="18"/>
                  </a:lnTo>
                  <a:lnTo>
                    <a:pt x="237" y="23"/>
                  </a:lnTo>
                  <a:lnTo>
                    <a:pt x="250" y="24"/>
                  </a:lnTo>
                  <a:lnTo>
                    <a:pt x="267" y="29"/>
                  </a:lnTo>
                  <a:lnTo>
                    <a:pt x="276" y="35"/>
                  </a:lnTo>
                  <a:lnTo>
                    <a:pt x="297" y="45"/>
                  </a:lnTo>
                  <a:lnTo>
                    <a:pt x="309" y="47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3" y="71"/>
                  </a:lnTo>
                  <a:lnTo>
                    <a:pt x="333" y="84"/>
                  </a:lnTo>
                  <a:lnTo>
                    <a:pt x="342" y="99"/>
                  </a:lnTo>
                  <a:lnTo>
                    <a:pt x="358" y="115"/>
                  </a:lnTo>
                  <a:lnTo>
                    <a:pt x="371" y="121"/>
                  </a:lnTo>
                  <a:lnTo>
                    <a:pt x="379" y="124"/>
                  </a:lnTo>
                  <a:lnTo>
                    <a:pt x="415" y="125"/>
                  </a:lnTo>
                  <a:lnTo>
                    <a:pt x="431" y="130"/>
                  </a:lnTo>
                  <a:lnTo>
                    <a:pt x="459" y="140"/>
                  </a:lnTo>
                  <a:lnTo>
                    <a:pt x="474" y="149"/>
                  </a:lnTo>
                  <a:lnTo>
                    <a:pt x="482" y="151"/>
                  </a:lnTo>
                  <a:lnTo>
                    <a:pt x="490" y="154"/>
                  </a:lnTo>
                  <a:lnTo>
                    <a:pt x="496" y="162"/>
                  </a:lnTo>
                  <a:lnTo>
                    <a:pt x="514" y="178"/>
                  </a:lnTo>
                  <a:lnTo>
                    <a:pt x="529" y="184"/>
                  </a:lnTo>
                  <a:lnTo>
                    <a:pt x="543" y="184"/>
                  </a:lnTo>
                  <a:lnTo>
                    <a:pt x="561" y="176"/>
                  </a:lnTo>
                  <a:lnTo>
                    <a:pt x="571" y="170"/>
                  </a:lnTo>
                  <a:lnTo>
                    <a:pt x="581" y="159"/>
                  </a:lnTo>
                  <a:lnTo>
                    <a:pt x="587" y="148"/>
                  </a:lnTo>
                  <a:lnTo>
                    <a:pt x="593" y="138"/>
                  </a:lnTo>
                  <a:lnTo>
                    <a:pt x="594" y="130"/>
                  </a:lnTo>
                  <a:lnTo>
                    <a:pt x="589" y="117"/>
                  </a:lnTo>
                  <a:lnTo>
                    <a:pt x="588" y="108"/>
                  </a:lnTo>
                  <a:lnTo>
                    <a:pt x="582" y="98"/>
                  </a:lnTo>
                  <a:lnTo>
                    <a:pt x="582" y="83"/>
                  </a:lnTo>
                  <a:lnTo>
                    <a:pt x="586" y="70"/>
                  </a:lnTo>
                  <a:lnTo>
                    <a:pt x="598" y="55"/>
                  </a:lnTo>
                  <a:lnTo>
                    <a:pt x="606" y="47"/>
                  </a:lnTo>
                  <a:lnTo>
                    <a:pt x="625" y="33"/>
                  </a:lnTo>
                  <a:lnTo>
                    <a:pt x="641" y="24"/>
                  </a:lnTo>
                  <a:lnTo>
                    <a:pt x="658" y="22"/>
                  </a:lnTo>
                  <a:lnTo>
                    <a:pt x="670" y="17"/>
                  </a:lnTo>
                  <a:lnTo>
                    <a:pt x="701" y="15"/>
                  </a:lnTo>
                  <a:lnTo>
                    <a:pt x="729" y="25"/>
                  </a:lnTo>
                  <a:lnTo>
                    <a:pt x="737" y="29"/>
                  </a:lnTo>
                  <a:lnTo>
                    <a:pt x="745" y="30"/>
                  </a:lnTo>
                  <a:lnTo>
                    <a:pt x="754" y="35"/>
                  </a:lnTo>
                  <a:lnTo>
                    <a:pt x="755" y="45"/>
                  </a:lnTo>
                  <a:lnTo>
                    <a:pt x="754" y="47"/>
                  </a:lnTo>
                  <a:lnTo>
                    <a:pt x="751" y="46"/>
                  </a:lnTo>
                  <a:lnTo>
                    <a:pt x="753" y="54"/>
                  </a:lnTo>
                  <a:lnTo>
                    <a:pt x="762" y="61"/>
                  </a:lnTo>
                  <a:lnTo>
                    <a:pt x="767" y="63"/>
                  </a:lnTo>
                  <a:lnTo>
                    <a:pt x="772" y="62"/>
                  </a:lnTo>
                  <a:lnTo>
                    <a:pt x="787" y="65"/>
                  </a:lnTo>
                  <a:lnTo>
                    <a:pt x="797" y="67"/>
                  </a:lnTo>
                  <a:lnTo>
                    <a:pt x="801" y="68"/>
                  </a:lnTo>
                  <a:lnTo>
                    <a:pt x="815" y="74"/>
                  </a:lnTo>
                  <a:lnTo>
                    <a:pt x="831" y="77"/>
                  </a:lnTo>
                  <a:lnTo>
                    <a:pt x="856" y="78"/>
                  </a:lnTo>
                  <a:lnTo>
                    <a:pt x="864" y="83"/>
                  </a:lnTo>
                  <a:lnTo>
                    <a:pt x="868" y="95"/>
                  </a:lnTo>
                  <a:lnTo>
                    <a:pt x="871" y="97"/>
                  </a:lnTo>
                  <a:lnTo>
                    <a:pt x="863" y="99"/>
                  </a:lnTo>
                  <a:lnTo>
                    <a:pt x="860" y="108"/>
                  </a:lnTo>
                  <a:lnTo>
                    <a:pt x="852" y="116"/>
                  </a:lnTo>
                  <a:lnTo>
                    <a:pt x="852" y="119"/>
                  </a:lnTo>
                  <a:lnTo>
                    <a:pt x="856" y="127"/>
                  </a:lnTo>
                  <a:lnTo>
                    <a:pt x="857" y="154"/>
                  </a:lnTo>
                  <a:lnTo>
                    <a:pt x="860" y="171"/>
                  </a:lnTo>
                  <a:lnTo>
                    <a:pt x="858" y="180"/>
                  </a:lnTo>
                  <a:lnTo>
                    <a:pt x="858" y="183"/>
                  </a:lnTo>
                  <a:lnTo>
                    <a:pt x="848" y="187"/>
                  </a:lnTo>
                  <a:lnTo>
                    <a:pt x="845" y="192"/>
                  </a:lnTo>
                  <a:lnTo>
                    <a:pt x="845" y="196"/>
                  </a:lnTo>
                  <a:lnTo>
                    <a:pt x="846" y="217"/>
                  </a:lnTo>
                  <a:lnTo>
                    <a:pt x="853" y="227"/>
                  </a:lnTo>
                  <a:lnTo>
                    <a:pt x="855" y="230"/>
                  </a:lnTo>
                  <a:lnTo>
                    <a:pt x="852" y="243"/>
                  </a:lnTo>
                  <a:lnTo>
                    <a:pt x="869" y="261"/>
                  </a:lnTo>
                  <a:lnTo>
                    <a:pt x="869" y="304"/>
                  </a:lnTo>
                  <a:lnTo>
                    <a:pt x="869" y="362"/>
                  </a:lnTo>
                  <a:lnTo>
                    <a:pt x="869" y="421"/>
                  </a:lnTo>
                  <a:lnTo>
                    <a:pt x="869" y="479"/>
                  </a:lnTo>
                  <a:lnTo>
                    <a:pt x="869" y="535"/>
                  </a:lnTo>
                  <a:lnTo>
                    <a:pt x="869" y="593"/>
                  </a:lnTo>
                  <a:lnTo>
                    <a:pt x="869" y="649"/>
                  </a:lnTo>
                  <a:lnTo>
                    <a:pt x="869" y="687"/>
                  </a:lnTo>
                  <a:lnTo>
                    <a:pt x="869" y="740"/>
                  </a:lnTo>
                  <a:lnTo>
                    <a:pt x="869" y="799"/>
                  </a:lnTo>
                  <a:lnTo>
                    <a:pt x="817" y="799"/>
                  </a:lnTo>
                  <a:lnTo>
                    <a:pt x="817" y="832"/>
                  </a:lnTo>
                  <a:lnTo>
                    <a:pt x="808" y="831"/>
                  </a:lnTo>
                  <a:lnTo>
                    <a:pt x="761" y="807"/>
                  </a:lnTo>
                  <a:lnTo>
                    <a:pt x="715" y="783"/>
                  </a:lnTo>
                  <a:lnTo>
                    <a:pt x="667" y="759"/>
                  </a:lnTo>
                  <a:lnTo>
                    <a:pt x="620" y="734"/>
                  </a:lnTo>
                  <a:lnTo>
                    <a:pt x="573" y="709"/>
                  </a:lnTo>
                  <a:lnTo>
                    <a:pt x="527" y="685"/>
                  </a:lnTo>
                  <a:lnTo>
                    <a:pt x="480" y="659"/>
                  </a:lnTo>
                  <a:lnTo>
                    <a:pt x="433" y="635"/>
                  </a:lnTo>
                  <a:lnTo>
                    <a:pt x="387" y="610"/>
                  </a:lnTo>
                  <a:lnTo>
                    <a:pt x="376" y="605"/>
                  </a:lnTo>
                  <a:lnTo>
                    <a:pt x="326" y="622"/>
                  </a:lnTo>
                  <a:lnTo>
                    <a:pt x="320" y="625"/>
                  </a:lnTo>
                  <a:lnTo>
                    <a:pt x="303" y="630"/>
                  </a:lnTo>
                  <a:lnTo>
                    <a:pt x="297" y="620"/>
                  </a:lnTo>
                  <a:lnTo>
                    <a:pt x="293" y="616"/>
                  </a:lnTo>
                  <a:lnTo>
                    <a:pt x="278" y="609"/>
                  </a:lnTo>
                  <a:lnTo>
                    <a:pt x="275" y="605"/>
                  </a:lnTo>
                  <a:lnTo>
                    <a:pt x="270" y="601"/>
                  </a:lnTo>
                  <a:lnTo>
                    <a:pt x="261" y="599"/>
                  </a:lnTo>
                  <a:lnTo>
                    <a:pt x="222" y="595"/>
                  </a:lnTo>
                  <a:lnTo>
                    <a:pt x="179" y="596"/>
                  </a:lnTo>
                  <a:lnTo>
                    <a:pt x="148" y="594"/>
                  </a:lnTo>
                  <a:lnTo>
                    <a:pt x="145" y="595"/>
                  </a:lnTo>
                  <a:lnTo>
                    <a:pt x="140" y="59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2" name="Freeform 21"/>
            <p:cNvSpPr>
              <a:spLocks noChangeAspect="1"/>
            </p:cNvSpPr>
            <p:nvPr/>
          </p:nvSpPr>
          <p:spPr bwMode="gray">
            <a:xfrm>
              <a:off x="3011231" y="3787891"/>
              <a:ext cx="121508" cy="105659"/>
            </a:xfrm>
            <a:custGeom>
              <a:avLst/>
              <a:gdLst/>
              <a:ahLst/>
              <a:cxnLst>
                <a:cxn ang="0">
                  <a:pos x="196" y="379"/>
                </a:cxn>
                <a:cxn ang="0">
                  <a:pos x="148" y="379"/>
                </a:cxn>
                <a:cxn ang="0">
                  <a:pos x="96" y="379"/>
                </a:cxn>
                <a:cxn ang="0">
                  <a:pos x="45" y="379"/>
                </a:cxn>
                <a:cxn ang="0">
                  <a:pos x="16" y="379"/>
                </a:cxn>
                <a:cxn ang="0">
                  <a:pos x="14" y="385"/>
                </a:cxn>
                <a:cxn ang="0">
                  <a:pos x="6" y="392"/>
                </a:cxn>
                <a:cxn ang="0">
                  <a:pos x="2" y="397"/>
                </a:cxn>
                <a:cxn ang="0">
                  <a:pos x="5" y="396"/>
                </a:cxn>
                <a:cxn ang="0">
                  <a:pos x="0" y="401"/>
                </a:cxn>
                <a:cxn ang="0">
                  <a:pos x="0" y="392"/>
                </a:cxn>
                <a:cxn ang="0">
                  <a:pos x="5" y="355"/>
                </a:cxn>
                <a:cxn ang="0">
                  <a:pos x="16" y="329"/>
                </a:cxn>
                <a:cxn ang="0">
                  <a:pos x="28" y="323"/>
                </a:cxn>
                <a:cxn ang="0">
                  <a:pos x="40" y="296"/>
                </a:cxn>
                <a:cxn ang="0">
                  <a:pos x="48" y="284"/>
                </a:cxn>
                <a:cxn ang="0">
                  <a:pos x="45" y="275"/>
                </a:cxn>
                <a:cxn ang="0">
                  <a:pos x="65" y="246"/>
                </a:cxn>
                <a:cxn ang="0">
                  <a:pos x="69" y="240"/>
                </a:cxn>
                <a:cxn ang="0">
                  <a:pos x="71" y="229"/>
                </a:cxn>
                <a:cxn ang="0">
                  <a:pos x="76" y="221"/>
                </a:cxn>
                <a:cxn ang="0">
                  <a:pos x="105" y="188"/>
                </a:cxn>
                <a:cxn ang="0">
                  <a:pos x="120" y="164"/>
                </a:cxn>
                <a:cxn ang="0">
                  <a:pos x="123" y="145"/>
                </a:cxn>
                <a:cxn ang="0">
                  <a:pos x="132" y="122"/>
                </a:cxn>
                <a:cxn ang="0">
                  <a:pos x="139" y="100"/>
                </a:cxn>
                <a:cxn ang="0">
                  <a:pos x="155" y="80"/>
                </a:cxn>
                <a:cxn ang="0">
                  <a:pos x="174" y="70"/>
                </a:cxn>
                <a:cxn ang="0">
                  <a:pos x="190" y="57"/>
                </a:cxn>
                <a:cxn ang="0">
                  <a:pos x="196" y="38"/>
                </a:cxn>
                <a:cxn ang="0">
                  <a:pos x="199" y="33"/>
                </a:cxn>
                <a:cxn ang="0">
                  <a:pos x="204" y="22"/>
                </a:cxn>
                <a:cxn ang="0">
                  <a:pos x="213" y="6"/>
                </a:cxn>
                <a:cxn ang="0">
                  <a:pos x="218" y="0"/>
                </a:cxn>
                <a:cxn ang="0">
                  <a:pos x="227" y="0"/>
                </a:cxn>
                <a:cxn ang="0">
                  <a:pos x="261" y="0"/>
                </a:cxn>
                <a:cxn ang="0">
                  <a:pos x="297" y="0"/>
                </a:cxn>
                <a:cxn ang="0">
                  <a:pos x="338" y="0"/>
                </a:cxn>
                <a:cxn ang="0">
                  <a:pos x="379" y="0"/>
                </a:cxn>
                <a:cxn ang="0">
                  <a:pos x="422" y="0"/>
                </a:cxn>
                <a:cxn ang="0">
                  <a:pos x="459" y="0"/>
                </a:cxn>
                <a:cxn ang="0">
                  <a:pos x="459" y="32"/>
                </a:cxn>
                <a:cxn ang="0">
                  <a:pos x="459" y="102"/>
                </a:cxn>
                <a:cxn ang="0">
                  <a:pos x="405" y="102"/>
                </a:cxn>
                <a:cxn ang="0">
                  <a:pos x="352" y="102"/>
                </a:cxn>
                <a:cxn ang="0">
                  <a:pos x="299" y="102"/>
                </a:cxn>
                <a:cxn ang="0">
                  <a:pos x="281" y="102"/>
                </a:cxn>
                <a:cxn ang="0">
                  <a:pos x="281" y="160"/>
                </a:cxn>
                <a:cxn ang="0">
                  <a:pos x="281" y="219"/>
                </a:cxn>
                <a:cxn ang="0">
                  <a:pos x="281" y="254"/>
                </a:cxn>
                <a:cxn ang="0">
                  <a:pos x="261" y="261"/>
                </a:cxn>
                <a:cxn ang="0">
                  <a:pos x="244" y="263"/>
                </a:cxn>
                <a:cxn ang="0">
                  <a:pos x="228" y="268"/>
                </a:cxn>
                <a:cxn ang="0">
                  <a:pos x="223" y="272"/>
                </a:cxn>
                <a:cxn ang="0">
                  <a:pos x="220" y="277"/>
                </a:cxn>
                <a:cxn ang="0">
                  <a:pos x="215" y="288"/>
                </a:cxn>
                <a:cxn ang="0">
                  <a:pos x="213" y="296"/>
                </a:cxn>
                <a:cxn ang="0">
                  <a:pos x="215" y="322"/>
                </a:cxn>
                <a:cxn ang="0">
                  <a:pos x="218" y="342"/>
                </a:cxn>
                <a:cxn ang="0">
                  <a:pos x="218" y="363"/>
                </a:cxn>
                <a:cxn ang="0">
                  <a:pos x="222" y="379"/>
                </a:cxn>
                <a:cxn ang="0">
                  <a:pos x="196" y="379"/>
                </a:cxn>
              </a:cxnLst>
              <a:rect l="0" t="0" r="r" b="b"/>
              <a:pathLst>
                <a:path w="459" h="401">
                  <a:moveTo>
                    <a:pt x="196" y="379"/>
                  </a:moveTo>
                  <a:lnTo>
                    <a:pt x="148" y="379"/>
                  </a:lnTo>
                  <a:lnTo>
                    <a:pt x="96" y="379"/>
                  </a:lnTo>
                  <a:lnTo>
                    <a:pt x="45" y="379"/>
                  </a:lnTo>
                  <a:lnTo>
                    <a:pt x="16" y="379"/>
                  </a:lnTo>
                  <a:lnTo>
                    <a:pt x="14" y="385"/>
                  </a:lnTo>
                  <a:lnTo>
                    <a:pt x="6" y="392"/>
                  </a:lnTo>
                  <a:lnTo>
                    <a:pt x="2" y="397"/>
                  </a:lnTo>
                  <a:lnTo>
                    <a:pt x="5" y="396"/>
                  </a:lnTo>
                  <a:lnTo>
                    <a:pt x="0" y="401"/>
                  </a:lnTo>
                  <a:lnTo>
                    <a:pt x="0" y="392"/>
                  </a:lnTo>
                  <a:lnTo>
                    <a:pt x="5" y="355"/>
                  </a:lnTo>
                  <a:lnTo>
                    <a:pt x="16" y="329"/>
                  </a:lnTo>
                  <a:lnTo>
                    <a:pt x="28" y="323"/>
                  </a:lnTo>
                  <a:lnTo>
                    <a:pt x="40" y="296"/>
                  </a:lnTo>
                  <a:lnTo>
                    <a:pt x="48" y="284"/>
                  </a:lnTo>
                  <a:lnTo>
                    <a:pt x="45" y="275"/>
                  </a:lnTo>
                  <a:lnTo>
                    <a:pt x="65" y="246"/>
                  </a:lnTo>
                  <a:lnTo>
                    <a:pt x="69" y="240"/>
                  </a:lnTo>
                  <a:lnTo>
                    <a:pt x="71" y="229"/>
                  </a:lnTo>
                  <a:lnTo>
                    <a:pt x="76" y="221"/>
                  </a:lnTo>
                  <a:lnTo>
                    <a:pt x="105" y="188"/>
                  </a:lnTo>
                  <a:lnTo>
                    <a:pt x="120" y="164"/>
                  </a:lnTo>
                  <a:lnTo>
                    <a:pt x="123" y="145"/>
                  </a:lnTo>
                  <a:lnTo>
                    <a:pt x="132" y="122"/>
                  </a:lnTo>
                  <a:lnTo>
                    <a:pt x="139" y="100"/>
                  </a:lnTo>
                  <a:lnTo>
                    <a:pt x="155" y="80"/>
                  </a:lnTo>
                  <a:lnTo>
                    <a:pt x="174" y="70"/>
                  </a:lnTo>
                  <a:lnTo>
                    <a:pt x="190" y="57"/>
                  </a:lnTo>
                  <a:lnTo>
                    <a:pt x="196" y="38"/>
                  </a:lnTo>
                  <a:lnTo>
                    <a:pt x="199" y="33"/>
                  </a:lnTo>
                  <a:lnTo>
                    <a:pt x="204" y="22"/>
                  </a:lnTo>
                  <a:lnTo>
                    <a:pt x="213" y="6"/>
                  </a:lnTo>
                  <a:lnTo>
                    <a:pt x="218" y="0"/>
                  </a:lnTo>
                  <a:lnTo>
                    <a:pt x="227" y="0"/>
                  </a:lnTo>
                  <a:lnTo>
                    <a:pt x="261" y="0"/>
                  </a:lnTo>
                  <a:lnTo>
                    <a:pt x="297" y="0"/>
                  </a:lnTo>
                  <a:lnTo>
                    <a:pt x="338" y="0"/>
                  </a:lnTo>
                  <a:lnTo>
                    <a:pt x="379" y="0"/>
                  </a:lnTo>
                  <a:lnTo>
                    <a:pt x="422" y="0"/>
                  </a:lnTo>
                  <a:lnTo>
                    <a:pt x="459" y="0"/>
                  </a:lnTo>
                  <a:lnTo>
                    <a:pt x="459" y="32"/>
                  </a:lnTo>
                  <a:lnTo>
                    <a:pt x="459" y="102"/>
                  </a:lnTo>
                  <a:lnTo>
                    <a:pt x="405" y="102"/>
                  </a:lnTo>
                  <a:lnTo>
                    <a:pt x="352" y="102"/>
                  </a:lnTo>
                  <a:lnTo>
                    <a:pt x="299" y="102"/>
                  </a:lnTo>
                  <a:lnTo>
                    <a:pt x="281" y="102"/>
                  </a:lnTo>
                  <a:lnTo>
                    <a:pt x="281" y="160"/>
                  </a:lnTo>
                  <a:lnTo>
                    <a:pt x="281" y="219"/>
                  </a:lnTo>
                  <a:lnTo>
                    <a:pt x="281" y="254"/>
                  </a:lnTo>
                  <a:lnTo>
                    <a:pt x="261" y="261"/>
                  </a:lnTo>
                  <a:lnTo>
                    <a:pt x="244" y="263"/>
                  </a:lnTo>
                  <a:lnTo>
                    <a:pt x="228" y="268"/>
                  </a:lnTo>
                  <a:lnTo>
                    <a:pt x="223" y="272"/>
                  </a:lnTo>
                  <a:lnTo>
                    <a:pt x="220" y="277"/>
                  </a:lnTo>
                  <a:lnTo>
                    <a:pt x="215" y="288"/>
                  </a:lnTo>
                  <a:lnTo>
                    <a:pt x="213" y="296"/>
                  </a:lnTo>
                  <a:lnTo>
                    <a:pt x="215" y="322"/>
                  </a:lnTo>
                  <a:lnTo>
                    <a:pt x="218" y="342"/>
                  </a:lnTo>
                  <a:lnTo>
                    <a:pt x="218" y="363"/>
                  </a:lnTo>
                  <a:lnTo>
                    <a:pt x="222" y="379"/>
                  </a:lnTo>
                  <a:lnTo>
                    <a:pt x="196" y="37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3" name="Freeform 22"/>
            <p:cNvSpPr>
              <a:spLocks noChangeAspect="1"/>
            </p:cNvSpPr>
            <p:nvPr/>
          </p:nvSpPr>
          <p:spPr bwMode="gray">
            <a:xfrm>
              <a:off x="3703299" y="4586940"/>
              <a:ext cx="17169" cy="23773"/>
            </a:xfrm>
            <a:custGeom>
              <a:avLst/>
              <a:gdLst/>
              <a:ahLst/>
              <a:cxnLst>
                <a:cxn ang="0">
                  <a:pos x="67" y="63"/>
                </a:cxn>
                <a:cxn ang="0">
                  <a:pos x="65" y="35"/>
                </a:cxn>
                <a:cxn ang="0">
                  <a:pos x="65" y="14"/>
                </a:cxn>
                <a:cxn ang="0">
                  <a:pos x="63" y="6"/>
                </a:cxn>
                <a:cxn ang="0">
                  <a:pos x="56" y="15"/>
                </a:cxn>
                <a:cxn ang="0">
                  <a:pos x="33" y="0"/>
                </a:cxn>
                <a:cxn ang="0">
                  <a:pos x="19" y="9"/>
                </a:cxn>
                <a:cxn ang="0">
                  <a:pos x="12" y="21"/>
                </a:cxn>
                <a:cxn ang="0">
                  <a:pos x="4" y="38"/>
                </a:cxn>
                <a:cxn ang="0">
                  <a:pos x="0" y="54"/>
                </a:cxn>
                <a:cxn ang="0">
                  <a:pos x="2" y="67"/>
                </a:cxn>
                <a:cxn ang="0">
                  <a:pos x="12" y="86"/>
                </a:cxn>
                <a:cxn ang="0">
                  <a:pos x="35" y="89"/>
                </a:cxn>
                <a:cxn ang="0">
                  <a:pos x="47" y="90"/>
                </a:cxn>
                <a:cxn ang="0">
                  <a:pos x="55" y="81"/>
                </a:cxn>
                <a:cxn ang="0">
                  <a:pos x="61" y="67"/>
                </a:cxn>
                <a:cxn ang="0">
                  <a:pos x="67" y="63"/>
                </a:cxn>
              </a:cxnLst>
              <a:rect l="0" t="0" r="r" b="b"/>
              <a:pathLst>
                <a:path w="67" h="90">
                  <a:moveTo>
                    <a:pt x="67" y="63"/>
                  </a:moveTo>
                  <a:lnTo>
                    <a:pt x="65" y="35"/>
                  </a:lnTo>
                  <a:lnTo>
                    <a:pt x="65" y="14"/>
                  </a:lnTo>
                  <a:lnTo>
                    <a:pt x="63" y="6"/>
                  </a:lnTo>
                  <a:lnTo>
                    <a:pt x="56" y="15"/>
                  </a:lnTo>
                  <a:lnTo>
                    <a:pt x="33" y="0"/>
                  </a:lnTo>
                  <a:lnTo>
                    <a:pt x="19" y="9"/>
                  </a:lnTo>
                  <a:lnTo>
                    <a:pt x="12" y="21"/>
                  </a:lnTo>
                  <a:lnTo>
                    <a:pt x="4" y="38"/>
                  </a:lnTo>
                  <a:lnTo>
                    <a:pt x="0" y="54"/>
                  </a:lnTo>
                  <a:lnTo>
                    <a:pt x="2" y="67"/>
                  </a:lnTo>
                  <a:lnTo>
                    <a:pt x="12" y="86"/>
                  </a:lnTo>
                  <a:lnTo>
                    <a:pt x="35" y="89"/>
                  </a:lnTo>
                  <a:lnTo>
                    <a:pt x="47" y="90"/>
                  </a:lnTo>
                  <a:lnTo>
                    <a:pt x="55" y="81"/>
                  </a:lnTo>
                  <a:lnTo>
                    <a:pt x="61" y="67"/>
                  </a:lnTo>
                  <a:lnTo>
                    <a:pt x="67" y="63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4" name="Freeform 23"/>
            <p:cNvSpPr>
              <a:spLocks noChangeAspect="1"/>
            </p:cNvSpPr>
            <p:nvPr/>
          </p:nvSpPr>
          <p:spPr bwMode="gray">
            <a:xfrm>
              <a:off x="3494622" y="4528827"/>
              <a:ext cx="237733" cy="208677"/>
            </a:xfrm>
            <a:custGeom>
              <a:avLst/>
              <a:gdLst/>
              <a:ahLst/>
              <a:cxnLst>
                <a:cxn ang="0">
                  <a:pos x="188" y="334"/>
                </a:cxn>
                <a:cxn ang="0">
                  <a:pos x="157" y="406"/>
                </a:cxn>
                <a:cxn ang="0">
                  <a:pos x="101" y="418"/>
                </a:cxn>
                <a:cxn ang="0">
                  <a:pos x="59" y="396"/>
                </a:cxn>
                <a:cxn ang="0">
                  <a:pos x="8" y="398"/>
                </a:cxn>
                <a:cxn ang="0">
                  <a:pos x="1" y="411"/>
                </a:cxn>
                <a:cxn ang="0">
                  <a:pos x="37" y="491"/>
                </a:cxn>
                <a:cxn ang="0">
                  <a:pos x="70" y="562"/>
                </a:cxn>
                <a:cxn ang="0">
                  <a:pos x="90" y="665"/>
                </a:cxn>
                <a:cxn ang="0">
                  <a:pos x="77" y="678"/>
                </a:cxn>
                <a:cxn ang="0">
                  <a:pos x="88" y="701"/>
                </a:cxn>
                <a:cxn ang="0">
                  <a:pos x="108" y="734"/>
                </a:cxn>
                <a:cxn ang="0">
                  <a:pos x="109" y="770"/>
                </a:cxn>
                <a:cxn ang="0">
                  <a:pos x="112" y="750"/>
                </a:cxn>
                <a:cxn ang="0">
                  <a:pos x="128" y="769"/>
                </a:cxn>
                <a:cxn ang="0">
                  <a:pos x="155" y="782"/>
                </a:cxn>
                <a:cxn ang="0">
                  <a:pos x="195" y="791"/>
                </a:cxn>
                <a:cxn ang="0">
                  <a:pos x="236" y="771"/>
                </a:cxn>
                <a:cxn ang="0">
                  <a:pos x="287" y="771"/>
                </a:cxn>
                <a:cxn ang="0">
                  <a:pos x="311" y="753"/>
                </a:cxn>
                <a:cxn ang="0">
                  <a:pos x="365" y="753"/>
                </a:cxn>
                <a:cxn ang="0">
                  <a:pos x="408" y="746"/>
                </a:cxn>
                <a:cxn ang="0">
                  <a:pos x="479" y="743"/>
                </a:cxn>
                <a:cxn ang="0">
                  <a:pos x="505" y="733"/>
                </a:cxn>
                <a:cxn ang="0">
                  <a:pos x="553" y="727"/>
                </a:cxn>
                <a:cxn ang="0">
                  <a:pos x="633" y="679"/>
                </a:cxn>
                <a:cxn ang="0">
                  <a:pos x="705" y="600"/>
                </a:cxn>
                <a:cxn ang="0">
                  <a:pos x="765" y="533"/>
                </a:cxn>
                <a:cxn ang="0">
                  <a:pos x="804" y="465"/>
                </a:cxn>
                <a:cxn ang="0">
                  <a:pos x="836" y="420"/>
                </a:cxn>
                <a:cxn ang="0">
                  <a:pos x="881" y="357"/>
                </a:cxn>
                <a:cxn ang="0">
                  <a:pos x="894" y="305"/>
                </a:cxn>
                <a:cxn ang="0">
                  <a:pos x="856" y="281"/>
                </a:cxn>
                <a:cxn ang="0">
                  <a:pos x="824" y="307"/>
                </a:cxn>
                <a:cxn ang="0">
                  <a:pos x="793" y="256"/>
                </a:cxn>
                <a:cxn ang="0">
                  <a:pos x="845" y="233"/>
                </a:cxn>
                <a:cxn ang="0">
                  <a:pos x="830" y="55"/>
                </a:cxn>
                <a:cxn ang="0">
                  <a:pos x="807" y="17"/>
                </a:cxn>
                <a:cxn ang="0">
                  <a:pos x="749" y="9"/>
                </a:cxn>
                <a:cxn ang="0">
                  <a:pos x="704" y="8"/>
                </a:cxn>
                <a:cxn ang="0">
                  <a:pos x="625" y="57"/>
                </a:cxn>
                <a:cxn ang="0">
                  <a:pos x="558" y="129"/>
                </a:cxn>
                <a:cxn ang="0">
                  <a:pos x="496" y="207"/>
                </a:cxn>
                <a:cxn ang="0">
                  <a:pos x="437" y="217"/>
                </a:cxn>
                <a:cxn ang="0">
                  <a:pos x="376" y="201"/>
                </a:cxn>
                <a:cxn ang="0">
                  <a:pos x="339" y="248"/>
                </a:cxn>
                <a:cxn ang="0">
                  <a:pos x="277" y="286"/>
                </a:cxn>
                <a:cxn ang="0">
                  <a:pos x="230" y="271"/>
                </a:cxn>
                <a:cxn ang="0">
                  <a:pos x="238" y="213"/>
                </a:cxn>
                <a:cxn ang="0">
                  <a:pos x="200" y="170"/>
                </a:cxn>
              </a:cxnLst>
              <a:rect l="0" t="0" r="r" b="b"/>
              <a:pathLst>
                <a:path w="898" h="791">
                  <a:moveTo>
                    <a:pt x="188" y="161"/>
                  </a:moveTo>
                  <a:lnTo>
                    <a:pt x="188" y="216"/>
                  </a:lnTo>
                  <a:lnTo>
                    <a:pt x="188" y="275"/>
                  </a:lnTo>
                  <a:lnTo>
                    <a:pt x="188" y="334"/>
                  </a:lnTo>
                  <a:lnTo>
                    <a:pt x="188" y="390"/>
                  </a:lnTo>
                  <a:lnTo>
                    <a:pt x="182" y="394"/>
                  </a:lnTo>
                  <a:lnTo>
                    <a:pt x="171" y="396"/>
                  </a:lnTo>
                  <a:lnTo>
                    <a:pt x="157" y="406"/>
                  </a:lnTo>
                  <a:lnTo>
                    <a:pt x="141" y="421"/>
                  </a:lnTo>
                  <a:lnTo>
                    <a:pt x="129" y="421"/>
                  </a:lnTo>
                  <a:lnTo>
                    <a:pt x="120" y="418"/>
                  </a:lnTo>
                  <a:lnTo>
                    <a:pt x="101" y="418"/>
                  </a:lnTo>
                  <a:lnTo>
                    <a:pt x="86" y="423"/>
                  </a:lnTo>
                  <a:lnTo>
                    <a:pt x="70" y="421"/>
                  </a:lnTo>
                  <a:lnTo>
                    <a:pt x="59" y="409"/>
                  </a:lnTo>
                  <a:lnTo>
                    <a:pt x="59" y="396"/>
                  </a:lnTo>
                  <a:lnTo>
                    <a:pt x="33" y="378"/>
                  </a:lnTo>
                  <a:lnTo>
                    <a:pt x="21" y="379"/>
                  </a:lnTo>
                  <a:lnTo>
                    <a:pt x="15" y="390"/>
                  </a:lnTo>
                  <a:lnTo>
                    <a:pt x="8" y="398"/>
                  </a:lnTo>
                  <a:lnTo>
                    <a:pt x="5" y="400"/>
                  </a:lnTo>
                  <a:lnTo>
                    <a:pt x="0" y="401"/>
                  </a:lnTo>
                  <a:lnTo>
                    <a:pt x="2" y="405"/>
                  </a:lnTo>
                  <a:lnTo>
                    <a:pt x="1" y="411"/>
                  </a:lnTo>
                  <a:lnTo>
                    <a:pt x="5" y="416"/>
                  </a:lnTo>
                  <a:lnTo>
                    <a:pt x="13" y="426"/>
                  </a:lnTo>
                  <a:lnTo>
                    <a:pt x="28" y="464"/>
                  </a:lnTo>
                  <a:lnTo>
                    <a:pt x="37" y="491"/>
                  </a:lnTo>
                  <a:lnTo>
                    <a:pt x="51" y="528"/>
                  </a:lnTo>
                  <a:lnTo>
                    <a:pt x="59" y="536"/>
                  </a:lnTo>
                  <a:lnTo>
                    <a:pt x="64" y="552"/>
                  </a:lnTo>
                  <a:lnTo>
                    <a:pt x="70" y="562"/>
                  </a:lnTo>
                  <a:lnTo>
                    <a:pt x="91" y="595"/>
                  </a:lnTo>
                  <a:lnTo>
                    <a:pt x="97" y="608"/>
                  </a:lnTo>
                  <a:lnTo>
                    <a:pt x="99" y="648"/>
                  </a:lnTo>
                  <a:lnTo>
                    <a:pt x="90" y="665"/>
                  </a:lnTo>
                  <a:lnTo>
                    <a:pt x="78" y="660"/>
                  </a:lnTo>
                  <a:lnTo>
                    <a:pt x="76" y="667"/>
                  </a:lnTo>
                  <a:lnTo>
                    <a:pt x="75" y="678"/>
                  </a:lnTo>
                  <a:lnTo>
                    <a:pt x="77" y="678"/>
                  </a:lnTo>
                  <a:lnTo>
                    <a:pt x="85" y="683"/>
                  </a:lnTo>
                  <a:lnTo>
                    <a:pt x="87" y="690"/>
                  </a:lnTo>
                  <a:lnTo>
                    <a:pt x="83" y="691"/>
                  </a:lnTo>
                  <a:lnTo>
                    <a:pt x="88" y="701"/>
                  </a:lnTo>
                  <a:lnTo>
                    <a:pt x="93" y="705"/>
                  </a:lnTo>
                  <a:lnTo>
                    <a:pt x="99" y="716"/>
                  </a:lnTo>
                  <a:lnTo>
                    <a:pt x="107" y="726"/>
                  </a:lnTo>
                  <a:lnTo>
                    <a:pt x="108" y="734"/>
                  </a:lnTo>
                  <a:lnTo>
                    <a:pt x="103" y="742"/>
                  </a:lnTo>
                  <a:lnTo>
                    <a:pt x="103" y="749"/>
                  </a:lnTo>
                  <a:lnTo>
                    <a:pt x="103" y="760"/>
                  </a:lnTo>
                  <a:lnTo>
                    <a:pt x="109" y="770"/>
                  </a:lnTo>
                  <a:lnTo>
                    <a:pt x="110" y="769"/>
                  </a:lnTo>
                  <a:lnTo>
                    <a:pt x="109" y="761"/>
                  </a:lnTo>
                  <a:lnTo>
                    <a:pt x="109" y="754"/>
                  </a:lnTo>
                  <a:lnTo>
                    <a:pt x="112" y="750"/>
                  </a:lnTo>
                  <a:lnTo>
                    <a:pt x="119" y="749"/>
                  </a:lnTo>
                  <a:lnTo>
                    <a:pt x="128" y="750"/>
                  </a:lnTo>
                  <a:lnTo>
                    <a:pt x="129" y="762"/>
                  </a:lnTo>
                  <a:lnTo>
                    <a:pt x="128" y="769"/>
                  </a:lnTo>
                  <a:lnTo>
                    <a:pt x="133" y="771"/>
                  </a:lnTo>
                  <a:lnTo>
                    <a:pt x="151" y="770"/>
                  </a:lnTo>
                  <a:lnTo>
                    <a:pt x="156" y="775"/>
                  </a:lnTo>
                  <a:lnTo>
                    <a:pt x="155" y="782"/>
                  </a:lnTo>
                  <a:lnTo>
                    <a:pt x="166" y="788"/>
                  </a:lnTo>
                  <a:lnTo>
                    <a:pt x="174" y="788"/>
                  </a:lnTo>
                  <a:lnTo>
                    <a:pt x="183" y="791"/>
                  </a:lnTo>
                  <a:lnTo>
                    <a:pt x="195" y="791"/>
                  </a:lnTo>
                  <a:lnTo>
                    <a:pt x="204" y="788"/>
                  </a:lnTo>
                  <a:lnTo>
                    <a:pt x="214" y="776"/>
                  </a:lnTo>
                  <a:lnTo>
                    <a:pt x="232" y="775"/>
                  </a:lnTo>
                  <a:lnTo>
                    <a:pt x="236" y="771"/>
                  </a:lnTo>
                  <a:lnTo>
                    <a:pt x="244" y="770"/>
                  </a:lnTo>
                  <a:lnTo>
                    <a:pt x="264" y="772"/>
                  </a:lnTo>
                  <a:lnTo>
                    <a:pt x="266" y="769"/>
                  </a:lnTo>
                  <a:lnTo>
                    <a:pt x="287" y="771"/>
                  </a:lnTo>
                  <a:lnTo>
                    <a:pt x="293" y="769"/>
                  </a:lnTo>
                  <a:lnTo>
                    <a:pt x="296" y="761"/>
                  </a:lnTo>
                  <a:lnTo>
                    <a:pt x="305" y="758"/>
                  </a:lnTo>
                  <a:lnTo>
                    <a:pt x="311" y="753"/>
                  </a:lnTo>
                  <a:lnTo>
                    <a:pt x="316" y="748"/>
                  </a:lnTo>
                  <a:lnTo>
                    <a:pt x="333" y="745"/>
                  </a:lnTo>
                  <a:lnTo>
                    <a:pt x="341" y="746"/>
                  </a:lnTo>
                  <a:lnTo>
                    <a:pt x="365" y="753"/>
                  </a:lnTo>
                  <a:lnTo>
                    <a:pt x="372" y="753"/>
                  </a:lnTo>
                  <a:lnTo>
                    <a:pt x="381" y="745"/>
                  </a:lnTo>
                  <a:lnTo>
                    <a:pt x="394" y="744"/>
                  </a:lnTo>
                  <a:lnTo>
                    <a:pt x="408" y="746"/>
                  </a:lnTo>
                  <a:lnTo>
                    <a:pt x="446" y="758"/>
                  </a:lnTo>
                  <a:lnTo>
                    <a:pt x="459" y="758"/>
                  </a:lnTo>
                  <a:lnTo>
                    <a:pt x="467" y="744"/>
                  </a:lnTo>
                  <a:lnTo>
                    <a:pt x="479" y="743"/>
                  </a:lnTo>
                  <a:lnTo>
                    <a:pt x="491" y="748"/>
                  </a:lnTo>
                  <a:lnTo>
                    <a:pt x="507" y="749"/>
                  </a:lnTo>
                  <a:lnTo>
                    <a:pt x="508" y="743"/>
                  </a:lnTo>
                  <a:lnTo>
                    <a:pt x="505" y="733"/>
                  </a:lnTo>
                  <a:lnTo>
                    <a:pt x="512" y="728"/>
                  </a:lnTo>
                  <a:lnTo>
                    <a:pt x="519" y="727"/>
                  </a:lnTo>
                  <a:lnTo>
                    <a:pt x="532" y="726"/>
                  </a:lnTo>
                  <a:lnTo>
                    <a:pt x="553" y="727"/>
                  </a:lnTo>
                  <a:lnTo>
                    <a:pt x="564" y="726"/>
                  </a:lnTo>
                  <a:lnTo>
                    <a:pt x="586" y="715"/>
                  </a:lnTo>
                  <a:lnTo>
                    <a:pt x="623" y="689"/>
                  </a:lnTo>
                  <a:lnTo>
                    <a:pt x="633" y="679"/>
                  </a:lnTo>
                  <a:lnTo>
                    <a:pt x="642" y="668"/>
                  </a:lnTo>
                  <a:lnTo>
                    <a:pt x="663" y="652"/>
                  </a:lnTo>
                  <a:lnTo>
                    <a:pt x="689" y="624"/>
                  </a:lnTo>
                  <a:lnTo>
                    <a:pt x="705" y="600"/>
                  </a:lnTo>
                  <a:lnTo>
                    <a:pt x="714" y="589"/>
                  </a:lnTo>
                  <a:lnTo>
                    <a:pt x="723" y="582"/>
                  </a:lnTo>
                  <a:lnTo>
                    <a:pt x="747" y="561"/>
                  </a:lnTo>
                  <a:lnTo>
                    <a:pt x="765" y="533"/>
                  </a:lnTo>
                  <a:lnTo>
                    <a:pt x="774" y="520"/>
                  </a:lnTo>
                  <a:lnTo>
                    <a:pt x="796" y="480"/>
                  </a:lnTo>
                  <a:lnTo>
                    <a:pt x="800" y="473"/>
                  </a:lnTo>
                  <a:lnTo>
                    <a:pt x="804" y="465"/>
                  </a:lnTo>
                  <a:lnTo>
                    <a:pt x="808" y="454"/>
                  </a:lnTo>
                  <a:lnTo>
                    <a:pt x="819" y="437"/>
                  </a:lnTo>
                  <a:lnTo>
                    <a:pt x="828" y="426"/>
                  </a:lnTo>
                  <a:lnTo>
                    <a:pt x="836" y="420"/>
                  </a:lnTo>
                  <a:lnTo>
                    <a:pt x="846" y="417"/>
                  </a:lnTo>
                  <a:lnTo>
                    <a:pt x="866" y="401"/>
                  </a:lnTo>
                  <a:lnTo>
                    <a:pt x="875" y="388"/>
                  </a:lnTo>
                  <a:lnTo>
                    <a:pt x="881" y="357"/>
                  </a:lnTo>
                  <a:lnTo>
                    <a:pt x="886" y="345"/>
                  </a:lnTo>
                  <a:lnTo>
                    <a:pt x="888" y="331"/>
                  </a:lnTo>
                  <a:lnTo>
                    <a:pt x="888" y="318"/>
                  </a:lnTo>
                  <a:lnTo>
                    <a:pt x="894" y="305"/>
                  </a:lnTo>
                  <a:lnTo>
                    <a:pt x="897" y="294"/>
                  </a:lnTo>
                  <a:lnTo>
                    <a:pt x="898" y="282"/>
                  </a:lnTo>
                  <a:lnTo>
                    <a:pt x="892" y="281"/>
                  </a:lnTo>
                  <a:lnTo>
                    <a:pt x="856" y="281"/>
                  </a:lnTo>
                  <a:lnTo>
                    <a:pt x="850" y="285"/>
                  </a:lnTo>
                  <a:lnTo>
                    <a:pt x="844" y="299"/>
                  </a:lnTo>
                  <a:lnTo>
                    <a:pt x="836" y="308"/>
                  </a:lnTo>
                  <a:lnTo>
                    <a:pt x="824" y="307"/>
                  </a:lnTo>
                  <a:lnTo>
                    <a:pt x="801" y="304"/>
                  </a:lnTo>
                  <a:lnTo>
                    <a:pt x="791" y="285"/>
                  </a:lnTo>
                  <a:lnTo>
                    <a:pt x="789" y="272"/>
                  </a:lnTo>
                  <a:lnTo>
                    <a:pt x="793" y="256"/>
                  </a:lnTo>
                  <a:lnTo>
                    <a:pt x="801" y="239"/>
                  </a:lnTo>
                  <a:lnTo>
                    <a:pt x="808" y="227"/>
                  </a:lnTo>
                  <a:lnTo>
                    <a:pt x="822" y="218"/>
                  </a:lnTo>
                  <a:lnTo>
                    <a:pt x="845" y="233"/>
                  </a:lnTo>
                  <a:lnTo>
                    <a:pt x="852" y="224"/>
                  </a:lnTo>
                  <a:lnTo>
                    <a:pt x="849" y="131"/>
                  </a:lnTo>
                  <a:lnTo>
                    <a:pt x="836" y="87"/>
                  </a:lnTo>
                  <a:lnTo>
                    <a:pt x="830" y="55"/>
                  </a:lnTo>
                  <a:lnTo>
                    <a:pt x="828" y="34"/>
                  </a:lnTo>
                  <a:lnTo>
                    <a:pt x="827" y="33"/>
                  </a:lnTo>
                  <a:lnTo>
                    <a:pt x="822" y="32"/>
                  </a:lnTo>
                  <a:lnTo>
                    <a:pt x="807" y="17"/>
                  </a:lnTo>
                  <a:lnTo>
                    <a:pt x="786" y="11"/>
                  </a:lnTo>
                  <a:lnTo>
                    <a:pt x="774" y="9"/>
                  </a:lnTo>
                  <a:lnTo>
                    <a:pt x="761" y="12"/>
                  </a:lnTo>
                  <a:lnTo>
                    <a:pt x="749" y="9"/>
                  </a:lnTo>
                  <a:lnTo>
                    <a:pt x="726" y="2"/>
                  </a:lnTo>
                  <a:lnTo>
                    <a:pt x="717" y="0"/>
                  </a:lnTo>
                  <a:lnTo>
                    <a:pt x="705" y="5"/>
                  </a:lnTo>
                  <a:lnTo>
                    <a:pt x="704" y="8"/>
                  </a:lnTo>
                  <a:lnTo>
                    <a:pt x="693" y="13"/>
                  </a:lnTo>
                  <a:lnTo>
                    <a:pt x="679" y="22"/>
                  </a:lnTo>
                  <a:lnTo>
                    <a:pt x="641" y="40"/>
                  </a:lnTo>
                  <a:lnTo>
                    <a:pt x="625" y="57"/>
                  </a:lnTo>
                  <a:lnTo>
                    <a:pt x="605" y="70"/>
                  </a:lnTo>
                  <a:lnTo>
                    <a:pt x="586" y="88"/>
                  </a:lnTo>
                  <a:lnTo>
                    <a:pt x="575" y="104"/>
                  </a:lnTo>
                  <a:lnTo>
                    <a:pt x="558" y="129"/>
                  </a:lnTo>
                  <a:lnTo>
                    <a:pt x="531" y="148"/>
                  </a:lnTo>
                  <a:lnTo>
                    <a:pt x="516" y="167"/>
                  </a:lnTo>
                  <a:lnTo>
                    <a:pt x="501" y="201"/>
                  </a:lnTo>
                  <a:lnTo>
                    <a:pt x="496" y="207"/>
                  </a:lnTo>
                  <a:lnTo>
                    <a:pt x="488" y="211"/>
                  </a:lnTo>
                  <a:lnTo>
                    <a:pt x="477" y="212"/>
                  </a:lnTo>
                  <a:lnTo>
                    <a:pt x="452" y="218"/>
                  </a:lnTo>
                  <a:lnTo>
                    <a:pt x="437" y="217"/>
                  </a:lnTo>
                  <a:lnTo>
                    <a:pt x="414" y="204"/>
                  </a:lnTo>
                  <a:lnTo>
                    <a:pt x="402" y="199"/>
                  </a:lnTo>
                  <a:lnTo>
                    <a:pt x="388" y="197"/>
                  </a:lnTo>
                  <a:lnTo>
                    <a:pt x="376" y="201"/>
                  </a:lnTo>
                  <a:lnTo>
                    <a:pt x="357" y="221"/>
                  </a:lnTo>
                  <a:lnTo>
                    <a:pt x="351" y="229"/>
                  </a:lnTo>
                  <a:lnTo>
                    <a:pt x="348" y="237"/>
                  </a:lnTo>
                  <a:lnTo>
                    <a:pt x="339" y="248"/>
                  </a:lnTo>
                  <a:lnTo>
                    <a:pt x="327" y="255"/>
                  </a:lnTo>
                  <a:lnTo>
                    <a:pt x="322" y="260"/>
                  </a:lnTo>
                  <a:lnTo>
                    <a:pt x="312" y="277"/>
                  </a:lnTo>
                  <a:lnTo>
                    <a:pt x="277" y="286"/>
                  </a:lnTo>
                  <a:lnTo>
                    <a:pt x="259" y="285"/>
                  </a:lnTo>
                  <a:lnTo>
                    <a:pt x="243" y="282"/>
                  </a:lnTo>
                  <a:lnTo>
                    <a:pt x="233" y="280"/>
                  </a:lnTo>
                  <a:lnTo>
                    <a:pt x="230" y="271"/>
                  </a:lnTo>
                  <a:lnTo>
                    <a:pt x="237" y="250"/>
                  </a:lnTo>
                  <a:lnTo>
                    <a:pt x="239" y="237"/>
                  </a:lnTo>
                  <a:lnTo>
                    <a:pt x="239" y="231"/>
                  </a:lnTo>
                  <a:lnTo>
                    <a:pt x="238" y="213"/>
                  </a:lnTo>
                  <a:lnTo>
                    <a:pt x="231" y="201"/>
                  </a:lnTo>
                  <a:lnTo>
                    <a:pt x="217" y="190"/>
                  </a:lnTo>
                  <a:lnTo>
                    <a:pt x="212" y="181"/>
                  </a:lnTo>
                  <a:lnTo>
                    <a:pt x="200" y="170"/>
                  </a:lnTo>
                  <a:lnTo>
                    <a:pt x="198" y="167"/>
                  </a:lnTo>
                  <a:lnTo>
                    <a:pt x="192" y="161"/>
                  </a:lnTo>
                  <a:lnTo>
                    <a:pt x="188" y="16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5" name="Freeform 24"/>
            <p:cNvSpPr>
              <a:spLocks noChangeAspect="1"/>
            </p:cNvSpPr>
            <p:nvPr/>
          </p:nvSpPr>
          <p:spPr bwMode="gray">
            <a:xfrm>
              <a:off x="3731035" y="4338641"/>
              <a:ext cx="46226" cy="114905"/>
            </a:xfrm>
            <a:custGeom>
              <a:avLst/>
              <a:gdLst/>
              <a:ahLst/>
              <a:cxnLst>
                <a:cxn ang="0">
                  <a:pos x="61" y="11"/>
                </a:cxn>
                <a:cxn ang="0">
                  <a:pos x="42" y="14"/>
                </a:cxn>
                <a:cxn ang="0">
                  <a:pos x="25" y="8"/>
                </a:cxn>
                <a:cxn ang="0">
                  <a:pos x="13" y="8"/>
                </a:cxn>
                <a:cxn ang="0">
                  <a:pos x="25" y="15"/>
                </a:cxn>
                <a:cxn ang="0">
                  <a:pos x="37" y="40"/>
                </a:cxn>
                <a:cxn ang="0">
                  <a:pos x="50" y="65"/>
                </a:cxn>
                <a:cxn ang="0">
                  <a:pos x="42" y="80"/>
                </a:cxn>
                <a:cxn ang="0">
                  <a:pos x="35" y="94"/>
                </a:cxn>
                <a:cxn ang="0">
                  <a:pos x="31" y="127"/>
                </a:cxn>
                <a:cxn ang="0">
                  <a:pos x="31" y="159"/>
                </a:cxn>
                <a:cxn ang="0">
                  <a:pos x="41" y="172"/>
                </a:cxn>
                <a:cxn ang="0">
                  <a:pos x="24" y="181"/>
                </a:cxn>
                <a:cxn ang="0">
                  <a:pos x="14" y="198"/>
                </a:cxn>
                <a:cxn ang="0">
                  <a:pos x="2" y="235"/>
                </a:cxn>
                <a:cxn ang="0">
                  <a:pos x="8" y="248"/>
                </a:cxn>
                <a:cxn ang="0">
                  <a:pos x="23" y="257"/>
                </a:cxn>
                <a:cxn ang="0">
                  <a:pos x="30" y="263"/>
                </a:cxn>
                <a:cxn ang="0">
                  <a:pos x="51" y="289"/>
                </a:cxn>
                <a:cxn ang="0">
                  <a:pos x="93" y="284"/>
                </a:cxn>
                <a:cxn ang="0">
                  <a:pos x="101" y="310"/>
                </a:cxn>
                <a:cxn ang="0">
                  <a:pos x="94" y="343"/>
                </a:cxn>
                <a:cxn ang="0">
                  <a:pos x="86" y="365"/>
                </a:cxn>
                <a:cxn ang="0">
                  <a:pos x="97" y="388"/>
                </a:cxn>
                <a:cxn ang="0">
                  <a:pos x="112" y="404"/>
                </a:cxn>
                <a:cxn ang="0">
                  <a:pos x="128" y="414"/>
                </a:cxn>
                <a:cxn ang="0">
                  <a:pos x="127" y="429"/>
                </a:cxn>
                <a:cxn ang="0">
                  <a:pos x="142" y="430"/>
                </a:cxn>
                <a:cxn ang="0">
                  <a:pos x="139" y="409"/>
                </a:cxn>
                <a:cxn ang="0">
                  <a:pos x="139" y="392"/>
                </a:cxn>
                <a:cxn ang="0">
                  <a:pos x="153" y="377"/>
                </a:cxn>
                <a:cxn ang="0">
                  <a:pos x="169" y="368"/>
                </a:cxn>
                <a:cxn ang="0">
                  <a:pos x="169" y="325"/>
                </a:cxn>
                <a:cxn ang="0">
                  <a:pos x="172" y="295"/>
                </a:cxn>
                <a:cxn ang="0">
                  <a:pos x="148" y="266"/>
                </a:cxn>
                <a:cxn ang="0">
                  <a:pos x="116" y="230"/>
                </a:cxn>
                <a:cxn ang="0">
                  <a:pos x="116" y="242"/>
                </a:cxn>
                <a:cxn ang="0">
                  <a:pos x="126" y="250"/>
                </a:cxn>
                <a:cxn ang="0">
                  <a:pos x="134" y="282"/>
                </a:cxn>
                <a:cxn ang="0">
                  <a:pos x="121" y="269"/>
                </a:cxn>
                <a:cxn ang="0">
                  <a:pos x="115" y="262"/>
                </a:cxn>
                <a:cxn ang="0">
                  <a:pos x="102" y="272"/>
                </a:cxn>
                <a:cxn ang="0">
                  <a:pos x="97" y="261"/>
                </a:cxn>
                <a:cxn ang="0">
                  <a:pos x="100" y="245"/>
                </a:cxn>
                <a:cxn ang="0">
                  <a:pos x="89" y="231"/>
                </a:cxn>
                <a:cxn ang="0">
                  <a:pos x="85" y="208"/>
                </a:cxn>
                <a:cxn ang="0">
                  <a:pos x="68" y="159"/>
                </a:cxn>
                <a:cxn ang="0">
                  <a:pos x="79" y="140"/>
                </a:cxn>
                <a:cxn ang="0">
                  <a:pos x="79" y="70"/>
                </a:cxn>
                <a:cxn ang="0">
                  <a:pos x="78" y="51"/>
                </a:cxn>
                <a:cxn ang="0">
                  <a:pos x="63" y="32"/>
                </a:cxn>
                <a:cxn ang="0">
                  <a:pos x="69" y="10"/>
                </a:cxn>
              </a:cxnLst>
              <a:rect l="0" t="0" r="r" b="b"/>
              <a:pathLst>
                <a:path w="175" h="431">
                  <a:moveTo>
                    <a:pt x="64" y="18"/>
                  </a:moveTo>
                  <a:lnTo>
                    <a:pt x="62" y="14"/>
                  </a:lnTo>
                  <a:lnTo>
                    <a:pt x="61" y="11"/>
                  </a:lnTo>
                  <a:lnTo>
                    <a:pt x="58" y="10"/>
                  </a:lnTo>
                  <a:lnTo>
                    <a:pt x="53" y="10"/>
                  </a:lnTo>
                  <a:lnTo>
                    <a:pt x="42" y="14"/>
                  </a:lnTo>
                  <a:lnTo>
                    <a:pt x="40" y="13"/>
                  </a:lnTo>
                  <a:lnTo>
                    <a:pt x="35" y="6"/>
                  </a:lnTo>
                  <a:lnTo>
                    <a:pt x="25" y="8"/>
                  </a:lnTo>
                  <a:lnTo>
                    <a:pt x="14" y="0"/>
                  </a:lnTo>
                  <a:lnTo>
                    <a:pt x="13" y="3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6" y="15"/>
                  </a:lnTo>
                  <a:lnTo>
                    <a:pt x="25" y="15"/>
                  </a:lnTo>
                  <a:lnTo>
                    <a:pt x="32" y="24"/>
                  </a:lnTo>
                  <a:lnTo>
                    <a:pt x="34" y="29"/>
                  </a:lnTo>
                  <a:lnTo>
                    <a:pt x="37" y="40"/>
                  </a:lnTo>
                  <a:lnTo>
                    <a:pt x="43" y="45"/>
                  </a:lnTo>
                  <a:lnTo>
                    <a:pt x="46" y="63"/>
                  </a:lnTo>
                  <a:lnTo>
                    <a:pt x="50" y="65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2" y="80"/>
                  </a:lnTo>
                  <a:lnTo>
                    <a:pt x="40" y="81"/>
                  </a:lnTo>
                  <a:lnTo>
                    <a:pt x="36" y="84"/>
                  </a:lnTo>
                  <a:lnTo>
                    <a:pt x="35" y="94"/>
                  </a:lnTo>
                  <a:lnTo>
                    <a:pt x="36" y="102"/>
                  </a:lnTo>
                  <a:lnTo>
                    <a:pt x="30" y="119"/>
                  </a:lnTo>
                  <a:lnTo>
                    <a:pt x="31" y="127"/>
                  </a:lnTo>
                  <a:lnTo>
                    <a:pt x="32" y="142"/>
                  </a:lnTo>
                  <a:lnTo>
                    <a:pt x="30" y="156"/>
                  </a:lnTo>
                  <a:lnTo>
                    <a:pt x="31" y="159"/>
                  </a:lnTo>
                  <a:lnTo>
                    <a:pt x="35" y="164"/>
                  </a:lnTo>
                  <a:lnTo>
                    <a:pt x="40" y="166"/>
                  </a:lnTo>
                  <a:lnTo>
                    <a:pt x="41" y="172"/>
                  </a:lnTo>
                  <a:lnTo>
                    <a:pt x="38" y="175"/>
                  </a:lnTo>
                  <a:lnTo>
                    <a:pt x="30" y="176"/>
                  </a:lnTo>
                  <a:lnTo>
                    <a:pt x="24" y="181"/>
                  </a:lnTo>
                  <a:lnTo>
                    <a:pt x="19" y="182"/>
                  </a:lnTo>
                  <a:lnTo>
                    <a:pt x="18" y="183"/>
                  </a:lnTo>
                  <a:lnTo>
                    <a:pt x="14" y="198"/>
                  </a:lnTo>
                  <a:lnTo>
                    <a:pt x="14" y="213"/>
                  </a:lnTo>
                  <a:lnTo>
                    <a:pt x="9" y="228"/>
                  </a:lnTo>
                  <a:lnTo>
                    <a:pt x="2" y="235"/>
                  </a:lnTo>
                  <a:lnTo>
                    <a:pt x="0" y="239"/>
                  </a:lnTo>
                  <a:lnTo>
                    <a:pt x="3" y="247"/>
                  </a:lnTo>
                  <a:lnTo>
                    <a:pt x="8" y="248"/>
                  </a:lnTo>
                  <a:lnTo>
                    <a:pt x="11" y="256"/>
                  </a:lnTo>
                  <a:lnTo>
                    <a:pt x="19" y="255"/>
                  </a:lnTo>
                  <a:lnTo>
                    <a:pt x="23" y="257"/>
                  </a:lnTo>
                  <a:lnTo>
                    <a:pt x="23" y="258"/>
                  </a:lnTo>
                  <a:lnTo>
                    <a:pt x="24" y="261"/>
                  </a:lnTo>
                  <a:lnTo>
                    <a:pt x="30" y="263"/>
                  </a:lnTo>
                  <a:lnTo>
                    <a:pt x="37" y="279"/>
                  </a:lnTo>
                  <a:lnTo>
                    <a:pt x="47" y="289"/>
                  </a:lnTo>
                  <a:lnTo>
                    <a:pt x="51" y="289"/>
                  </a:lnTo>
                  <a:lnTo>
                    <a:pt x="59" y="287"/>
                  </a:lnTo>
                  <a:lnTo>
                    <a:pt x="89" y="283"/>
                  </a:lnTo>
                  <a:lnTo>
                    <a:pt x="93" y="284"/>
                  </a:lnTo>
                  <a:lnTo>
                    <a:pt x="96" y="289"/>
                  </a:lnTo>
                  <a:lnTo>
                    <a:pt x="100" y="302"/>
                  </a:lnTo>
                  <a:lnTo>
                    <a:pt x="101" y="310"/>
                  </a:lnTo>
                  <a:lnTo>
                    <a:pt x="102" y="328"/>
                  </a:lnTo>
                  <a:lnTo>
                    <a:pt x="100" y="336"/>
                  </a:lnTo>
                  <a:lnTo>
                    <a:pt x="94" y="343"/>
                  </a:lnTo>
                  <a:lnTo>
                    <a:pt x="95" y="349"/>
                  </a:lnTo>
                  <a:lnTo>
                    <a:pt x="89" y="354"/>
                  </a:lnTo>
                  <a:lnTo>
                    <a:pt x="86" y="365"/>
                  </a:lnTo>
                  <a:lnTo>
                    <a:pt x="89" y="369"/>
                  </a:lnTo>
                  <a:lnTo>
                    <a:pt x="94" y="385"/>
                  </a:lnTo>
                  <a:lnTo>
                    <a:pt x="97" y="388"/>
                  </a:lnTo>
                  <a:lnTo>
                    <a:pt x="101" y="390"/>
                  </a:lnTo>
                  <a:lnTo>
                    <a:pt x="104" y="395"/>
                  </a:lnTo>
                  <a:lnTo>
                    <a:pt x="112" y="404"/>
                  </a:lnTo>
                  <a:lnTo>
                    <a:pt x="117" y="411"/>
                  </a:lnTo>
                  <a:lnTo>
                    <a:pt x="121" y="413"/>
                  </a:lnTo>
                  <a:lnTo>
                    <a:pt x="128" y="414"/>
                  </a:lnTo>
                  <a:lnTo>
                    <a:pt x="132" y="419"/>
                  </a:lnTo>
                  <a:lnTo>
                    <a:pt x="132" y="423"/>
                  </a:lnTo>
                  <a:lnTo>
                    <a:pt x="127" y="429"/>
                  </a:lnTo>
                  <a:lnTo>
                    <a:pt x="128" y="431"/>
                  </a:lnTo>
                  <a:lnTo>
                    <a:pt x="140" y="431"/>
                  </a:lnTo>
                  <a:lnTo>
                    <a:pt x="142" y="430"/>
                  </a:lnTo>
                  <a:lnTo>
                    <a:pt x="140" y="420"/>
                  </a:lnTo>
                  <a:lnTo>
                    <a:pt x="142" y="414"/>
                  </a:lnTo>
                  <a:lnTo>
                    <a:pt x="139" y="409"/>
                  </a:lnTo>
                  <a:lnTo>
                    <a:pt x="136" y="406"/>
                  </a:lnTo>
                  <a:lnTo>
                    <a:pt x="136" y="400"/>
                  </a:lnTo>
                  <a:lnTo>
                    <a:pt x="139" y="392"/>
                  </a:lnTo>
                  <a:lnTo>
                    <a:pt x="139" y="388"/>
                  </a:lnTo>
                  <a:lnTo>
                    <a:pt x="140" y="385"/>
                  </a:lnTo>
                  <a:lnTo>
                    <a:pt x="153" y="377"/>
                  </a:lnTo>
                  <a:lnTo>
                    <a:pt x="159" y="376"/>
                  </a:lnTo>
                  <a:lnTo>
                    <a:pt x="165" y="374"/>
                  </a:lnTo>
                  <a:lnTo>
                    <a:pt x="169" y="368"/>
                  </a:lnTo>
                  <a:lnTo>
                    <a:pt x="170" y="347"/>
                  </a:lnTo>
                  <a:lnTo>
                    <a:pt x="172" y="339"/>
                  </a:lnTo>
                  <a:lnTo>
                    <a:pt x="169" y="325"/>
                  </a:lnTo>
                  <a:lnTo>
                    <a:pt x="172" y="315"/>
                  </a:lnTo>
                  <a:lnTo>
                    <a:pt x="175" y="307"/>
                  </a:lnTo>
                  <a:lnTo>
                    <a:pt x="172" y="295"/>
                  </a:lnTo>
                  <a:lnTo>
                    <a:pt x="167" y="288"/>
                  </a:lnTo>
                  <a:lnTo>
                    <a:pt x="154" y="275"/>
                  </a:lnTo>
                  <a:lnTo>
                    <a:pt x="148" y="266"/>
                  </a:lnTo>
                  <a:lnTo>
                    <a:pt x="133" y="247"/>
                  </a:lnTo>
                  <a:lnTo>
                    <a:pt x="123" y="240"/>
                  </a:lnTo>
                  <a:lnTo>
                    <a:pt x="116" y="230"/>
                  </a:lnTo>
                  <a:lnTo>
                    <a:pt x="115" y="231"/>
                  </a:lnTo>
                  <a:lnTo>
                    <a:pt x="115" y="239"/>
                  </a:lnTo>
                  <a:lnTo>
                    <a:pt x="116" y="242"/>
                  </a:lnTo>
                  <a:lnTo>
                    <a:pt x="117" y="245"/>
                  </a:lnTo>
                  <a:lnTo>
                    <a:pt x="122" y="246"/>
                  </a:lnTo>
                  <a:lnTo>
                    <a:pt x="126" y="250"/>
                  </a:lnTo>
                  <a:lnTo>
                    <a:pt x="136" y="274"/>
                  </a:lnTo>
                  <a:lnTo>
                    <a:pt x="136" y="280"/>
                  </a:lnTo>
                  <a:lnTo>
                    <a:pt x="134" y="282"/>
                  </a:lnTo>
                  <a:lnTo>
                    <a:pt x="132" y="280"/>
                  </a:lnTo>
                  <a:lnTo>
                    <a:pt x="126" y="272"/>
                  </a:lnTo>
                  <a:lnTo>
                    <a:pt x="121" y="269"/>
                  </a:lnTo>
                  <a:lnTo>
                    <a:pt x="117" y="262"/>
                  </a:lnTo>
                  <a:lnTo>
                    <a:pt x="116" y="262"/>
                  </a:lnTo>
                  <a:lnTo>
                    <a:pt x="115" y="262"/>
                  </a:lnTo>
                  <a:lnTo>
                    <a:pt x="111" y="271"/>
                  </a:lnTo>
                  <a:lnTo>
                    <a:pt x="109" y="272"/>
                  </a:lnTo>
                  <a:lnTo>
                    <a:pt x="102" y="272"/>
                  </a:lnTo>
                  <a:lnTo>
                    <a:pt x="101" y="269"/>
                  </a:lnTo>
                  <a:lnTo>
                    <a:pt x="99" y="266"/>
                  </a:lnTo>
                  <a:lnTo>
                    <a:pt x="97" y="261"/>
                  </a:lnTo>
                  <a:lnTo>
                    <a:pt x="97" y="256"/>
                  </a:lnTo>
                  <a:lnTo>
                    <a:pt x="100" y="247"/>
                  </a:lnTo>
                  <a:lnTo>
                    <a:pt x="100" y="245"/>
                  </a:lnTo>
                  <a:lnTo>
                    <a:pt x="97" y="241"/>
                  </a:lnTo>
                  <a:lnTo>
                    <a:pt x="91" y="235"/>
                  </a:lnTo>
                  <a:lnTo>
                    <a:pt x="89" y="231"/>
                  </a:lnTo>
                  <a:lnTo>
                    <a:pt x="86" y="223"/>
                  </a:lnTo>
                  <a:lnTo>
                    <a:pt x="86" y="209"/>
                  </a:lnTo>
                  <a:lnTo>
                    <a:pt x="85" y="208"/>
                  </a:lnTo>
                  <a:lnTo>
                    <a:pt x="80" y="187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4"/>
                  </a:lnTo>
                  <a:lnTo>
                    <a:pt x="73" y="145"/>
                  </a:lnTo>
                  <a:lnTo>
                    <a:pt x="79" y="140"/>
                  </a:lnTo>
                  <a:lnTo>
                    <a:pt x="83" y="128"/>
                  </a:lnTo>
                  <a:lnTo>
                    <a:pt x="81" y="94"/>
                  </a:lnTo>
                  <a:lnTo>
                    <a:pt x="79" y="70"/>
                  </a:lnTo>
                  <a:lnTo>
                    <a:pt x="81" y="63"/>
                  </a:lnTo>
                  <a:lnTo>
                    <a:pt x="81" y="57"/>
                  </a:lnTo>
                  <a:lnTo>
                    <a:pt x="78" y="51"/>
                  </a:lnTo>
                  <a:lnTo>
                    <a:pt x="72" y="48"/>
                  </a:lnTo>
                  <a:lnTo>
                    <a:pt x="69" y="46"/>
                  </a:lnTo>
                  <a:lnTo>
                    <a:pt x="63" y="32"/>
                  </a:lnTo>
                  <a:lnTo>
                    <a:pt x="62" y="26"/>
                  </a:lnTo>
                  <a:lnTo>
                    <a:pt x="64" y="18"/>
                  </a:lnTo>
                  <a:lnTo>
                    <a:pt x="69" y="10"/>
                  </a:lnTo>
                  <a:lnTo>
                    <a:pt x="64" y="1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6" name="Freeform 25"/>
            <p:cNvSpPr>
              <a:spLocks noChangeAspect="1"/>
            </p:cNvSpPr>
            <p:nvPr/>
          </p:nvSpPr>
          <p:spPr bwMode="gray">
            <a:xfrm>
              <a:off x="3881599" y="4379584"/>
              <a:ext cx="103018" cy="206036"/>
            </a:xfrm>
            <a:custGeom>
              <a:avLst/>
              <a:gdLst/>
              <a:ahLst/>
              <a:cxnLst>
                <a:cxn ang="0">
                  <a:pos x="76" y="226"/>
                </a:cxn>
                <a:cxn ang="0">
                  <a:pos x="107" y="215"/>
                </a:cxn>
                <a:cxn ang="0">
                  <a:pos x="118" y="215"/>
                </a:cxn>
                <a:cxn ang="0">
                  <a:pos x="130" y="204"/>
                </a:cxn>
                <a:cxn ang="0">
                  <a:pos x="152" y="199"/>
                </a:cxn>
                <a:cxn ang="0">
                  <a:pos x="170" y="219"/>
                </a:cxn>
                <a:cxn ang="0">
                  <a:pos x="182" y="210"/>
                </a:cxn>
                <a:cxn ang="0">
                  <a:pos x="183" y="181"/>
                </a:cxn>
                <a:cxn ang="0">
                  <a:pos x="204" y="189"/>
                </a:cxn>
                <a:cxn ang="0">
                  <a:pos x="208" y="167"/>
                </a:cxn>
                <a:cxn ang="0">
                  <a:pos x="221" y="149"/>
                </a:cxn>
                <a:cxn ang="0">
                  <a:pos x="229" y="160"/>
                </a:cxn>
                <a:cxn ang="0">
                  <a:pos x="258" y="140"/>
                </a:cxn>
                <a:cxn ang="0">
                  <a:pos x="242" y="125"/>
                </a:cxn>
                <a:cxn ang="0">
                  <a:pos x="258" y="113"/>
                </a:cxn>
                <a:cxn ang="0">
                  <a:pos x="253" y="81"/>
                </a:cxn>
                <a:cxn ang="0">
                  <a:pos x="270" y="92"/>
                </a:cxn>
                <a:cxn ang="0">
                  <a:pos x="293" y="68"/>
                </a:cxn>
                <a:cxn ang="0">
                  <a:pos x="307" y="25"/>
                </a:cxn>
                <a:cxn ang="0">
                  <a:pos x="316" y="5"/>
                </a:cxn>
                <a:cxn ang="0">
                  <a:pos x="344" y="23"/>
                </a:cxn>
                <a:cxn ang="0">
                  <a:pos x="365" y="60"/>
                </a:cxn>
                <a:cxn ang="0">
                  <a:pos x="374" y="106"/>
                </a:cxn>
                <a:cxn ang="0">
                  <a:pos x="382" y="151"/>
                </a:cxn>
                <a:cxn ang="0">
                  <a:pos x="388" y="198"/>
                </a:cxn>
                <a:cxn ang="0">
                  <a:pos x="370" y="198"/>
                </a:cxn>
                <a:cxn ang="0">
                  <a:pos x="353" y="206"/>
                </a:cxn>
                <a:cxn ang="0">
                  <a:pos x="360" y="251"/>
                </a:cxn>
                <a:cxn ang="0">
                  <a:pos x="342" y="283"/>
                </a:cxn>
                <a:cxn ang="0">
                  <a:pos x="329" y="366"/>
                </a:cxn>
                <a:cxn ang="0">
                  <a:pos x="316" y="405"/>
                </a:cxn>
                <a:cxn ang="0">
                  <a:pos x="283" y="511"/>
                </a:cxn>
                <a:cxn ang="0">
                  <a:pos x="254" y="606"/>
                </a:cxn>
                <a:cxn ang="0">
                  <a:pos x="236" y="684"/>
                </a:cxn>
                <a:cxn ang="0">
                  <a:pos x="210" y="736"/>
                </a:cxn>
                <a:cxn ang="0">
                  <a:pos x="183" y="748"/>
                </a:cxn>
                <a:cxn ang="0">
                  <a:pos x="106" y="776"/>
                </a:cxn>
                <a:cxn ang="0">
                  <a:pos x="59" y="746"/>
                </a:cxn>
                <a:cxn ang="0">
                  <a:pos x="27" y="697"/>
                </a:cxn>
                <a:cxn ang="0">
                  <a:pos x="28" y="654"/>
                </a:cxn>
                <a:cxn ang="0">
                  <a:pos x="9" y="615"/>
                </a:cxn>
                <a:cxn ang="0">
                  <a:pos x="0" y="574"/>
                </a:cxn>
                <a:cxn ang="0">
                  <a:pos x="15" y="527"/>
                </a:cxn>
                <a:cxn ang="0">
                  <a:pos x="38" y="489"/>
                </a:cxn>
                <a:cxn ang="0">
                  <a:pos x="69" y="435"/>
                </a:cxn>
                <a:cxn ang="0">
                  <a:pos x="69" y="409"/>
                </a:cxn>
                <a:cxn ang="0">
                  <a:pos x="48" y="348"/>
                </a:cxn>
                <a:cxn ang="0">
                  <a:pos x="51" y="280"/>
                </a:cxn>
              </a:cxnLst>
              <a:rect l="0" t="0" r="r" b="b"/>
              <a:pathLst>
                <a:path w="391" h="776">
                  <a:moveTo>
                    <a:pt x="64" y="230"/>
                  </a:moveTo>
                  <a:lnTo>
                    <a:pt x="69" y="224"/>
                  </a:lnTo>
                  <a:lnTo>
                    <a:pt x="76" y="226"/>
                  </a:lnTo>
                  <a:lnTo>
                    <a:pt x="92" y="225"/>
                  </a:lnTo>
                  <a:lnTo>
                    <a:pt x="96" y="221"/>
                  </a:lnTo>
                  <a:lnTo>
                    <a:pt x="107" y="215"/>
                  </a:lnTo>
                  <a:lnTo>
                    <a:pt x="109" y="220"/>
                  </a:lnTo>
                  <a:lnTo>
                    <a:pt x="113" y="221"/>
                  </a:lnTo>
                  <a:lnTo>
                    <a:pt x="118" y="215"/>
                  </a:lnTo>
                  <a:lnTo>
                    <a:pt x="124" y="217"/>
                  </a:lnTo>
                  <a:lnTo>
                    <a:pt x="129" y="211"/>
                  </a:lnTo>
                  <a:lnTo>
                    <a:pt x="130" y="204"/>
                  </a:lnTo>
                  <a:lnTo>
                    <a:pt x="140" y="202"/>
                  </a:lnTo>
                  <a:lnTo>
                    <a:pt x="146" y="205"/>
                  </a:lnTo>
                  <a:lnTo>
                    <a:pt x="152" y="199"/>
                  </a:lnTo>
                  <a:lnTo>
                    <a:pt x="159" y="202"/>
                  </a:lnTo>
                  <a:lnTo>
                    <a:pt x="164" y="211"/>
                  </a:lnTo>
                  <a:lnTo>
                    <a:pt x="170" y="219"/>
                  </a:lnTo>
                  <a:lnTo>
                    <a:pt x="178" y="221"/>
                  </a:lnTo>
                  <a:lnTo>
                    <a:pt x="184" y="220"/>
                  </a:lnTo>
                  <a:lnTo>
                    <a:pt x="182" y="210"/>
                  </a:lnTo>
                  <a:lnTo>
                    <a:pt x="172" y="202"/>
                  </a:lnTo>
                  <a:lnTo>
                    <a:pt x="173" y="192"/>
                  </a:lnTo>
                  <a:lnTo>
                    <a:pt x="183" y="181"/>
                  </a:lnTo>
                  <a:lnTo>
                    <a:pt x="195" y="173"/>
                  </a:lnTo>
                  <a:lnTo>
                    <a:pt x="202" y="176"/>
                  </a:lnTo>
                  <a:lnTo>
                    <a:pt x="204" y="189"/>
                  </a:lnTo>
                  <a:lnTo>
                    <a:pt x="211" y="189"/>
                  </a:lnTo>
                  <a:lnTo>
                    <a:pt x="218" y="186"/>
                  </a:lnTo>
                  <a:lnTo>
                    <a:pt x="208" y="167"/>
                  </a:lnTo>
                  <a:lnTo>
                    <a:pt x="215" y="161"/>
                  </a:lnTo>
                  <a:lnTo>
                    <a:pt x="224" y="150"/>
                  </a:lnTo>
                  <a:lnTo>
                    <a:pt x="221" y="149"/>
                  </a:lnTo>
                  <a:lnTo>
                    <a:pt x="227" y="141"/>
                  </a:lnTo>
                  <a:lnTo>
                    <a:pt x="231" y="149"/>
                  </a:lnTo>
                  <a:lnTo>
                    <a:pt x="229" y="160"/>
                  </a:lnTo>
                  <a:lnTo>
                    <a:pt x="245" y="140"/>
                  </a:lnTo>
                  <a:lnTo>
                    <a:pt x="253" y="141"/>
                  </a:lnTo>
                  <a:lnTo>
                    <a:pt x="258" y="140"/>
                  </a:lnTo>
                  <a:lnTo>
                    <a:pt x="256" y="135"/>
                  </a:lnTo>
                  <a:lnTo>
                    <a:pt x="247" y="133"/>
                  </a:lnTo>
                  <a:lnTo>
                    <a:pt x="242" y="125"/>
                  </a:lnTo>
                  <a:lnTo>
                    <a:pt x="245" y="119"/>
                  </a:lnTo>
                  <a:lnTo>
                    <a:pt x="253" y="108"/>
                  </a:lnTo>
                  <a:lnTo>
                    <a:pt x="258" y="113"/>
                  </a:lnTo>
                  <a:lnTo>
                    <a:pt x="259" y="101"/>
                  </a:lnTo>
                  <a:lnTo>
                    <a:pt x="256" y="93"/>
                  </a:lnTo>
                  <a:lnTo>
                    <a:pt x="253" y="81"/>
                  </a:lnTo>
                  <a:lnTo>
                    <a:pt x="256" y="77"/>
                  </a:lnTo>
                  <a:lnTo>
                    <a:pt x="267" y="81"/>
                  </a:lnTo>
                  <a:lnTo>
                    <a:pt x="270" y="92"/>
                  </a:lnTo>
                  <a:lnTo>
                    <a:pt x="283" y="74"/>
                  </a:lnTo>
                  <a:lnTo>
                    <a:pt x="285" y="63"/>
                  </a:lnTo>
                  <a:lnTo>
                    <a:pt x="293" y="68"/>
                  </a:lnTo>
                  <a:lnTo>
                    <a:pt x="301" y="61"/>
                  </a:lnTo>
                  <a:lnTo>
                    <a:pt x="306" y="47"/>
                  </a:lnTo>
                  <a:lnTo>
                    <a:pt x="307" y="25"/>
                  </a:lnTo>
                  <a:lnTo>
                    <a:pt x="301" y="15"/>
                  </a:lnTo>
                  <a:lnTo>
                    <a:pt x="306" y="17"/>
                  </a:lnTo>
                  <a:lnTo>
                    <a:pt x="316" y="5"/>
                  </a:lnTo>
                  <a:lnTo>
                    <a:pt x="323" y="0"/>
                  </a:lnTo>
                  <a:lnTo>
                    <a:pt x="334" y="10"/>
                  </a:lnTo>
                  <a:lnTo>
                    <a:pt x="344" y="23"/>
                  </a:lnTo>
                  <a:lnTo>
                    <a:pt x="354" y="33"/>
                  </a:lnTo>
                  <a:lnTo>
                    <a:pt x="361" y="47"/>
                  </a:lnTo>
                  <a:lnTo>
                    <a:pt x="365" y="60"/>
                  </a:lnTo>
                  <a:lnTo>
                    <a:pt x="366" y="73"/>
                  </a:lnTo>
                  <a:lnTo>
                    <a:pt x="371" y="89"/>
                  </a:lnTo>
                  <a:lnTo>
                    <a:pt x="374" y="106"/>
                  </a:lnTo>
                  <a:lnTo>
                    <a:pt x="377" y="120"/>
                  </a:lnTo>
                  <a:lnTo>
                    <a:pt x="379" y="135"/>
                  </a:lnTo>
                  <a:lnTo>
                    <a:pt x="382" y="151"/>
                  </a:lnTo>
                  <a:lnTo>
                    <a:pt x="388" y="167"/>
                  </a:lnTo>
                  <a:lnTo>
                    <a:pt x="391" y="183"/>
                  </a:lnTo>
                  <a:lnTo>
                    <a:pt x="388" y="198"/>
                  </a:lnTo>
                  <a:lnTo>
                    <a:pt x="383" y="210"/>
                  </a:lnTo>
                  <a:lnTo>
                    <a:pt x="376" y="211"/>
                  </a:lnTo>
                  <a:lnTo>
                    <a:pt x="370" y="198"/>
                  </a:lnTo>
                  <a:lnTo>
                    <a:pt x="366" y="183"/>
                  </a:lnTo>
                  <a:lnTo>
                    <a:pt x="356" y="184"/>
                  </a:lnTo>
                  <a:lnTo>
                    <a:pt x="353" y="206"/>
                  </a:lnTo>
                  <a:lnTo>
                    <a:pt x="353" y="222"/>
                  </a:lnTo>
                  <a:lnTo>
                    <a:pt x="360" y="235"/>
                  </a:lnTo>
                  <a:lnTo>
                    <a:pt x="360" y="251"/>
                  </a:lnTo>
                  <a:lnTo>
                    <a:pt x="355" y="262"/>
                  </a:lnTo>
                  <a:lnTo>
                    <a:pt x="349" y="268"/>
                  </a:lnTo>
                  <a:lnTo>
                    <a:pt x="342" y="283"/>
                  </a:lnTo>
                  <a:lnTo>
                    <a:pt x="339" y="300"/>
                  </a:lnTo>
                  <a:lnTo>
                    <a:pt x="339" y="315"/>
                  </a:lnTo>
                  <a:lnTo>
                    <a:pt x="329" y="366"/>
                  </a:lnTo>
                  <a:lnTo>
                    <a:pt x="318" y="397"/>
                  </a:lnTo>
                  <a:lnTo>
                    <a:pt x="317" y="397"/>
                  </a:lnTo>
                  <a:lnTo>
                    <a:pt x="316" y="405"/>
                  </a:lnTo>
                  <a:lnTo>
                    <a:pt x="300" y="459"/>
                  </a:lnTo>
                  <a:lnTo>
                    <a:pt x="288" y="488"/>
                  </a:lnTo>
                  <a:lnTo>
                    <a:pt x="283" y="511"/>
                  </a:lnTo>
                  <a:lnTo>
                    <a:pt x="273" y="549"/>
                  </a:lnTo>
                  <a:lnTo>
                    <a:pt x="266" y="566"/>
                  </a:lnTo>
                  <a:lnTo>
                    <a:pt x="254" y="606"/>
                  </a:lnTo>
                  <a:lnTo>
                    <a:pt x="248" y="635"/>
                  </a:lnTo>
                  <a:lnTo>
                    <a:pt x="243" y="651"/>
                  </a:lnTo>
                  <a:lnTo>
                    <a:pt x="236" y="684"/>
                  </a:lnTo>
                  <a:lnTo>
                    <a:pt x="227" y="700"/>
                  </a:lnTo>
                  <a:lnTo>
                    <a:pt x="223" y="715"/>
                  </a:lnTo>
                  <a:lnTo>
                    <a:pt x="210" y="736"/>
                  </a:lnTo>
                  <a:lnTo>
                    <a:pt x="200" y="744"/>
                  </a:lnTo>
                  <a:lnTo>
                    <a:pt x="192" y="749"/>
                  </a:lnTo>
                  <a:lnTo>
                    <a:pt x="183" y="748"/>
                  </a:lnTo>
                  <a:lnTo>
                    <a:pt x="151" y="755"/>
                  </a:lnTo>
                  <a:lnTo>
                    <a:pt x="119" y="774"/>
                  </a:lnTo>
                  <a:lnTo>
                    <a:pt x="106" y="776"/>
                  </a:lnTo>
                  <a:lnTo>
                    <a:pt x="86" y="762"/>
                  </a:lnTo>
                  <a:lnTo>
                    <a:pt x="71" y="753"/>
                  </a:lnTo>
                  <a:lnTo>
                    <a:pt x="59" y="746"/>
                  </a:lnTo>
                  <a:lnTo>
                    <a:pt x="47" y="736"/>
                  </a:lnTo>
                  <a:lnTo>
                    <a:pt x="32" y="714"/>
                  </a:lnTo>
                  <a:lnTo>
                    <a:pt x="27" y="697"/>
                  </a:lnTo>
                  <a:lnTo>
                    <a:pt x="24" y="678"/>
                  </a:lnTo>
                  <a:lnTo>
                    <a:pt x="24" y="663"/>
                  </a:lnTo>
                  <a:lnTo>
                    <a:pt x="28" y="654"/>
                  </a:lnTo>
                  <a:lnTo>
                    <a:pt x="24" y="638"/>
                  </a:lnTo>
                  <a:lnTo>
                    <a:pt x="17" y="624"/>
                  </a:lnTo>
                  <a:lnTo>
                    <a:pt x="9" y="615"/>
                  </a:lnTo>
                  <a:lnTo>
                    <a:pt x="1" y="601"/>
                  </a:lnTo>
                  <a:lnTo>
                    <a:pt x="1" y="586"/>
                  </a:lnTo>
                  <a:lnTo>
                    <a:pt x="0" y="574"/>
                  </a:lnTo>
                  <a:lnTo>
                    <a:pt x="0" y="555"/>
                  </a:lnTo>
                  <a:lnTo>
                    <a:pt x="8" y="543"/>
                  </a:lnTo>
                  <a:lnTo>
                    <a:pt x="15" y="527"/>
                  </a:lnTo>
                  <a:lnTo>
                    <a:pt x="21" y="518"/>
                  </a:lnTo>
                  <a:lnTo>
                    <a:pt x="30" y="516"/>
                  </a:lnTo>
                  <a:lnTo>
                    <a:pt x="38" y="489"/>
                  </a:lnTo>
                  <a:lnTo>
                    <a:pt x="55" y="457"/>
                  </a:lnTo>
                  <a:lnTo>
                    <a:pt x="65" y="446"/>
                  </a:lnTo>
                  <a:lnTo>
                    <a:pt x="69" y="435"/>
                  </a:lnTo>
                  <a:lnTo>
                    <a:pt x="68" y="425"/>
                  </a:lnTo>
                  <a:lnTo>
                    <a:pt x="71" y="419"/>
                  </a:lnTo>
                  <a:lnTo>
                    <a:pt x="69" y="409"/>
                  </a:lnTo>
                  <a:lnTo>
                    <a:pt x="60" y="396"/>
                  </a:lnTo>
                  <a:lnTo>
                    <a:pt x="54" y="376"/>
                  </a:lnTo>
                  <a:lnTo>
                    <a:pt x="48" y="348"/>
                  </a:lnTo>
                  <a:lnTo>
                    <a:pt x="47" y="318"/>
                  </a:lnTo>
                  <a:lnTo>
                    <a:pt x="37" y="302"/>
                  </a:lnTo>
                  <a:lnTo>
                    <a:pt x="51" y="280"/>
                  </a:lnTo>
                  <a:lnTo>
                    <a:pt x="65" y="247"/>
                  </a:lnTo>
                  <a:lnTo>
                    <a:pt x="64" y="23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47" name="Group 26"/>
            <p:cNvGrpSpPr>
              <a:grpSpLocks noChangeAspect="1"/>
            </p:cNvGrpSpPr>
            <p:nvPr/>
          </p:nvGrpSpPr>
          <p:grpSpPr bwMode="gray">
            <a:xfrm>
              <a:off x="3424623" y="4267320"/>
              <a:ext cx="182262" cy="199432"/>
              <a:chOff x="2643" y="2535"/>
              <a:chExt cx="138" cy="151"/>
            </a:xfrm>
            <a:solidFill>
              <a:srgbClr val="DEEDBF"/>
            </a:solidFill>
          </p:grpSpPr>
          <p:sp>
            <p:nvSpPr>
              <p:cNvPr id="372" name="Freeform 26"/>
              <p:cNvSpPr>
                <a:spLocks noChangeAspect="1"/>
              </p:cNvSpPr>
              <p:nvPr/>
            </p:nvSpPr>
            <p:spPr bwMode="gray">
              <a:xfrm>
                <a:off x="2643" y="2550"/>
                <a:ext cx="138" cy="136"/>
              </a:xfrm>
              <a:custGeom>
                <a:avLst/>
                <a:gdLst/>
                <a:ahLst/>
                <a:cxnLst>
                  <a:cxn ang="0">
                    <a:pos x="14" y="557"/>
                  </a:cxn>
                  <a:cxn ang="0">
                    <a:pos x="30" y="499"/>
                  </a:cxn>
                  <a:cxn ang="0">
                    <a:pos x="43" y="451"/>
                  </a:cxn>
                  <a:cxn ang="0">
                    <a:pos x="53" y="418"/>
                  </a:cxn>
                  <a:cxn ang="0">
                    <a:pos x="90" y="381"/>
                  </a:cxn>
                  <a:cxn ang="0">
                    <a:pos x="116" y="331"/>
                  </a:cxn>
                  <a:cxn ang="0">
                    <a:pos x="122" y="283"/>
                  </a:cxn>
                  <a:cxn ang="0">
                    <a:pos x="95" y="235"/>
                  </a:cxn>
                  <a:cxn ang="0">
                    <a:pos x="86" y="175"/>
                  </a:cxn>
                  <a:cxn ang="0">
                    <a:pos x="84" y="128"/>
                  </a:cxn>
                  <a:cxn ang="0">
                    <a:pos x="53" y="53"/>
                  </a:cxn>
                  <a:cxn ang="0">
                    <a:pos x="40" y="26"/>
                  </a:cxn>
                  <a:cxn ang="0">
                    <a:pos x="79" y="9"/>
                  </a:cxn>
                  <a:cxn ang="0">
                    <a:pos x="132" y="4"/>
                  </a:cxn>
                  <a:cxn ang="0">
                    <a:pos x="193" y="3"/>
                  </a:cxn>
                  <a:cxn ang="0">
                    <a:pos x="258" y="3"/>
                  </a:cxn>
                  <a:cxn ang="0">
                    <a:pos x="275" y="19"/>
                  </a:cxn>
                  <a:cxn ang="0">
                    <a:pos x="290" y="68"/>
                  </a:cxn>
                  <a:cxn ang="0">
                    <a:pos x="339" y="129"/>
                  </a:cxn>
                  <a:cxn ang="0">
                    <a:pos x="404" y="122"/>
                  </a:cxn>
                  <a:cxn ang="0">
                    <a:pos x="430" y="95"/>
                  </a:cxn>
                  <a:cxn ang="0">
                    <a:pos x="436" y="67"/>
                  </a:cxn>
                  <a:cxn ang="0">
                    <a:pos x="504" y="83"/>
                  </a:cxn>
                  <a:cxn ang="0">
                    <a:pos x="560" y="128"/>
                  </a:cxn>
                  <a:cxn ang="0">
                    <a:pos x="565" y="178"/>
                  </a:cxn>
                  <a:cxn ang="0">
                    <a:pos x="573" y="226"/>
                  </a:cxn>
                  <a:cxn ang="0">
                    <a:pos x="580" y="278"/>
                  </a:cxn>
                  <a:cxn ang="0">
                    <a:pos x="572" y="295"/>
                  </a:cxn>
                  <a:cxn ang="0">
                    <a:pos x="590" y="304"/>
                  </a:cxn>
                  <a:cxn ang="0">
                    <a:pos x="651" y="288"/>
                  </a:cxn>
                  <a:cxn ang="0">
                    <a:pos x="682" y="279"/>
                  </a:cxn>
                  <a:cxn ang="0">
                    <a:pos x="686" y="288"/>
                  </a:cxn>
                  <a:cxn ang="0">
                    <a:pos x="683" y="311"/>
                  </a:cxn>
                  <a:cxn ang="0">
                    <a:pos x="681" y="364"/>
                  </a:cxn>
                  <a:cxn ang="0">
                    <a:pos x="683" y="396"/>
                  </a:cxn>
                  <a:cxn ang="0">
                    <a:pos x="573" y="452"/>
                  </a:cxn>
                  <a:cxn ang="0">
                    <a:pos x="573" y="601"/>
                  </a:cxn>
                  <a:cxn ang="0">
                    <a:pos x="603" y="630"/>
                  </a:cxn>
                  <a:cxn ang="0">
                    <a:pos x="630" y="654"/>
                  </a:cxn>
                  <a:cxn ang="0">
                    <a:pos x="549" y="683"/>
                  </a:cxn>
                  <a:cxn ang="0">
                    <a:pos x="513" y="677"/>
                  </a:cxn>
                  <a:cxn ang="0">
                    <a:pos x="417" y="671"/>
                  </a:cxn>
                  <a:cxn ang="0">
                    <a:pos x="369" y="644"/>
                  </a:cxn>
                  <a:cxn ang="0">
                    <a:pos x="201" y="644"/>
                  </a:cxn>
                  <a:cxn ang="0">
                    <a:pos x="112" y="633"/>
                  </a:cxn>
                  <a:cxn ang="0">
                    <a:pos x="62" y="618"/>
                  </a:cxn>
                  <a:cxn ang="0">
                    <a:pos x="26" y="629"/>
                  </a:cxn>
                  <a:cxn ang="0">
                    <a:pos x="0" y="617"/>
                  </a:cxn>
                </a:cxnLst>
                <a:rect l="0" t="0" r="r" b="b"/>
                <a:pathLst>
                  <a:path w="692" h="684">
                    <a:moveTo>
                      <a:pt x="5" y="597"/>
                    </a:moveTo>
                    <a:lnTo>
                      <a:pt x="5" y="576"/>
                    </a:lnTo>
                    <a:lnTo>
                      <a:pt x="6" y="565"/>
                    </a:lnTo>
                    <a:lnTo>
                      <a:pt x="14" y="557"/>
                    </a:lnTo>
                    <a:lnTo>
                      <a:pt x="21" y="532"/>
                    </a:lnTo>
                    <a:lnTo>
                      <a:pt x="25" y="522"/>
                    </a:lnTo>
                    <a:lnTo>
                      <a:pt x="26" y="508"/>
                    </a:lnTo>
                    <a:lnTo>
                      <a:pt x="30" y="499"/>
                    </a:lnTo>
                    <a:lnTo>
                      <a:pt x="31" y="487"/>
                    </a:lnTo>
                    <a:lnTo>
                      <a:pt x="33" y="481"/>
                    </a:lnTo>
                    <a:lnTo>
                      <a:pt x="36" y="470"/>
                    </a:lnTo>
                    <a:lnTo>
                      <a:pt x="43" y="451"/>
                    </a:lnTo>
                    <a:lnTo>
                      <a:pt x="43" y="444"/>
                    </a:lnTo>
                    <a:lnTo>
                      <a:pt x="47" y="439"/>
                    </a:lnTo>
                    <a:lnTo>
                      <a:pt x="47" y="433"/>
                    </a:lnTo>
                    <a:lnTo>
                      <a:pt x="53" y="418"/>
                    </a:lnTo>
                    <a:lnTo>
                      <a:pt x="63" y="411"/>
                    </a:lnTo>
                    <a:lnTo>
                      <a:pt x="69" y="403"/>
                    </a:lnTo>
                    <a:lnTo>
                      <a:pt x="70" y="391"/>
                    </a:lnTo>
                    <a:lnTo>
                      <a:pt x="90" y="381"/>
                    </a:lnTo>
                    <a:lnTo>
                      <a:pt x="103" y="366"/>
                    </a:lnTo>
                    <a:lnTo>
                      <a:pt x="108" y="358"/>
                    </a:lnTo>
                    <a:lnTo>
                      <a:pt x="113" y="347"/>
                    </a:lnTo>
                    <a:lnTo>
                      <a:pt x="116" y="331"/>
                    </a:lnTo>
                    <a:lnTo>
                      <a:pt x="116" y="315"/>
                    </a:lnTo>
                    <a:lnTo>
                      <a:pt x="118" y="306"/>
                    </a:lnTo>
                    <a:lnTo>
                      <a:pt x="117" y="290"/>
                    </a:lnTo>
                    <a:lnTo>
                      <a:pt x="122" y="283"/>
                    </a:lnTo>
                    <a:lnTo>
                      <a:pt x="117" y="264"/>
                    </a:lnTo>
                    <a:lnTo>
                      <a:pt x="105" y="253"/>
                    </a:lnTo>
                    <a:lnTo>
                      <a:pt x="100" y="242"/>
                    </a:lnTo>
                    <a:lnTo>
                      <a:pt x="95" y="235"/>
                    </a:lnTo>
                    <a:lnTo>
                      <a:pt x="89" y="219"/>
                    </a:lnTo>
                    <a:lnTo>
                      <a:pt x="81" y="188"/>
                    </a:lnTo>
                    <a:lnTo>
                      <a:pt x="81" y="182"/>
                    </a:lnTo>
                    <a:lnTo>
                      <a:pt x="86" y="175"/>
                    </a:lnTo>
                    <a:lnTo>
                      <a:pt x="94" y="169"/>
                    </a:lnTo>
                    <a:lnTo>
                      <a:pt x="94" y="151"/>
                    </a:lnTo>
                    <a:lnTo>
                      <a:pt x="90" y="137"/>
                    </a:lnTo>
                    <a:lnTo>
                      <a:pt x="84" y="128"/>
                    </a:lnTo>
                    <a:lnTo>
                      <a:pt x="73" y="91"/>
                    </a:lnTo>
                    <a:lnTo>
                      <a:pt x="70" y="79"/>
                    </a:lnTo>
                    <a:lnTo>
                      <a:pt x="67" y="70"/>
                    </a:lnTo>
                    <a:lnTo>
                      <a:pt x="53" y="53"/>
                    </a:lnTo>
                    <a:lnTo>
                      <a:pt x="48" y="45"/>
                    </a:lnTo>
                    <a:lnTo>
                      <a:pt x="43" y="36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1" y="24"/>
                    </a:lnTo>
                    <a:lnTo>
                      <a:pt x="47" y="21"/>
                    </a:lnTo>
                    <a:lnTo>
                      <a:pt x="65" y="16"/>
                    </a:lnTo>
                    <a:lnTo>
                      <a:pt x="79" y="9"/>
                    </a:lnTo>
                    <a:lnTo>
                      <a:pt x="92" y="4"/>
                    </a:lnTo>
                    <a:lnTo>
                      <a:pt x="101" y="4"/>
                    </a:lnTo>
                    <a:lnTo>
                      <a:pt x="108" y="3"/>
                    </a:lnTo>
                    <a:lnTo>
                      <a:pt x="132" y="4"/>
                    </a:lnTo>
                    <a:lnTo>
                      <a:pt x="154" y="2"/>
                    </a:lnTo>
                    <a:lnTo>
                      <a:pt x="161" y="4"/>
                    </a:lnTo>
                    <a:lnTo>
                      <a:pt x="180" y="5"/>
                    </a:lnTo>
                    <a:lnTo>
                      <a:pt x="193" y="3"/>
                    </a:lnTo>
                    <a:lnTo>
                      <a:pt x="207" y="3"/>
                    </a:lnTo>
                    <a:lnTo>
                      <a:pt x="240" y="0"/>
                    </a:lnTo>
                    <a:lnTo>
                      <a:pt x="256" y="2"/>
                    </a:lnTo>
                    <a:lnTo>
                      <a:pt x="258" y="3"/>
                    </a:lnTo>
                    <a:lnTo>
                      <a:pt x="263" y="10"/>
                    </a:lnTo>
                    <a:lnTo>
                      <a:pt x="267" y="11"/>
                    </a:lnTo>
                    <a:lnTo>
                      <a:pt x="271" y="10"/>
                    </a:lnTo>
                    <a:lnTo>
                      <a:pt x="275" y="19"/>
                    </a:lnTo>
                    <a:lnTo>
                      <a:pt x="280" y="37"/>
                    </a:lnTo>
                    <a:lnTo>
                      <a:pt x="282" y="51"/>
                    </a:lnTo>
                    <a:lnTo>
                      <a:pt x="283" y="56"/>
                    </a:lnTo>
                    <a:lnTo>
                      <a:pt x="290" y="68"/>
                    </a:lnTo>
                    <a:lnTo>
                      <a:pt x="294" y="84"/>
                    </a:lnTo>
                    <a:lnTo>
                      <a:pt x="306" y="97"/>
                    </a:lnTo>
                    <a:lnTo>
                      <a:pt x="327" y="124"/>
                    </a:lnTo>
                    <a:lnTo>
                      <a:pt x="339" y="129"/>
                    </a:lnTo>
                    <a:lnTo>
                      <a:pt x="353" y="129"/>
                    </a:lnTo>
                    <a:lnTo>
                      <a:pt x="374" y="122"/>
                    </a:lnTo>
                    <a:lnTo>
                      <a:pt x="387" y="119"/>
                    </a:lnTo>
                    <a:lnTo>
                      <a:pt x="404" y="122"/>
                    </a:lnTo>
                    <a:lnTo>
                      <a:pt x="424" y="122"/>
                    </a:lnTo>
                    <a:lnTo>
                      <a:pt x="427" y="107"/>
                    </a:lnTo>
                    <a:lnTo>
                      <a:pt x="428" y="100"/>
                    </a:lnTo>
                    <a:lnTo>
                      <a:pt x="430" y="95"/>
                    </a:lnTo>
                    <a:lnTo>
                      <a:pt x="431" y="91"/>
                    </a:lnTo>
                    <a:lnTo>
                      <a:pt x="433" y="86"/>
                    </a:lnTo>
                    <a:lnTo>
                      <a:pt x="434" y="75"/>
                    </a:lnTo>
                    <a:lnTo>
                      <a:pt x="436" y="67"/>
                    </a:lnTo>
                    <a:lnTo>
                      <a:pt x="479" y="67"/>
                    </a:lnTo>
                    <a:lnTo>
                      <a:pt x="482" y="61"/>
                    </a:lnTo>
                    <a:lnTo>
                      <a:pt x="505" y="61"/>
                    </a:lnTo>
                    <a:lnTo>
                      <a:pt x="504" y="83"/>
                    </a:lnTo>
                    <a:lnTo>
                      <a:pt x="552" y="84"/>
                    </a:lnTo>
                    <a:lnTo>
                      <a:pt x="556" y="88"/>
                    </a:lnTo>
                    <a:lnTo>
                      <a:pt x="558" y="96"/>
                    </a:lnTo>
                    <a:lnTo>
                      <a:pt x="560" y="128"/>
                    </a:lnTo>
                    <a:lnTo>
                      <a:pt x="563" y="140"/>
                    </a:lnTo>
                    <a:lnTo>
                      <a:pt x="563" y="156"/>
                    </a:lnTo>
                    <a:lnTo>
                      <a:pt x="565" y="172"/>
                    </a:lnTo>
                    <a:lnTo>
                      <a:pt x="565" y="178"/>
                    </a:lnTo>
                    <a:lnTo>
                      <a:pt x="562" y="189"/>
                    </a:lnTo>
                    <a:lnTo>
                      <a:pt x="562" y="203"/>
                    </a:lnTo>
                    <a:lnTo>
                      <a:pt x="564" y="212"/>
                    </a:lnTo>
                    <a:lnTo>
                      <a:pt x="573" y="226"/>
                    </a:lnTo>
                    <a:lnTo>
                      <a:pt x="579" y="247"/>
                    </a:lnTo>
                    <a:lnTo>
                      <a:pt x="585" y="263"/>
                    </a:lnTo>
                    <a:lnTo>
                      <a:pt x="585" y="271"/>
                    </a:lnTo>
                    <a:lnTo>
                      <a:pt x="580" y="278"/>
                    </a:lnTo>
                    <a:lnTo>
                      <a:pt x="569" y="289"/>
                    </a:lnTo>
                    <a:lnTo>
                      <a:pt x="569" y="291"/>
                    </a:lnTo>
                    <a:lnTo>
                      <a:pt x="570" y="294"/>
                    </a:lnTo>
                    <a:lnTo>
                      <a:pt x="572" y="295"/>
                    </a:lnTo>
                    <a:lnTo>
                      <a:pt x="575" y="296"/>
                    </a:lnTo>
                    <a:lnTo>
                      <a:pt x="581" y="304"/>
                    </a:lnTo>
                    <a:lnTo>
                      <a:pt x="587" y="305"/>
                    </a:lnTo>
                    <a:lnTo>
                      <a:pt x="590" y="304"/>
                    </a:lnTo>
                    <a:lnTo>
                      <a:pt x="592" y="298"/>
                    </a:lnTo>
                    <a:lnTo>
                      <a:pt x="595" y="290"/>
                    </a:lnTo>
                    <a:lnTo>
                      <a:pt x="600" y="288"/>
                    </a:lnTo>
                    <a:lnTo>
                      <a:pt x="651" y="288"/>
                    </a:lnTo>
                    <a:lnTo>
                      <a:pt x="661" y="284"/>
                    </a:lnTo>
                    <a:lnTo>
                      <a:pt x="670" y="287"/>
                    </a:lnTo>
                    <a:lnTo>
                      <a:pt x="672" y="287"/>
                    </a:lnTo>
                    <a:lnTo>
                      <a:pt x="682" y="279"/>
                    </a:lnTo>
                    <a:lnTo>
                      <a:pt x="683" y="279"/>
                    </a:lnTo>
                    <a:lnTo>
                      <a:pt x="687" y="283"/>
                    </a:lnTo>
                    <a:lnTo>
                      <a:pt x="687" y="287"/>
                    </a:lnTo>
                    <a:lnTo>
                      <a:pt x="686" y="288"/>
                    </a:lnTo>
                    <a:lnTo>
                      <a:pt x="685" y="290"/>
                    </a:lnTo>
                    <a:lnTo>
                      <a:pt x="686" y="300"/>
                    </a:lnTo>
                    <a:lnTo>
                      <a:pt x="686" y="305"/>
                    </a:lnTo>
                    <a:lnTo>
                      <a:pt x="683" y="311"/>
                    </a:lnTo>
                    <a:lnTo>
                      <a:pt x="683" y="323"/>
                    </a:lnTo>
                    <a:lnTo>
                      <a:pt x="681" y="336"/>
                    </a:lnTo>
                    <a:lnTo>
                      <a:pt x="682" y="350"/>
                    </a:lnTo>
                    <a:lnTo>
                      <a:pt x="681" y="364"/>
                    </a:lnTo>
                    <a:lnTo>
                      <a:pt x="678" y="373"/>
                    </a:lnTo>
                    <a:lnTo>
                      <a:pt x="678" y="388"/>
                    </a:lnTo>
                    <a:lnTo>
                      <a:pt x="680" y="392"/>
                    </a:lnTo>
                    <a:lnTo>
                      <a:pt x="683" y="396"/>
                    </a:lnTo>
                    <a:lnTo>
                      <a:pt x="692" y="398"/>
                    </a:lnTo>
                    <a:lnTo>
                      <a:pt x="633" y="398"/>
                    </a:lnTo>
                    <a:lnTo>
                      <a:pt x="573" y="398"/>
                    </a:lnTo>
                    <a:lnTo>
                      <a:pt x="573" y="452"/>
                    </a:lnTo>
                    <a:lnTo>
                      <a:pt x="573" y="508"/>
                    </a:lnTo>
                    <a:lnTo>
                      <a:pt x="573" y="562"/>
                    </a:lnTo>
                    <a:lnTo>
                      <a:pt x="573" y="600"/>
                    </a:lnTo>
                    <a:lnTo>
                      <a:pt x="573" y="601"/>
                    </a:lnTo>
                    <a:lnTo>
                      <a:pt x="580" y="607"/>
                    </a:lnTo>
                    <a:lnTo>
                      <a:pt x="584" y="614"/>
                    </a:lnTo>
                    <a:lnTo>
                      <a:pt x="597" y="623"/>
                    </a:lnTo>
                    <a:lnTo>
                      <a:pt x="603" y="630"/>
                    </a:lnTo>
                    <a:lnTo>
                      <a:pt x="613" y="639"/>
                    </a:lnTo>
                    <a:lnTo>
                      <a:pt x="617" y="644"/>
                    </a:lnTo>
                    <a:lnTo>
                      <a:pt x="626" y="648"/>
                    </a:lnTo>
                    <a:lnTo>
                      <a:pt x="630" y="654"/>
                    </a:lnTo>
                    <a:lnTo>
                      <a:pt x="638" y="659"/>
                    </a:lnTo>
                    <a:lnTo>
                      <a:pt x="635" y="661"/>
                    </a:lnTo>
                    <a:lnTo>
                      <a:pt x="624" y="664"/>
                    </a:lnTo>
                    <a:lnTo>
                      <a:pt x="549" y="683"/>
                    </a:lnTo>
                    <a:lnTo>
                      <a:pt x="541" y="684"/>
                    </a:lnTo>
                    <a:lnTo>
                      <a:pt x="537" y="682"/>
                    </a:lnTo>
                    <a:lnTo>
                      <a:pt x="525" y="681"/>
                    </a:lnTo>
                    <a:lnTo>
                      <a:pt x="513" y="677"/>
                    </a:lnTo>
                    <a:lnTo>
                      <a:pt x="497" y="676"/>
                    </a:lnTo>
                    <a:lnTo>
                      <a:pt x="463" y="669"/>
                    </a:lnTo>
                    <a:lnTo>
                      <a:pt x="436" y="669"/>
                    </a:lnTo>
                    <a:lnTo>
                      <a:pt x="417" y="671"/>
                    </a:lnTo>
                    <a:lnTo>
                      <a:pt x="408" y="671"/>
                    </a:lnTo>
                    <a:lnTo>
                      <a:pt x="391" y="665"/>
                    </a:lnTo>
                    <a:lnTo>
                      <a:pt x="385" y="655"/>
                    </a:lnTo>
                    <a:lnTo>
                      <a:pt x="369" y="644"/>
                    </a:lnTo>
                    <a:lnTo>
                      <a:pt x="349" y="644"/>
                    </a:lnTo>
                    <a:lnTo>
                      <a:pt x="302" y="644"/>
                    </a:lnTo>
                    <a:lnTo>
                      <a:pt x="255" y="644"/>
                    </a:lnTo>
                    <a:lnTo>
                      <a:pt x="201" y="644"/>
                    </a:lnTo>
                    <a:lnTo>
                      <a:pt x="151" y="644"/>
                    </a:lnTo>
                    <a:lnTo>
                      <a:pt x="133" y="644"/>
                    </a:lnTo>
                    <a:lnTo>
                      <a:pt x="126" y="646"/>
                    </a:lnTo>
                    <a:lnTo>
                      <a:pt x="112" y="633"/>
                    </a:lnTo>
                    <a:lnTo>
                      <a:pt x="99" y="628"/>
                    </a:lnTo>
                    <a:lnTo>
                      <a:pt x="94" y="619"/>
                    </a:lnTo>
                    <a:lnTo>
                      <a:pt x="84" y="618"/>
                    </a:lnTo>
                    <a:lnTo>
                      <a:pt x="62" y="618"/>
                    </a:lnTo>
                    <a:lnTo>
                      <a:pt x="52" y="622"/>
                    </a:lnTo>
                    <a:lnTo>
                      <a:pt x="42" y="632"/>
                    </a:lnTo>
                    <a:lnTo>
                      <a:pt x="36" y="635"/>
                    </a:lnTo>
                    <a:lnTo>
                      <a:pt x="26" y="629"/>
                    </a:lnTo>
                    <a:lnTo>
                      <a:pt x="15" y="638"/>
                    </a:lnTo>
                    <a:lnTo>
                      <a:pt x="4" y="644"/>
                    </a:lnTo>
                    <a:lnTo>
                      <a:pt x="4" y="638"/>
                    </a:lnTo>
                    <a:lnTo>
                      <a:pt x="0" y="617"/>
                    </a:lnTo>
                    <a:lnTo>
                      <a:pt x="0" y="606"/>
                    </a:lnTo>
                    <a:lnTo>
                      <a:pt x="5" y="608"/>
                    </a:lnTo>
                    <a:lnTo>
                      <a:pt x="5" y="597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73" name="Freeform 27"/>
              <p:cNvSpPr>
                <a:spLocks noChangeAspect="1"/>
              </p:cNvSpPr>
              <p:nvPr/>
            </p:nvSpPr>
            <p:spPr bwMode="gray">
              <a:xfrm>
                <a:off x="2647" y="2535"/>
                <a:ext cx="11" cy="16"/>
              </a:xfrm>
              <a:custGeom>
                <a:avLst/>
                <a:gdLst/>
                <a:ahLst/>
                <a:cxnLst>
                  <a:cxn ang="0">
                    <a:pos x="56" y="14"/>
                  </a:cxn>
                  <a:cxn ang="0">
                    <a:pos x="51" y="3"/>
                  </a:cxn>
                  <a:cxn ang="0">
                    <a:pos x="41" y="0"/>
                  </a:cxn>
                  <a:cxn ang="0">
                    <a:pos x="31" y="5"/>
                  </a:cxn>
                  <a:cxn ang="0">
                    <a:pos x="24" y="19"/>
                  </a:cxn>
                  <a:cxn ang="0">
                    <a:pos x="14" y="25"/>
                  </a:cxn>
                  <a:cxn ang="0">
                    <a:pos x="0" y="35"/>
                  </a:cxn>
                  <a:cxn ang="0">
                    <a:pos x="5" y="40"/>
                  </a:cxn>
                  <a:cxn ang="0">
                    <a:pos x="8" y="55"/>
                  </a:cxn>
                  <a:cxn ang="0">
                    <a:pos x="8" y="64"/>
                  </a:cxn>
                  <a:cxn ang="0">
                    <a:pos x="9" y="71"/>
                  </a:cxn>
                  <a:cxn ang="0">
                    <a:pos x="18" y="78"/>
                  </a:cxn>
                  <a:cxn ang="0">
                    <a:pos x="26" y="73"/>
                  </a:cxn>
                  <a:cxn ang="0">
                    <a:pos x="27" y="61"/>
                  </a:cxn>
                  <a:cxn ang="0">
                    <a:pos x="30" y="46"/>
                  </a:cxn>
                  <a:cxn ang="0">
                    <a:pos x="34" y="30"/>
                  </a:cxn>
                  <a:cxn ang="0">
                    <a:pos x="43" y="22"/>
                  </a:cxn>
                  <a:cxn ang="0">
                    <a:pos x="52" y="16"/>
                  </a:cxn>
                  <a:cxn ang="0">
                    <a:pos x="56" y="14"/>
                  </a:cxn>
                </a:cxnLst>
                <a:rect l="0" t="0" r="r" b="b"/>
                <a:pathLst>
                  <a:path w="56" h="78">
                    <a:moveTo>
                      <a:pt x="56" y="14"/>
                    </a:moveTo>
                    <a:lnTo>
                      <a:pt x="51" y="3"/>
                    </a:lnTo>
                    <a:lnTo>
                      <a:pt x="41" y="0"/>
                    </a:lnTo>
                    <a:lnTo>
                      <a:pt x="31" y="5"/>
                    </a:lnTo>
                    <a:lnTo>
                      <a:pt x="24" y="19"/>
                    </a:lnTo>
                    <a:lnTo>
                      <a:pt x="14" y="25"/>
                    </a:lnTo>
                    <a:lnTo>
                      <a:pt x="0" y="35"/>
                    </a:lnTo>
                    <a:lnTo>
                      <a:pt x="5" y="40"/>
                    </a:lnTo>
                    <a:lnTo>
                      <a:pt x="8" y="55"/>
                    </a:lnTo>
                    <a:lnTo>
                      <a:pt x="8" y="64"/>
                    </a:lnTo>
                    <a:lnTo>
                      <a:pt x="9" y="71"/>
                    </a:lnTo>
                    <a:lnTo>
                      <a:pt x="18" y="78"/>
                    </a:lnTo>
                    <a:lnTo>
                      <a:pt x="26" y="73"/>
                    </a:lnTo>
                    <a:lnTo>
                      <a:pt x="27" y="61"/>
                    </a:lnTo>
                    <a:lnTo>
                      <a:pt x="30" y="46"/>
                    </a:lnTo>
                    <a:lnTo>
                      <a:pt x="34" y="30"/>
                    </a:lnTo>
                    <a:lnTo>
                      <a:pt x="43" y="22"/>
                    </a:lnTo>
                    <a:lnTo>
                      <a:pt x="52" y="16"/>
                    </a:lnTo>
                    <a:lnTo>
                      <a:pt x="56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48" name="Freeform 28"/>
            <p:cNvSpPr>
              <a:spLocks noChangeAspect="1"/>
            </p:cNvSpPr>
            <p:nvPr/>
          </p:nvSpPr>
          <p:spPr bwMode="gray">
            <a:xfrm>
              <a:off x="3649148" y="4631845"/>
              <a:ext cx="33019" cy="34339"/>
            </a:xfrm>
            <a:custGeom>
              <a:avLst/>
              <a:gdLst/>
              <a:ahLst/>
              <a:cxnLst>
                <a:cxn ang="0">
                  <a:pos x="125" y="52"/>
                </a:cxn>
                <a:cxn ang="0">
                  <a:pos x="127" y="49"/>
                </a:cxn>
                <a:cxn ang="0">
                  <a:pos x="126" y="58"/>
                </a:cxn>
                <a:cxn ang="0">
                  <a:pos x="103" y="98"/>
                </a:cxn>
                <a:cxn ang="0">
                  <a:pos x="73" y="109"/>
                </a:cxn>
                <a:cxn ang="0">
                  <a:pos x="63" y="125"/>
                </a:cxn>
                <a:cxn ang="0">
                  <a:pos x="55" y="129"/>
                </a:cxn>
                <a:cxn ang="0">
                  <a:pos x="43" y="131"/>
                </a:cxn>
                <a:cxn ang="0">
                  <a:pos x="23" y="113"/>
                </a:cxn>
                <a:cxn ang="0">
                  <a:pos x="11" y="100"/>
                </a:cxn>
                <a:cxn ang="0">
                  <a:pos x="5" y="88"/>
                </a:cxn>
                <a:cxn ang="0">
                  <a:pos x="0" y="74"/>
                </a:cxn>
                <a:cxn ang="0">
                  <a:pos x="2" y="61"/>
                </a:cxn>
                <a:cxn ang="0">
                  <a:pos x="28" y="27"/>
                </a:cxn>
                <a:cxn ang="0">
                  <a:pos x="40" y="16"/>
                </a:cxn>
                <a:cxn ang="0">
                  <a:pos x="68" y="1"/>
                </a:cxn>
                <a:cxn ang="0">
                  <a:pos x="83" y="0"/>
                </a:cxn>
                <a:cxn ang="0">
                  <a:pos x="95" y="6"/>
                </a:cxn>
                <a:cxn ang="0">
                  <a:pos x="105" y="18"/>
                </a:cxn>
                <a:cxn ang="0">
                  <a:pos x="113" y="29"/>
                </a:cxn>
                <a:cxn ang="0">
                  <a:pos x="121" y="42"/>
                </a:cxn>
                <a:cxn ang="0">
                  <a:pos x="125" y="52"/>
                </a:cxn>
              </a:cxnLst>
              <a:rect l="0" t="0" r="r" b="b"/>
              <a:pathLst>
                <a:path w="127" h="131">
                  <a:moveTo>
                    <a:pt x="125" y="52"/>
                  </a:moveTo>
                  <a:lnTo>
                    <a:pt x="127" y="49"/>
                  </a:lnTo>
                  <a:lnTo>
                    <a:pt x="126" y="58"/>
                  </a:lnTo>
                  <a:lnTo>
                    <a:pt x="103" y="98"/>
                  </a:lnTo>
                  <a:lnTo>
                    <a:pt x="73" y="109"/>
                  </a:lnTo>
                  <a:lnTo>
                    <a:pt x="63" y="125"/>
                  </a:lnTo>
                  <a:lnTo>
                    <a:pt x="55" y="129"/>
                  </a:lnTo>
                  <a:lnTo>
                    <a:pt x="43" y="131"/>
                  </a:lnTo>
                  <a:lnTo>
                    <a:pt x="23" y="113"/>
                  </a:lnTo>
                  <a:lnTo>
                    <a:pt x="11" y="100"/>
                  </a:lnTo>
                  <a:lnTo>
                    <a:pt x="5" y="88"/>
                  </a:lnTo>
                  <a:lnTo>
                    <a:pt x="0" y="74"/>
                  </a:lnTo>
                  <a:lnTo>
                    <a:pt x="2" y="61"/>
                  </a:lnTo>
                  <a:lnTo>
                    <a:pt x="28" y="27"/>
                  </a:lnTo>
                  <a:lnTo>
                    <a:pt x="40" y="16"/>
                  </a:lnTo>
                  <a:lnTo>
                    <a:pt x="68" y="1"/>
                  </a:lnTo>
                  <a:lnTo>
                    <a:pt x="83" y="0"/>
                  </a:lnTo>
                  <a:lnTo>
                    <a:pt x="95" y="6"/>
                  </a:lnTo>
                  <a:lnTo>
                    <a:pt x="105" y="18"/>
                  </a:lnTo>
                  <a:lnTo>
                    <a:pt x="113" y="29"/>
                  </a:lnTo>
                  <a:lnTo>
                    <a:pt x="121" y="42"/>
                  </a:lnTo>
                  <a:lnTo>
                    <a:pt x="125" y="5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49" name="Freeform 29"/>
            <p:cNvSpPr>
              <a:spLocks noChangeAspect="1"/>
            </p:cNvSpPr>
            <p:nvPr/>
          </p:nvSpPr>
          <p:spPr bwMode="gray">
            <a:xfrm>
              <a:off x="3575187" y="4321471"/>
              <a:ext cx="169055" cy="145282"/>
            </a:xfrm>
            <a:custGeom>
              <a:avLst/>
              <a:gdLst/>
              <a:ahLst/>
              <a:cxnLst>
                <a:cxn ang="0">
                  <a:pos x="0" y="320"/>
                </a:cxn>
                <a:cxn ang="0">
                  <a:pos x="110" y="264"/>
                </a:cxn>
                <a:cxn ang="0">
                  <a:pos x="108" y="232"/>
                </a:cxn>
                <a:cxn ang="0">
                  <a:pos x="110" y="179"/>
                </a:cxn>
                <a:cxn ang="0">
                  <a:pos x="113" y="156"/>
                </a:cxn>
                <a:cxn ang="0">
                  <a:pos x="120" y="145"/>
                </a:cxn>
                <a:cxn ang="0">
                  <a:pos x="132" y="168"/>
                </a:cxn>
                <a:cxn ang="0">
                  <a:pos x="156" y="166"/>
                </a:cxn>
                <a:cxn ang="0">
                  <a:pos x="183" y="178"/>
                </a:cxn>
                <a:cxn ang="0">
                  <a:pos x="231" y="205"/>
                </a:cxn>
                <a:cxn ang="0">
                  <a:pos x="274" y="196"/>
                </a:cxn>
                <a:cxn ang="0">
                  <a:pos x="323" y="226"/>
                </a:cxn>
                <a:cxn ang="0">
                  <a:pos x="350" y="252"/>
                </a:cxn>
                <a:cxn ang="0">
                  <a:pos x="397" y="277"/>
                </a:cxn>
                <a:cxn ang="0">
                  <a:pos x="411" y="275"/>
                </a:cxn>
                <a:cxn ang="0">
                  <a:pos x="426" y="281"/>
                </a:cxn>
                <a:cxn ang="0">
                  <a:pos x="421" y="223"/>
                </a:cxn>
                <a:cxn ang="0">
                  <a:pos x="383" y="225"/>
                </a:cxn>
                <a:cxn ang="0">
                  <a:pos x="358" y="199"/>
                </a:cxn>
                <a:cxn ang="0">
                  <a:pos x="377" y="131"/>
                </a:cxn>
                <a:cxn ang="0">
                  <a:pos x="370" y="66"/>
                </a:cxn>
                <a:cxn ang="0">
                  <a:pos x="379" y="37"/>
                </a:cxn>
                <a:cxn ang="0">
                  <a:pos x="397" y="17"/>
                </a:cxn>
                <a:cxn ang="0">
                  <a:pos x="470" y="13"/>
                </a:cxn>
                <a:cxn ang="0">
                  <a:pos x="494" y="33"/>
                </a:cxn>
                <a:cxn ang="0">
                  <a:pos x="526" y="32"/>
                </a:cxn>
                <a:cxn ang="0">
                  <a:pos x="575" y="57"/>
                </a:cxn>
                <a:cxn ang="0">
                  <a:pos x="603" y="67"/>
                </a:cxn>
                <a:cxn ang="0">
                  <a:pos x="605" y="82"/>
                </a:cxn>
                <a:cxn ang="0">
                  <a:pos x="626" y="107"/>
                </a:cxn>
                <a:cxn ang="0">
                  <a:pos x="640" y="139"/>
                </a:cxn>
                <a:cxn ang="0">
                  <a:pos x="625" y="151"/>
                </a:cxn>
                <a:cxn ang="0">
                  <a:pos x="620" y="194"/>
                </a:cxn>
                <a:cxn ang="0">
                  <a:pos x="624" y="231"/>
                </a:cxn>
                <a:cxn ang="0">
                  <a:pos x="619" y="243"/>
                </a:cxn>
                <a:cxn ang="0">
                  <a:pos x="603" y="265"/>
                </a:cxn>
                <a:cxn ang="0">
                  <a:pos x="589" y="306"/>
                </a:cxn>
                <a:cxn ang="0">
                  <a:pos x="608" y="322"/>
                </a:cxn>
                <a:cxn ang="0">
                  <a:pos x="438" y="383"/>
                </a:cxn>
                <a:cxn ang="0">
                  <a:pos x="452" y="416"/>
                </a:cxn>
                <a:cxn ang="0">
                  <a:pos x="424" y="414"/>
                </a:cxn>
                <a:cxn ang="0">
                  <a:pos x="385" y="425"/>
                </a:cxn>
                <a:cxn ang="0">
                  <a:pos x="365" y="442"/>
                </a:cxn>
                <a:cxn ang="0">
                  <a:pos x="363" y="464"/>
                </a:cxn>
                <a:cxn ang="0">
                  <a:pos x="336" y="469"/>
                </a:cxn>
                <a:cxn ang="0">
                  <a:pos x="315" y="481"/>
                </a:cxn>
                <a:cxn ang="0">
                  <a:pos x="303" y="491"/>
                </a:cxn>
                <a:cxn ang="0">
                  <a:pos x="285" y="524"/>
                </a:cxn>
                <a:cxn ang="0">
                  <a:pos x="264" y="549"/>
                </a:cxn>
                <a:cxn ang="0">
                  <a:pos x="245" y="546"/>
                </a:cxn>
                <a:cxn ang="0">
                  <a:pos x="211" y="546"/>
                </a:cxn>
                <a:cxn ang="0">
                  <a:pos x="172" y="539"/>
                </a:cxn>
                <a:cxn ang="0">
                  <a:pos x="139" y="518"/>
                </a:cxn>
                <a:cxn ang="0">
                  <a:pos x="65" y="527"/>
                </a:cxn>
                <a:cxn ang="0">
                  <a:pos x="40" y="507"/>
                </a:cxn>
                <a:cxn ang="0">
                  <a:pos x="7" y="475"/>
                </a:cxn>
              </a:cxnLst>
              <a:rect l="0" t="0" r="r" b="b"/>
              <a:pathLst>
                <a:path w="640" h="552">
                  <a:moveTo>
                    <a:pt x="0" y="468"/>
                  </a:moveTo>
                  <a:lnTo>
                    <a:pt x="0" y="430"/>
                  </a:lnTo>
                  <a:lnTo>
                    <a:pt x="0" y="376"/>
                  </a:lnTo>
                  <a:lnTo>
                    <a:pt x="0" y="320"/>
                  </a:lnTo>
                  <a:lnTo>
                    <a:pt x="0" y="266"/>
                  </a:lnTo>
                  <a:lnTo>
                    <a:pt x="60" y="266"/>
                  </a:lnTo>
                  <a:lnTo>
                    <a:pt x="119" y="266"/>
                  </a:lnTo>
                  <a:lnTo>
                    <a:pt x="110" y="264"/>
                  </a:lnTo>
                  <a:lnTo>
                    <a:pt x="107" y="260"/>
                  </a:lnTo>
                  <a:lnTo>
                    <a:pt x="105" y="256"/>
                  </a:lnTo>
                  <a:lnTo>
                    <a:pt x="105" y="241"/>
                  </a:lnTo>
                  <a:lnTo>
                    <a:pt x="108" y="232"/>
                  </a:lnTo>
                  <a:lnTo>
                    <a:pt x="109" y="218"/>
                  </a:lnTo>
                  <a:lnTo>
                    <a:pt x="108" y="204"/>
                  </a:lnTo>
                  <a:lnTo>
                    <a:pt x="110" y="191"/>
                  </a:lnTo>
                  <a:lnTo>
                    <a:pt x="110" y="179"/>
                  </a:lnTo>
                  <a:lnTo>
                    <a:pt x="113" y="173"/>
                  </a:lnTo>
                  <a:lnTo>
                    <a:pt x="113" y="168"/>
                  </a:lnTo>
                  <a:lnTo>
                    <a:pt x="112" y="158"/>
                  </a:lnTo>
                  <a:lnTo>
                    <a:pt x="113" y="156"/>
                  </a:lnTo>
                  <a:lnTo>
                    <a:pt x="114" y="155"/>
                  </a:lnTo>
                  <a:lnTo>
                    <a:pt x="114" y="151"/>
                  </a:lnTo>
                  <a:lnTo>
                    <a:pt x="110" y="147"/>
                  </a:lnTo>
                  <a:lnTo>
                    <a:pt x="120" y="145"/>
                  </a:lnTo>
                  <a:lnTo>
                    <a:pt x="124" y="145"/>
                  </a:lnTo>
                  <a:lnTo>
                    <a:pt x="126" y="14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4" y="173"/>
                  </a:lnTo>
                  <a:lnTo>
                    <a:pt x="137" y="173"/>
                  </a:lnTo>
                  <a:lnTo>
                    <a:pt x="151" y="167"/>
                  </a:lnTo>
                  <a:lnTo>
                    <a:pt x="156" y="166"/>
                  </a:lnTo>
                  <a:lnTo>
                    <a:pt x="162" y="166"/>
                  </a:lnTo>
                  <a:lnTo>
                    <a:pt x="173" y="161"/>
                  </a:lnTo>
                  <a:lnTo>
                    <a:pt x="179" y="169"/>
                  </a:lnTo>
                  <a:lnTo>
                    <a:pt x="183" y="178"/>
                  </a:lnTo>
                  <a:lnTo>
                    <a:pt x="188" y="184"/>
                  </a:lnTo>
                  <a:lnTo>
                    <a:pt x="201" y="190"/>
                  </a:lnTo>
                  <a:lnTo>
                    <a:pt x="213" y="198"/>
                  </a:lnTo>
                  <a:lnTo>
                    <a:pt x="231" y="205"/>
                  </a:lnTo>
                  <a:lnTo>
                    <a:pt x="243" y="206"/>
                  </a:lnTo>
                  <a:lnTo>
                    <a:pt x="252" y="204"/>
                  </a:lnTo>
                  <a:lnTo>
                    <a:pt x="264" y="199"/>
                  </a:lnTo>
                  <a:lnTo>
                    <a:pt x="274" y="196"/>
                  </a:lnTo>
                  <a:lnTo>
                    <a:pt x="279" y="198"/>
                  </a:lnTo>
                  <a:lnTo>
                    <a:pt x="298" y="216"/>
                  </a:lnTo>
                  <a:lnTo>
                    <a:pt x="312" y="222"/>
                  </a:lnTo>
                  <a:lnTo>
                    <a:pt x="323" y="226"/>
                  </a:lnTo>
                  <a:lnTo>
                    <a:pt x="334" y="227"/>
                  </a:lnTo>
                  <a:lnTo>
                    <a:pt x="341" y="233"/>
                  </a:lnTo>
                  <a:lnTo>
                    <a:pt x="346" y="245"/>
                  </a:lnTo>
                  <a:lnTo>
                    <a:pt x="350" y="252"/>
                  </a:lnTo>
                  <a:lnTo>
                    <a:pt x="363" y="264"/>
                  </a:lnTo>
                  <a:lnTo>
                    <a:pt x="377" y="272"/>
                  </a:lnTo>
                  <a:lnTo>
                    <a:pt x="387" y="276"/>
                  </a:lnTo>
                  <a:lnTo>
                    <a:pt x="397" y="277"/>
                  </a:lnTo>
                  <a:lnTo>
                    <a:pt x="400" y="277"/>
                  </a:lnTo>
                  <a:lnTo>
                    <a:pt x="406" y="275"/>
                  </a:lnTo>
                  <a:lnTo>
                    <a:pt x="410" y="274"/>
                  </a:lnTo>
                  <a:lnTo>
                    <a:pt x="411" y="275"/>
                  </a:lnTo>
                  <a:lnTo>
                    <a:pt x="416" y="282"/>
                  </a:lnTo>
                  <a:lnTo>
                    <a:pt x="420" y="283"/>
                  </a:lnTo>
                  <a:lnTo>
                    <a:pt x="424" y="283"/>
                  </a:lnTo>
                  <a:lnTo>
                    <a:pt x="426" y="281"/>
                  </a:lnTo>
                  <a:lnTo>
                    <a:pt x="426" y="274"/>
                  </a:lnTo>
                  <a:lnTo>
                    <a:pt x="425" y="266"/>
                  </a:lnTo>
                  <a:lnTo>
                    <a:pt x="424" y="231"/>
                  </a:lnTo>
                  <a:lnTo>
                    <a:pt x="421" y="223"/>
                  </a:lnTo>
                  <a:lnTo>
                    <a:pt x="415" y="222"/>
                  </a:lnTo>
                  <a:lnTo>
                    <a:pt x="406" y="227"/>
                  </a:lnTo>
                  <a:lnTo>
                    <a:pt x="395" y="225"/>
                  </a:lnTo>
                  <a:lnTo>
                    <a:pt x="383" y="225"/>
                  </a:lnTo>
                  <a:lnTo>
                    <a:pt x="376" y="220"/>
                  </a:lnTo>
                  <a:lnTo>
                    <a:pt x="366" y="207"/>
                  </a:lnTo>
                  <a:lnTo>
                    <a:pt x="360" y="201"/>
                  </a:lnTo>
                  <a:lnTo>
                    <a:pt x="358" y="199"/>
                  </a:lnTo>
                  <a:lnTo>
                    <a:pt x="357" y="189"/>
                  </a:lnTo>
                  <a:lnTo>
                    <a:pt x="360" y="182"/>
                  </a:lnTo>
                  <a:lnTo>
                    <a:pt x="362" y="170"/>
                  </a:lnTo>
                  <a:lnTo>
                    <a:pt x="377" y="131"/>
                  </a:lnTo>
                  <a:lnTo>
                    <a:pt x="378" y="124"/>
                  </a:lnTo>
                  <a:lnTo>
                    <a:pt x="379" y="99"/>
                  </a:lnTo>
                  <a:lnTo>
                    <a:pt x="377" y="85"/>
                  </a:lnTo>
                  <a:lnTo>
                    <a:pt x="370" y="66"/>
                  </a:lnTo>
                  <a:lnTo>
                    <a:pt x="370" y="56"/>
                  </a:lnTo>
                  <a:lnTo>
                    <a:pt x="372" y="53"/>
                  </a:lnTo>
                  <a:lnTo>
                    <a:pt x="374" y="44"/>
                  </a:lnTo>
                  <a:lnTo>
                    <a:pt x="379" y="37"/>
                  </a:lnTo>
                  <a:lnTo>
                    <a:pt x="387" y="23"/>
                  </a:lnTo>
                  <a:lnTo>
                    <a:pt x="389" y="21"/>
                  </a:lnTo>
                  <a:lnTo>
                    <a:pt x="394" y="17"/>
                  </a:lnTo>
                  <a:lnTo>
                    <a:pt x="397" y="17"/>
                  </a:lnTo>
                  <a:lnTo>
                    <a:pt x="406" y="13"/>
                  </a:lnTo>
                  <a:lnTo>
                    <a:pt x="468" y="0"/>
                  </a:lnTo>
                  <a:lnTo>
                    <a:pt x="471" y="6"/>
                  </a:lnTo>
                  <a:lnTo>
                    <a:pt x="470" y="13"/>
                  </a:lnTo>
                  <a:lnTo>
                    <a:pt x="471" y="22"/>
                  </a:lnTo>
                  <a:lnTo>
                    <a:pt x="475" y="23"/>
                  </a:lnTo>
                  <a:lnTo>
                    <a:pt x="483" y="24"/>
                  </a:lnTo>
                  <a:lnTo>
                    <a:pt x="494" y="33"/>
                  </a:lnTo>
                  <a:lnTo>
                    <a:pt x="502" y="22"/>
                  </a:lnTo>
                  <a:lnTo>
                    <a:pt x="508" y="21"/>
                  </a:lnTo>
                  <a:lnTo>
                    <a:pt x="516" y="23"/>
                  </a:lnTo>
                  <a:lnTo>
                    <a:pt x="526" y="32"/>
                  </a:lnTo>
                  <a:lnTo>
                    <a:pt x="530" y="39"/>
                  </a:lnTo>
                  <a:lnTo>
                    <a:pt x="538" y="43"/>
                  </a:lnTo>
                  <a:lnTo>
                    <a:pt x="546" y="45"/>
                  </a:lnTo>
                  <a:lnTo>
                    <a:pt x="575" y="57"/>
                  </a:lnTo>
                  <a:lnTo>
                    <a:pt x="586" y="61"/>
                  </a:lnTo>
                  <a:lnTo>
                    <a:pt x="597" y="61"/>
                  </a:lnTo>
                  <a:lnTo>
                    <a:pt x="599" y="64"/>
                  </a:lnTo>
                  <a:lnTo>
                    <a:pt x="603" y="67"/>
                  </a:lnTo>
                  <a:lnTo>
                    <a:pt x="602" y="70"/>
                  </a:lnTo>
                  <a:lnTo>
                    <a:pt x="602" y="75"/>
                  </a:lnTo>
                  <a:lnTo>
                    <a:pt x="603" y="76"/>
                  </a:lnTo>
                  <a:lnTo>
                    <a:pt x="605" y="82"/>
                  </a:lnTo>
                  <a:lnTo>
                    <a:pt x="614" y="82"/>
                  </a:lnTo>
                  <a:lnTo>
                    <a:pt x="621" y="91"/>
                  </a:lnTo>
                  <a:lnTo>
                    <a:pt x="623" y="96"/>
                  </a:lnTo>
                  <a:lnTo>
                    <a:pt x="626" y="107"/>
                  </a:lnTo>
                  <a:lnTo>
                    <a:pt x="632" y="112"/>
                  </a:lnTo>
                  <a:lnTo>
                    <a:pt x="635" y="130"/>
                  </a:lnTo>
                  <a:lnTo>
                    <a:pt x="639" y="132"/>
                  </a:lnTo>
                  <a:lnTo>
                    <a:pt x="640" y="139"/>
                  </a:lnTo>
                  <a:lnTo>
                    <a:pt x="640" y="142"/>
                  </a:lnTo>
                  <a:lnTo>
                    <a:pt x="631" y="147"/>
                  </a:lnTo>
                  <a:lnTo>
                    <a:pt x="629" y="148"/>
                  </a:lnTo>
                  <a:lnTo>
                    <a:pt x="625" y="151"/>
                  </a:lnTo>
                  <a:lnTo>
                    <a:pt x="624" y="161"/>
                  </a:lnTo>
                  <a:lnTo>
                    <a:pt x="625" y="169"/>
                  </a:lnTo>
                  <a:lnTo>
                    <a:pt x="619" y="186"/>
                  </a:lnTo>
                  <a:lnTo>
                    <a:pt x="620" y="194"/>
                  </a:lnTo>
                  <a:lnTo>
                    <a:pt x="621" y="209"/>
                  </a:lnTo>
                  <a:lnTo>
                    <a:pt x="619" y="223"/>
                  </a:lnTo>
                  <a:lnTo>
                    <a:pt x="620" y="226"/>
                  </a:lnTo>
                  <a:lnTo>
                    <a:pt x="624" y="231"/>
                  </a:lnTo>
                  <a:lnTo>
                    <a:pt x="629" y="233"/>
                  </a:lnTo>
                  <a:lnTo>
                    <a:pt x="630" y="239"/>
                  </a:lnTo>
                  <a:lnTo>
                    <a:pt x="627" y="242"/>
                  </a:lnTo>
                  <a:lnTo>
                    <a:pt x="619" y="243"/>
                  </a:lnTo>
                  <a:lnTo>
                    <a:pt x="613" y="248"/>
                  </a:lnTo>
                  <a:lnTo>
                    <a:pt x="608" y="249"/>
                  </a:lnTo>
                  <a:lnTo>
                    <a:pt x="607" y="250"/>
                  </a:lnTo>
                  <a:lnTo>
                    <a:pt x="603" y="265"/>
                  </a:lnTo>
                  <a:lnTo>
                    <a:pt x="603" y="280"/>
                  </a:lnTo>
                  <a:lnTo>
                    <a:pt x="598" y="295"/>
                  </a:lnTo>
                  <a:lnTo>
                    <a:pt x="591" y="302"/>
                  </a:lnTo>
                  <a:lnTo>
                    <a:pt x="589" y="306"/>
                  </a:lnTo>
                  <a:lnTo>
                    <a:pt x="592" y="314"/>
                  </a:lnTo>
                  <a:lnTo>
                    <a:pt x="597" y="315"/>
                  </a:lnTo>
                  <a:lnTo>
                    <a:pt x="600" y="323"/>
                  </a:lnTo>
                  <a:lnTo>
                    <a:pt x="608" y="322"/>
                  </a:lnTo>
                  <a:lnTo>
                    <a:pt x="612" y="324"/>
                  </a:lnTo>
                  <a:lnTo>
                    <a:pt x="612" y="325"/>
                  </a:lnTo>
                  <a:lnTo>
                    <a:pt x="603" y="326"/>
                  </a:lnTo>
                  <a:lnTo>
                    <a:pt x="438" y="383"/>
                  </a:lnTo>
                  <a:lnTo>
                    <a:pt x="446" y="399"/>
                  </a:lnTo>
                  <a:lnTo>
                    <a:pt x="448" y="411"/>
                  </a:lnTo>
                  <a:lnTo>
                    <a:pt x="453" y="414"/>
                  </a:lnTo>
                  <a:lnTo>
                    <a:pt x="452" y="416"/>
                  </a:lnTo>
                  <a:lnTo>
                    <a:pt x="444" y="415"/>
                  </a:lnTo>
                  <a:lnTo>
                    <a:pt x="436" y="417"/>
                  </a:lnTo>
                  <a:lnTo>
                    <a:pt x="430" y="416"/>
                  </a:lnTo>
                  <a:lnTo>
                    <a:pt x="424" y="414"/>
                  </a:lnTo>
                  <a:lnTo>
                    <a:pt x="420" y="414"/>
                  </a:lnTo>
                  <a:lnTo>
                    <a:pt x="408" y="420"/>
                  </a:lnTo>
                  <a:lnTo>
                    <a:pt x="392" y="421"/>
                  </a:lnTo>
                  <a:lnTo>
                    <a:pt x="385" y="425"/>
                  </a:lnTo>
                  <a:lnTo>
                    <a:pt x="378" y="432"/>
                  </a:lnTo>
                  <a:lnTo>
                    <a:pt x="372" y="432"/>
                  </a:lnTo>
                  <a:lnTo>
                    <a:pt x="366" y="435"/>
                  </a:lnTo>
                  <a:lnTo>
                    <a:pt x="365" y="442"/>
                  </a:lnTo>
                  <a:lnTo>
                    <a:pt x="365" y="451"/>
                  </a:lnTo>
                  <a:lnTo>
                    <a:pt x="366" y="455"/>
                  </a:lnTo>
                  <a:lnTo>
                    <a:pt x="365" y="459"/>
                  </a:lnTo>
                  <a:lnTo>
                    <a:pt x="363" y="464"/>
                  </a:lnTo>
                  <a:lnTo>
                    <a:pt x="362" y="468"/>
                  </a:lnTo>
                  <a:lnTo>
                    <a:pt x="354" y="468"/>
                  </a:lnTo>
                  <a:lnTo>
                    <a:pt x="342" y="467"/>
                  </a:lnTo>
                  <a:lnTo>
                    <a:pt x="336" y="469"/>
                  </a:lnTo>
                  <a:lnTo>
                    <a:pt x="334" y="473"/>
                  </a:lnTo>
                  <a:lnTo>
                    <a:pt x="331" y="473"/>
                  </a:lnTo>
                  <a:lnTo>
                    <a:pt x="324" y="482"/>
                  </a:lnTo>
                  <a:lnTo>
                    <a:pt x="315" y="481"/>
                  </a:lnTo>
                  <a:lnTo>
                    <a:pt x="312" y="482"/>
                  </a:lnTo>
                  <a:lnTo>
                    <a:pt x="309" y="485"/>
                  </a:lnTo>
                  <a:lnTo>
                    <a:pt x="307" y="490"/>
                  </a:lnTo>
                  <a:lnTo>
                    <a:pt x="303" y="491"/>
                  </a:lnTo>
                  <a:lnTo>
                    <a:pt x="297" y="503"/>
                  </a:lnTo>
                  <a:lnTo>
                    <a:pt x="287" y="513"/>
                  </a:lnTo>
                  <a:lnTo>
                    <a:pt x="285" y="518"/>
                  </a:lnTo>
                  <a:lnTo>
                    <a:pt x="285" y="524"/>
                  </a:lnTo>
                  <a:lnTo>
                    <a:pt x="280" y="529"/>
                  </a:lnTo>
                  <a:lnTo>
                    <a:pt x="276" y="532"/>
                  </a:lnTo>
                  <a:lnTo>
                    <a:pt x="270" y="541"/>
                  </a:lnTo>
                  <a:lnTo>
                    <a:pt x="264" y="549"/>
                  </a:lnTo>
                  <a:lnTo>
                    <a:pt x="259" y="549"/>
                  </a:lnTo>
                  <a:lnTo>
                    <a:pt x="252" y="552"/>
                  </a:lnTo>
                  <a:lnTo>
                    <a:pt x="247" y="551"/>
                  </a:lnTo>
                  <a:lnTo>
                    <a:pt x="245" y="546"/>
                  </a:lnTo>
                  <a:lnTo>
                    <a:pt x="241" y="544"/>
                  </a:lnTo>
                  <a:lnTo>
                    <a:pt x="233" y="545"/>
                  </a:lnTo>
                  <a:lnTo>
                    <a:pt x="228" y="544"/>
                  </a:lnTo>
                  <a:lnTo>
                    <a:pt x="211" y="546"/>
                  </a:lnTo>
                  <a:lnTo>
                    <a:pt x="198" y="541"/>
                  </a:lnTo>
                  <a:lnTo>
                    <a:pt x="179" y="543"/>
                  </a:lnTo>
                  <a:lnTo>
                    <a:pt x="174" y="543"/>
                  </a:lnTo>
                  <a:lnTo>
                    <a:pt x="172" y="539"/>
                  </a:lnTo>
                  <a:lnTo>
                    <a:pt x="164" y="537"/>
                  </a:lnTo>
                  <a:lnTo>
                    <a:pt x="157" y="524"/>
                  </a:lnTo>
                  <a:lnTo>
                    <a:pt x="153" y="521"/>
                  </a:lnTo>
                  <a:lnTo>
                    <a:pt x="139" y="518"/>
                  </a:lnTo>
                  <a:lnTo>
                    <a:pt x="118" y="518"/>
                  </a:lnTo>
                  <a:lnTo>
                    <a:pt x="115" y="514"/>
                  </a:lnTo>
                  <a:lnTo>
                    <a:pt x="72" y="525"/>
                  </a:lnTo>
                  <a:lnTo>
                    <a:pt x="65" y="527"/>
                  </a:lnTo>
                  <a:lnTo>
                    <a:pt x="57" y="522"/>
                  </a:lnTo>
                  <a:lnTo>
                    <a:pt x="53" y="516"/>
                  </a:lnTo>
                  <a:lnTo>
                    <a:pt x="44" y="512"/>
                  </a:lnTo>
                  <a:lnTo>
                    <a:pt x="40" y="507"/>
                  </a:lnTo>
                  <a:lnTo>
                    <a:pt x="30" y="498"/>
                  </a:lnTo>
                  <a:lnTo>
                    <a:pt x="24" y="491"/>
                  </a:lnTo>
                  <a:lnTo>
                    <a:pt x="11" y="482"/>
                  </a:lnTo>
                  <a:lnTo>
                    <a:pt x="7" y="475"/>
                  </a:lnTo>
                  <a:lnTo>
                    <a:pt x="0" y="469"/>
                  </a:lnTo>
                  <a:lnTo>
                    <a:pt x="0" y="46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0" name="Freeform 30"/>
            <p:cNvSpPr>
              <a:spLocks noChangeAspect="1"/>
            </p:cNvSpPr>
            <p:nvPr/>
          </p:nvSpPr>
          <p:spPr bwMode="gray">
            <a:xfrm>
              <a:off x="3621413" y="4431092"/>
              <a:ext cx="112263" cy="106980"/>
            </a:xfrm>
            <a:custGeom>
              <a:avLst/>
              <a:gdLst/>
              <a:ahLst/>
              <a:cxnLst>
                <a:cxn ang="0">
                  <a:pos x="202" y="60"/>
                </a:cxn>
                <a:cxn ang="0">
                  <a:pos x="198" y="66"/>
                </a:cxn>
                <a:cxn ang="0">
                  <a:pos x="193" y="70"/>
                </a:cxn>
                <a:cxn ang="0">
                  <a:pos x="179" y="66"/>
                </a:cxn>
                <a:cxn ang="0">
                  <a:pos x="175" y="71"/>
                </a:cxn>
                <a:cxn ang="0">
                  <a:pos x="169" y="70"/>
                </a:cxn>
                <a:cxn ang="0">
                  <a:pos x="164" y="72"/>
                </a:cxn>
                <a:cxn ang="0">
                  <a:pos x="156" y="78"/>
                </a:cxn>
                <a:cxn ang="0">
                  <a:pos x="156" y="83"/>
                </a:cxn>
                <a:cxn ang="0">
                  <a:pos x="153" y="86"/>
                </a:cxn>
                <a:cxn ang="0">
                  <a:pos x="143" y="87"/>
                </a:cxn>
                <a:cxn ang="0">
                  <a:pos x="140" y="93"/>
                </a:cxn>
                <a:cxn ang="0">
                  <a:pos x="130" y="100"/>
                </a:cxn>
                <a:cxn ang="0">
                  <a:pos x="121" y="110"/>
                </a:cxn>
                <a:cxn ang="0">
                  <a:pos x="115" y="115"/>
                </a:cxn>
                <a:cxn ang="0">
                  <a:pos x="103" y="129"/>
                </a:cxn>
                <a:cxn ang="0">
                  <a:pos x="92" y="135"/>
                </a:cxn>
                <a:cxn ang="0">
                  <a:pos x="80" y="138"/>
                </a:cxn>
                <a:cxn ang="0">
                  <a:pos x="73" y="132"/>
                </a:cxn>
                <a:cxn ang="0">
                  <a:pos x="61" y="131"/>
                </a:cxn>
                <a:cxn ang="0">
                  <a:pos x="39" y="132"/>
                </a:cxn>
                <a:cxn ang="0">
                  <a:pos x="7" y="129"/>
                </a:cxn>
                <a:cxn ang="0">
                  <a:pos x="0" y="125"/>
                </a:cxn>
                <a:cxn ang="0">
                  <a:pos x="3" y="140"/>
                </a:cxn>
                <a:cxn ang="0">
                  <a:pos x="27" y="172"/>
                </a:cxn>
                <a:cxn ang="0">
                  <a:pos x="35" y="197"/>
                </a:cxn>
                <a:cxn ang="0">
                  <a:pos x="77" y="247"/>
                </a:cxn>
                <a:cxn ang="0">
                  <a:pos x="107" y="260"/>
                </a:cxn>
                <a:cxn ang="0">
                  <a:pos x="129" y="279"/>
                </a:cxn>
                <a:cxn ang="0">
                  <a:pos x="140" y="308"/>
                </a:cxn>
                <a:cxn ang="0">
                  <a:pos x="150" y="341"/>
                </a:cxn>
                <a:cxn ang="0">
                  <a:pos x="167" y="355"/>
                </a:cxn>
                <a:cxn ang="0">
                  <a:pos x="193" y="357"/>
                </a:cxn>
                <a:cxn ang="0">
                  <a:pos x="216" y="367"/>
                </a:cxn>
                <a:cxn ang="0">
                  <a:pos x="239" y="371"/>
                </a:cxn>
                <a:cxn ang="0">
                  <a:pos x="271" y="380"/>
                </a:cxn>
                <a:cxn ang="0">
                  <a:pos x="296" y="380"/>
                </a:cxn>
                <a:cxn ang="0">
                  <a:pos x="329" y="388"/>
                </a:cxn>
                <a:cxn ang="0">
                  <a:pos x="349" y="404"/>
                </a:cxn>
                <a:cxn ang="0">
                  <a:pos x="351" y="404"/>
                </a:cxn>
                <a:cxn ang="0">
                  <a:pos x="355" y="377"/>
                </a:cxn>
                <a:cxn ang="0">
                  <a:pos x="372" y="360"/>
                </a:cxn>
                <a:cxn ang="0">
                  <a:pos x="398" y="318"/>
                </a:cxn>
                <a:cxn ang="0">
                  <a:pos x="422" y="251"/>
                </a:cxn>
                <a:cxn ang="0">
                  <a:pos x="414" y="211"/>
                </a:cxn>
                <a:cxn ang="0">
                  <a:pos x="422" y="175"/>
                </a:cxn>
                <a:cxn ang="0">
                  <a:pos x="428" y="151"/>
                </a:cxn>
                <a:cxn ang="0">
                  <a:pos x="428" y="105"/>
                </a:cxn>
                <a:cxn ang="0">
                  <a:pos x="420" y="73"/>
                </a:cxn>
                <a:cxn ang="0">
                  <a:pos x="410" y="50"/>
                </a:cxn>
                <a:cxn ang="0">
                  <a:pos x="351" y="27"/>
                </a:cxn>
                <a:cxn ang="0">
                  <a:pos x="322" y="19"/>
                </a:cxn>
                <a:cxn ang="0">
                  <a:pos x="281" y="19"/>
                </a:cxn>
                <a:cxn ang="0">
                  <a:pos x="280" y="2"/>
                </a:cxn>
                <a:cxn ang="0">
                  <a:pos x="264" y="3"/>
                </a:cxn>
                <a:cxn ang="0">
                  <a:pos x="252" y="0"/>
                </a:cxn>
                <a:cxn ang="0">
                  <a:pos x="236" y="6"/>
                </a:cxn>
                <a:cxn ang="0">
                  <a:pos x="213" y="11"/>
                </a:cxn>
                <a:cxn ang="0">
                  <a:pos x="200" y="18"/>
                </a:cxn>
                <a:cxn ang="0">
                  <a:pos x="193" y="28"/>
                </a:cxn>
                <a:cxn ang="0">
                  <a:pos x="194" y="41"/>
                </a:cxn>
                <a:cxn ang="0">
                  <a:pos x="191" y="50"/>
                </a:cxn>
              </a:cxnLst>
              <a:rect l="0" t="0" r="r" b="b"/>
              <a:pathLst>
                <a:path w="428" h="405">
                  <a:moveTo>
                    <a:pt x="190" y="54"/>
                  </a:moveTo>
                  <a:lnTo>
                    <a:pt x="202" y="60"/>
                  </a:lnTo>
                  <a:lnTo>
                    <a:pt x="202" y="64"/>
                  </a:lnTo>
                  <a:lnTo>
                    <a:pt x="198" y="66"/>
                  </a:lnTo>
                  <a:lnTo>
                    <a:pt x="195" y="70"/>
                  </a:lnTo>
                  <a:lnTo>
                    <a:pt x="193" y="70"/>
                  </a:lnTo>
                  <a:lnTo>
                    <a:pt x="184" y="66"/>
                  </a:lnTo>
                  <a:lnTo>
                    <a:pt x="179" y="66"/>
                  </a:lnTo>
                  <a:lnTo>
                    <a:pt x="177" y="67"/>
                  </a:lnTo>
                  <a:lnTo>
                    <a:pt x="175" y="71"/>
                  </a:lnTo>
                  <a:lnTo>
                    <a:pt x="172" y="72"/>
                  </a:lnTo>
                  <a:lnTo>
                    <a:pt x="169" y="70"/>
                  </a:lnTo>
                  <a:lnTo>
                    <a:pt x="167" y="70"/>
                  </a:lnTo>
                  <a:lnTo>
                    <a:pt x="164" y="72"/>
                  </a:lnTo>
                  <a:lnTo>
                    <a:pt x="159" y="75"/>
                  </a:lnTo>
                  <a:lnTo>
                    <a:pt x="156" y="78"/>
                  </a:lnTo>
                  <a:lnTo>
                    <a:pt x="155" y="81"/>
                  </a:lnTo>
                  <a:lnTo>
                    <a:pt x="156" y="83"/>
                  </a:lnTo>
                  <a:lnTo>
                    <a:pt x="155" y="84"/>
                  </a:lnTo>
                  <a:lnTo>
                    <a:pt x="153" y="86"/>
                  </a:lnTo>
                  <a:lnTo>
                    <a:pt x="151" y="83"/>
                  </a:lnTo>
                  <a:lnTo>
                    <a:pt x="143" y="87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35" y="96"/>
                  </a:lnTo>
                  <a:lnTo>
                    <a:pt x="130" y="100"/>
                  </a:lnTo>
                  <a:lnTo>
                    <a:pt x="126" y="107"/>
                  </a:lnTo>
                  <a:lnTo>
                    <a:pt x="121" y="110"/>
                  </a:lnTo>
                  <a:lnTo>
                    <a:pt x="121" y="113"/>
                  </a:lnTo>
                  <a:lnTo>
                    <a:pt x="115" y="115"/>
                  </a:lnTo>
                  <a:lnTo>
                    <a:pt x="110" y="123"/>
                  </a:lnTo>
                  <a:lnTo>
                    <a:pt x="103" y="129"/>
                  </a:lnTo>
                  <a:lnTo>
                    <a:pt x="98" y="127"/>
                  </a:lnTo>
                  <a:lnTo>
                    <a:pt x="92" y="135"/>
                  </a:lnTo>
                  <a:lnTo>
                    <a:pt x="87" y="135"/>
                  </a:lnTo>
                  <a:lnTo>
                    <a:pt x="80" y="138"/>
                  </a:lnTo>
                  <a:lnTo>
                    <a:pt x="75" y="137"/>
                  </a:lnTo>
                  <a:lnTo>
                    <a:pt x="73" y="132"/>
                  </a:lnTo>
                  <a:lnTo>
                    <a:pt x="69" y="130"/>
                  </a:lnTo>
                  <a:lnTo>
                    <a:pt x="61" y="131"/>
                  </a:lnTo>
                  <a:lnTo>
                    <a:pt x="56" y="130"/>
                  </a:lnTo>
                  <a:lnTo>
                    <a:pt x="39" y="132"/>
                  </a:lnTo>
                  <a:lnTo>
                    <a:pt x="26" y="127"/>
                  </a:lnTo>
                  <a:lnTo>
                    <a:pt x="7" y="129"/>
                  </a:lnTo>
                  <a:lnTo>
                    <a:pt x="2" y="129"/>
                  </a:lnTo>
                  <a:lnTo>
                    <a:pt x="0" y="125"/>
                  </a:lnTo>
                  <a:lnTo>
                    <a:pt x="0" y="134"/>
                  </a:lnTo>
                  <a:lnTo>
                    <a:pt x="3" y="140"/>
                  </a:lnTo>
                  <a:lnTo>
                    <a:pt x="16" y="162"/>
                  </a:lnTo>
                  <a:lnTo>
                    <a:pt x="27" y="172"/>
                  </a:lnTo>
                  <a:lnTo>
                    <a:pt x="28" y="183"/>
                  </a:lnTo>
                  <a:lnTo>
                    <a:pt x="35" y="197"/>
                  </a:lnTo>
                  <a:lnTo>
                    <a:pt x="48" y="216"/>
                  </a:lnTo>
                  <a:lnTo>
                    <a:pt x="77" y="247"/>
                  </a:lnTo>
                  <a:lnTo>
                    <a:pt x="94" y="250"/>
                  </a:lnTo>
                  <a:lnTo>
                    <a:pt x="107" y="260"/>
                  </a:lnTo>
                  <a:lnTo>
                    <a:pt x="116" y="274"/>
                  </a:lnTo>
                  <a:lnTo>
                    <a:pt x="129" y="279"/>
                  </a:lnTo>
                  <a:lnTo>
                    <a:pt x="140" y="287"/>
                  </a:lnTo>
                  <a:lnTo>
                    <a:pt x="140" y="308"/>
                  </a:lnTo>
                  <a:lnTo>
                    <a:pt x="143" y="328"/>
                  </a:lnTo>
                  <a:lnTo>
                    <a:pt x="150" y="341"/>
                  </a:lnTo>
                  <a:lnTo>
                    <a:pt x="158" y="350"/>
                  </a:lnTo>
                  <a:lnTo>
                    <a:pt x="167" y="355"/>
                  </a:lnTo>
                  <a:lnTo>
                    <a:pt x="180" y="357"/>
                  </a:lnTo>
                  <a:lnTo>
                    <a:pt x="193" y="357"/>
                  </a:lnTo>
                  <a:lnTo>
                    <a:pt x="206" y="363"/>
                  </a:lnTo>
                  <a:lnTo>
                    <a:pt x="216" y="367"/>
                  </a:lnTo>
                  <a:lnTo>
                    <a:pt x="227" y="376"/>
                  </a:lnTo>
                  <a:lnTo>
                    <a:pt x="239" y="371"/>
                  </a:lnTo>
                  <a:lnTo>
                    <a:pt x="248" y="373"/>
                  </a:lnTo>
                  <a:lnTo>
                    <a:pt x="271" y="380"/>
                  </a:lnTo>
                  <a:lnTo>
                    <a:pt x="283" y="383"/>
                  </a:lnTo>
                  <a:lnTo>
                    <a:pt x="296" y="380"/>
                  </a:lnTo>
                  <a:lnTo>
                    <a:pt x="308" y="382"/>
                  </a:lnTo>
                  <a:lnTo>
                    <a:pt x="329" y="388"/>
                  </a:lnTo>
                  <a:lnTo>
                    <a:pt x="344" y="403"/>
                  </a:lnTo>
                  <a:lnTo>
                    <a:pt x="349" y="404"/>
                  </a:lnTo>
                  <a:lnTo>
                    <a:pt x="350" y="405"/>
                  </a:lnTo>
                  <a:lnTo>
                    <a:pt x="351" y="404"/>
                  </a:lnTo>
                  <a:lnTo>
                    <a:pt x="351" y="389"/>
                  </a:lnTo>
                  <a:lnTo>
                    <a:pt x="355" y="377"/>
                  </a:lnTo>
                  <a:lnTo>
                    <a:pt x="361" y="367"/>
                  </a:lnTo>
                  <a:lnTo>
                    <a:pt x="372" y="360"/>
                  </a:lnTo>
                  <a:lnTo>
                    <a:pt x="379" y="352"/>
                  </a:lnTo>
                  <a:lnTo>
                    <a:pt x="398" y="318"/>
                  </a:lnTo>
                  <a:lnTo>
                    <a:pt x="405" y="287"/>
                  </a:lnTo>
                  <a:lnTo>
                    <a:pt x="422" y="251"/>
                  </a:lnTo>
                  <a:lnTo>
                    <a:pt x="419" y="224"/>
                  </a:lnTo>
                  <a:lnTo>
                    <a:pt x="414" y="211"/>
                  </a:lnTo>
                  <a:lnTo>
                    <a:pt x="412" y="194"/>
                  </a:lnTo>
                  <a:lnTo>
                    <a:pt x="422" y="175"/>
                  </a:lnTo>
                  <a:lnTo>
                    <a:pt x="424" y="167"/>
                  </a:lnTo>
                  <a:lnTo>
                    <a:pt x="428" y="151"/>
                  </a:lnTo>
                  <a:lnTo>
                    <a:pt x="427" y="140"/>
                  </a:lnTo>
                  <a:lnTo>
                    <a:pt x="428" y="105"/>
                  </a:lnTo>
                  <a:lnTo>
                    <a:pt x="424" y="83"/>
                  </a:lnTo>
                  <a:lnTo>
                    <a:pt x="420" y="73"/>
                  </a:lnTo>
                  <a:lnTo>
                    <a:pt x="419" y="60"/>
                  </a:lnTo>
                  <a:lnTo>
                    <a:pt x="410" y="50"/>
                  </a:lnTo>
                  <a:lnTo>
                    <a:pt x="379" y="39"/>
                  </a:lnTo>
                  <a:lnTo>
                    <a:pt x="351" y="27"/>
                  </a:lnTo>
                  <a:lnTo>
                    <a:pt x="336" y="23"/>
                  </a:lnTo>
                  <a:lnTo>
                    <a:pt x="322" y="19"/>
                  </a:lnTo>
                  <a:lnTo>
                    <a:pt x="299" y="21"/>
                  </a:lnTo>
                  <a:lnTo>
                    <a:pt x="281" y="19"/>
                  </a:lnTo>
                  <a:lnTo>
                    <a:pt x="281" y="0"/>
                  </a:lnTo>
                  <a:lnTo>
                    <a:pt x="280" y="2"/>
                  </a:lnTo>
                  <a:lnTo>
                    <a:pt x="272" y="1"/>
                  </a:lnTo>
                  <a:lnTo>
                    <a:pt x="264" y="3"/>
                  </a:lnTo>
                  <a:lnTo>
                    <a:pt x="258" y="2"/>
                  </a:lnTo>
                  <a:lnTo>
                    <a:pt x="252" y="0"/>
                  </a:lnTo>
                  <a:lnTo>
                    <a:pt x="248" y="0"/>
                  </a:lnTo>
                  <a:lnTo>
                    <a:pt x="236" y="6"/>
                  </a:lnTo>
                  <a:lnTo>
                    <a:pt x="220" y="7"/>
                  </a:lnTo>
                  <a:lnTo>
                    <a:pt x="213" y="11"/>
                  </a:lnTo>
                  <a:lnTo>
                    <a:pt x="206" y="18"/>
                  </a:lnTo>
                  <a:lnTo>
                    <a:pt x="200" y="18"/>
                  </a:lnTo>
                  <a:lnTo>
                    <a:pt x="194" y="21"/>
                  </a:lnTo>
                  <a:lnTo>
                    <a:pt x="193" y="28"/>
                  </a:lnTo>
                  <a:lnTo>
                    <a:pt x="193" y="37"/>
                  </a:lnTo>
                  <a:lnTo>
                    <a:pt x="194" y="41"/>
                  </a:lnTo>
                  <a:lnTo>
                    <a:pt x="193" y="45"/>
                  </a:lnTo>
                  <a:lnTo>
                    <a:pt x="191" y="50"/>
                  </a:lnTo>
                  <a:lnTo>
                    <a:pt x="190" y="5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1" name="Freeform 31"/>
            <p:cNvSpPr>
              <a:spLocks noChangeAspect="1"/>
            </p:cNvSpPr>
            <p:nvPr/>
          </p:nvSpPr>
          <p:spPr bwMode="gray">
            <a:xfrm>
              <a:off x="3424623" y="4449583"/>
              <a:ext cx="194149" cy="191508"/>
            </a:xfrm>
            <a:custGeom>
              <a:avLst/>
              <a:gdLst/>
              <a:ahLst/>
              <a:cxnLst>
                <a:cxn ang="0">
                  <a:pos x="252" y="26"/>
                </a:cxn>
                <a:cxn ang="0">
                  <a:pos x="130" y="26"/>
                </a:cxn>
                <a:cxn ang="0">
                  <a:pos x="96" y="10"/>
                </a:cxn>
                <a:cxn ang="0">
                  <a:pos x="59" y="0"/>
                </a:cxn>
                <a:cxn ang="0">
                  <a:pos x="33" y="17"/>
                </a:cxn>
                <a:cxn ang="0">
                  <a:pos x="1" y="26"/>
                </a:cxn>
                <a:cxn ang="0">
                  <a:pos x="3" y="64"/>
                </a:cxn>
                <a:cxn ang="0">
                  <a:pos x="17" y="100"/>
                </a:cxn>
                <a:cxn ang="0">
                  <a:pos x="34" y="117"/>
                </a:cxn>
                <a:cxn ang="0">
                  <a:pos x="46" y="139"/>
                </a:cxn>
                <a:cxn ang="0">
                  <a:pos x="62" y="168"/>
                </a:cxn>
                <a:cxn ang="0">
                  <a:pos x="82" y="209"/>
                </a:cxn>
                <a:cxn ang="0">
                  <a:pos x="96" y="238"/>
                </a:cxn>
                <a:cxn ang="0">
                  <a:pos x="118" y="278"/>
                </a:cxn>
                <a:cxn ang="0">
                  <a:pos x="150" y="331"/>
                </a:cxn>
                <a:cxn ang="0">
                  <a:pos x="151" y="369"/>
                </a:cxn>
                <a:cxn ang="0">
                  <a:pos x="153" y="435"/>
                </a:cxn>
                <a:cxn ang="0">
                  <a:pos x="172" y="477"/>
                </a:cxn>
                <a:cxn ang="0">
                  <a:pos x="172" y="521"/>
                </a:cxn>
                <a:cxn ang="0">
                  <a:pos x="179" y="555"/>
                </a:cxn>
                <a:cxn ang="0">
                  <a:pos x="188" y="589"/>
                </a:cxn>
                <a:cxn ang="0">
                  <a:pos x="214" y="646"/>
                </a:cxn>
                <a:cxn ang="0">
                  <a:pos x="243" y="683"/>
                </a:cxn>
                <a:cxn ang="0">
                  <a:pos x="264" y="700"/>
                </a:cxn>
                <a:cxn ang="0">
                  <a:pos x="279" y="689"/>
                </a:cxn>
                <a:cxn ang="0">
                  <a:pos x="323" y="695"/>
                </a:cxn>
                <a:cxn ang="0">
                  <a:pos x="350" y="722"/>
                </a:cxn>
                <a:cxn ang="0">
                  <a:pos x="393" y="720"/>
                </a:cxn>
                <a:cxn ang="0">
                  <a:pos x="435" y="695"/>
                </a:cxn>
                <a:cxn ang="0">
                  <a:pos x="452" y="633"/>
                </a:cxn>
                <a:cxn ang="0">
                  <a:pos x="452" y="460"/>
                </a:cxn>
                <a:cxn ang="0">
                  <a:pos x="452" y="295"/>
                </a:cxn>
                <a:cxn ang="0">
                  <a:pos x="507" y="200"/>
                </a:cxn>
                <a:cxn ang="0">
                  <a:pos x="512" y="86"/>
                </a:cxn>
                <a:cxn ang="0">
                  <a:pos x="615" y="68"/>
                </a:cxn>
                <a:cxn ang="0">
                  <a:pos x="650" y="85"/>
                </a:cxn>
                <a:cxn ang="0">
                  <a:pos x="668" y="81"/>
                </a:cxn>
                <a:cxn ang="0">
                  <a:pos x="716" y="57"/>
                </a:cxn>
                <a:cxn ang="0">
                  <a:pos x="727" y="38"/>
                </a:cxn>
                <a:cxn ang="0">
                  <a:pos x="688" y="32"/>
                </a:cxn>
                <a:cxn ang="0">
                  <a:pos x="635" y="41"/>
                </a:cxn>
                <a:cxn ang="0">
                  <a:pos x="546" y="65"/>
                </a:cxn>
                <a:cxn ang="0">
                  <a:pos x="522" y="63"/>
                </a:cxn>
                <a:cxn ang="0">
                  <a:pos x="460" y="51"/>
                </a:cxn>
                <a:cxn ang="0">
                  <a:pos x="405" y="53"/>
                </a:cxn>
                <a:cxn ang="0">
                  <a:pos x="366" y="26"/>
                </a:cxn>
              </a:cxnLst>
              <a:rect l="0" t="0" r="r" b="b"/>
              <a:pathLst>
                <a:path w="734" h="722">
                  <a:moveTo>
                    <a:pt x="346" y="26"/>
                  </a:moveTo>
                  <a:lnTo>
                    <a:pt x="299" y="26"/>
                  </a:lnTo>
                  <a:lnTo>
                    <a:pt x="252" y="26"/>
                  </a:lnTo>
                  <a:lnTo>
                    <a:pt x="198" y="26"/>
                  </a:lnTo>
                  <a:lnTo>
                    <a:pt x="148" y="26"/>
                  </a:lnTo>
                  <a:lnTo>
                    <a:pt x="130" y="26"/>
                  </a:lnTo>
                  <a:lnTo>
                    <a:pt x="123" y="28"/>
                  </a:lnTo>
                  <a:lnTo>
                    <a:pt x="109" y="15"/>
                  </a:lnTo>
                  <a:lnTo>
                    <a:pt x="96" y="10"/>
                  </a:lnTo>
                  <a:lnTo>
                    <a:pt x="91" y="1"/>
                  </a:lnTo>
                  <a:lnTo>
                    <a:pt x="81" y="0"/>
                  </a:lnTo>
                  <a:lnTo>
                    <a:pt x="59" y="0"/>
                  </a:lnTo>
                  <a:lnTo>
                    <a:pt x="49" y="4"/>
                  </a:lnTo>
                  <a:lnTo>
                    <a:pt x="39" y="14"/>
                  </a:lnTo>
                  <a:lnTo>
                    <a:pt x="33" y="17"/>
                  </a:lnTo>
                  <a:lnTo>
                    <a:pt x="23" y="11"/>
                  </a:lnTo>
                  <a:lnTo>
                    <a:pt x="12" y="20"/>
                  </a:lnTo>
                  <a:lnTo>
                    <a:pt x="1" y="26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3" y="64"/>
                  </a:lnTo>
                  <a:lnTo>
                    <a:pt x="3" y="74"/>
                  </a:lnTo>
                  <a:lnTo>
                    <a:pt x="12" y="92"/>
                  </a:lnTo>
                  <a:lnTo>
                    <a:pt x="17" y="100"/>
                  </a:lnTo>
                  <a:lnTo>
                    <a:pt x="19" y="102"/>
                  </a:lnTo>
                  <a:lnTo>
                    <a:pt x="28" y="108"/>
                  </a:lnTo>
                  <a:lnTo>
                    <a:pt x="34" y="117"/>
                  </a:lnTo>
                  <a:lnTo>
                    <a:pt x="38" y="127"/>
                  </a:lnTo>
                  <a:lnTo>
                    <a:pt x="44" y="134"/>
                  </a:lnTo>
                  <a:lnTo>
                    <a:pt x="46" y="139"/>
                  </a:lnTo>
                  <a:lnTo>
                    <a:pt x="55" y="150"/>
                  </a:lnTo>
                  <a:lnTo>
                    <a:pt x="56" y="157"/>
                  </a:lnTo>
                  <a:lnTo>
                    <a:pt x="62" y="168"/>
                  </a:lnTo>
                  <a:lnTo>
                    <a:pt x="65" y="176"/>
                  </a:lnTo>
                  <a:lnTo>
                    <a:pt x="81" y="202"/>
                  </a:lnTo>
                  <a:lnTo>
                    <a:pt x="82" y="209"/>
                  </a:lnTo>
                  <a:lnTo>
                    <a:pt x="86" y="215"/>
                  </a:lnTo>
                  <a:lnTo>
                    <a:pt x="88" y="224"/>
                  </a:lnTo>
                  <a:lnTo>
                    <a:pt x="96" y="238"/>
                  </a:lnTo>
                  <a:lnTo>
                    <a:pt x="110" y="263"/>
                  </a:lnTo>
                  <a:lnTo>
                    <a:pt x="116" y="273"/>
                  </a:lnTo>
                  <a:lnTo>
                    <a:pt x="118" y="278"/>
                  </a:lnTo>
                  <a:lnTo>
                    <a:pt x="121" y="288"/>
                  </a:lnTo>
                  <a:lnTo>
                    <a:pt x="141" y="312"/>
                  </a:lnTo>
                  <a:lnTo>
                    <a:pt x="150" y="331"/>
                  </a:lnTo>
                  <a:lnTo>
                    <a:pt x="151" y="334"/>
                  </a:lnTo>
                  <a:lnTo>
                    <a:pt x="152" y="350"/>
                  </a:lnTo>
                  <a:lnTo>
                    <a:pt x="151" y="369"/>
                  </a:lnTo>
                  <a:lnTo>
                    <a:pt x="152" y="406"/>
                  </a:lnTo>
                  <a:lnTo>
                    <a:pt x="151" y="424"/>
                  </a:lnTo>
                  <a:lnTo>
                    <a:pt x="153" y="435"/>
                  </a:lnTo>
                  <a:lnTo>
                    <a:pt x="157" y="445"/>
                  </a:lnTo>
                  <a:lnTo>
                    <a:pt x="162" y="458"/>
                  </a:lnTo>
                  <a:lnTo>
                    <a:pt x="172" y="477"/>
                  </a:lnTo>
                  <a:lnTo>
                    <a:pt x="173" y="484"/>
                  </a:lnTo>
                  <a:lnTo>
                    <a:pt x="171" y="498"/>
                  </a:lnTo>
                  <a:lnTo>
                    <a:pt x="172" y="521"/>
                  </a:lnTo>
                  <a:lnTo>
                    <a:pt x="174" y="531"/>
                  </a:lnTo>
                  <a:lnTo>
                    <a:pt x="182" y="546"/>
                  </a:lnTo>
                  <a:lnTo>
                    <a:pt x="179" y="555"/>
                  </a:lnTo>
                  <a:lnTo>
                    <a:pt x="182" y="559"/>
                  </a:lnTo>
                  <a:lnTo>
                    <a:pt x="185" y="569"/>
                  </a:lnTo>
                  <a:lnTo>
                    <a:pt x="188" y="589"/>
                  </a:lnTo>
                  <a:lnTo>
                    <a:pt x="191" y="600"/>
                  </a:lnTo>
                  <a:lnTo>
                    <a:pt x="194" y="622"/>
                  </a:lnTo>
                  <a:lnTo>
                    <a:pt x="214" y="646"/>
                  </a:lnTo>
                  <a:lnTo>
                    <a:pt x="222" y="665"/>
                  </a:lnTo>
                  <a:lnTo>
                    <a:pt x="233" y="676"/>
                  </a:lnTo>
                  <a:lnTo>
                    <a:pt x="243" y="683"/>
                  </a:lnTo>
                  <a:lnTo>
                    <a:pt x="256" y="698"/>
                  </a:lnTo>
                  <a:lnTo>
                    <a:pt x="261" y="698"/>
                  </a:lnTo>
                  <a:lnTo>
                    <a:pt x="264" y="700"/>
                  </a:lnTo>
                  <a:lnTo>
                    <a:pt x="269" y="699"/>
                  </a:lnTo>
                  <a:lnTo>
                    <a:pt x="272" y="697"/>
                  </a:lnTo>
                  <a:lnTo>
                    <a:pt x="279" y="689"/>
                  </a:lnTo>
                  <a:lnTo>
                    <a:pt x="285" y="678"/>
                  </a:lnTo>
                  <a:lnTo>
                    <a:pt x="297" y="677"/>
                  </a:lnTo>
                  <a:lnTo>
                    <a:pt x="323" y="695"/>
                  </a:lnTo>
                  <a:lnTo>
                    <a:pt x="323" y="708"/>
                  </a:lnTo>
                  <a:lnTo>
                    <a:pt x="334" y="720"/>
                  </a:lnTo>
                  <a:lnTo>
                    <a:pt x="350" y="722"/>
                  </a:lnTo>
                  <a:lnTo>
                    <a:pt x="365" y="717"/>
                  </a:lnTo>
                  <a:lnTo>
                    <a:pt x="384" y="717"/>
                  </a:lnTo>
                  <a:lnTo>
                    <a:pt x="393" y="720"/>
                  </a:lnTo>
                  <a:lnTo>
                    <a:pt x="405" y="720"/>
                  </a:lnTo>
                  <a:lnTo>
                    <a:pt x="421" y="705"/>
                  </a:lnTo>
                  <a:lnTo>
                    <a:pt x="435" y="695"/>
                  </a:lnTo>
                  <a:lnTo>
                    <a:pt x="446" y="693"/>
                  </a:lnTo>
                  <a:lnTo>
                    <a:pt x="452" y="689"/>
                  </a:lnTo>
                  <a:lnTo>
                    <a:pt x="452" y="633"/>
                  </a:lnTo>
                  <a:lnTo>
                    <a:pt x="452" y="574"/>
                  </a:lnTo>
                  <a:lnTo>
                    <a:pt x="452" y="515"/>
                  </a:lnTo>
                  <a:lnTo>
                    <a:pt x="452" y="460"/>
                  </a:lnTo>
                  <a:lnTo>
                    <a:pt x="452" y="407"/>
                  </a:lnTo>
                  <a:lnTo>
                    <a:pt x="452" y="349"/>
                  </a:lnTo>
                  <a:lnTo>
                    <a:pt x="452" y="295"/>
                  </a:lnTo>
                  <a:lnTo>
                    <a:pt x="507" y="295"/>
                  </a:lnTo>
                  <a:lnTo>
                    <a:pt x="507" y="257"/>
                  </a:lnTo>
                  <a:lnTo>
                    <a:pt x="507" y="200"/>
                  </a:lnTo>
                  <a:lnTo>
                    <a:pt x="507" y="144"/>
                  </a:lnTo>
                  <a:lnTo>
                    <a:pt x="507" y="91"/>
                  </a:lnTo>
                  <a:lnTo>
                    <a:pt x="512" y="86"/>
                  </a:lnTo>
                  <a:lnTo>
                    <a:pt x="592" y="71"/>
                  </a:lnTo>
                  <a:lnTo>
                    <a:pt x="609" y="68"/>
                  </a:lnTo>
                  <a:lnTo>
                    <a:pt x="615" y="68"/>
                  </a:lnTo>
                  <a:lnTo>
                    <a:pt x="632" y="69"/>
                  </a:lnTo>
                  <a:lnTo>
                    <a:pt x="643" y="73"/>
                  </a:lnTo>
                  <a:lnTo>
                    <a:pt x="650" y="85"/>
                  </a:lnTo>
                  <a:lnTo>
                    <a:pt x="653" y="100"/>
                  </a:lnTo>
                  <a:lnTo>
                    <a:pt x="659" y="92"/>
                  </a:lnTo>
                  <a:lnTo>
                    <a:pt x="668" y="81"/>
                  </a:lnTo>
                  <a:lnTo>
                    <a:pt x="684" y="69"/>
                  </a:lnTo>
                  <a:lnTo>
                    <a:pt x="711" y="63"/>
                  </a:lnTo>
                  <a:lnTo>
                    <a:pt x="716" y="57"/>
                  </a:lnTo>
                  <a:lnTo>
                    <a:pt x="723" y="52"/>
                  </a:lnTo>
                  <a:lnTo>
                    <a:pt x="734" y="51"/>
                  </a:lnTo>
                  <a:lnTo>
                    <a:pt x="727" y="38"/>
                  </a:lnTo>
                  <a:lnTo>
                    <a:pt x="723" y="35"/>
                  </a:lnTo>
                  <a:lnTo>
                    <a:pt x="709" y="32"/>
                  </a:lnTo>
                  <a:lnTo>
                    <a:pt x="688" y="32"/>
                  </a:lnTo>
                  <a:lnTo>
                    <a:pt x="685" y="28"/>
                  </a:lnTo>
                  <a:lnTo>
                    <a:pt x="642" y="39"/>
                  </a:lnTo>
                  <a:lnTo>
                    <a:pt x="635" y="41"/>
                  </a:lnTo>
                  <a:lnTo>
                    <a:pt x="632" y="43"/>
                  </a:lnTo>
                  <a:lnTo>
                    <a:pt x="621" y="46"/>
                  </a:lnTo>
                  <a:lnTo>
                    <a:pt x="546" y="65"/>
                  </a:lnTo>
                  <a:lnTo>
                    <a:pt x="538" y="66"/>
                  </a:lnTo>
                  <a:lnTo>
                    <a:pt x="534" y="64"/>
                  </a:lnTo>
                  <a:lnTo>
                    <a:pt x="522" y="63"/>
                  </a:lnTo>
                  <a:lnTo>
                    <a:pt x="510" y="59"/>
                  </a:lnTo>
                  <a:lnTo>
                    <a:pt x="494" y="58"/>
                  </a:lnTo>
                  <a:lnTo>
                    <a:pt x="460" y="51"/>
                  </a:lnTo>
                  <a:lnTo>
                    <a:pt x="433" y="51"/>
                  </a:lnTo>
                  <a:lnTo>
                    <a:pt x="414" y="53"/>
                  </a:lnTo>
                  <a:lnTo>
                    <a:pt x="405" y="53"/>
                  </a:lnTo>
                  <a:lnTo>
                    <a:pt x="388" y="47"/>
                  </a:lnTo>
                  <a:lnTo>
                    <a:pt x="382" y="37"/>
                  </a:lnTo>
                  <a:lnTo>
                    <a:pt x="366" y="26"/>
                  </a:lnTo>
                  <a:lnTo>
                    <a:pt x="346" y="26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2" name="Freeform 32"/>
            <p:cNvSpPr>
              <a:spLocks noChangeAspect="1"/>
            </p:cNvSpPr>
            <p:nvPr/>
          </p:nvSpPr>
          <p:spPr bwMode="gray">
            <a:xfrm>
              <a:off x="3691413" y="4355810"/>
              <a:ext cx="154527" cy="246978"/>
            </a:xfrm>
            <a:custGeom>
              <a:avLst/>
              <a:gdLst/>
              <a:ahLst/>
              <a:cxnLst>
                <a:cxn ang="0">
                  <a:pos x="584" y="10"/>
                </a:cxn>
                <a:cxn ang="0">
                  <a:pos x="570" y="56"/>
                </a:cxn>
                <a:cxn ang="0">
                  <a:pos x="572" y="128"/>
                </a:cxn>
                <a:cxn ang="0">
                  <a:pos x="569" y="176"/>
                </a:cxn>
                <a:cxn ang="0">
                  <a:pos x="578" y="205"/>
                </a:cxn>
                <a:cxn ang="0">
                  <a:pos x="585" y="224"/>
                </a:cxn>
                <a:cxn ang="0">
                  <a:pos x="568" y="263"/>
                </a:cxn>
                <a:cxn ang="0">
                  <a:pos x="564" y="285"/>
                </a:cxn>
                <a:cxn ang="0">
                  <a:pos x="532" y="328"/>
                </a:cxn>
                <a:cxn ang="0">
                  <a:pos x="497" y="355"/>
                </a:cxn>
                <a:cxn ang="0">
                  <a:pos x="447" y="378"/>
                </a:cxn>
                <a:cxn ang="0">
                  <a:pos x="368" y="434"/>
                </a:cxn>
                <a:cxn ang="0">
                  <a:pos x="345" y="462"/>
                </a:cxn>
                <a:cxn ang="0">
                  <a:pos x="323" y="477"/>
                </a:cxn>
                <a:cxn ang="0">
                  <a:pos x="273" y="521"/>
                </a:cxn>
                <a:cxn ang="0">
                  <a:pos x="253" y="572"/>
                </a:cxn>
                <a:cxn ang="0">
                  <a:pos x="273" y="598"/>
                </a:cxn>
                <a:cxn ang="0">
                  <a:pos x="289" y="667"/>
                </a:cxn>
                <a:cxn ang="0">
                  <a:pos x="295" y="725"/>
                </a:cxn>
                <a:cxn ang="0">
                  <a:pos x="295" y="764"/>
                </a:cxn>
                <a:cxn ang="0">
                  <a:pos x="273" y="811"/>
                </a:cxn>
                <a:cxn ang="0">
                  <a:pos x="192" y="843"/>
                </a:cxn>
                <a:cxn ang="0">
                  <a:pos x="156" y="863"/>
                </a:cxn>
                <a:cxn ang="0">
                  <a:pos x="134" y="893"/>
                </a:cxn>
                <a:cxn ang="0">
                  <a:pos x="158" y="899"/>
                </a:cxn>
                <a:cxn ang="0">
                  <a:pos x="110" y="908"/>
                </a:cxn>
                <a:cxn ang="0">
                  <a:pos x="92" y="742"/>
                </a:cxn>
                <a:cxn ang="0">
                  <a:pos x="85" y="673"/>
                </a:cxn>
                <a:cxn ang="0">
                  <a:pos x="113" y="636"/>
                </a:cxn>
                <a:cxn ang="0">
                  <a:pos x="153" y="508"/>
                </a:cxn>
                <a:cxn ang="0">
                  <a:pos x="158" y="451"/>
                </a:cxn>
                <a:cxn ang="0">
                  <a:pos x="158" y="367"/>
                </a:cxn>
                <a:cxn ang="0">
                  <a:pos x="113" y="323"/>
                </a:cxn>
                <a:cxn ang="0">
                  <a:pos x="33" y="305"/>
                </a:cxn>
                <a:cxn ang="0">
                  <a:pos x="8" y="269"/>
                </a:cxn>
                <a:cxn ang="0">
                  <a:pos x="175" y="198"/>
                </a:cxn>
                <a:cxn ang="0">
                  <a:pos x="202" y="226"/>
                </a:cxn>
                <a:cxn ang="0">
                  <a:pos x="247" y="226"/>
                </a:cxn>
                <a:cxn ang="0">
                  <a:pos x="251" y="273"/>
                </a:cxn>
                <a:cxn ang="0">
                  <a:pos x="236" y="302"/>
                </a:cxn>
                <a:cxn ang="0">
                  <a:pos x="252" y="327"/>
                </a:cxn>
                <a:cxn ang="0">
                  <a:pos x="272" y="350"/>
                </a:cxn>
                <a:cxn ang="0">
                  <a:pos x="278" y="366"/>
                </a:cxn>
                <a:cxn ang="0">
                  <a:pos x="291" y="357"/>
                </a:cxn>
                <a:cxn ang="0">
                  <a:pos x="287" y="337"/>
                </a:cxn>
                <a:cxn ang="0">
                  <a:pos x="304" y="314"/>
                </a:cxn>
                <a:cxn ang="0">
                  <a:pos x="321" y="284"/>
                </a:cxn>
                <a:cxn ang="0">
                  <a:pos x="326" y="244"/>
                </a:cxn>
                <a:cxn ang="0">
                  <a:pos x="299" y="203"/>
                </a:cxn>
                <a:cxn ang="0">
                  <a:pos x="266" y="167"/>
                </a:cxn>
                <a:cxn ang="0">
                  <a:pos x="262" y="123"/>
                </a:cxn>
                <a:cxn ang="0">
                  <a:pos x="269" y="76"/>
                </a:cxn>
                <a:cxn ang="0">
                  <a:pos x="323" y="53"/>
                </a:cxn>
                <a:cxn ang="0">
                  <a:pos x="349" y="65"/>
                </a:cxn>
                <a:cxn ang="0">
                  <a:pos x="381" y="56"/>
                </a:cxn>
                <a:cxn ang="0">
                  <a:pos x="436" y="43"/>
                </a:cxn>
                <a:cxn ang="0">
                  <a:pos x="482" y="45"/>
                </a:cxn>
                <a:cxn ang="0">
                  <a:pos x="547" y="25"/>
                </a:cxn>
              </a:cxnLst>
              <a:rect l="0" t="0" r="r" b="b"/>
              <a:pathLst>
                <a:path w="586" h="937">
                  <a:moveTo>
                    <a:pt x="580" y="0"/>
                  </a:moveTo>
                  <a:lnTo>
                    <a:pt x="584" y="2"/>
                  </a:lnTo>
                  <a:lnTo>
                    <a:pt x="586" y="7"/>
                  </a:lnTo>
                  <a:lnTo>
                    <a:pt x="584" y="10"/>
                  </a:lnTo>
                  <a:lnTo>
                    <a:pt x="585" y="27"/>
                  </a:lnTo>
                  <a:lnTo>
                    <a:pt x="583" y="33"/>
                  </a:lnTo>
                  <a:lnTo>
                    <a:pt x="578" y="42"/>
                  </a:lnTo>
                  <a:lnTo>
                    <a:pt x="570" y="56"/>
                  </a:lnTo>
                  <a:lnTo>
                    <a:pt x="567" y="70"/>
                  </a:lnTo>
                  <a:lnTo>
                    <a:pt x="568" y="95"/>
                  </a:lnTo>
                  <a:lnTo>
                    <a:pt x="570" y="113"/>
                  </a:lnTo>
                  <a:lnTo>
                    <a:pt x="572" y="128"/>
                  </a:lnTo>
                  <a:lnTo>
                    <a:pt x="565" y="133"/>
                  </a:lnTo>
                  <a:lnTo>
                    <a:pt x="568" y="142"/>
                  </a:lnTo>
                  <a:lnTo>
                    <a:pt x="570" y="142"/>
                  </a:lnTo>
                  <a:lnTo>
                    <a:pt x="569" y="176"/>
                  </a:lnTo>
                  <a:lnTo>
                    <a:pt x="572" y="196"/>
                  </a:lnTo>
                  <a:lnTo>
                    <a:pt x="570" y="205"/>
                  </a:lnTo>
                  <a:lnTo>
                    <a:pt x="574" y="208"/>
                  </a:lnTo>
                  <a:lnTo>
                    <a:pt x="578" y="205"/>
                  </a:lnTo>
                  <a:lnTo>
                    <a:pt x="581" y="212"/>
                  </a:lnTo>
                  <a:lnTo>
                    <a:pt x="575" y="220"/>
                  </a:lnTo>
                  <a:lnTo>
                    <a:pt x="580" y="220"/>
                  </a:lnTo>
                  <a:lnTo>
                    <a:pt x="585" y="224"/>
                  </a:lnTo>
                  <a:lnTo>
                    <a:pt x="585" y="232"/>
                  </a:lnTo>
                  <a:lnTo>
                    <a:pt x="580" y="242"/>
                  </a:lnTo>
                  <a:lnTo>
                    <a:pt x="576" y="253"/>
                  </a:lnTo>
                  <a:lnTo>
                    <a:pt x="568" y="263"/>
                  </a:lnTo>
                  <a:lnTo>
                    <a:pt x="575" y="265"/>
                  </a:lnTo>
                  <a:lnTo>
                    <a:pt x="574" y="274"/>
                  </a:lnTo>
                  <a:lnTo>
                    <a:pt x="573" y="280"/>
                  </a:lnTo>
                  <a:lnTo>
                    <a:pt x="564" y="285"/>
                  </a:lnTo>
                  <a:lnTo>
                    <a:pt x="547" y="305"/>
                  </a:lnTo>
                  <a:lnTo>
                    <a:pt x="543" y="313"/>
                  </a:lnTo>
                  <a:lnTo>
                    <a:pt x="526" y="323"/>
                  </a:lnTo>
                  <a:lnTo>
                    <a:pt x="532" y="328"/>
                  </a:lnTo>
                  <a:lnTo>
                    <a:pt x="527" y="337"/>
                  </a:lnTo>
                  <a:lnTo>
                    <a:pt x="517" y="344"/>
                  </a:lnTo>
                  <a:lnTo>
                    <a:pt x="505" y="351"/>
                  </a:lnTo>
                  <a:lnTo>
                    <a:pt x="497" y="355"/>
                  </a:lnTo>
                  <a:lnTo>
                    <a:pt x="490" y="366"/>
                  </a:lnTo>
                  <a:lnTo>
                    <a:pt x="477" y="373"/>
                  </a:lnTo>
                  <a:lnTo>
                    <a:pt x="460" y="373"/>
                  </a:lnTo>
                  <a:lnTo>
                    <a:pt x="447" y="378"/>
                  </a:lnTo>
                  <a:lnTo>
                    <a:pt x="403" y="398"/>
                  </a:lnTo>
                  <a:lnTo>
                    <a:pt x="375" y="420"/>
                  </a:lnTo>
                  <a:lnTo>
                    <a:pt x="373" y="430"/>
                  </a:lnTo>
                  <a:lnTo>
                    <a:pt x="368" y="434"/>
                  </a:lnTo>
                  <a:lnTo>
                    <a:pt x="360" y="435"/>
                  </a:lnTo>
                  <a:lnTo>
                    <a:pt x="355" y="436"/>
                  </a:lnTo>
                  <a:lnTo>
                    <a:pt x="361" y="442"/>
                  </a:lnTo>
                  <a:lnTo>
                    <a:pt x="345" y="462"/>
                  </a:lnTo>
                  <a:lnTo>
                    <a:pt x="338" y="473"/>
                  </a:lnTo>
                  <a:lnTo>
                    <a:pt x="333" y="470"/>
                  </a:lnTo>
                  <a:lnTo>
                    <a:pt x="330" y="461"/>
                  </a:lnTo>
                  <a:lnTo>
                    <a:pt x="323" y="477"/>
                  </a:lnTo>
                  <a:lnTo>
                    <a:pt x="315" y="480"/>
                  </a:lnTo>
                  <a:lnTo>
                    <a:pt x="305" y="493"/>
                  </a:lnTo>
                  <a:lnTo>
                    <a:pt x="287" y="512"/>
                  </a:lnTo>
                  <a:lnTo>
                    <a:pt x="273" y="521"/>
                  </a:lnTo>
                  <a:lnTo>
                    <a:pt x="266" y="529"/>
                  </a:lnTo>
                  <a:lnTo>
                    <a:pt x="255" y="533"/>
                  </a:lnTo>
                  <a:lnTo>
                    <a:pt x="252" y="563"/>
                  </a:lnTo>
                  <a:lnTo>
                    <a:pt x="253" y="572"/>
                  </a:lnTo>
                  <a:lnTo>
                    <a:pt x="267" y="582"/>
                  </a:lnTo>
                  <a:lnTo>
                    <a:pt x="271" y="588"/>
                  </a:lnTo>
                  <a:lnTo>
                    <a:pt x="272" y="597"/>
                  </a:lnTo>
                  <a:lnTo>
                    <a:pt x="273" y="598"/>
                  </a:lnTo>
                  <a:lnTo>
                    <a:pt x="274" y="608"/>
                  </a:lnTo>
                  <a:lnTo>
                    <a:pt x="287" y="642"/>
                  </a:lnTo>
                  <a:lnTo>
                    <a:pt x="288" y="662"/>
                  </a:lnTo>
                  <a:lnTo>
                    <a:pt x="289" y="667"/>
                  </a:lnTo>
                  <a:lnTo>
                    <a:pt x="295" y="662"/>
                  </a:lnTo>
                  <a:lnTo>
                    <a:pt x="299" y="666"/>
                  </a:lnTo>
                  <a:lnTo>
                    <a:pt x="299" y="688"/>
                  </a:lnTo>
                  <a:lnTo>
                    <a:pt x="295" y="725"/>
                  </a:lnTo>
                  <a:lnTo>
                    <a:pt x="283" y="771"/>
                  </a:lnTo>
                  <a:lnTo>
                    <a:pt x="285" y="782"/>
                  </a:lnTo>
                  <a:lnTo>
                    <a:pt x="289" y="774"/>
                  </a:lnTo>
                  <a:lnTo>
                    <a:pt x="295" y="764"/>
                  </a:lnTo>
                  <a:lnTo>
                    <a:pt x="295" y="768"/>
                  </a:lnTo>
                  <a:lnTo>
                    <a:pt x="293" y="781"/>
                  </a:lnTo>
                  <a:lnTo>
                    <a:pt x="288" y="792"/>
                  </a:lnTo>
                  <a:lnTo>
                    <a:pt x="273" y="811"/>
                  </a:lnTo>
                  <a:lnTo>
                    <a:pt x="258" y="822"/>
                  </a:lnTo>
                  <a:lnTo>
                    <a:pt x="240" y="829"/>
                  </a:lnTo>
                  <a:lnTo>
                    <a:pt x="228" y="830"/>
                  </a:lnTo>
                  <a:lnTo>
                    <a:pt x="192" y="843"/>
                  </a:lnTo>
                  <a:lnTo>
                    <a:pt x="183" y="849"/>
                  </a:lnTo>
                  <a:lnTo>
                    <a:pt x="176" y="855"/>
                  </a:lnTo>
                  <a:lnTo>
                    <a:pt x="166" y="861"/>
                  </a:lnTo>
                  <a:lnTo>
                    <a:pt x="156" y="863"/>
                  </a:lnTo>
                  <a:lnTo>
                    <a:pt x="151" y="868"/>
                  </a:lnTo>
                  <a:lnTo>
                    <a:pt x="144" y="881"/>
                  </a:lnTo>
                  <a:lnTo>
                    <a:pt x="135" y="893"/>
                  </a:lnTo>
                  <a:lnTo>
                    <a:pt x="134" y="893"/>
                  </a:lnTo>
                  <a:lnTo>
                    <a:pt x="142" y="900"/>
                  </a:lnTo>
                  <a:lnTo>
                    <a:pt x="148" y="910"/>
                  </a:lnTo>
                  <a:lnTo>
                    <a:pt x="154" y="905"/>
                  </a:lnTo>
                  <a:lnTo>
                    <a:pt x="158" y="899"/>
                  </a:lnTo>
                  <a:lnTo>
                    <a:pt x="154" y="937"/>
                  </a:lnTo>
                  <a:lnTo>
                    <a:pt x="148" y="936"/>
                  </a:lnTo>
                  <a:lnTo>
                    <a:pt x="112" y="936"/>
                  </a:lnTo>
                  <a:lnTo>
                    <a:pt x="110" y="908"/>
                  </a:lnTo>
                  <a:lnTo>
                    <a:pt x="110" y="887"/>
                  </a:lnTo>
                  <a:lnTo>
                    <a:pt x="108" y="879"/>
                  </a:lnTo>
                  <a:lnTo>
                    <a:pt x="105" y="786"/>
                  </a:lnTo>
                  <a:lnTo>
                    <a:pt x="92" y="742"/>
                  </a:lnTo>
                  <a:lnTo>
                    <a:pt x="86" y="710"/>
                  </a:lnTo>
                  <a:lnTo>
                    <a:pt x="84" y="689"/>
                  </a:lnTo>
                  <a:lnTo>
                    <a:pt x="85" y="688"/>
                  </a:lnTo>
                  <a:lnTo>
                    <a:pt x="85" y="673"/>
                  </a:lnTo>
                  <a:lnTo>
                    <a:pt x="89" y="661"/>
                  </a:lnTo>
                  <a:lnTo>
                    <a:pt x="95" y="651"/>
                  </a:lnTo>
                  <a:lnTo>
                    <a:pt x="106" y="644"/>
                  </a:lnTo>
                  <a:lnTo>
                    <a:pt x="113" y="636"/>
                  </a:lnTo>
                  <a:lnTo>
                    <a:pt x="132" y="602"/>
                  </a:lnTo>
                  <a:lnTo>
                    <a:pt x="139" y="571"/>
                  </a:lnTo>
                  <a:lnTo>
                    <a:pt x="156" y="535"/>
                  </a:lnTo>
                  <a:lnTo>
                    <a:pt x="153" y="508"/>
                  </a:lnTo>
                  <a:lnTo>
                    <a:pt x="148" y="495"/>
                  </a:lnTo>
                  <a:lnTo>
                    <a:pt x="146" y="478"/>
                  </a:lnTo>
                  <a:lnTo>
                    <a:pt x="156" y="459"/>
                  </a:lnTo>
                  <a:lnTo>
                    <a:pt x="158" y="451"/>
                  </a:lnTo>
                  <a:lnTo>
                    <a:pt x="162" y="435"/>
                  </a:lnTo>
                  <a:lnTo>
                    <a:pt x="161" y="424"/>
                  </a:lnTo>
                  <a:lnTo>
                    <a:pt x="162" y="389"/>
                  </a:lnTo>
                  <a:lnTo>
                    <a:pt x="158" y="367"/>
                  </a:lnTo>
                  <a:lnTo>
                    <a:pt x="154" y="357"/>
                  </a:lnTo>
                  <a:lnTo>
                    <a:pt x="153" y="344"/>
                  </a:lnTo>
                  <a:lnTo>
                    <a:pt x="144" y="334"/>
                  </a:lnTo>
                  <a:lnTo>
                    <a:pt x="113" y="323"/>
                  </a:lnTo>
                  <a:lnTo>
                    <a:pt x="85" y="311"/>
                  </a:lnTo>
                  <a:lnTo>
                    <a:pt x="70" y="307"/>
                  </a:lnTo>
                  <a:lnTo>
                    <a:pt x="56" y="303"/>
                  </a:lnTo>
                  <a:lnTo>
                    <a:pt x="33" y="305"/>
                  </a:lnTo>
                  <a:lnTo>
                    <a:pt x="15" y="303"/>
                  </a:lnTo>
                  <a:lnTo>
                    <a:pt x="15" y="284"/>
                  </a:lnTo>
                  <a:lnTo>
                    <a:pt x="10" y="281"/>
                  </a:lnTo>
                  <a:lnTo>
                    <a:pt x="8" y="269"/>
                  </a:lnTo>
                  <a:lnTo>
                    <a:pt x="0" y="253"/>
                  </a:lnTo>
                  <a:lnTo>
                    <a:pt x="165" y="196"/>
                  </a:lnTo>
                  <a:lnTo>
                    <a:pt x="174" y="195"/>
                  </a:lnTo>
                  <a:lnTo>
                    <a:pt x="175" y="198"/>
                  </a:lnTo>
                  <a:lnTo>
                    <a:pt x="181" y="200"/>
                  </a:lnTo>
                  <a:lnTo>
                    <a:pt x="188" y="216"/>
                  </a:lnTo>
                  <a:lnTo>
                    <a:pt x="198" y="226"/>
                  </a:lnTo>
                  <a:lnTo>
                    <a:pt x="202" y="226"/>
                  </a:lnTo>
                  <a:lnTo>
                    <a:pt x="210" y="224"/>
                  </a:lnTo>
                  <a:lnTo>
                    <a:pt x="240" y="220"/>
                  </a:lnTo>
                  <a:lnTo>
                    <a:pt x="244" y="221"/>
                  </a:lnTo>
                  <a:lnTo>
                    <a:pt x="247" y="226"/>
                  </a:lnTo>
                  <a:lnTo>
                    <a:pt x="251" y="239"/>
                  </a:lnTo>
                  <a:lnTo>
                    <a:pt x="252" y="247"/>
                  </a:lnTo>
                  <a:lnTo>
                    <a:pt x="253" y="265"/>
                  </a:lnTo>
                  <a:lnTo>
                    <a:pt x="251" y="273"/>
                  </a:lnTo>
                  <a:lnTo>
                    <a:pt x="245" y="280"/>
                  </a:lnTo>
                  <a:lnTo>
                    <a:pt x="246" y="286"/>
                  </a:lnTo>
                  <a:lnTo>
                    <a:pt x="240" y="291"/>
                  </a:lnTo>
                  <a:lnTo>
                    <a:pt x="236" y="302"/>
                  </a:lnTo>
                  <a:lnTo>
                    <a:pt x="240" y="306"/>
                  </a:lnTo>
                  <a:lnTo>
                    <a:pt x="245" y="322"/>
                  </a:lnTo>
                  <a:lnTo>
                    <a:pt x="248" y="325"/>
                  </a:lnTo>
                  <a:lnTo>
                    <a:pt x="252" y="327"/>
                  </a:lnTo>
                  <a:lnTo>
                    <a:pt x="255" y="332"/>
                  </a:lnTo>
                  <a:lnTo>
                    <a:pt x="263" y="341"/>
                  </a:lnTo>
                  <a:lnTo>
                    <a:pt x="268" y="348"/>
                  </a:lnTo>
                  <a:lnTo>
                    <a:pt x="272" y="350"/>
                  </a:lnTo>
                  <a:lnTo>
                    <a:pt x="279" y="351"/>
                  </a:lnTo>
                  <a:lnTo>
                    <a:pt x="283" y="356"/>
                  </a:lnTo>
                  <a:lnTo>
                    <a:pt x="283" y="360"/>
                  </a:lnTo>
                  <a:lnTo>
                    <a:pt x="278" y="366"/>
                  </a:lnTo>
                  <a:lnTo>
                    <a:pt x="279" y="368"/>
                  </a:lnTo>
                  <a:lnTo>
                    <a:pt x="291" y="368"/>
                  </a:lnTo>
                  <a:lnTo>
                    <a:pt x="293" y="367"/>
                  </a:lnTo>
                  <a:lnTo>
                    <a:pt x="291" y="357"/>
                  </a:lnTo>
                  <a:lnTo>
                    <a:pt x="293" y="351"/>
                  </a:lnTo>
                  <a:lnTo>
                    <a:pt x="290" y="346"/>
                  </a:lnTo>
                  <a:lnTo>
                    <a:pt x="287" y="343"/>
                  </a:lnTo>
                  <a:lnTo>
                    <a:pt x="287" y="337"/>
                  </a:lnTo>
                  <a:lnTo>
                    <a:pt x="290" y="329"/>
                  </a:lnTo>
                  <a:lnTo>
                    <a:pt x="290" y="325"/>
                  </a:lnTo>
                  <a:lnTo>
                    <a:pt x="291" y="322"/>
                  </a:lnTo>
                  <a:lnTo>
                    <a:pt x="304" y="314"/>
                  </a:lnTo>
                  <a:lnTo>
                    <a:pt x="310" y="313"/>
                  </a:lnTo>
                  <a:lnTo>
                    <a:pt x="316" y="311"/>
                  </a:lnTo>
                  <a:lnTo>
                    <a:pt x="320" y="305"/>
                  </a:lnTo>
                  <a:lnTo>
                    <a:pt x="321" y="284"/>
                  </a:lnTo>
                  <a:lnTo>
                    <a:pt x="323" y="276"/>
                  </a:lnTo>
                  <a:lnTo>
                    <a:pt x="320" y="262"/>
                  </a:lnTo>
                  <a:lnTo>
                    <a:pt x="323" y="252"/>
                  </a:lnTo>
                  <a:lnTo>
                    <a:pt x="326" y="244"/>
                  </a:lnTo>
                  <a:lnTo>
                    <a:pt x="323" y="232"/>
                  </a:lnTo>
                  <a:lnTo>
                    <a:pt x="318" y="225"/>
                  </a:lnTo>
                  <a:lnTo>
                    <a:pt x="305" y="212"/>
                  </a:lnTo>
                  <a:lnTo>
                    <a:pt x="299" y="203"/>
                  </a:lnTo>
                  <a:lnTo>
                    <a:pt x="284" y="184"/>
                  </a:lnTo>
                  <a:lnTo>
                    <a:pt x="274" y="177"/>
                  </a:lnTo>
                  <a:lnTo>
                    <a:pt x="267" y="167"/>
                  </a:lnTo>
                  <a:lnTo>
                    <a:pt x="266" y="167"/>
                  </a:lnTo>
                  <a:lnTo>
                    <a:pt x="263" y="156"/>
                  </a:lnTo>
                  <a:lnTo>
                    <a:pt x="263" y="146"/>
                  </a:lnTo>
                  <a:lnTo>
                    <a:pt x="262" y="138"/>
                  </a:lnTo>
                  <a:lnTo>
                    <a:pt x="262" y="123"/>
                  </a:lnTo>
                  <a:lnTo>
                    <a:pt x="258" y="115"/>
                  </a:lnTo>
                  <a:lnTo>
                    <a:pt x="258" y="107"/>
                  </a:lnTo>
                  <a:lnTo>
                    <a:pt x="262" y="92"/>
                  </a:lnTo>
                  <a:lnTo>
                    <a:pt x="269" y="76"/>
                  </a:lnTo>
                  <a:lnTo>
                    <a:pt x="273" y="58"/>
                  </a:lnTo>
                  <a:lnTo>
                    <a:pt x="314" y="59"/>
                  </a:lnTo>
                  <a:lnTo>
                    <a:pt x="317" y="58"/>
                  </a:lnTo>
                  <a:lnTo>
                    <a:pt x="323" y="53"/>
                  </a:lnTo>
                  <a:lnTo>
                    <a:pt x="331" y="53"/>
                  </a:lnTo>
                  <a:lnTo>
                    <a:pt x="338" y="55"/>
                  </a:lnTo>
                  <a:lnTo>
                    <a:pt x="344" y="61"/>
                  </a:lnTo>
                  <a:lnTo>
                    <a:pt x="349" y="65"/>
                  </a:lnTo>
                  <a:lnTo>
                    <a:pt x="354" y="66"/>
                  </a:lnTo>
                  <a:lnTo>
                    <a:pt x="361" y="64"/>
                  </a:lnTo>
                  <a:lnTo>
                    <a:pt x="370" y="64"/>
                  </a:lnTo>
                  <a:lnTo>
                    <a:pt x="381" y="56"/>
                  </a:lnTo>
                  <a:lnTo>
                    <a:pt x="412" y="58"/>
                  </a:lnTo>
                  <a:lnTo>
                    <a:pt x="419" y="58"/>
                  </a:lnTo>
                  <a:lnTo>
                    <a:pt x="423" y="56"/>
                  </a:lnTo>
                  <a:lnTo>
                    <a:pt x="436" y="43"/>
                  </a:lnTo>
                  <a:lnTo>
                    <a:pt x="450" y="42"/>
                  </a:lnTo>
                  <a:lnTo>
                    <a:pt x="459" y="39"/>
                  </a:lnTo>
                  <a:lnTo>
                    <a:pt x="472" y="45"/>
                  </a:lnTo>
                  <a:lnTo>
                    <a:pt x="482" y="45"/>
                  </a:lnTo>
                  <a:lnTo>
                    <a:pt x="490" y="44"/>
                  </a:lnTo>
                  <a:lnTo>
                    <a:pt x="524" y="32"/>
                  </a:lnTo>
                  <a:lnTo>
                    <a:pt x="543" y="27"/>
                  </a:lnTo>
                  <a:lnTo>
                    <a:pt x="547" y="25"/>
                  </a:lnTo>
                  <a:lnTo>
                    <a:pt x="562" y="11"/>
                  </a:lnTo>
                  <a:lnTo>
                    <a:pt x="576" y="1"/>
                  </a:lnTo>
                  <a:lnTo>
                    <a:pt x="580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3" name="Freeform 33"/>
            <p:cNvSpPr>
              <a:spLocks noChangeAspect="1"/>
            </p:cNvSpPr>
            <p:nvPr/>
          </p:nvSpPr>
          <p:spPr bwMode="gray">
            <a:xfrm>
              <a:off x="3543489" y="4462790"/>
              <a:ext cx="137357" cy="141319"/>
            </a:xfrm>
            <a:custGeom>
              <a:avLst/>
              <a:gdLst/>
              <a:ahLst/>
              <a:cxnLst>
                <a:cxn ang="0">
                  <a:pos x="0" y="356"/>
                </a:cxn>
                <a:cxn ang="0">
                  <a:pos x="0" y="244"/>
                </a:cxn>
                <a:cxn ang="0">
                  <a:pos x="56" y="206"/>
                </a:cxn>
                <a:cxn ang="0">
                  <a:pos x="56" y="93"/>
                </a:cxn>
                <a:cxn ang="0">
                  <a:pos x="61" y="35"/>
                </a:cxn>
                <a:cxn ang="0">
                  <a:pos x="158" y="17"/>
                </a:cxn>
                <a:cxn ang="0">
                  <a:pos x="181" y="18"/>
                </a:cxn>
                <a:cxn ang="0">
                  <a:pos x="199" y="34"/>
                </a:cxn>
                <a:cxn ang="0">
                  <a:pos x="208" y="41"/>
                </a:cxn>
                <a:cxn ang="0">
                  <a:pos x="233" y="18"/>
                </a:cxn>
                <a:cxn ang="0">
                  <a:pos x="265" y="6"/>
                </a:cxn>
                <a:cxn ang="0">
                  <a:pos x="283" y="0"/>
                </a:cxn>
                <a:cxn ang="0">
                  <a:pos x="291" y="11"/>
                </a:cxn>
                <a:cxn ang="0">
                  <a:pos x="307" y="39"/>
                </a:cxn>
                <a:cxn ang="0">
                  <a:pos x="319" y="60"/>
                </a:cxn>
                <a:cxn ang="0">
                  <a:pos x="339" y="93"/>
                </a:cxn>
                <a:cxn ang="0">
                  <a:pos x="385" y="127"/>
                </a:cxn>
                <a:cxn ang="0">
                  <a:pos x="407" y="151"/>
                </a:cxn>
                <a:cxn ang="0">
                  <a:pos x="431" y="164"/>
                </a:cxn>
                <a:cxn ang="0">
                  <a:pos x="434" y="205"/>
                </a:cxn>
                <a:cxn ang="0">
                  <a:pos x="449" y="227"/>
                </a:cxn>
                <a:cxn ang="0">
                  <a:pos x="470" y="234"/>
                </a:cxn>
                <a:cxn ang="0">
                  <a:pos x="497" y="240"/>
                </a:cxn>
                <a:cxn ang="0">
                  <a:pos x="518" y="253"/>
                </a:cxn>
                <a:cxn ang="0">
                  <a:pos x="506" y="261"/>
                </a:cxn>
                <a:cxn ang="0">
                  <a:pos x="454" y="288"/>
                </a:cxn>
                <a:cxn ang="0">
                  <a:pos x="418" y="318"/>
                </a:cxn>
                <a:cxn ang="0">
                  <a:pos x="388" y="352"/>
                </a:cxn>
                <a:cxn ang="0">
                  <a:pos x="344" y="396"/>
                </a:cxn>
                <a:cxn ang="0">
                  <a:pos x="314" y="449"/>
                </a:cxn>
                <a:cxn ang="0">
                  <a:pos x="301" y="459"/>
                </a:cxn>
                <a:cxn ang="0">
                  <a:pos x="265" y="466"/>
                </a:cxn>
                <a:cxn ang="0">
                  <a:pos x="227" y="452"/>
                </a:cxn>
                <a:cxn ang="0">
                  <a:pos x="201" y="445"/>
                </a:cxn>
                <a:cxn ang="0">
                  <a:pos x="170" y="469"/>
                </a:cxn>
                <a:cxn ang="0">
                  <a:pos x="161" y="485"/>
                </a:cxn>
                <a:cxn ang="0">
                  <a:pos x="140" y="503"/>
                </a:cxn>
                <a:cxn ang="0">
                  <a:pos x="125" y="525"/>
                </a:cxn>
                <a:cxn ang="0">
                  <a:pos x="72" y="533"/>
                </a:cxn>
                <a:cxn ang="0">
                  <a:pos x="46" y="528"/>
                </a:cxn>
                <a:cxn ang="0">
                  <a:pos x="50" y="498"/>
                </a:cxn>
                <a:cxn ang="0">
                  <a:pos x="52" y="479"/>
                </a:cxn>
                <a:cxn ang="0">
                  <a:pos x="44" y="449"/>
                </a:cxn>
                <a:cxn ang="0">
                  <a:pos x="25" y="429"/>
                </a:cxn>
                <a:cxn ang="0">
                  <a:pos x="11" y="415"/>
                </a:cxn>
                <a:cxn ang="0">
                  <a:pos x="0" y="409"/>
                </a:cxn>
              </a:cxnLst>
              <a:rect l="0" t="0" r="r" b="b"/>
              <a:pathLst>
                <a:path w="518" h="534">
                  <a:moveTo>
                    <a:pt x="0" y="409"/>
                  </a:moveTo>
                  <a:lnTo>
                    <a:pt x="0" y="356"/>
                  </a:lnTo>
                  <a:lnTo>
                    <a:pt x="0" y="298"/>
                  </a:lnTo>
                  <a:lnTo>
                    <a:pt x="0" y="244"/>
                  </a:lnTo>
                  <a:lnTo>
                    <a:pt x="56" y="244"/>
                  </a:lnTo>
                  <a:lnTo>
                    <a:pt x="56" y="206"/>
                  </a:lnTo>
                  <a:lnTo>
                    <a:pt x="56" y="149"/>
                  </a:lnTo>
                  <a:lnTo>
                    <a:pt x="56" y="93"/>
                  </a:lnTo>
                  <a:lnTo>
                    <a:pt x="56" y="40"/>
                  </a:lnTo>
                  <a:lnTo>
                    <a:pt x="61" y="35"/>
                  </a:lnTo>
                  <a:lnTo>
                    <a:pt x="141" y="20"/>
                  </a:lnTo>
                  <a:lnTo>
                    <a:pt x="158" y="17"/>
                  </a:lnTo>
                  <a:lnTo>
                    <a:pt x="164" y="17"/>
                  </a:lnTo>
                  <a:lnTo>
                    <a:pt x="181" y="18"/>
                  </a:lnTo>
                  <a:lnTo>
                    <a:pt x="192" y="22"/>
                  </a:lnTo>
                  <a:lnTo>
                    <a:pt x="199" y="34"/>
                  </a:lnTo>
                  <a:lnTo>
                    <a:pt x="202" y="49"/>
                  </a:lnTo>
                  <a:lnTo>
                    <a:pt x="208" y="41"/>
                  </a:lnTo>
                  <a:lnTo>
                    <a:pt x="217" y="30"/>
                  </a:lnTo>
                  <a:lnTo>
                    <a:pt x="233" y="18"/>
                  </a:lnTo>
                  <a:lnTo>
                    <a:pt x="260" y="12"/>
                  </a:lnTo>
                  <a:lnTo>
                    <a:pt x="265" y="6"/>
                  </a:lnTo>
                  <a:lnTo>
                    <a:pt x="272" y="1"/>
                  </a:lnTo>
                  <a:lnTo>
                    <a:pt x="283" y="0"/>
                  </a:lnTo>
                  <a:lnTo>
                    <a:pt x="291" y="2"/>
                  </a:lnTo>
                  <a:lnTo>
                    <a:pt x="291" y="11"/>
                  </a:lnTo>
                  <a:lnTo>
                    <a:pt x="294" y="17"/>
                  </a:lnTo>
                  <a:lnTo>
                    <a:pt x="307" y="39"/>
                  </a:lnTo>
                  <a:lnTo>
                    <a:pt x="317" y="49"/>
                  </a:lnTo>
                  <a:lnTo>
                    <a:pt x="319" y="60"/>
                  </a:lnTo>
                  <a:lnTo>
                    <a:pt x="325" y="74"/>
                  </a:lnTo>
                  <a:lnTo>
                    <a:pt x="339" y="93"/>
                  </a:lnTo>
                  <a:lnTo>
                    <a:pt x="368" y="124"/>
                  </a:lnTo>
                  <a:lnTo>
                    <a:pt x="385" y="127"/>
                  </a:lnTo>
                  <a:lnTo>
                    <a:pt x="398" y="137"/>
                  </a:lnTo>
                  <a:lnTo>
                    <a:pt x="407" y="151"/>
                  </a:lnTo>
                  <a:lnTo>
                    <a:pt x="420" y="154"/>
                  </a:lnTo>
                  <a:lnTo>
                    <a:pt x="431" y="164"/>
                  </a:lnTo>
                  <a:lnTo>
                    <a:pt x="431" y="185"/>
                  </a:lnTo>
                  <a:lnTo>
                    <a:pt x="434" y="205"/>
                  </a:lnTo>
                  <a:lnTo>
                    <a:pt x="441" y="218"/>
                  </a:lnTo>
                  <a:lnTo>
                    <a:pt x="449" y="227"/>
                  </a:lnTo>
                  <a:lnTo>
                    <a:pt x="458" y="232"/>
                  </a:lnTo>
                  <a:lnTo>
                    <a:pt x="470" y="234"/>
                  </a:lnTo>
                  <a:lnTo>
                    <a:pt x="484" y="234"/>
                  </a:lnTo>
                  <a:lnTo>
                    <a:pt x="497" y="240"/>
                  </a:lnTo>
                  <a:lnTo>
                    <a:pt x="507" y="244"/>
                  </a:lnTo>
                  <a:lnTo>
                    <a:pt x="518" y="253"/>
                  </a:lnTo>
                  <a:lnTo>
                    <a:pt x="517" y="256"/>
                  </a:lnTo>
                  <a:lnTo>
                    <a:pt x="506" y="261"/>
                  </a:lnTo>
                  <a:lnTo>
                    <a:pt x="492" y="270"/>
                  </a:lnTo>
                  <a:lnTo>
                    <a:pt x="454" y="288"/>
                  </a:lnTo>
                  <a:lnTo>
                    <a:pt x="438" y="305"/>
                  </a:lnTo>
                  <a:lnTo>
                    <a:pt x="418" y="318"/>
                  </a:lnTo>
                  <a:lnTo>
                    <a:pt x="399" y="336"/>
                  </a:lnTo>
                  <a:lnTo>
                    <a:pt x="388" y="352"/>
                  </a:lnTo>
                  <a:lnTo>
                    <a:pt x="371" y="377"/>
                  </a:lnTo>
                  <a:lnTo>
                    <a:pt x="344" y="396"/>
                  </a:lnTo>
                  <a:lnTo>
                    <a:pt x="329" y="415"/>
                  </a:lnTo>
                  <a:lnTo>
                    <a:pt x="314" y="449"/>
                  </a:lnTo>
                  <a:lnTo>
                    <a:pt x="309" y="455"/>
                  </a:lnTo>
                  <a:lnTo>
                    <a:pt x="301" y="459"/>
                  </a:lnTo>
                  <a:lnTo>
                    <a:pt x="290" y="460"/>
                  </a:lnTo>
                  <a:lnTo>
                    <a:pt x="265" y="466"/>
                  </a:lnTo>
                  <a:lnTo>
                    <a:pt x="250" y="465"/>
                  </a:lnTo>
                  <a:lnTo>
                    <a:pt x="227" y="452"/>
                  </a:lnTo>
                  <a:lnTo>
                    <a:pt x="215" y="447"/>
                  </a:lnTo>
                  <a:lnTo>
                    <a:pt x="201" y="445"/>
                  </a:lnTo>
                  <a:lnTo>
                    <a:pt x="189" y="449"/>
                  </a:lnTo>
                  <a:lnTo>
                    <a:pt x="170" y="469"/>
                  </a:lnTo>
                  <a:lnTo>
                    <a:pt x="163" y="477"/>
                  </a:lnTo>
                  <a:lnTo>
                    <a:pt x="161" y="485"/>
                  </a:lnTo>
                  <a:lnTo>
                    <a:pt x="152" y="496"/>
                  </a:lnTo>
                  <a:lnTo>
                    <a:pt x="140" y="503"/>
                  </a:lnTo>
                  <a:lnTo>
                    <a:pt x="135" y="508"/>
                  </a:lnTo>
                  <a:lnTo>
                    <a:pt x="125" y="525"/>
                  </a:lnTo>
                  <a:lnTo>
                    <a:pt x="90" y="534"/>
                  </a:lnTo>
                  <a:lnTo>
                    <a:pt x="72" y="533"/>
                  </a:lnTo>
                  <a:lnTo>
                    <a:pt x="56" y="530"/>
                  </a:lnTo>
                  <a:lnTo>
                    <a:pt x="46" y="528"/>
                  </a:lnTo>
                  <a:lnTo>
                    <a:pt x="43" y="519"/>
                  </a:lnTo>
                  <a:lnTo>
                    <a:pt x="50" y="498"/>
                  </a:lnTo>
                  <a:lnTo>
                    <a:pt x="52" y="485"/>
                  </a:lnTo>
                  <a:lnTo>
                    <a:pt x="52" y="479"/>
                  </a:lnTo>
                  <a:lnTo>
                    <a:pt x="51" y="461"/>
                  </a:lnTo>
                  <a:lnTo>
                    <a:pt x="44" y="449"/>
                  </a:lnTo>
                  <a:lnTo>
                    <a:pt x="30" y="438"/>
                  </a:lnTo>
                  <a:lnTo>
                    <a:pt x="25" y="429"/>
                  </a:lnTo>
                  <a:lnTo>
                    <a:pt x="13" y="418"/>
                  </a:lnTo>
                  <a:lnTo>
                    <a:pt x="11" y="415"/>
                  </a:lnTo>
                  <a:lnTo>
                    <a:pt x="5" y="409"/>
                  </a:lnTo>
                  <a:lnTo>
                    <a:pt x="0" y="40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4" name="Freeform 34"/>
            <p:cNvSpPr>
              <a:spLocks noChangeAspect="1"/>
            </p:cNvSpPr>
            <p:nvPr/>
          </p:nvSpPr>
          <p:spPr bwMode="gray">
            <a:xfrm>
              <a:off x="3038966" y="4019021"/>
              <a:ext cx="106980" cy="80565"/>
            </a:xfrm>
            <a:custGeom>
              <a:avLst/>
              <a:gdLst/>
              <a:ahLst/>
              <a:cxnLst>
                <a:cxn ang="0">
                  <a:pos x="174" y="17"/>
                </a:cxn>
                <a:cxn ang="0">
                  <a:pos x="146" y="18"/>
                </a:cxn>
                <a:cxn ang="0">
                  <a:pos x="119" y="11"/>
                </a:cxn>
                <a:cxn ang="0">
                  <a:pos x="101" y="3"/>
                </a:cxn>
                <a:cxn ang="0">
                  <a:pos x="80" y="14"/>
                </a:cxn>
                <a:cxn ang="0">
                  <a:pos x="67" y="27"/>
                </a:cxn>
                <a:cxn ang="0">
                  <a:pos x="69" y="57"/>
                </a:cxn>
                <a:cxn ang="0">
                  <a:pos x="17" y="81"/>
                </a:cxn>
                <a:cxn ang="0">
                  <a:pos x="1" y="109"/>
                </a:cxn>
                <a:cxn ang="0">
                  <a:pos x="17" y="100"/>
                </a:cxn>
                <a:cxn ang="0">
                  <a:pos x="31" y="128"/>
                </a:cxn>
                <a:cxn ang="0">
                  <a:pos x="66" y="159"/>
                </a:cxn>
                <a:cxn ang="0">
                  <a:pos x="88" y="190"/>
                </a:cxn>
                <a:cxn ang="0">
                  <a:pos x="104" y="203"/>
                </a:cxn>
                <a:cxn ang="0">
                  <a:pos x="124" y="191"/>
                </a:cxn>
                <a:cxn ang="0">
                  <a:pos x="142" y="168"/>
                </a:cxn>
                <a:cxn ang="0">
                  <a:pos x="161" y="159"/>
                </a:cxn>
                <a:cxn ang="0">
                  <a:pos x="211" y="153"/>
                </a:cxn>
                <a:cxn ang="0">
                  <a:pos x="230" y="175"/>
                </a:cxn>
                <a:cxn ang="0">
                  <a:pos x="241" y="187"/>
                </a:cxn>
                <a:cxn ang="0">
                  <a:pos x="241" y="202"/>
                </a:cxn>
                <a:cxn ang="0">
                  <a:pos x="249" y="223"/>
                </a:cxn>
                <a:cxn ang="0">
                  <a:pos x="252" y="239"/>
                </a:cxn>
                <a:cxn ang="0">
                  <a:pos x="264" y="240"/>
                </a:cxn>
                <a:cxn ang="0">
                  <a:pos x="281" y="238"/>
                </a:cxn>
                <a:cxn ang="0">
                  <a:pos x="297" y="239"/>
                </a:cxn>
                <a:cxn ang="0">
                  <a:pos x="313" y="273"/>
                </a:cxn>
                <a:cxn ang="0">
                  <a:pos x="306" y="298"/>
                </a:cxn>
                <a:cxn ang="0">
                  <a:pos x="327" y="307"/>
                </a:cxn>
                <a:cxn ang="0">
                  <a:pos x="348" y="292"/>
                </a:cxn>
                <a:cxn ang="0">
                  <a:pos x="365" y="286"/>
                </a:cxn>
                <a:cxn ang="0">
                  <a:pos x="384" y="262"/>
                </a:cxn>
                <a:cxn ang="0">
                  <a:pos x="386" y="251"/>
                </a:cxn>
                <a:cxn ang="0">
                  <a:pos x="375" y="239"/>
                </a:cxn>
                <a:cxn ang="0">
                  <a:pos x="394" y="239"/>
                </a:cxn>
                <a:cxn ang="0">
                  <a:pos x="403" y="235"/>
                </a:cxn>
                <a:cxn ang="0">
                  <a:pos x="393" y="219"/>
                </a:cxn>
                <a:cxn ang="0">
                  <a:pos x="400" y="203"/>
                </a:cxn>
                <a:cxn ang="0">
                  <a:pos x="380" y="183"/>
                </a:cxn>
                <a:cxn ang="0">
                  <a:pos x="382" y="149"/>
                </a:cxn>
                <a:cxn ang="0">
                  <a:pos x="382" y="131"/>
                </a:cxn>
                <a:cxn ang="0">
                  <a:pos x="370" y="93"/>
                </a:cxn>
                <a:cxn ang="0">
                  <a:pos x="351" y="92"/>
                </a:cxn>
                <a:cxn ang="0">
                  <a:pos x="364" y="79"/>
                </a:cxn>
                <a:cxn ang="0">
                  <a:pos x="357" y="70"/>
                </a:cxn>
                <a:cxn ang="0">
                  <a:pos x="343" y="41"/>
                </a:cxn>
                <a:cxn ang="0">
                  <a:pos x="334" y="28"/>
                </a:cxn>
                <a:cxn ang="0">
                  <a:pos x="328" y="12"/>
                </a:cxn>
                <a:cxn ang="0">
                  <a:pos x="312" y="12"/>
                </a:cxn>
                <a:cxn ang="0">
                  <a:pos x="294" y="38"/>
                </a:cxn>
                <a:cxn ang="0">
                  <a:pos x="255" y="33"/>
                </a:cxn>
                <a:cxn ang="0">
                  <a:pos x="230" y="30"/>
                </a:cxn>
                <a:cxn ang="0">
                  <a:pos x="208" y="39"/>
                </a:cxn>
                <a:cxn ang="0">
                  <a:pos x="203" y="19"/>
                </a:cxn>
              </a:cxnLst>
              <a:rect l="0" t="0" r="r" b="b"/>
              <a:pathLst>
                <a:path w="404" h="307">
                  <a:moveTo>
                    <a:pt x="205" y="15"/>
                  </a:moveTo>
                  <a:lnTo>
                    <a:pt x="195" y="15"/>
                  </a:lnTo>
                  <a:lnTo>
                    <a:pt x="189" y="18"/>
                  </a:lnTo>
                  <a:lnTo>
                    <a:pt x="185" y="18"/>
                  </a:lnTo>
                  <a:lnTo>
                    <a:pt x="174" y="17"/>
                  </a:lnTo>
                  <a:lnTo>
                    <a:pt x="172" y="18"/>
                  </a:lnTo>
                  <a:lnTo>
                    <a:pt x="165" y="18"/>
                  </a:lnTo>
                  <a:lnTo>
                    <a:pt x="157" y="20"/>
                  </a:lnTo>
                  <a:lnTo>
                    <a:pt x="151" y="20"/>
                  </a:lnTo>
                  <a:lnTo>
                    <a:pt x="146" y="18"/>
                  </a:lnTo>
                  <a:lnTo>
                    <a:pt x="142" y="18"/>
                  </a:lnTo>
                  <a:lnTo>
                    <a:pt x="135" y="15"/>
                  </a:lnTo>
                  <a:lnTo>
                    <a:pt x="128" y="15"/>
                  </a:lnTo>
                  <a:lnTo>
                    <a:pt x="122" y="9"/>
                  </a:lnTo>
                  <a:lnTo>
                    <a:pt x="119" y="11"/>
                  </a:lnTo>
                  <a:lnTo>
                    <a:pt x="119" y="14"/>
                  </a:lnTo>
                  <a:lnTo>
                    <a:pt x="112" y="13"/>
                  </a:lnTo>
                  <a:lnTo>
                    <a:pt x="112" y="7"/>
                  </a:lnTo>
                  <a:lnTo>
                    <a:pt x="109" y="4"/>
                  </a:lnTo>
                  <a:lnTo>
                    <a:pt x="101" y="3"/>
                  </a:lnTo>
                  <a:lnTo>
                    <a:pt x="95" y="4"/>
                  </a:lnTo>
                  <a:lnTo>
                    <a:pt x="90" y="1"/>
                  </a:lnTo>
                  <a:lnTo>
                    <a:pt x="76" y="0"/>
                  </a:lnTo>
                  <a:lnTo>
                    <a:pt x="76" y="7"/>
                  </a:lnTo>
                  <a:lnTo>
                    <a:pt x="80" y="14"/>
                  </a:lnTo>
                  <a:lnTo>
                    <a:pt x="80" y="18"/>
                  </a:lnTo>
                  <a:lnTo>
                    <a:pt x="77" y="24"/>
                  </a:lnTo>
                  <a:lnTo>
                    <a:pt x="75" y="25"/>
                  </a:lnTo>
                  <a:lnTo>
                    <a:pt x="69" y="25"/>
                  </a:lnTo>
                  <a:lnTo>
                    <a:pt x="67" y="27"/>
                  </a:lnTo>
                  <a:lnTo>
                    <a:pt x="65" y="30"/>
                  </a:lnTo>
                  <a:lnTo>
                    <a:pt x="71" y="34"/>
                  </a:lnTo>
                  <a:lnTo>
                    <a:pt x="74" y="39"/>
                  </a:lnTo>
                  <a:lnTo>
                    <a:pt x="75" y="57"/>
                  </a:lnTo>
                  <a:lnTo>
                    <a:pt x="69" y="57"/>
                  </a:lnTo>
                  <a:lnTo>
                    <a:pt x="65" y="60"/>
                  </a:lnTo>
                  <a:lnTo>
                    <a:pt x="45" y="60"/>
                  </a:lnTo>
                  <a:lnTo>
                    <a:pt x="28" y="67"/>
                  </a:lnTo>
                  <a:lnTo>
                    <a:pt x="21" y="73"/>
                  </a:lnTo>
                  <a:lnTo>
                    <a:pt x="17" y="81"/>
                  </a:lnTo>
                  <a:lnTo>
                    <a:pt x="13" y="89"/>
                  </a:lnTo>
                  <a:lnTo>
                    <a:pt x="11" y="93"/>
                  </a:lnTo>
                  <a:lnTo>
                    <a:pt x="6" y="97"/>
                  </a:lnTo>
                  <a:lnTo>
                    <a:pt x="0" y="99"/>
                  </a:lnTo>
                  <a:lnTo>
                    <a:pt x="1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10" y="109"/>
                  </a:lnTo>
                  <a:lnTo>
                    <a:pt x="13" y="101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21" y="114"/>
                  </a:lnTo>
                  <a:lnTo>
                    <a:pt x="29" y="115"/>
                  </a:lnTo>
                  <a:lnTo>
                    <a:pt x="31" y="116"/>
                  </a:lnTo>
                  <a:lnTo>
                    <a:pt x="31" y="128"/>
                  </a:lnTo>
                  <a:lnTo>
                    <a:pt x="36" y="141"/>
                  </a:lnTo>
                  <a:lnTo>
                    <a:pt x="39" y="146"/>
                  </a:lnTo>
                  <a:lnTo>
                    <a:pt x="47" y="148"/>
                  </a:lnTo>
                  <a:lnTo>
                    <a:pt x="55" y="154"/>
                  </a:lnTo>
                  <a:lnTo>
                    <a:pt x="66" y="159"/>
                  </a:lnTo>
                  <a:lnTo>
                    <a:pt x="74" y="168"/>
                  </a:lnTo>
                  <a:lnTo>
                    <a:pt x="75" y="179"/>
                  </a:lnTo>
                  <a:lnTo>
                    <a:pt x="83" y="183"/>
                  </a:lnTo>
                  <a:lnTo>
                    <a:pt x="86" y="187"/>
                  </a:lnTo>
                  <a:lnTo>
                    <a:pt x="88" y="190"/>
                  </a:lnTo>
                  <a:lnTo>
                    <a:pt x="88" y="192"/>
                  </a:lnTo>
                  <a:lnTo>
                    <a:pt x="93" y="195"/>
                  </a:lnTo>
                  <a:lnTo>
                    <a:pt x="97" y="200"/>
                  </a:lnTo>
                  <a:lnTo>
                    <a:pt x="98" y="201"/>
                  </a:lnTo>
                  <a:lnTo>
                    <a:pt x="104" y="203"/>
                  </a:lnTo>
                  <a:lnTo>
                    <a:pt x="110" y="203"/>
                  </a:lnTo>
                  <a:lnTo>
                    <a:pt x="113" y="202"/>
                  </a:lnTo>
                  <a:lnTo>
                    <a:pt x="115" y="201"/>
                  </a:lnTo>
                  <a:lnTo>
                    <a:pt x="119" y="191"/>
                  </a:lnTo>
                  <a:lnTo>
                    <a:pt x="124" y="191"/>
                  </a:lnTo>
                  <a:lnTo>
                    <a:pt x="128" y="189"/>
                  </a:lnTo>
                  <a:lnTo>
                    <a:pt x="128" y="184"/>
                  </a:lnTo>
                  <a:lnTo>
                    <a:pt x="133" y="183"/>
                  </a:lnTo>
                  <a:lnTo>
                    <a:pt x="139" y="175"/>
                  </a:lnTo>
                  <a:lnTo>
                    <a:pt x="142" y="168"/>
                  </a:lnTo>
                  <a:lnTo>
                    <a:pt x="141" y="159"/>
                  </a:lnTo>
                  <a:lnTo>
                    <a:pt x="145" y="158"/>
                  </a:lnTo>
                  <a:lnTo>
                    <a:pt x="153" y="157"/>
                  </a:lnTo>
                  <a:lnTo>
                    <a:pt x="157" y="159"/>
                  </a:lnTo>
                  <a:lnTo>
                    <a:pt x="161" y="159"/>
                  </a:lnTo>
                  <a:lnTo>
                    <a:pt x="166" y="157"/>
                  </a:lnTo>
                  <a:lnTo>
                    <a:pt x="172" y="157"/>
                  </a:lnTo>
                  <a:lnTo>
                    <a:pt x="172" y="152"/>
                  </a:lnTo>
                  <a:lnTo>
                    <a:pt x="198" y="152"/>
                  </a:lnTo>
                  <a:lnTo>
                    <a:pt x="211" y="153"/>
                  </a:lnTo>
                  <a:lnTo>
                    <a:pt x="215" y="160"/>
                  </a:lnTo>
                  <a:lnTo>
                    <a:pt x="221" y="164"/>
                  </a:lnTo>
                  <a:lnTo>
                    <a:pt x="225" y="169"/>
                  </a:lnTo>
                  <a:lnTo>
                    <a:pt x="230" y="173"/>
                  </a:lnTo>
                  <a:lnTo>
                    <a:pt x="230" y="175"/>
                  </a:lnTo>
                  <a:lnTo>
                    <a:pt x="232" y="179"/>
                  </a:lnTo>
                  <a:lnTo>
                    <a:pt x="231" y="181"/>
                  </a:lnTo>
                  <a:lnTo>
                    <a:pt x="231" y="184"/>
                  </a:lnTo>
                  <a:lnTo>
                    <a:pt x="238" y="186"/>
                  </a:lnTo>
                  <a:lnTo>
                    <a:pt x="241" y="187"/>
                  </a:lnTo>
                  <a:lnTo>
                    <a:pt x="241" y="190"/>
                  </a:lnTo>
                  <a:lnTo>
                    <a:pt x="239" y="192"/>
                  </a:lnTo>
                  <a:lnTo>
                    <a:pt x="241" y="197"/>
                  </a:lnTo>
                  <a:lnTo>
                    <a:pt x="239" y="197"/>
                  </a:lnTo>
                  <a:lnTo>
                    <a:pt x="241" y="202"/>
                  </a:lnTo>
                  <a:lnTo>
                    <a:pt x="242" y="205"/>
                  </a:lnTo>
                  <a:lnTo>
                    <a:pt x="247" y="208"/>
                  </a:lnTo>
                  <a:lnTo>
                    <a:pt x="248" y="212"/>
                  </a:lnTo>
                  <a:lnTo>
                    <a:pt x="251" y="222"/>
                  </a:lnTo>
                  <a:lnTo>
                    <a:pt x="249" y="223"/>
                  </a:lnTo>
                  <a:lnTo>
                    <a:pt x="244" y="226"/>
                  </a:lnTo>
                  <a:lnTo>
                    <a:pt x="242" y="237"/>
                  </a:lnTo>
                  <a:lnTo>
                    <a:pt x="239" y="242"/>
                  </a:lnTo>
                  <a:lnTo>
                    <a:pt x="239" y="244"/>
                  </a:lnTo>
                  <a:lnTo>
                    <a:pt x="252" y="239"/>
                  </a:lnTo>
                  <a:lnTo>
                    <a:pt x="258" y="234"/>
                  </a:lnTo>
                  <a:lnTo>
                    <a:pt x="259" y="234"/>
                  </a:lnTo>
                  <a:lnTo>
                    <a:pt x="260" y="237"/>
                  </a:lnTo>
                  <a:lnTo>
                    <a:pt x="260" y="240"/>
                  </a:lnTo>
                  <a:lnTo>
                    <a:pt x="264" y="240"/>
                  </a:lnTo>
                  <a:lnTo>
                    <a:pt x="266" y="234"/>
                  </a:lnTo>
                  <a:lnTo>
                    <a:pt x="270" y="232"/>
                  </a:lnTo>
                  <a:lnTo>
                    <a:pt x="274" y="233"/>
                  </a:lnTo>
                  <a:lnTo>
                    <a:pt x="280" y="238"/>
                  </a:lnTo>
                  <a:lnTo>
                    <a:pt x="281" y="238"/>
                  </a:lnTo>
                  <a:lnTo>
                    <a:pt x="284" y="235"/>
                  </a:lnTo>
                  <a:lnTo>
                    <a:pt x="292" y="233"/>
                  </a:lnTo>
                  <a:lnTo>
                    <a:pt x="295" y="234"/>
                  </a:lnTo>
                  <a:lnTo>
                    <a:pt x="295" y="235"/>
                  </a:lnTo>
                  <a:lnTo>
                    <a:pt x="297" y="239"/>
                  </a:lnTo>
                  <a:lnTo>
                    <a:pt x="305" y="244"/>
                  </a:lnTo>
                  <a:lnTo>
                    <a:pt x="305" y="251"/>
                  </a:lnTo>
                  <a:lnTo>
                    <a:pt x="309" y="257"/>
                  </a:lnTo>
                  <a:lnTo>
                    <a:pt x="311" y="271"/>
                  </a:lnTo>
                  <a:lnTo>
                    <a:pt x="313" y="273"/>
                  </a:lnTo>
                  <a:lnTo>
                    <a:pt x="312" y="288"/>
                  </a:lnTo>
                  <a:lnTo>
                    <a:pt x="309" y="292"/>
                  </a:lnTo>
                  <a:lnTo>
                    <a:pt x="306" y="294"/>
                  </a:lnTo>
                  <a:lnTo>
                    <a:pt x="305" y="297"/>
                  </a:lnTo>
                  <a:lnTo>
                    <a:pt x="306" y="298"/>
                  </a:lnTo>
                  <a:lnTo>
                    <a:pt x="311" y="298"/>
                  </a:lnTo>
                  <a:lnTo>
                    <a:pt x="314" y="294"/>
                  </a:lnTo>
                  <a:lnTo>
                    <a:pt x="317" y="296"/>
                  </a:lnTo>
                  <a:lnTo>
                    <a:pt x="322" y="299"/>
                  </a:lnTo>
                  <a:lnTo>
                    <a:pt x="327" y="307"/>
                  </a:lnTo>
                  <a:lnTo>
                    <a:pt x="332" y="305"/>
                  </a:lnTo>
                  <a:lnTo>
                    <a:pt x="334" y="303"/>
                  </a:lnTo>
                  <a:lnTo>
                    <a:pt x="341" y="302"/>
                  </a:lnTo>
                  <a:lnTo>
                    <a:pt x="343" y="298"/>
                  </a:lnTo>
                  <a:lnTo>
                    <a:pt x="348" y="292"/>
                  </a:lnTo>
                  <a:lnTo>
                    <a:pt x="348" y="283"/>
                  </a:lnTo>
                  <a:lnTo>
                    <a:pt x="351" y="281"/>
                  </a:lnTo>
                  <a:lnTo>
                    <a:pt x="357" y="282"/>
                  </a:lnTo>
                  <a:lnTo>
                    <a:pt x="361" y="288"/>
                  </a:lnTo>
                  <a:lnTo>
                    <a:pt x="365" y="286"/>
                  </a:lnTo>
                  <a:lnTo>
                    <a:pt x="378" y="287"/>
                  </a:lnTo>
                  <a:lnTo>
                    <a:pt x="378" y="282"/>
                  </a:lnTo>
                  <a:lnTo>
                    <a:pt x="383" y="276"/>
                  </a:lnTo>
                  <a:lnTo>
                    <a:pt x="383" y="267"/>
                  </a:lnTo>
                  <a:lnTo>
                    <a:pt x="384" y="262"/>
                  </a:lnTo>
                  <a:lnTo>
                    <a:pt x="389" y="260"/>
                  </a:lnTo>
                  <a:lnTo>
                    <a:pt x="388" y="257"/>
                  </a:lnTo>
                  <a:lnTo>
                    <a:pt x="386" y="257"/>
                  </a:lnTo>
                  <a:lnTo>
                    <a:pt x="387" y="255"/>
                  </a:lnTo>
                  <a:lnTo>
                    <a:pt x="386" y="251"/>
                  </a:lnTo>
                  <a:lnTo>
                    <a:pt x="382" y="251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6" y="244"/>
                  </a:lnTo>
                  <a:lnTo>
                    <a:pt x="375" y="239"/>
                  </a:lnTo>
                  <a:lnTo>
                    <a:pt x="373" y="239"/>
                  </a:lnTo>
                  <a:lnTo>
                    <a:pt x="373" y="238"/>
                  </a:lnTo>
                  <a:lnTo>
                    <a:pt x="382" y="234"/>
                  </a:lnTo>
                  <a:lnTo>
                    <a:pt x="391" y="235"/>
                  </a:lnTo>
                  <a:lnTo>
                    <a:pt x="394" y="239"/>
                  </a:lnTo>
                  <a:lnTo>
                    <a:pt x="397" y="239"/>
                  </a:lnTo>
                  <a:lnTo>
                    <a:pt x="400" y="238"/>
                  </a:lnTo>
                  <a:lnTo>
                    <a:pt x="403" y="244"/>
                  </a:lnTo>
                  <a:lnTo>
                    <a:pt x="404" y="244"/>
                  </a:lnTo>
                  <a:lnTo>
                    <a:pt x="403" y="235"/>
                  </a:lnTo>
                  <a:lnTo>
                    <a:pt x="403" y="230"/>
                  </a:lnTo>
                  <a:lnTo>
                    <a:pt x="400" y="227"/>
                  </a:lnTo>
                  <a:lnTo>
                    <a:pt x="400" y="221"/>
                  </a:lnTo>
                  <a:lnTo>
                    <a:pt x="397" y="221"/>
                  </a:lnTo>
                  <a:lnTo>
                    <a:pt x="393" y="219"/>
                  </a:lnTo>
                  <a:lnTo>
                    <a:pt x="391" y="219"/>
                  </a:lnTo>
                  <a:lnTo>
                    <a:pt x="394" y="211"/>
                  </a:lnTo>
                  <a:lnTo>
                    <a:pt x="398" y="207"/>
                  </a:lnTo>
                  <a:lnTo>
                    <a:pt x="400" y="206"/>
                  </a:lnTo>
                  <a:lnTo>
                    <a:pt x="400" y="203"/>
                  </a:lnTo>
                  <a:lnTo>
                    <a:pt x="397" y="199"/>
                  </a:lnTo>
                  <a:lnTo>
                    <a:pt x="393" y="200"/>
                  </a:lnTo>
                  <a:lnTo>
                    <a:pt x="394" y="186"/>
                  </a:lnTo>
                  <a:lnTo>
                    <a:pt x="387" y="186"/>
                  </a:lnTo>
                  <a:lnTo>
                    <a:pt x="380" y="183"/>
                  </a:lnTo>
                  <a:lnTo>
                    <a:pt x="380" y="180"/>
                  </a:lnTo>
                  <a:lnTo>
                    <a:pt x="380" y="163"/>
                  </a:lnTo>
                  <a:lnTo>
                    <a:pt x="378" y="154"/>
                  </a:lnTo>
                  <a:lnTo>
                    <a:pt x="381" y="152"/>
                  </a:lnTo>
                  <a:lnTo>
                    <a:pt x="382" y="149"/>
                  </a:lnTo>
                  <a:lnTo>
                    <a:pt x="388" y="142"/>
                  </a:lnTo>
                  <a:lnTo>
                    <a:pt x="389" y="140"/>
                  </a:lnTo>
                  <a:lnTo>
                    <a:pt x="389" y="137"/>
                  </a:lnTo>
                  <a:lnTo>
                    <a:pt x="387" y="133"/>
                  </a:lnTo>
                  <a:lnTo>
                    <a:pt x="382" y="131"/>
                  </a:lnTo>
                  <a:lnTo>
                    <a:pt x="380" y="126"/>
                  </a:lnTo>
                  <a:lnTo>
                    <a:pt x="375" y="126"/>
                  </a:lnTo>
                  <a:lnTo>
                    <a:pt x="371" y="120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5" y="92"/>
                  </a:lnTo>
                  <a:lnTo>
                    <a:pt x="360" y="92"/>
                  </a:lnTo>
                  <a:lnTo>
                    <a:pt x="354" y="99"/>
                  </a:lnTo>
                  <a:lnTo>
                    <a:pt x="351" y="99"/>
                  </a:lnTo>
                  <a:lnTo>
                    <a:pt x="351" y="92"/>
                  </a:lnTo>
                  <a:lnTo>
                    <a:pt x="352" y="89"/>
                  </a:lnTo>
                  <a:lnTo>
                    <a:pt x="357" y="88"/>
                  </a:lnTo>
                  <a:lnTo>
                    <a:pt x="357" y="83"/>
                  </a:lnTo>
                  <a:lnTo>
                    <a:pt x="361" y="83"/>
                  </a:lnTo>
                  <a:lnTo>
                    <a:pt x="364" y="79"/>
                  </a:lnTo>
                  <a:lnTo>
                    <a:pt x="367" y="79"/>
                  </a:lnTo>
                  <a:lnTo>
                    <a:pt x="367" y="73"/>
                  </a:lnTo>
                  <a:lnTo>
                    <a:pt x="366" y="72"/>
                  </a:lnTo>
                  <a:lnTo>
                    <a:pt x="361" y="72"/>
                  </a:lnTo>
                  <a:lnTo>
                    <a:pt x="357" y="70"/>
                  </a:lnTo>
                  <a:lnTo>
                    <a:pt x="354" y="67"/>
                  </a:lnTo>
                  <a:lnTo>
                    <a:pt x="349" y="57"/>
                  </a:lnTo>
                  <a:lnTo>
                    <a:pt x="344" y="60"/>
                  </a:lnTo>
                  <a:lnTo>
                    <a:pt x="343" y="58"/>
                  </a:lnTo>
                  <a:lnTo>
                    <a:pt x="343" y="41"/>
                  </a:lnTo>
                  <a:lnTo>
                    <a:pt x="341" y="36"/>
                  </a:lnTo>
                  <a:lnTo>
                    <a:pt x="339" y="36"/>
                  </a:lnTo>
                  <a:lnTo>
                    <a:pt x="339" y="30"/>
                  </a:lnTo>
                  <a:lnTo>
                    <a:pt x="338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0" y="12"/>
                  </a:lnTo>
                  <a:lnTo>
                    <a:pt x="328" y="12"/>
                  </a:lnTo>
                  <a:lnTo>
                    <a:pt x="324" y="15"/>
                  </a:lnTo>
                  <a:lnTo>
                    <a:pt x="323" y="15"/>
                  </a:lnTo>
                  <a:lnTo>
                    <a:pt x="316" y="11"/>
                  </a:lnTo>
                  <a:lnTo>
                    <a:pt x="313" y="11"/>
                  </a:lnTo>
                  <a:lnTo>
                    <a:pt x="312" y="12"/>
                  </a:lnTo>
                  <a:lnTo>
                    <a:pt x="312" y="20"/>
                  </a:lnTo>
                  <a:lnTo>
                    <a:pt x="309" y="24"/>
                  </a:lnTo>
                  <a:lnTo>
                    <a:pt x="296" y="28"/>
                  </a:lnTo>
                  <a:lnTo>
                    <a:pt x="296" y="34"/>
                  </a:lnTo>
                  <a:lnTo>
                    <a:pt x="294" y="38"/>
                  </a:lnTo>
                  <a:lnTo>
                    <a:pt x="280" y="34"/>
                  </a:lnTo>
                  <a:lnTo>
                    <a:pt x="270" y="28"/>
                  </a:lnTo>
                  <a:lnTo>
                    <a:pt x="262" y="27"/>
                  </a:lnTo>
                  <a:lnTo>
                    <a:pt x="259" y="27"/>
                  </a:lnTo>
                  <a:lnTo>
                    <a:pt x="255" y="33"/>
                  </a:lnTo>
                  <a:lnTo>
                    <a:pt x="249" y="34"/>
                  </a:lnTo>
                  <a:lnTo>
                    <a:pt x="247" y="40"/>
                  </a:lnTo>
                  <a:lnTo>
                    <a:pt x="243" y="44"/>
                  </a:lnTo>
                  <a:lnTo>
                    <a:pt x="238" y="41"/>
                  </a:lnTo>
                  <a:lnTo>
                    <a:pt x="230" y="30"/>
                  </a:lnTo>
                  <a:lnTo>
                    <a:pt x="227" y="28"/>
                  </a:lnTo>
                  <a:lnTo>
                    <a:pt x="222" y="28"/>
                  </a:lnTo>
                  <a:lnTo>
                    <a:pt x="216" y="34"/>
                  </a:lnTo>
                  <a:lnTo>
                    <a:pt x="212" y="38"/>
                  </a:lnTo>
                  <a:lnTo>
                    <a:pt x="208" y="39"/>
                  </a:lnTo>
                  <a:lnTo>
                    <a:pt x="203" y="35"/>
                  </a:lnTo>
                  <a:lnTo>
                    <a:pt x="198" y="31"/>
                  </a:lnTo>
                  <a:lnTo>
                    <a:pt x="199" y="28"/>
                  </a:lnTo>
                  <a:lnTo>
                    <a:pt x="203" y="23"/>
                  </a:lnTo>
                  <a:lnTo>
                    <a:pt x="203" y="19"/>
                  </a:lnTo>
                  <a:lnTo>
                    <a:pt x="205" y="15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5" name="Freeform 35"/>
            <p:cNvSpPr>
              <a:spLocks noChangeAspect="1"/>
            </p:cNvSpPr>
            <p:nvPr/>
          </p:nvSpPr>
          <p:spPr bwMode="gray">
            <a:xfrm>
              <a:off x="3465566" y="4042795"/>
              <a:ext cx="190187" cy="120187"/>
            </a:xfrm>
            <a:custGeom>
              <a:avLst/>
              <a:gdLst/>
              <a:ahLst/>
              <a:cxnLst>
                <a:cxn ang="0">
                  <a:pos x="433" y="6"/>
                </a:cxn>
                <a:cxn ang="0">
                  <a:pos x="405" y="15"/>
                </a:cxn>
                <a:cxn ang="0">
                  <a:pos x="393" y="44"/>
                </a:cxn>
                <a:cxn ang="0">
                  <a:pos x="378" y="58"/>
                </a:cxn>
                <a:cxn ang="0">
                  <a:pos x="355" y="87"/>
                </a:cxn>
                <a:cxn ang="0">
                  <a:pos x="331" y="102"/>
                </a:cxn>
                <a:cxn ang="0">
                  <a:pos x="317" y="106"/>
                </a:cxn>
                <a:cxn ang="0">
                  <a:pos x="292" y="109"/>
                </a:cxn>
                <a:cxn ang="0">
                  <a:pos x="259" y="113"/>
                </a:cxn>
                <a:cxn ang="0">
                  <a:pos x="245" y="122"/>
                </a:cxn>
                <a:cxn ang="0">
                  <a:pos x="254" y="136"/>
                </a:cxn>
                <a:cxn ang="0">
                  <a:pos x="244" y="152"/>
                </a:cxn>
                <a:cxn ang="0">
                  <a:pos x="232" y="159"/>
                </a:cxn>
                <a:cxn ang="0">
                  <a:pos x="205" y="166"/>
                </a:cxn>
                <a:cxn ang="0">
                  <a:pos x="183" y="170"/>
                </a:cxn>
                <a:cxn ang="0">
                  <a:pos x="153" y="183"/>
                </a:cxn>
                <a:cxn ang="0">
                  <a:pos x="136" y="192"/>
                </a:cxn>
                <a:cxn ang="0">
                  <a:pos x="123" y="184"/>
                </a:cxn>
                <a:cxn ang="0">
                  <a:pos x="113" y="177"/>
                </a:cxn>
                <a:cxn ang="0">
                  <a:pos x="105" y="187"/>
                </a:cxn>
                <a:cxn ang="0">
                  <a:pos x="77" y="198"/>
                </a:cxn>
                <a:cxn ang="0">
                  <a:pos x="60" y="197"/>
                </a:cxn>
                <a:cxn ang="0">
                  <a:pos x="38" y="226"/>
                </a:cxn>
                <a:cxn ang="0">
                  <a:pos x="11" y="272"/>
                </a:cxn>
                <a:cxn ang="0">
                  <a:pos x="3" y="310"/>
                </a:cxn>
                <a:cxn ang="0">
                  <a:pos x="13" y="361"/>
                </a:cxn>
                <a:cxn ang="0">
                  <a:pos x="58" y="431"/>
                </a:cxn>
                <a:cxn ang="0">
                  <a:pos x="97" y="437"/>
                </a:cxn>
                <a:cxn ang="0">
                  <a:pos x="157" y="404"/>
                </a:cxn>
                <a:cxn ang="0">
                  <a:pos x="207" y="416"/>
                </a:cxn>
                <a:cxn ang="0">
                  <a:pos x="241" y="402"/>
                </a:cxn>
                <a:cxn ang="0">
                  <a:pos x="242" y="360"/>
                </a:cxn>
                <a:cxn ang="0">
                  <a:pos x="263" y="334"/>
                </a:cxn>
                <a:cxn ang="0">
                  <a:pos x="306" y="324"/>
                </a:cxn>
                <a:cxn ang="0">
                  <a:pos x="336" y="361"/>
                </a:cxn>
                <a:cxn ang="0">
                  <a:pos x="365" y="365"/>
                </a:cxn>
                <a:cxn ang="0">
                  <a:pos x="446" y="367"/>
                </a:cxn>
                <a:cxn ang="0">
                  <a:pos x="480" y="345"/>
                </a:cxn>
                <a:cxn ang="0">
                  <a:pos x="518" y="339"/>
                </a:cxn>
                <a:cxn ang="0">
                  <a:pos x="561" y="328"/>
                </a:cxn>
                <a:cxn ang="0">
                  <a:pos x="569" y="337"/>
                </a:cxn>
                <a:cxn ang="0">
                  <a:pos x="592" y="322"/>
                </a:cxn>
                <a:cxn ang="0">
                  <a:pos x="650" y="318"/>
                </a:cxn>
                <a:cxn ang="0">
                  <a:pos x="682" y="334"/>
                </a:cxn>
                <a:cxn ang="0">
                  <a:pos x="712" y="316"/>
                </a:cxn>
                <a:cxn ang="0">
                  <a:pos x="675" y="276"/>
                </a:cxn>
                <a:cxn ang="0">
                  <a:pos x="657" y="253"/>
                </a:cxn>
                <a:cxn ang="0">
                  <a:pos x="637" y="226"/>
                </a:cxn>
                <a:cxn ang="0">
                  <a:pos x="593" y="192"/>
                </a:cxn>
                <a:cxn ang="0">
                  <a:pos x="587" y="166"/>
                </a:cxn>
                <a:cxn ang="0">
                  <a:pos x="546" y="152"/>
                </a:cxn>
                <a:cxn ang="0">
                  <a:pos x="517" y="129"/>
                </a:cxn>
                <a:cxn ang="0">
                  <a:pos x="494" y="105"/>
                </a:cxn>
                <a:cxn ang="0">
                  <a:pos x="496" y="55"/>
                </a:cxn>
                <a:cxn ang="0">
                  <a:pos x="453" y="0"/>
                </a:cxn>
              </a:cxnLst>
              <a:rect l="0" t="0" r="r" b="b"/>
              <a:pathLst>
                <a:path w="718" h="451">
                  <a:moveTo>
                    <a:pt x="453" y="0"/>
                  </a:moveTo>
                  <a:lnTo>
                    <a:pt x="442" y="3"/>
                  </a:lnTo>
                  <a:lnTo>
                    <a:pt x="433" y="6"/>
                  </a:lnTo>
                  <a:lnTo>
                    <a:pt x="417" y="7"/>
                  </a:lnTo>
                  <a:lnTo>
                    <a:pt x="411" y="10"/>
                  </a:lnTo>
                  <a:lnTo>
                    <a:pt x="405" y="15"/>
                  </a:lnTo>
                  <a:lnTo>
                    <a:pt x="400" y="26"/>
                  </a:lnTo>
                  <a:lnTo>
                    <a:pt x="400" y="42"/>
                  </a:lnTo>
                  <a:lnTo>
                    <a:pt x="393" y="44"/>
                  </a:lnTo>
                  <a:lnTo>
                    <a:pt x="387" y="54"/>
                  </a:lnTo>
                  <a:lnTo>
                    <a:pt x="383" y="57"/>
                  </a:lnTo>
                  <a:lnTo>
                    <a:pt x="378" y="58"/>
                  </a:lnTo>
                  <a:lnTo>
                    <a:pt x="362" y="74"/>
                  </a:lnTo>
                  <a:lnTo>
                    <a:pt x="358" y="84"/>
                  </a:lnTo>
                  <a:lnTo>
                    <a:pt x="355" y="87"/>
                  </a:lnTo>
                  <a:lnTo>
                    <a:pt x="342" y="93"/>
                  </a:lnTo>
                  <a:lnTo>
                    <a:pt x="336" y="95"/>
                  </a:lnTo>
                  <a:lnTo>
                    <a:pt x="331" y="102"/>
                  </a:lnTo>
                  <a:lnTo>
                    <a:pt x="329" y="105"/>
                  </a:lnTo>
                  <a:lnTo>
                    <a:pt x="322" y="108"/>
                  </a:lnTo>
                  <a:lnTo>
                    <a:pt x="317" y="106"/>
                  </a:lnTo>
                  <a:lnTo>
                    <a:pt x="309" y="106"/>
                  </a:lnTo>
                  <a:lnTo>
                    <a:pt x="302" y="108"/>
                  </a:lnTo>
                  <a:lnTo>
                    <a:pt x="292" y="109"/>
                  </a:lnTo>
                  <a:lnTo>
                    <a:pt x="290" y="112"/>
                  </a:lnTo>
                  <a:lnTo>
                    <a:pt x="270" y="112"/>
                  </a:lnTo>
                  <a:lnTo>
                    <a:pt x="259" y="113"/>
                  </a:lnTo>
                  <a:lnTo>
                    <a:pt x="249" y="117"/>
                  </a:lnTo>
                  <a:lnTo>
                    <a:pt x="247" y="118"/>
                  </a:lnTo>
                  <a:lnTo>
                    <a:pt x="245" y="122"/>
                  </a:lnTo>
                  <a:lnTo>
                    <a:pt x="245" y="124"/>
                  </a:lnTo>
                  <a:lnTo>
                    <a:pt x="252" y="129"/>
                  </a:lnTo>
                  <a:lnTo>
                    <a:pt x="254" y="136"/>
                  </a:lnTo>
                  <a:lnTo>
                    <a:pt x="252" y="140"/>
                  </a:lnTo>
                  <a:lnTo>
                    <a:pt x="247" y="144"/>
                  </a:lnTo>
                  <a:lnTo>
                    <a:pt x="244" y="152"/>
                  </a:lnTo>
                  <a:lnTo>
                    <a:pt x="239" y="155"/>
                  </a:lnTo>
                  <a:lnTo>
                    <a:pt x="234" y="156"/>
                  </a:lnTo>
                  <a:lnTo>
                    <a:pt x="232" y="159"/>
                  </a:lnTo>
                  <a:lnTo>
                    <a:pt x="231" y="165"/>
                  </a:lnTo>
                  <a:lnTo>
                    <a:pt x="229" y="166"/>
                  </a:lnTo>
                  <a:lnTo>
                    <a:pt x="205" y="166"/>
                  </a:lnTo>
                  <a:lnTo>
                    <a:pt x="198" y="170"/>
                  </a:lnTo>
                  <a:lnTo>
                    <a:pt x="189" y="170"/>
                  </a:lnTo>
                  <a:lnTo>
                    <a:pt x="183" y="170"/>
                  </a:lnTo>
                  <a:lnTo>
                    <a:pt x="161" y="177"/>
                  </a:lnTo>
                  <a:lnTo>
                    <a:pt x="157" y="181"/>
                  </a:lnTo>
                  <a:lnTo>
                    <a:pt x="153" y="183"/>
                  </a:lnTo>
                  <a:lnTo>
                    <a:pt x="147" y="187"/>
                  </a:lnTo>
                  <a:lnTo>
                    <a:pt x="139" y="188"/>
                  </a:lnTo>
                  <a:lnTo>
                    <a:pt x="136" y="192"/>
                  </a:lnTo>
                  <a:lnTo>
                    <a:pt x="132" y="193"/>
                  </a:lnTo>
                  <a:lnTo>
                    <a:pt x="125" y="187"/>
                  </a:lnTo>
                  <a:lnTo>
                    <a:pt x="123" y="184"/>
                  </a:lnTo>
                  <a:lnTo>
                    <a:pt x="119" y="178"/>
                  </a:lnTo>
                  <a:lnTo>
                    <a:pt x="116" y="177"/>
                  </a:lnTo>
                  <a:lnTo>
                    <a:pt x="113" y="177"/>
                  </a:lnTo>
                  <a:lnTo>
                    <a:pt x="112" y="179"/>
                  </a:lnTo>
                  <a:lnTo>
                    <a:pt x="108" y="179"/>
                  </a:lnTo>
                  <a:lnTo>
                    <a:pt x="105" y="187"/>
                  </a:lnTo>
                  <a:lnTo>
                    <a:pt x="92" y="189"/>
                  </a:lnTo>
                  <a:lnTo>
                    <a:pt x="82" y="197"/>
                  </a:lnTo>
                  <a:lnTo>
                    <a:pt x="77" y="198"/>
                  </a:lnTo>
                  <a:lnTo>
                    <a:pt x="71" y="195"/>
                  </a:lnTo>
                  <a:lnTo>
                    <a:pt x="66" y="195"/>
                  </a:lnTo>
                  <a:lnTo>
                    <a:pt x="60" y="197"/>
                  </a:lnTo>
                  <a:lnTo>
                    <a:pt x="51" y="198"/>
                  </a:lnTo>
                  <a:lnTo>
                    <a:pt x="48" y="200"/>
                  </a:lnTo>
                  <a:lnTo>
                    <a:pt x="38" y="226"/>
                  </a:lnTo>
                  <a:lnTo>
                    <a:pt x="28" y="241"/>
                  </a:lnTo>
                  <a:lnTo>
                    <a:pt x="21" y="257"/>
                  </a:lnTo>
                  <a:lnTo>
                    <a:pt x="11" y="272"/>
                  </a:lnTo>
                  <a:lnTo>
                    <a:pt x="0" y="283"/>
                  </a:lnTo>
                  <a:lnTo>
                    <a:pt x="0" y="296"/>
                  </a:lnTo>
                  <a:lnTo>
                    <a:pt x="3" y="310"/>
                  </a:lnTo>
                  <a:lnTo>
                    <a:pt x="2" y="327"/>
                  </a:lnTo>
                  <a:lnTo>
                    <a:pt x="3" y="343"/>
                  </a:lnTo>
                  <a:lnTo>
                    <a:pt x="13" y="361"/>
                  </a:lnTo>
                  <a:lnTo>
                    <a:pt x="22" y="372"/>
                  </a:lnTo>
                  <a:lnTo>
                    <a:pt x="46" y="419"/>
                  </a:lnTo>
                  <a:lnTo>
                    <a:pt x="58" y="431"/>
                  </a:lnTo>
                  <a:lnTo>
                    <a:pt x="81" y="451"/>
                  </a:lnTo>
                  <a:lnTo>
                    <a:pt x="88" y="451"/>
                  </a:lnTo>
                  <a:lnTo>
                    <a:pt x="97" y="437"/>
                  </a:lnTo>
                  <a:lnTo>
                    <a:pt x="114" y="421"/>
                  </a:lnTo>
                  <a:lnTo>
                    <a:pt x="137" y="407"/>
                  </a:lnTo>
                  <a:lnTo>
                    <a:pt x="157" y="404"/>
                  </a:lnTo>
                  <a:lnTo>
                    <a:pt x="174" y="414"/>
                  </a:lnTo>
                  <a:lnTo>
                    <a:pt x="191" y="420"/>
                  </a:lnTo>
                  <a:lnTo>
                    <a:pt x="207" y="416"/>
                  </a:lnTo>
                  <a:lnTo>
                    <a:pt x="222" y="409"/>
                  </a:lnTo>
                  <a:lnTo>
                    <a:pt x="228" y="404"/>
                  </a:lnTo>
                  <a:lnTo>
                    <a:pt x="241" y="402"/>
                  </a:lnTo>
                  <a:lnTo>
                    <a:pt x="238" y="393"/>
                  </a:lnTo>
                  <a:lnTo>
                    <a:pt x="239" y="374"/>
                  </a:lnTo>
                  <a:lnTo>
                    <a:pt x="242" y="360"/>
                  </a:lnTo>
                  <a:lnTo>
                    <a:pt x="250" y="355"/>
                  </a:lnTo>
                  <a:lnTo>
                    <a:pt x="257" y="340"/>
                  </a:lnTo>
                  <a:lnTo>
                    <a:pt x="263" y="334"/>
                  </a:lnTo>
                  <a:lnTo>
                    <a:pt x="276" y="323"/>
                  </a:lnTo>
                  <a:lnTo>
                    <a:pt x="290" y="323"/>
                  </a:lnTo>
                  <a:lnTo>
                    <a:pt x="306" y="324"/>
                  </a:lnTo>
                  <a:lnTo>
                    <a:pt x="313" y="334"/>
                  </a:lnTo>
                  <a:lnTo>
                    <a:pt x="315" y="343"/>
                  </a:lnTo>
                  <a:lnTo>
                    <a:pt x="336" y="361"/>
                  </a:lnTo>
                  <a:lnTo>
                    <a:pt x="344" y="364"/>
                  </a:lnTo>
                  <a:lnTo>
                    <a:pt x="351" y="355"/>
                  </a:lnTo>
                  <a:lnTo>
                    <a:pt x="365" y="365"/>
                  </a:lnTo>
                  <a:lnTo>
                    <a:pt x="388" y="371"/>
                  </a:lnTo>
                  <a:lnTo>
                    <a:pt x="438" y="371"/>
                  </a:lnTo>
                  <a:lnTo>
                    <a:pt x="446" y="367"/>
                  </a:lnTo>
                  <a:lnTo>
                    <a:pt x="448" y="350"/>
                  </a:lnTo>
                  <a:lnTo>
                    <a:pt x="462" y="342"/>
                  </a:lnTo>
                  <a:lnTo>
                    <a:pt x="480" y="345"/>
                  </a:lnTo>
                  <a:lnTo>
                    <a:pt x="489" y="350"/>
                  </a:lnTo>
                  <a:lnTo>
                    <a:pt x="507" y="345"/>
                  </a:lnTo>
                  <a:lnTo>
                    <a:pt x="518" y="339"/>
                  </a:lnTo>
                  <a:lnTo>
                    <a:pt x="544" y="334"/>
                  </a:lnTo>
                  <a:lnTo>
                    <a:pt x="555" y="328"/>
                  </a:lnTo>
                  <a:lnTo>
                    <a:pt x="561" y="328"/>
                  </a:lnTo>
                  <a:lnTo>
                    <a:pt x="562" y="334"/>
                  </a:lnTo>
                  <a:lnTo>
                    <a:pt x="561" y="334"/>
                  </a:lnTo>
                  <a:lnTo>
                    <a:pt x="569" y="337"/>
                  </a:lnTo>
                  <a:lnTo>
                    <a:pt x="576" y="334"/>
                  </a:lnTo>
                  <a:lnTo>
                    <a:pt x="588" y="334"/>
                  </a:lnTo>
                  <a:lnTo>
                    <a:pt x="592" y="322"/>
                  </a:lnTo>
                  <a:lnTo>
                    <a:pt x="612" y="327"/>
                  </a:lnTo>
                  <a:lnTo>
                    <a:pt x="635" y="323"/>
                  </a:lnTo>
                  <a:lnTo>
                    <a:pt x="650" y="318"/>
                  </a:lnTo>
                  <a:lnTo>
                    <a:pt x="663" y="334"/>
                  </a:lnTo>
                  <a:lnTo>
                    <a:pt x="670" y="327"/>
                  </a:lnTo>
                  <a:lnTo>
                    <a:pt x="682" y="334"/>
                  </a:lnTo>
                  <a:lnTo>
                    <a:pt x="690" y="323"/>
                  </a:lnTo>
                  <a:lnTo>
                    <a:pt x="718" y="323"/>
                  </a:lnTo>
                  <a:lnTo>
                    <a:pt x="712" y="316"/>
                  </a:lnTo>
                  <a:lnTo>
                    <a:pt x="711" y="305"/>
                  </a:lnTo>
                  <a:lnTo>
                    <a:pt x="705" y="296"/>
                  </a:lnTo>
                  <a:lnTo>
                    <a:pt x="675" y="276"/>
                  </a:lnTo>
                  <a:lnTo>
                    <a:pt x="666" y="273"/>
                  </a:lnTo>
                  <a:lnTo>
                    <a:pt x="664" y="262"/>
                  </a:lnTo>
                  <a:lnTo>
                    <a:pt x="657" y="253"/>
                  </a:lnTo>
                  <a:lnTo>
                    <a:pt x="653" y="242"/>
                  </a:lnTo>
                  <a:lnTo>
                    <a:pt x="648" y="232"/>
                  </a:lnTo>
                  <a:lnTo>
                    <a:pt x="637" y="226"/>
                  </a:lnTo>
                  <a:lnTo>
                    <a:pt x="630" y="216"/>
                  </a:lnTo>
                  <a:lnTo>
                    <a:pt x="612" y="204"/>
                  </a:lnTo>
                  <a:lnTo>
                    <a:pt x="593" y="192"/>
                  </a:lnTo>
                  <a:lnTo>
                    <a:pt x="587" y="181"/>
                  </a:lnTo>
                  <a:lnTo>
                    <a:pt x="588" y="171"/>
                  </a:lnTo>
                  <a:lnTo>
                    <a:pt x="587" y="166"/>
                  </a:lnTo>
                  <a:lnTo>
                    <a:pt x="577" y="159"/>
                  </a:lnTo>
                  <a:lnTo>
                    <a:pt x="569" y="152"/>
                  </a:lnTo>
                  <a:lnTo>
                    <a:pt x="546" y="152"/>
                  </a:lnTo>
                  <a:lnTo>
                    <a:pt x="535" y="148"/>
                  </a:lnTo>
                  <a:lnTo>
                    <a:pt x="530" y="133"/>
                  </a:lnTo>
                  <a:lnTo>
                    <a:pt x="517" y="129"/>
                  </a:lnTo>
                  <a:lnTo>
                    <a:pt x="506" y="128"/>
                  </a:lnTo>
                  <a:lnTo>
                    <a:pt x="496" y="118"/>
                  </a:lnTo>
                  <a:lnTo>
                    <a:pt x="494" y="105"/>
                  </a:lnTo>
                  <a:lnTo>
                    <a:pt x="496" y="89"/>
                  </a:lnTo>
                  <a:lnTo>
                    <a:pt x="501" y="71"/>
                  </a:lnTo>
                  <a:lnTo>
                    <a:pt x="496" y="55"/>
                  </a:lnTo>
                  <a:lnTo>
                    <a:pt x="480" y="34"/>
                  </a:lnTo>
                  <a:lnTo>
                    <a:pt x="463" y="15"/>
                  </a:lnTo>
                  <a:lnTo>
                    <a:pt x="453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6" name="Freeform 36"/>
            <p:cNvSpPr>
              <a:spLocks noChangeAspect="1"/>
            </p:cNvSpPr>
            <p:nvPr/>
          </p:nvSpPr>
          <p:spPr bwMode="gray">
            <a:xfrm>
              <a:off x="3383680" y="4169586"/>
              <a:ext cx="80565" cy="91131"/>
            </a:xfrm>
            <a:custGeom>
              <a:avLst/>
              <a:gdLst/>
              <a:ahLst/>
              <a:cxnLst>
                <a:cxn ang="0">
                  <a:pos x="120" y="330"/>
                </a:cxn>
                <a:cxn ang="0">
                  <a:pos x="97" y="305"/>
                </a:cxn>
                <a:cxn ang="0">
                  <a:pos x="54" y="262"/>
                </a:cxn>
                <a:cxn ang="0">
                  <a:pos x="34" y="237"/>
                </a:cxn>
                <a:cxn ang="0">
                  <a:pos x="17" y="208"/>
                </a:cxn>
                <a:cxn ang="0">
                  <a:pos x="4" y="177"/>
                </a:cxn>
                <a:cxn ang="0">
                  <a:pos x="4" y="167"/>
                </a:cxn>
                <a:cxn ang="0">
                  <a:pos x="17" y="156"/>
                </a:cxn>
                <a:cxn ang="0">
                  <a:pos x="27" y="138"/>
                </a:cxn>
                <a:cxn ang="0">
                  <a:pos x="31" y="113"/>
                </a:cxn>
                <a:cxn ang="0">
                  <a:pos x="45" y="122"/>
                </a:cxn>
                <a:cxn ang="0">
                  <a:pos x="60" y="120"/>
                </a:cxn>
                <a:cxn ang="0">
                  <a:pos x="47" y="115"/>
                </a:cxn>
                <a:cxn ang="0">
                  <a:pos x="34" y="105"/>
                </a:cxn>
                <a:cxn ang="0">
                  <a:pos x="33" y="94"/>
                </a:cxn>
                <a:cxn ang="0">
                  <a:pos x="43" y="89"/>
                </a:cxn>
                <a:cxn ang="0">
                  <a:pos x="66" y="68"/>
                </a:cxn>
                <a:cxn ang="0">
                  <a:pos x="135" y="63"/>
                </a:cxn>
                <a:cxn ang="0">
                  <a:pos x="131" y="20"/>
                </a:cxn>
                <a:cxn ang="0">
                  <a:pos x="151" y="2"/>
                </a:cxn>
                <a:cxn ang="0">
                  <a:pos x="185" y="0"/>
                </a:cxn>
                <a:cxn ang="0">
                  <a:pos x="237" y="5"/>
                </a:cxn>
                <a:cxn ang="0">
                  <a:pos x="239" y="22"/>
                </a:cxn>
                <a:cxn ang="0">
                  <a:pos x="239" y="59"/>
                </a:cxn>
                <a:cxn ang="0">
                  <a:pos x="264" y="41"/>
                </a:cxn>
                <a:cxn ang="0">
                  <a:pos x="303" y="61"/>
                </a:cxn>
                <a:cxn ang="0">
                  <a:pos x="286" y="111"/>
                </a:cxn>
                <a:cxn ang="0">
                  <a:pos x="289" y="142"/>
                </a:cxn>
                <a:cxn ang="0">
                  <a:pos x="299" y="186"/>
                </a:cxn>
                <a:cxn ang="0">
                  <a:pos x="293" y="236"/>
                </a:cxn>
                <a:cxn ang="0">
                  <a:pos x="272" y="258"/>
                </a:cxn>
                <a:cxn ang="0">
                  <a:pos x="229" y="245"/>
                </a:cxn>
                <a:cxn ang="0">
                  <a:pos x="212" y="229"/>
                </a:cxn>
                <a:cxn ang="0">
                  <a:pos x="192" y="248"/>
                </a:cxn>
                <a:cxn ang="0">
                  <a:pos x="159" y="266"/>
                </a:cxn>
                <a:cxn ang="0">
                  <a:pos x="153" y="287"/>
                </a:cxn>
                <a:cxn ang="0">
                  <a:pos x="160" y="314"/>
                </a:cxn>
                <a:cxn ang="0">
                  <a:pos x="146" y="318"/>
                </a:cxn>
                <a:cxn ang="0">
                  <a:pos x="129" y="328"/>
                </a:cxn>
              </a:cxnLst>
              <a:rect l="0" t="0" r="r" b="b"/>
              <a:pathLst>
                <a:path w="304" h="343">
                  <a:moveTo>
                    <a:pt x="127" y="343"/>
                  </a:moveTo>
                  <a:lnTo>
                    <a:pt x="120" y="330"/>
                  </a:lnTo>
                  <a:lnTo>
                    <a:pt x="110" y="320"/>
                  </a:lnTo>
                  <a:lnTo>
                    <a:pt x="97" y="305"/>
                  </a:lnTo>
                  <a:lnTo>
                    <a:pt x="61" y="274"/>
                  </a:lnTo>
                  <a:lnTo>
                    <a:pt x="54" y="262"/>
                  </a:lnTo>
                  <a:lnTo>
                    <a:pt x="45" y="251"/>
                  </a:lnTo>
                  <a:lnTo>
                    <a:pt x="34" y="237"/>
                  </a:lnTo>
                  <a:lnTo>
                    <a:pt x="27" y="231"/>
                  </a:lnTo>
                  <a:lnTo>
                    <a:pt x="17" y="208"/>
                  </a:lnTo>
                  <a:lnTo>
                    <a:pt x="13" y="194"/>
                  </a:lnTo>
                  <a:lnTo>
                    <a:pt x="4" y="177"/>
                  </a:lnTo>
                  <a:lnTo>
                    <a:pt x="0" y="169"/>
                  </a:lnTo>
                  <a:lnTo>
                    <a:pt x="4" y="167"/>
                  </a:lnTo>
                  <a:lnTo>
                    <a:pt x="12" y="165"/>
                  </a:lnTo>
                  <a:lnTo>
                    <a:pt x="17" y="156"/>
                  </a:lnTo>
                  <a:lnTo>
                    <a:pt x="24" y="150"/>
                  </a:lnTo>
                  <a:lnTo>
                    <a:pt x="27" y="138"/>
                  </a:lnTo>
                  <a:lnTo>
                    <a:pt x="28" y="113"/>
                  </a:lnTo>
                  <a:lnTo>
                    <a:pt x="31" y="113"/>
                  </a:lnTo>
                  <a:lnTo>
                    <a:pt x="36" y="118"/>
                  </a:lnTo>
                  <a:lnTo>
                    <a:pt x="45" y="122"/>
                  </a:lnTo>
                  <a:lnTo>
                    <a:pt x="57" y="122"/>
                  </a:lnTo>
                  <a:lnTo>
                    <a:pt x="60" y="120"/>
                  </a:lnTo>
                  <a:lnTo>
                    <a:pt x="56" y="117"/>
                  </a:lnTo>
                  <a:lnTo>
                    <a:pt x="47" y="115"/>
                  </a:lnTo>
                  <a:lnTo>
                    <a:pt x="40" y="110"/>
                  </a:lnTo>
                  <a:lnTo>
                    <a:pt x="34" y="105"/>
                  </a:lnTo>
                  <a:lnTo>
                    <a:pt x="30" y="99"/>
                  </a:lnTo>
                  <a:lnTo>
                    <a:pt x="33" y="94"/>
                  </a:lnTo>
                  <a:lnTo>
                    <a:pt x="40" y="94"/>
                  </a:lnTo>
                  <a:lnTo>
                    <a:pt x="43" y="89"/>
                  </a:lnTo>
                  <a:lnTo>
                    <a:pt x="43" y="73"/>
                  </a:lnTo>
                  <a:lnTo>
                    <a:pt x="66" y="68"/>
                  </a:lnTo>
                  <a:lnTo>
                    <a:pt x="137" y="65"/>
                  </a:lnTo>
                  <a:lnTo>
                    <a:pt x="135" y="63"/>
                  </a:lnTo>
                  <a:lnTo>
                    <a:pt x="132" y="43"/>
                  </a:lnTo>
                  <a:lnTo>
                    <a:pt x="131" y="20"/>
                  </a:lnTo>
                  <a:lnTo>
                    <a:pt x="137" y="5"/>
                  </a:lnTo>
                  <a:lnTo>
                    <a:pt x="151" y="2"/>
                  </a:lnTo>
                  <a:lnTo>
                    <a:pt x="165" y="4"/>
                  </a:lnTo>
                  <a:lnTo>
                    <a:pt x="185" y="0"/>
                  </a:lnTo>
                  <a:lnTo>
                    <a:pt x="201" y="4"/>
                  </a:lnTo>
                  <a:lnTo>
                    <a:pt x="237" y="5"/>
                  </a:lnTo>
                  <a:lnTo>
                    <a:pt x="245" y="8"/>
                  </a:lnTo>
                  <a:lnTo>
                    <a:pt x="239" y="22"/>
                  </a:lnTo>
                  <a:lnTo>
                    <a:pt x="238" y="41"/>
                  </a:lnTo>
                  <a:lnTo>
                    <a:pt x="239" y="59"/>
                  </a:lnTo>
                  <a:lnTo>
                    <a:pt x="248" y="64"/>
                  </a:lnTo>
                  <a:lnTo>
                    <a:pt x="264" y="41"/>
                  </a:lnTo>
                  <a:lnTo>
                    <a:pt x="293" y="48"/>
                  </a:lnTo>
                  <a:lnTo>
                    <a:pt x="303" y="61"/>
                  </a:lnTo>
                  <a:lnTo>
                    <a:pt x="304" y="81"/>
                  </a:lnTo>
                  <a:lnTo>
                    <a:pt x="286" y="111"/>
                  </a:lnTo>
                  <a:lnTo>
                    <a:pt x="285" y="128"/>
                  </a:lnTo>
                  <a:lnTo>
                    <a:pt x="289" y="142"/>
                  </a:lnTo>
                  <a:lnTo>
                    <a:pt x="300" y="170"/>
                  </a:lnTo>
                  <a:lnTo>
                    <a:pt x="299" y="186"/>
                  </a:lnTo>
                  <a:lnTo>
                    <a:pt x="296" y="199"/>
                  </a:lnTo>
                  <a:lnTo>
                    <a:pt x="293" y="236"/>
                  </a:lnTo>
                  <a:lnTo>
                    <a:pt x="288" y="253"/>
                  </a:lnTo>
                  <a:lnTo>
                    <a:pt x="272" y="258"/>
                  </a:lnTo>
                  <a:lnTo>
                    <a:pt x="254" y="242"/>
                  </a:lnTo>
                  <a:lnTo>
                    <a:pt x="229" y="245"/>
                  </a:lnTo>
                  <a:lnTo>
                    <a:pt x="219" y="234"/>
                  </a:lnTo>
                  <a:lnTo>
                    <a:pt x="212" y="229"/>
                  </a:lnTo>
                  <a:lnTo>
                    <a:pt x="201" y="237"/>
                  </a:lnTo>
                  <a:lnTo>
                    <a:pt x="192" y="248"/>
                  </a:lnTo>
                  <a:lnTo>
                    <a:pt x="169" y="257"/>
                  </a:lnTo>
                  <a:lnTo>
                    <a:pt x="159" y="266"/>
                  </a:lnTo>
                  <a:lnTo>
                    <a:pt x="154" y="274"/>
                  </a:lnTo>
                  <a:lnTo>
                    <a:pt x="153" y="287"/>
                  </a:lnTo>
                  <a:lnTo>
                    <a:pt x="158" y="299"/>
                  </a:lnTo>
                  <a:lnTo>
                    <a:pt x="160" y="314"/>
                  </a:lnTo>
                  <a:lnTo>
                    <a:pt x="158" y="318"/>
                  </a:lnTo>
                  <a:lnTo>
                    <a:pt x="146" y="318"/>
                  </a:lnTo>
                  <a:lnTo>
                    <a:pt x="135" y="321"/>
                  </a:lnTo>
                  <a:lnTo>
                    <a:pt x="129" y="328"/>
                  </a:lnTo>
                  <a:lnTo>
                    <a:pt x="127" y="34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7" name="Freeform 37"/>
            <p:cNvSpPr>
              <a:spLocks noChangeAspect="1"/>
            </p:cNvSpPr>
            <p:nvPr/>
          </p:nvSpPr>
          <p:spPr bwMode="gray">
            <a:xfrm>
              <a:off x="3012551" y="4001852"/>
              <a:ext cx="44905" cy="11887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8" y="38"/>
                </a:cxn>
                <a:cxn ang="0">
                  <a:pos x="47" y="34"/>
                </a:cxn>
                <a:cxn ang="0">
                  <a:pos x="55" y="34"/>
                </a:cxn>
                <a:cxn ang="0">
                  <a:pos x="56" y="34"/>
                </a:cxn>
                <a:cxn ang="0">
                  <a:pos x="59" y="27"/>
                </a:cxn>
                <a:cxn ang="0">
                  <a:pos x="64" y="26"/>
                </a:cxn>
                <a:cxn ang="0">
                  <a:pos x="67" y="27"/>
                </a:cxn>
                <a:cxn ang="0">
                  <a:pos x="80" y="26"/>
                </a:cxn>
                <a:cxn ang="0">
                  <a:pos x="88" y="22"/>
                </a:cxn>
                <a:cxn ang="0">
                  <a:pos x="92" y="17"/>
                </a:cxn>
                <a:cxn ang="0">
                  <a:pos x="94" y="16"/>
                </a:cxn>
                <a:cxn ang="0">
                  <a:pos x="101" y="17"/>
                </a:cxn>
                <a:cxn ang="0">
                  <a:pos x="104" y="21"/>
                </a:cxn>
                <a:cxn ang="0">
                  <a:pos x="112" y="23"/>
                </a:cxn>
                <a:cxn ang="0">
                  <a:pos x="120" y="28"/>
                </a:cxn>
                <a:cxn ang="0">
                  <a:pos x="128" y="29"/>
                </a:cxn>
                <a:cxn ang="0">
                  <a:pos x="136" y="33"/>
                </a:cxn>
                <a:cxn ang="0">
                  <a:pos x="144" y="33"/>
                </a:cxn>
                <a:cxn ang="0">
                  <a:pos x="146" y="34"/>
                </a:cxn>
                <a:cxn ang="0">
                  <a:pos x="152" y="31"/>
                </a:cxn>
                <a:cxn ang="0">
                  <a:pos x="164" y="28"/>
                </a:cxn>
                <a:cxn ang="0">
                  <a:pos x="168" y="24"/>
                </a:cxn>
                <a:cxn ang="0">
                  <a:pos x="168" y="21"/>
                </a:cxn>
                <a:cxn ang="0">
                  <a:pos x="168" y="16"/>
                </a:cxn>
                <a:cxn ang="0">
                  <a:pos x="167" y="16"/>
                </a:cxn>
                <a:cxn ang="0">
                  <a:pos x="164" y="16"/>
                </a:cxn>
                <a:cxn ang="0">
                  <a:pos x="161" y="15"/>
                </a:cxn>
                <a:cxn ang="0">
                  <a:pos x="156" y="15"/>
                </a:cxn>
                <a:cxn ang="0">
                  <a:pos x="152" y="16"/>
                </a:cxn>
                <a:cxn ang="0">
                  <a:pos x="141" y="21"/>
                </a:cxn>
                <a:cxn ang="0">
                  <a:pos x="136" y="20"/>
                </a:cxn>
                <a:cxn ang="0">
                  <a:pos x="130" y="17"/>
                </a:cxn>
                <a:cxn ang="0">
                  <a:pos x="126" y="11"/>
                </a:cxn>
                <a:cxn ang="0">
                  <a:pos x="125" y="10"/>
                </a:cxn>
                <a:cxn ang="0">
                  <a:pos x="113" y="10"/>
                </a:cxn>
                <a:cxn ang="0">
                  <a:pos x="107" y="2"/>
                </a:cxn>
                <a:cxn ang="0">
                  <a:pos x="101" y="1"/>
                </a:cxn>
                <a:cxn ang="0">
                  <a:pos x="98" y="0"/>
                </a:cxn>
                <a:cxn ang="0">
                  <a:pos x="92" y="1"/>
                </a:cxn>
                <a:cxn ang="0">
                  <a:pos x="87" y="4"/>
                </a:cxn>
                <a:cxn ang="0">
                  <a:pos x="81" y="2"/>
                </a:cxn>
                <a:cxn ang="0">
                  <a:pos x="76" y="7"/>
                </a:cxn>
                <a:cxn ang="0">
                  <a:pos x="72" y="13"/>
                </a:cxn>
                <a:cxn ang="0">
                  <a:pos x="16" y="13"/>
                </a:cxn>
                <a:cxn ang="0">
                  <a:pos x="15" y="13"/>
                </a:cxn>
                <a:cxn ang="0">
                  <a:pos x="13" y="17"/>
                </a:cxn>
                <a:cxn ang="0">
                  <a:pos x="15" y="21"/>
                </a:cxn>
                <a:cxn ang="0">
                  <a:pos x="8" y="20"/>
                </a:cxn>
                <a:cxn ang="0">
                  <a:pos x="6" y="21"/>
                </a:cxn>
                <a:cxn ang="0">
                  <a:pos x="4" y="26"/>
                </a:cxn>
                <a:cxn ang="0">
                  <a:pos x="1" y="28"/>
                </a:cxn>
                <a:cxn ang="0">
                  <a:pos x="0" y="34"/>
                </a:cxn>
                <a:cxn ang="0">
                  <a:pos x="1" y="44"/>
                </a:cxn>
                <a:cxn ang="0">
                  <a:pos x="2" y="45"/>
                </a:cxn>
                <a:cxn ang="0">
                  <a:pos x="4" y="44"/>
                </a:cxn>
              </a:cxnLst>
              <a:rect l="0" t="0" r="r" b="b"/>
              <a:pathLst>
                <a:path w="168" h="45">
                  <a:moveTo>
                    <a:pt x="4" y="44"/>
                  </a:moveTo>
                  <a:lnTo>
                    <a:pt x="8" y="38"/>
                  </a:lnTo>
                  <a:lnTo>
                    <a:pt x="47" y="34"/>
                  </a:lnTo>
                  <a:lnTo>
                    <a:pt x="55" y="34"/>
                  </a:lnTo>
                  <a:lnTo>
                    <a:pt x="56" y="34"/>
                  </a:lnTo>
                  <a:lnTo>
                    <a:pt x="59" y="27"/>
                  </a:lnTo>
                  <a:lnTo>
                    <a:pt x="64" y="26"/>
                  </a:lnTo>
                  <a:lnTo>
                    <a:pt x="67" y="27"/>
                  </a:lnTo>
                  <a:lnTo>
                    <a:pt x="80" y="26"/>
                  </a:lnTo>
                  <a:lnTo>
                    <a:pt x="88" y="22"/>
                  </a:lnTo>
                  <a:lnTo>
                    <a:pt x="92" y="17"/>
                  </a:lnTo>
                  <a:lnTo>
                    <a:pt x="94" y="16"/>
                  </a:lnTo>
                  <a:lnTo>
                    <a:pt x="101" y="17"/>
                  </a:lnTo>
                  <a:lnTo>
                    <a:pt x="104" y="21"/>
                  </a:lnTo>
                  <a:lnTo>
                    <a:pt x="112" y="23"/>
                  </a:lnTo>
                  <a:lnTo>
                    <a:pt x="120" y="28"/>
                  </a:lnTo>
                  <a:lnTo>
                    <a:pt x="128" y="29"/>
                  </a:lnTo>
                  <a:lnTo>
                    <a:pt x="136" y="33"/>
                  </a:lnTo>
                  <a:lnTo>
                    <a:pt x="144" y="33"/>
                  </a:lnTo>
                  <a:lnTo>
                    <a:pt x="146" y="34"/>
                  </a:lnTo>
                  <a:lnTo>
                    <a:pt x="152" y="31"/>
                  </a:lnTo>
                  <a:lnTo>
                    <a:pt x="164" y="28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8" y="16"/>
                  </a:lnTo>
                  <a:lnTo>
                    <a:pt x="167" y="16"/>
                  </a:lnTo>
                  <a:lnTo>
                    <a:pt x="164" y="16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52" y="16"/>
                  </a:lnTo>
                  <a:lnTo>
                    <a:pt x="141" y="21"/>
                  </a:lnTo>
                  <a:lnTo>
                    <a:pt x="136" y="20"/>
                  </a:lnTo>
                  <a:lnTo>
                    <a:pt x="130" y="17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13" y="10"/>
                  </a:lnTo>
                  <a:lnTo>
                    <a:pt x="107" y="2"/>
                  </a:lnTo>
                  <a:lnTo>
                    <a:pt x="101" y="1"/>
                  </a:lnTo>
                  <a:lnTo>
                    <a:pt x="98" y="0"/>
                  </a:lnTo>
                  <a:lnTo>
                    <a:pt x="92" y="1"/>
                  </a:lnTo>
                  <a:lnTo>
                    <a:pt x="87" y="4"/>
                  </a:lnTo>
                  <a:lnTo>
                    <a:pt x="81" y="2"/>
                  </a:lnTo>
                  <a:lnTo>
                    <a:pt x="76" y="7"/>
                  </a:lnTo>
                  <a:lnTo>
                    <a:pt x="72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8" y="20"/>
                  </a:lnTo>
                  <a:lnTo>
                    <a:pt x="6" y="21"/>
                  </a:lnTo>
                  <a:lnTo>
                    <a:pt x="4" y="26"/>
                  </a:lnTo>
                  <a:lnTo>
                    <a:pt x="1" y="28"/>
                  </a:lnTo>
                  <a:lnTo>
                    <a:pt x="0" y="34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8" name="Freeform 38"/>
            <p:cNvSpPr>
              <a:spLocks noChangeAspect="1"/>
            </p:cNvSpPr>
            <p:nvPr/>
          </p:nvSpPr>
          <p:spPr bwMode="gray">
            <a:xfrm>
              <a:off x="3013872" y="4019021"/>
              <a:ext cx="46226" cy="25094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7"/>
                </a:cxn>
                <a:cxn ang="0">
                  <a:pos x="173" y="14"/>
                </a:cxn>
                <a:cxn ang="0">
                  <a:pos x="173" y="18"/>
                </a:cxn>
                <a:cxn ang="0">
                  <a:pos x="170" y="24"/>
                </a:cxn>
                <a:cxn ang="0">
                  <a:pos x="168" y="25"/>
                </a:cxn>
                <a:cxn ang="0">
                  <a:pos x="162" y="25"/>
                </a:cxn>
                <a:cxn ang="0">
                  <a:pos x="160" y="27"/>
                </a:cxn>
                <a:cxn ang="0">
                  <a:pos x="158" y="30"/>
                </a:cxn>
                <a:cxn ang="0">
                  <a:pos x="164" y="34"/>
                </a:cxn>
                <a:cxn ang="0">
                  <a:pos x="167" y="39"/>
                </a:cxn>
                <a:cxn ang="0">
                  <a:pos x="168" y="57"/>
                </a:cxn>
                <a:cxn ang="0">
                  <a:pos x="162" y="57"/>
                </a:cxn>
                <a:cxn ang="0">
                  <a:pos x="158" y="60"/>
                </a:cxn>
                <a:cxn ang="0">
                  <a:pos x="138" y="60"/>
                </a:cxn>
                <a:cxn ang="0">
                  <a:pos x="121" y="67"/>
                </a:cxn>
                <a:cxn ang="0">
                  <a:pos x="114" y="73"/>
                </a:cxn>
                <a:cxn ang="0">
                  <a:pos x="110" y="81"/>
                </a:cxn>
                <a:cxn ang="0">
                  <a:pos x="106" y="89"/>
                </a:cxn>
                <a:cxn ang="0">
                  <a:pos x="104" y="93"/>
                </a:cxn>
                <a:cxn ang="0">
                  <a:pos x="99" y="97"/>
                </a:cxn>
                <a:cxn ang="0">
                  <a:pos x="93" y="99"/>
                </a:cxn>
                <a:cxn ang="0">
                  <a:pos x="93" y="95"/>
                </a:cxn>
                <a:cxn ang="0">
                  <a:pos x="94" y="93"/>
                </a:cxn>
                <a:cxn ang="0">
                  <a:pos x="86" y="94"/>
                </a:cxn>
                <a:cxn ang="0">
                  <a:pos x="81" y="93"/>
                </a:cxn>
                <a:cxn ang="0">
                  <a:pos x="76" y="87"/>
                </a:cxn>
                <a:cxn ang="0">
                  <a:pos x="74" y="79"/>
                </a:cxn>
                <a:cxn ang="0">
                  <a:pos x="77" y="70"/>
                </a:cxn>
                <a:cxn ang="0">
                  <a:pos x="72" y="58"/>
                </a:cxn>
                <a:cxn ang="0">
                  <a:pos x="79" y="54"/>
                </a:cxn>
                <a:cxn ang="0">
                  <a:pos x="84" y="51"/>
                </a:cxn>
                <a:cxn ang="0">
                  <a:pos x="103" y="50"/>
                </a:cxn>
                <a:cxn ang="0">
                  <a:pos x="104" y="45"/>
                </a:cxn>
                <a:cxn ang="0">
                  <a:pos x="81" y="47"/>
                </a:cxn>
                <a:cxn ang="0">
                  <a:pos x="72" y="50"/>
                </a:cxn>
                <a:cxn ang="0">
                  <a:pos x="59" y="57"/>
                </a:cxn>
                <a:cxn ang="0">
                  <a:pos x="51" y="58"/>
                </a:cxn>
                <a:cxn ang="0">
                  <a:pos x="47" y="57"/>
                </a:cxn>
                <a:cxn ang="0">
                  <a:pos x="46" y="49"/>
                </a:cxn>
                <a:cxn ang="0">
                  <a:pos x="40" y="50"/>
                </a:cxn>
                <a:cxn ang="0">
                  <a:pos x="30" y="47"/>
                </a:cxn>
                <a:cxn ang="0">
                  <a:pos x="27" y="43"/>
                </a:cxn>
                <a:cxn ang="0">
                  <a:pos x="25" y="34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2" y="17"/>
                </a:cxn>
                <a:cxn ang="0">
                  <a:pos x="3" y="19"/>
                </a:cxn>
                <a:cxn ang="0">
                  <a:pos x="7" y="20"/>
                </a:cxn>
                <a:cxn ang="0">
                  <a:pos x="14" y="20"/>
                </a:cxn>
                <a:cxn ang="0">
                  <a:pos x="25" y="15"/>
                </a:cxn>
                <a:cxn ang="0">
                  <a:pos x="29" y="13"/>
                </a:cxn>
                <a:cxn ang="0">
                  <a:pos x="59" y="14"/>
                </a:cxn>
                <a:cxn ang="0">
                  <a:pos x="68" y="12"/>
                </a:cxn>
                <a:cxn ang="0">
                  <a:pos x="79" y="7"/>
                </a:cxn>
                <a:cxn ang="0">
                  <a:pos x="92" y="1"/>
                </a:cxn>
                <a:cxn ang="0">
                  <a:pos x="116" y="1"/>
                </a:cxn>
                <a:cxn ang="0">
                  <a:pos x="119" y="0"/>
                </a:cxn>
                <a:cxn ang="0">
                  <a:pos x="169" y="0"/>
                </a:cxn>
              </a:cxnLst>
              <a:rect l="0" t="0" r="r" b="b"/>
              <a:pathLst>
                <a:path w="173" h="99">
                  <a:moveTo>
                    <a:pt x="169" y="0"/>
                  </a:moveTo>
                  <a:lnTo>
                    <a:pt x="169" y="7"/>
                  </a:lnTo>
                  <a:lnTo>
                    <a:pt x="173" y="14"/>
                  </a:lnTo>
                  <a:lnTo>
                    <a:pt x="173" y="18"/>
                  </a:lnTo>
                  <a:lnTo>
                    <a:pt x="170" y="24"/>
                  </a:lnTo>
                  <a:lnTo>
                    <a:pt x="168" y="25"/>
                  </a:lnTo>
                  <a:lnTo>
                    <a:pt x="162" y="25"/>
                  </a:lnTo>
                  <a:lnTo>
                    <a:pt x="160" y="27"/>
                  </a:lnTo>
                  <a:lnTo>
                    <a:pt x="158" y="30"/>
                  </a:lnTo>
                  <a:lnTo>
                    <a:pt x="164" y="34"/>
                  </a:lnTo>
                  <a:lnTo>
                    <a:pt x="167" y="39"/>
                  </a:lnTo>
                  <a:lnTo>
                    <a:pt x="168" y="57"/>
                  </a:lnTo>
                  <a:lnTo>
                    <a:pt x="162" y="57"/>
                  </a:lnTo>
                  <a:lnTo>
                    <a:pt x="158" y="60"/>
                  </a:lnTo>
                  <a:lnTo>
                    <a:pt x="138" y="60"/>
                  </a:lnTo>
                  <a:lnTo>
                    <a:pt x="121" y="67"/>
                  </a:lnTo>
                  <a:lnTo>
                    <a:pt x="114" y="73"/>
                  </a:lnTo>
                  <a:lnTo>
                    <a:pt x="110" y="81"/>
                  </a:lnTo>
                  <a:lnTo>
                    <a:pt x="106" y="89"/>
                  </a:lnTo>
                  <a:lnTo>
                    <a:pt x="104" y="93"/>
                  </a:lnTo>
                  <a:lnTo>
                    <a:pt x="99" y="97"/>
                  </a:lnTo>
                  <a:lnTo>
                    <a:pt x="93" y="99"/>
                  </a:lnTo>
                  <a:lnTo>
                    <a:pt x="93" y="95"/>
                  </a:lnTo>
                  <a:lnTo>
                    <a:pt x="94" y="93"/>
                  </a:lnTo>
                  <a:lnTo>
                    <a:pt x="86" y="94"/>
                  </a:lnTo>
                  <a:lnTo>
                    <a:pt x="81" y="93"/>
                  </a:lnTo>
                  <a:lnTo>
                    <a:pt x="76" y="87"/>
                  </a:lnTo>
                  <a:lnTo>
                    <a:pt x="74" y="79"/>
                  </a:lnTo>
                  <a:lnTo>
                    <a:pt x="77" y="70"/>
                  </a:lnTo>
                  <a:lnTo>
                    <a:pt x="72" y="58"/>
                  </a:lnTo>
                  <a:lnTo>
                    <a:pt x="79" y="54"/>
                  </a:lnTo>
                  <a:lnTo>
                    <a:pt x="84" y="51"/>
                  </a:lnTo>
                  <a:lnTo>
                    <a:pt x="103" y="50"/>
                  </a:lnTo>
                  <a:lnTo>
                    <a:pt x="104" y="45"/>
                  </a:lnTo>
                  <a:lnTo>
                    <a:pt x="81" y="47"/>
                  </a:lnTo>
                  <a:lnTo>
                    <a:pt x="72" y="50"/>
                  </a:lnTo>
                  <a:lnTo>
                    <a:pt x="59" y="57"/>
                  </a:lnTo>
                  <a:lnTo>
                    <a:pt x="51" y="58"/>
                  </a:lnTo>
                  <a:lnTo>
                    <a:pt x="47" y="57"/>
                  </a:lnTo>
                  <a:lnTo>
                    <a:pt x="46" y="49"/>
                  </a:lnTo>
                  <a:lnTo>
                    <a:pt x="40" y="50"/>
                  </a:lnTo>
                  <a:lnTo>
                    <a:pt x="30" y="47"/>
                  </a:lnTo>
                  <a:lnTo>
                    <a:pt x="27" y="43"/>
                  </a:lnTo>
                  <a:lnTo>
                    <a:pt x="25" y="34"/>
                  </a:lnTo>
                  <a:lnTo>
                    <a:pt x="4" y="28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3" y="19"/>
                  </a:lnTo>
                  <a:lnTo>
                    <a:pt x="7" y="20"/>
                  </a:lnTo>
                  <a:lnTo>
                    <a:pt x="14" y="20"/>
                  </a:lnTo>
                  <a:lnTo>
                    <a:pt x="25" y="15"/>
                  </a:lnTo>
                  <a:lnTo>
                    <a:pt x="29" y="13"/>
                  </a:lnTo>
                  <a:lnTo>
                    <a:pt x="59" y="14"/>
                  </a:lnTo>
                  <a:lnTo>
                    <a:pt x="68" y="12"/>
                  </a:lnTo>
                  <a:lnTo>
                    <a:pt x="79" y="7"/>
                  </a:lnTo>
                  <a:lnTo>
                    <a:pt x="92" y="1"/>
                  </a:lnTo>
                  <a:lnTo>
                    <a:pt x="116" y="1"/>
                  </a:lnTo>
                  <a:lnTo>
                    <a:pt x="11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59" name="Freeform 39"/>
            <p:cNvSpPr>
              <a:spLocks noChangeAspect="1"/>
            </p:cNvSpPr>
            <p:nvPr/>
          </p:nvSpPr>
          <p:spPr bwMode="gray">
            <a:xfrm>
              <a:off x="3090475" y="4079775"/>
              <a:ext cx="59434" cy="60754"/>
            </a:xfrm>
            <a:custGeom>
              <a:avLst/>
              <a:gdLst/>
              <a:ahLst/>
              <a:cxnLst>
                <a:cxn ang="0">
                  <a:pos x="4" y="86"/>
                </a:cxn>
                <a:cxn ang="0">
                  <a:pos x="10" y="77"/>
                </a:cxn>
                <a:cxn ang="0">
                  <a:pos x="13" y="71"/>
                </a:cxn>
                <a:cxn ang="0">
                  <a:pos x="19" y="68"/>
                </a:cxn>
                <a:cxn ang="0">
                  <a:pos x="31" y="57"/>
                </a:cxn>
                <a:cxn ang="0">
                  <a:pos x="41" y="49"/>
                </a:cxn>
                <a:cxn ang="0">
                  <a:pos x="47" y="44"/>
                </a:cxn>
                <a:cxn ang="0">
                  <a:pos x="51" y="27"/>
                </a:cxn>
                <a:cxn ang="0">
                  <a:pos x="58" y="19"/>
                </a:cxn>
                <a:cxn ang="0">
                  <a:pos x="68" y="17"/>
                </a:cxn>
                <a:cxn ang="0">
                  <a:pos x="65" y="8"/>
                </a:cxn>
                <a:cxn ang="0">
                  <a:pos x="71" y="2"/>
                </a:cxn>
                <a:cxn ang="0">
                  <a:pos x="79" y="1"/>
                </a:cxn>
                <a:cxn ang="0">
                  <a:pos x="86" y="6"/>
                </a:cxn>
                <a:cxn ang="0">
                  <a:pos x="97" y="1"/>
                </a:cxn>
                <a:cxn ang="0">
                  <a:pos x="100" y="3"/>
                </a:cxn>
                <a:cxn ang="0">
                  <a:pos x="110" y="12"/>
                </a:cxn>
                <a:cxn ang="0">
                  <a:pos x="114" y="25"/>
                </a:cxn>
                <a:cxn ang="0">
                  <a:pos x="118" y="41"/>
                </a:cxn>
                <a:cxn ang="0">
                  <a:pos x="114" y="60"/>
                </a:cxn>
                <a:cxn ang="0">
                  <a:pos x="110" y="65"/>
                </a:cxn>
                <a:cxn ang="0">
                  <a:pos x="116" y="66"/>
                </a:cxn>
                <a:cxn ang="0">
                  <a:pos x="122" y="64"/>
                </a:cxn>
                <a:cxn ang="0">
                  <a:pos x="132" y="75"/>
                </a:cxn>
                <a:cxn ang="0">
                  <a:pos x="139" y="71"/>
                </a:cxn>
                <a:cxn ang="0">
                  <a:pos x="148" y="66"/>
                </a:cxn>
                <a:cxn ang="0">
                  <a:pos x="153" y="51"/>
                </a:cxn>
                <a:cxn ang="0">
                  <a:pos x="162" y="50"/>
                </a:cxn>
                <a:cxn ang="0">
                  <a:pos x="167" y="61"/>
                </a:cxn>
                <a:cxn ang="0">
                  <a:pos x="171" y="71"/>
                </a:cxn>
                <a:cxn ang="0">
                  <a:pos x="173" y="76"/>
                </a:cxn>
                <a:cxn ang="0">
                  <a:pos x="175" y="95"/>
                </a:cxn>
                <a:cxn ang="0">
                  <a:pos x="165" y="105"/>
                </a:cxn>
                <a:cxn ang="0">
                  <a:pos x="161" y="113"/>
                </a:cxn>
                <a:cxn ang="0">
                  <a:pos x="165" y="115"/>
                </a:cxn>
                <a:cxn ang="0">
                  <a:pos x="170" y="116"/>
                </a:cxn>
                <a:cxn ang="0">
                  <a:pos x="176" y="118"/>
                </a:cxn>
                <a:cxn ang="0">
                  <a:pos x="193" y="123"/>
                </a:cxn>
                <a:cxn ang="0">
                  <a:pos x="199" y="130"/>
                </a:cxn>
                <a:cxn ang="0">
                  <a:pos x="202" y="135"/>
                </a:cxn>
                <a:cxn ang="0">
                  <a:pos x="207" y="143"/>
                </a:cxn>
                <a:cxn ang="0">
                  <a:pos x="218" y="150"/>
                </a:cxn>
                <a:cxn ang="0">
                  <a:pos x="224" y="153"/>
                </a:cxn>
                <a:cxn ang="0">
                  <a:pos x="227" y="164"/>
                </a:cxn>
                <a:cxn ang="0">
                  <a:pos x="227" y="177"/>
                </a:cxn>
                <a:cxn ang="0">
                  <a:pos x="223" y="178"/>
                </a:cxn>
                <a:cxn ang="0">
                  <a:pos x="221" y="189"/>
                </a:cxn>
                <a:cxn ang="0">
                  <a:pos x="218" y="191"/>
                </a:cxn>
                <a:cxn ang="0">
                  <a:pos x="216" y="201"/>
                </a:cxn>
                <a:cxn ang="0">
                  <a:pos x="196" y="224"/>
                </a:cxn>
                <a:cxn ang="0">
                  <a:pos x="186" y="217"/>
                </a:cxn>
                <a:cxn ang="0">
                  <a:pos x="169" y="215"/>
                </a:cxn>
                <a:cxn ang="0">
                  <a:pos x="154" y="206"/>
                </a:cxn>
                <a:cxn ang="0">
                  <a:pos x="133" y="193"/>
                </a:cxn>
                <a:cxn ang="0">
                  <a:pos x="105" y="169"/>
                </a:cxn>
                <a:cxn ang="0">
                  <a:pos x="64" y="135"/>
                </a:cxn>
                <a:cxn ang="0">
                  <a:pos x="49" y="129"/>
                </a:cxn>
                <a:cxn ang="0">
                  <a:pos x="28" y="109"/>
                </a:cxn>
                <a:cxn ang="0">
                  <a:pos x="16" y="103"/>
                </a:cxn>
                <a:cxn ang="0">
                  <a:pos x="15" y="95"/>
                </a:cxn>
                <a:cxn ang="0">
                  <a:pos x="3" y="88"/>
                </a:cxn>
                <a:cxn ang="0">
                  <a:pos x="3" y="87"/>
                </a:cxn>
              </a:cxnLst>
              <a:rect l="0" t="0" r="r" b="b"/>
              <a:pathLst>
                <a:path w="227" h="228">
                  <a:moveTo>
                    <a:pt x="3" y="86"/>
                  </a:moveTo>
                  <a:lnTo>
                    <a:pt x="4" y="86"/>
                  </a:lnTo>
                  <a:lnTo>
                    <a:pt x="9" y="83"/>
                  </a:lnTo>
                  <a:lnTo>
                    <a:pt x="10" y="77"/>
                  </a:lnTo>
                  <a:lnTo>
                    <a:pt x="13" y="76"/>
                  </a:lnTo>
                  <a:lnTo>
                    <a:pt x="13" y="71"/>
                  </a:lnTo>
                  <a:lnTo>
                    <a:pt x="14" y="68"/>
                  </a:lnTo>
                  <a:lnTo>
                    <a:pt x="19" y="68"/>
                  </a:lnTo>
                  <a:lnTo>
                    <a:pt x="22" y="66"/>
                  </a:lnTo>
                  <a:lnTo>
                    <a:pt x="31" y="57"/>
                  </a:lnTo>
                  <a:lnTo>
                    <a:pt x="37" y="56"/>
                  </a:lnTo>
                  <a:lnTo>
                    <a:pt x="41" y="49"/>
                  </a:lnTo>
                  <a:lnTo>
                    <a:pt x="44" y="49"/>
                  </a:lnTo>
                  <a:lnTo>
                    <a:pt x="47" y="44"/>
                  </a:lnTo>
                  <a:lnTo>
                    <a:pt x="51" y="43"/>
                  </a:lnTo>
                  <a:lnTo>
                    <a:pt x="51" y="27"/>
                  </a:lnTo>
                  <a:lnTo>
                    <a:pt x="53" y="25"/>
                  </a:lnTo>
                  <a:lnTo>
                    <a:pt x="58" y="19"/>
                  </a:lnTo>
                  <a:lnTo>
                    <a:pt x="68" y="18"/>
                  </a:lnTo>
                  <a:lnTo>
                    <a:pt x="68" y="17"/>
                  </a:lnTo>
                  <a:lnTo>
                    <a:pt x="64" y="13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71" y="2"/>
                  </a:lnTo>
                  <a:lnTo>
                    <a:pt x="75" y="0"/>
                  </a:lnTo>
                  <a:lnTo>
                    <a:pt x="79" y="1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9" y="3"/>
                  </a:lnTo>
                  <a:lnTo>
                    <a:pt x="97" y="1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2" y="7"/>
                  </a:lnTo>
                  <a:lnTo>
                    <a:pt x="110" y="12"/>
                  </a:lnTo>
                  <a:lnTo>
                    <a:pt x="110" y="19"/>
                  </a:lnTo>
                  <a:lnTo>
                    <a:pt x="114" y="25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7" y="56"/>
                  </a:lnTo>
                  <a:lnTo>
                    <a:pt x="114" y="60"/>
                  </a:lnTo>
                  <a:lnTo>
                    <a:pt x="111" y="62"/>
                  </a:lnTo>
                  <a:lnTo>
                    <a:pt x="110" y="65"/>
                  </a:lnTo>
                  <a:lnTo>
                    <a:pt x="111" y="66"/>
                  </a:lnTo>
                  <a:lnTo>
                    <a:pt x="116" y="66"/>
                  </a:lnTo>
                  <a:lnTo>
                    <a:pt x="119" y="62"/>
                  </a:lnTo>
                  <a:lnTo>
                    <a:pt x="122" y="64"/>
                  </a:lnTo>
                  <a:lnTo>
                    <a:pt x="127" y="67"/>
                  </a:lnTo>
                  <a:lnTo>
                    <a:pt x="132" y="75"/>
                  </a:lnTo>
                  <a:lnTo>
                    <a:pt x="137" y="73"/>
                  </a:lnTo>
                  <a:lnTo>
                    <a:pt x="139" y="71"/>
                  </a:lnTo>
                  <a:lnTo>
                    <a:pt x="146" y="70"/>
                  </a:lnTo>
                  <a:lnTo>
                    <a:pt x="148" y="66"/>
                  </a:lnTo>
                  <a:lnTo>
                    <a:pt x="153" y="60"/>
                  </a:lnTo>
                  <a:lnTo>
                    <a:pt x="153" y="51"/>
                  </a:lnTo>
                  <a:lnTo>
                    <a:pt x="156" y="49"/>
                  </a:lnTo>
                  <a:lnTo>
                    <a:pt x="162" y="50"/>
                  </a:lnTo>
                  <a:lnTo>
                    <a:pt x="166" y="56"/>
                  </a:lnTo>
                  <a:lnTo>
                    <a:pt x="167" y="61"/>
                  </a:lnTo>
                  <a:lnTo>
                    <a:pt x="169" y="70"/>
                  </a:lnTo>
                  <a:lnTo>
                    <a:pt x="171" y="71"/>
                  </a:lnTo>
                  <a:lnTo>
                    <a:pt x="173" y="75"/>
                  </a:lnTo>
                  <a:lnTo>
                    <a:pt x="173" y="76"/>
                  </a:lnTo>
                  <a:lnTo>
                    <a:pt x="178" y="80"/>
                  </a:lnTo>
                  <a:lnTo>
                    <a:pt x="175" y="95"/>
                  </a:lnTo>
                  <a:lnTo>
                    <a:pt x="173" y="98"/>
                  </a:lnTo>
                  <a:lnTo>
                    <a:pt x="165" y="105"/>
                  </a:lnTo>
                  <a:lnTo>
                    <a:pt x="161" y="111"/>
                  </a:lnTo>
                  <a:lnTo>
                    <a:pt x="161" y="113"/>
                  </a:lnTo>
                  <a:lnTo>
                    <a:pt x="164" y="113"/>
                  </a:lnTo>
                  <a:lnTo>
                    <a:pt x="165" y="115"/>
                  </a:lnTo>
                  <a:lnTo>
                    <a:pt x="169" y="114"/>
                  </a:lnTo>
                  <a:lnTo>
                    <a:pt x="170" y="116"/>
                  </a:lnTo>
                  <a:lnTo>
                    <a:pt x="172" y="118"/>
                  </a:lnTo>
                  <a:lnTo>
                    <a:pt x="176" y="118"/>
                  </a:lnTo>
                  <a:lnTo>
                    <a:pt x="183" y="123"/>
                  </a:lnTo>
                  <a:lnTo>
                    <a:pt x="193" y="123"/>
                  </a:lnTo>
                  <a:lnTo>
                    <a:pt x="196" y="123"/>
                  </a:lnTo>
                  <a:lnTo>
                    <a:pt x="199" y="130"/>
                  </a:lnTo>
                  <a:lnTo>
                    <a:pt x="199" y="134"/>
                  </a:lnTo>
                  <a:lnTo>
                    <a:pt x="202" y="135"/>
                  </a:lnTo>
                  <a:lnTo>
                    <a:pt x="205" y="140"/>
                  </a:lnTo>
                  <a:lnTo>
                    <a:pt x="207" y="143"/>
                  </a:lnTo>
                  <a:lnTo>
                    <a:pt x="213" y="145"/>
                  </a:lnTo>
                  <a:lnTo>
                    <a:pt x="218" y="150"/>
                  </a:lnTo>
                  <a:lnTo>
                    <a:pt x="224" y="148"/>
                  </a:lnTo>
                  <a:lnTo>
                    <a:pt x="224" y="153"/>
                  </a:lnTo>
                  <a:lnTo>
                    <a:pt x="226" y="158"/>
                  </a:lnTo>
                  <a:lnTo>
                    <a:pt x="227" y="164"/>
                  </a:lnTo>
                  <a:lnTo>
                    <a:pt x="225" y="172"/>
                  </a:lnTo>
                  <a:lnTo>
                    <a:pt x="227" y="177"/>
                  </a:lnTo>
                  <a:lnTo>
                    <a:pt x="227" y="178"/>
                  </a:lnTo>
                  <a:lnTo>
                    <a:pt x="223" y="178"/>
                  </a:lnTo>
                  <a:lnTo>
                    <a:pt x="221" y="181"/>
                  </a:lnTo>
                  <a:lnTo>
                    <a:pt x="221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8" y="196"/>
                  </a:lnTo>
                  <a:lnTo>
                    <a:pt x="216" y="201"/>
                  </a:lnTo>
                  <a:lnTo>
                    <a:pt x="218" y="228"/>
                  </a:lnTo>
                  <a:lnTo>
                    <a:pt x="196" y="224"/>
                  </a:lnTo>
                  <a:lnTo>
                    <a:pt x="189" y="220"/>
                  </a:lnTo>
                  <a:lnTo>
                    <a:pt x="186" y="217"/>
                  </a:lnTo>
                  <a:lnTo>
                    <a:pt x="180" y="217"/>
                  </a:lnTo>
                  <a:lnTo>
                    <a:pt x="169" y="215"/>
                  </a:lnTo>
                  <a:lnTo>
                    <a:pt x="160" y="210"/>
                  </a:lnTo>
                  <a:lnTo>
                    <a:pt x="154" y="206"/>
                  </a:lnTo>
                  <a:lnTo>
                    <a:pt x="144" y="201"/>
                  </a:lnTo>
                  <a:lnTo>
                    <a:pt x="133" y="193"/>
                  </a:lnTo>
                  <a:lnTo>
                    <a:pt x="119" y="188"/>
                  </a:lnTo>
                  <a:lnTo>
                    <a:pt x="105" y="169"/>
                  </a:lnTo>
                  <a:lnTo>
                    <a:pt x="69" y="141"/>
                  </a:lnTo>
                  <a:lnTo>
                    <a:pt x="64" y="135"/>
                  </a:lnTo>
                  <a:lnTo>
                    <a:pt x="59" y="131"/>
                  </a:lnTo>
                  <a:lnTo>
                    <a:pt x="49" y="129"/>
                  </a:lnTo>
                  <a:lnTo>
                    <a:pt x="36" y="123"/>
                  </a:lnTo>
                  <a:lnTo>
                    <a:pt x="28" y="109"/>
                  </a:lnTo>
                  <a:lnTo>
                    <a:pt x="19" y="105"/>
                  </a:lnTo>
                  <a:lnTo>
                    <a:pt x="16" y="103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4" y="92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3" y="87"/>
                  </a:lnTo>
                  <a:lnTo>
                    <a:pt x="3" y="86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0" name="Freeform 40"/>
            <p:cNvSpPr>
              <a:spLocks noChangeAspect="1"/>
            </p:cNvSpPr>
            <p:nvPr/>
          </p:nvSpPr>
          <p:spPr bwMode="gray">
            <a:xfrm>
              <a:off x="3295190" y="4001852"/>
              <a:ext cx="170375" cy="141319"/>
            </a:xfrm>
            <a:custGeom>
              <a:avLst/>
              <a:gdLst/>
              <a:ahLst/>
              <a:cxnLst>
                <a:cxn ang="0">
                  <a:pos x="48" y="85"/>
                </a:cxn>
                <a:cxn ang="0">
                  <a:pos x="55" y="67"/>
                </a:cxn>
                <a:cxn ang="0">
                  <a:pos x="75" y="43"/>
                </a:cxn>
                <a:cxn ang="0">
                  <a:pos x="96" y="9"/>
                </a:cxn>
                <a:cxn ang="0">
                  <a:pos x="139" y="3"/>
                </a:cxn>
                <a:cxn ang="0">
                  <a:pos x="199" y="20"/>
                </a:cxn>
                <a:cxn ang="0">
                  <a:pos x="233" y="48"/>
                </a:cxn>
                <a:cxn ang="0">
                  <a:pos x="264" y="30"/>
                </a:cxn>
                <a:cxn ang="0">
                  <a:pos x="303" y="37"/>
                </a:cxn>
                <a:cxn ang="0">
                  <a:pos x="362" y="58"/>
                </a:cxn>
                <a:cxn ang="0">
                  <a:pos x="406" y="32"/>
                </a:cxn>
                <a:cxn ang="0">
                  <a:pos x="459" y="30"/>
                </a:cxn>
                <a:cxn ang="0">
                  <a:pos x="496" y="26"/>
                </a:cxn>
                <a:cxn ang="0">
                  <a:pos x="517" y="36"/>
                </a:cxn>
                <a:cxn ang="0">
                  <a:pos x="544" y="22"/>
                </a:cxn>
                <a:cxn ang="0">
                  <a:pos x="558" y="15"/>
                </a:cxn>
                <a:cxn ang="0">
                  <a:pos x="571" y="3"/>
                </a:cxn>
                <a:cxn ang="0">
                  <a:pos x="581" y="20"/>
                </a:cxn>
                <a:cxn ang="0">
                  <a:pos x="604" y="43"/>
                </a:cxn>
                <a:cxn ang="0">
                  <a:pos x="624" y="76"/>
                </a:cxn>
                <a:cxn ang="0">
                  <a:pos x="639" y="84"/>
                </a:cxn>
                <a:cxn ang="0">
                  <a:pos x="642" y="119"/>
                </a:cxn>
                <a:cxn ang="0">
                  <a:pos x="604" y="142"/>
                </a:cxn>
                <a:cxn ang="0">
                  <a:pos x="587" y="159"/>
                </a:cxn>
                <a:cxn ang="0">
                  <a:pos x="567" y="207"/>
                </a:cxn>
                <a:cxn ang="0">
                  <a:pos x="554" y="257"/>
                </a:cxn>
                <a:cxn ang="0">
                  <a:pos x="549" y="280"/>
                </a:cxn>
                <a:cxn ang="0">
                  <a:pos x="517" y="315"/>
                </a:cxn>
                <a:cxn ang="0">
                  <a:pos x="501" y="360"/>
                </a:cxn>
                <a:cxn ang="0">
                  <a:pos x="478" y="406"/>
                </a:cxn>
                <a:cxn ang="0">
                  <a:pos x="447" y="401"/>
                </a:cxn>
                <a:cxn ang="0">
                  <a:pos x="440" y="392"/>
                </a:cxn>
                <a:cxn ang="0">
                  <a:pos x="392" y="386"/>
                </a:cxn>
                <a:cxn ang="0">
                  <a:pos x="371" y="403"/>
                </a:cxn>
                <a:cxn ang="0">
                  <a:pos x="344" y="427"/>
                </a:cxn>
                <a:cxn ang="0">
                  <a:pos x="330" y="472"/>
                </a:cxn>
                <a:cxn ang="0">
                  <a:pos x="313" y="497"/>
                </a:cxn>
                <a:cxn ang="0">
                  <a:pos x="304" y="497"/>
                </a:cxn>
                <a:cxn ang="0">
                  <a:pos x="276" y="516"/>
                </a:cxn>
                <a:cxn ang="0">
                  <a:pos x="237" y="515"/>
                </a:cxn>
                <a:cxn ang="0">
                  <a:pos x="227" y="524"/>
                </a:cxn>
                <a:cxn ang="0">
                  <a:pos x="216" y="522"/>
                </a:cxn>
                <a:cxn ang="0">
                  <a:pos x="193" y="532"/>
                </a:cxn>
                <a:cxn ang="0">
                  <a:pos x="180" y="524"/>
                </a:cxn>
                <a:cxn ang="0">
                  <a:pos x="151" y="500"/>
                </a:cxn>
                <a:cxn ang="0">
                  <a:pos x="151" y="467"/>
                </a:cxn>
                <a:cxn ang="0">
                  <a:pos x="136" y="454"/>
                </a:cxn>
                <a:cxn ang="0">
                  <a:pos x="126" y="444"/>
                </a:cxn>
                <a:cxn ang="0">
                  <a:pos x="96" y="417"/>
                </a:cxn>
                <a:cxn ang="0">
                  <a:pos x="5" y="417"/>
                </a:cxn>
                <a:cxn ang="0">
                  <a:pos x="1" y="366"/>
                </a:cxn>
                <a:cxn ang="0">
                  <a:pos x="6" y="295"/>
                </a:cxn>
                <a:cxn ang="0">
                  <a:pos x="23" y="248"/>
                </a:cxn>
                <a:cxn ang="0">
                  <a:pos x="49" y="218"/>
                </a:cxn>
                <a:cxn ang="0">
                  <a:pos x="53" y="208"/>
                </a:cxn>
                <a:cxn ang="0">
                  <a:pos x="48" y="197"/>
                </a:cxn>
                <a:cxn ang="0">
                  <a:pos x="58" y="189"/>
                </a:cxn>
                <a:cxn ang="0">
                  <a:pos x="55" y="154"/>
                </a:cxn>
                <a:cxn ang="0">
                  <a:pos x="43" y="134"/>
                </a:cxn>
              </a:cxnLst>
              <a:rect l="0" t="0" r="r" b="b"/>
              <a:pathLst>
                <a:path w="642" h="532">
                  <a:moveTo>
                    <a:pt x="49" y="117"/>
                  </a:moveTo>
                  <a:lnTo>
                    <a:pt x="50" y="110"/>
                  </a:lnTo>
                  <a:lnTo>
                    <a:pt x="48" y="85"/>
                  </a:lnTo>
                  <a:lnTo>
                    <a:pt x="49" y="76"/>
                  </a:lnTo>
                  <a:lnTo>
                    <a:pt x="51" y="72"/>
                  </a:lnTo>
                  <a:lnTo>
                    <a:pt x="55" y="67"/>
                  </a:lnTo>
                  <a:lnTo>
                    <a:pt x="62" y="63"/>
                  </a:lnTo>
                  <a:lnTo>
                    <a:pt x="67" y="57"/>
                  </a:lnTo>
                  <a:lnTo>
                    <a:pt x="75" y="43"/>
                  </a:lnTo>
                  <a:lnTo>
                    <a:pt x="77" y="25"/>
                  </a:lnTo>
                  <a:lnTo>
                    <a:pt x="78" y="21"/>
                  </a:lnTo>
                  <a:lnTo>
                    <a:pt x="96" y="9"/>
                  </a:lnTo>
                  <a:lnTo>
                    <a:pt x="115" y="4"/>
                  </a:lnTo>
                  <a:lnTo>
                    <a:pt x="133" y="4"/>
                  </a:lnTo>
                  <a:lnTo>
                    <a:pt x="139" y="3"/>
                  </a:lnTo>
                  <a:lnTo>
                    <a:pt x="147" y="0"/>
                  </a:lnTo>
                  <a:lnTo>
                    <a:pt x="162" y="2"/>
                  </a:lnTo>
                  <a:lnTo>
                    <a:pt x="199" y="20"/>
                  </a:lnTo>
                  <a:lnTo>
                    <a:pt x="221" y="41"/>
                  </a:lnTo>
                  <a:lnTo>
                    <a:pt x="228" y="46"/>
                  </a:lnTo>
                  <a:lnTo>
                    <a:pt x="233" y="48"/>
                  </a:lnTo>
                  <a:lnTo>
                    <a:pt x="242" y="48"/>
                  </a:lnTo>
                  <a:lnTo>
                    <a:pt x="248" y="38"/>
                  </a:lnTo>
                  <a:lnTo>
                    <a:pt x="264" y="30"/>
                  </a:lnTo>
                  <a:lnTo>
                    <a:pt x="274" y="27"/>
                  </a:lnTo>
                  <a:lnTo>
                    <a:pt x="286" y="27"/>
                  </a:lnTo>
                  <a:lnTo>
                    <a:pt x="303" y="37"/>
                  </a:lnTo>
                  <a:lnTo>
                    <a:pt x="327" y="52"/>
                  </a:lnTo>
                  <a:lnTo>
                    <a:pt x="339" y="56"/>
                  </a:lnTo>
                  <a:lnTo>
                    <a:pt x="362" y="58"/>
                  </a:lnTo>
                  <a:lnTo>
                    <a:pt x="375" y="57"/>
                  </a:lnTo>
                  <a:lnTo>
                    <a:pt x="389" y="47"/>
                  </a:lnTo>
                  <a:lnTo>
                    <a:pt x="406" y="32"/>
                  </a:lnTo>
                  <a:lnTo>
                    <a:pt x="415" y="27"/>
                  </a:lnTo>
                  <a:lnTo>
                    <a:pt x="441" y="27"/>
                  </a:lnTo>
                  <a:lnTo>
                    <a:pt x="459" y="30"/>
                  </a:lnTo>
                  <a:lnTo>
                    <a:pt x="469" y="26"/>
                  </a:lnTo>
                  <a:lnTo>
                    <a:pt x="489" y="24"/>
                  </a:lnTo>
                  <a:lnTo>
                    <a:pt x="496" y="26"/>
                  </a:lnTo>
                  <a:lnTo>
                    <a:pt x="503" y="30"/>
                  </a:lnTo>
                  <a:lnTo>
                    <a:pt x="511" y="32"/>
                  </a:lnTo>
                  <a:lnTo>
                    <a:pt x="517" y="36"/>
                  </a:lnTo>
                  <a:lnTo>
                    <a:pt x="528" y="36"/>
                  </a:lnTo>
                  <a:lnTo>
                    <a:pt x="534" y="32"/>
                  </a:lnTo>
                  <a:lnTo>
                    <a:pt x="544" y="22"/>
                  </a:lnTo>
                  <a:lnTo>
                    <a:pt x="544" y="21"/>
                  </a:lnTo>
                  <a:lnTo>
                    <a:pt x="550" y="16"/>
                  </a:lnTo>
                  <a:lnTo>
                    <a:pt x="558" y="15"/>
                  </a:lnTo>
                  <a:lnTo>
                    <a:pt x="564" y="15"/>
                  </a:lnTo>
                  <a:lnTo>
                    <a:pt x="570" y="3"/>
                  </a:lnTo>
                  <a:lnTo>
                    <a:pt x="571" y="3"/>
                  </a:lnTo>
                  <a:lnTo>
                    <a:pt x="574" y="0"/>
                  </a:lnTo>
                  <a:lnTo>
                    <a:pt x="577" y="11"/>
                  </a:lnTo>
                  <a:lnTo>
                    <a:pt x="581" y="20"/>
                  </a:lnTo>
                  <a:lnTo>
                    <a:pt x="588" y="30"/>
                  </a:lnTo>
                  <a:lnTo>
                    <a:pt x="599" y="36"/>
                  </a:lnTo>
                  <a:lnTo>
                    <a:pt x="604" y="43"/>
                  </a:lnTo>
                  <a:lnTo>
                    <a:pt x="613" y="65"/>
                  </a:lnTo>
                  <a:lnTo>
                    <a:pt x="623" y="73"/>
                  </a:lnTo>
                  <a:lnTo>
                    <a:pt x="624" y="76"/>
                  </a:lnTo>
                  <a:lnTo>
                    <a:pt x="635" y="80"/>
                  </a:lnTo>
                  <a:lnTo>
                    <a:pt x="636" y="81"/>
                  </a:lnTo>
                  <a:lnTo>
                    <a:pt x="639" y="84"/>
                  </a:lnTo>
                  <a:lnTo>
                    <a:pt x="641" y="89"/>
                  </a:lnTo>
                  <a:lnTo>
                    <a:pt x="640" y="106"/>
                  </a:lnTo>
                  <a:lnTo>
                    <a:pt x="642" y="119"/>
                  </a:lnTo>
                  <a:lnTo>
                    <a:pt x="623" y="132"/>
                  </a:lnTo>
                  <a:lnTo>
                    <a:pt x="620" y="135"/>
                  </a:lnTo>
                  <a:lnTo>
                    <a:pt x="604" y="142"/>
                  </a:lnTo>
                  <a:lnTo>
                    <a:pt x="601" y="143"/>
                  </a:lnTo>
                  <a:lnTo>
                    <a:pt x="592" y="153"/>
                  </a:lnTo>
                  <a:lnTo>
                    <a:pt x="587" y="159"/>
                  </a:lnTo>
                  <a:lnTo>
                    <a:pt x="583" y="166"/>
                  </a:lnTo>
                  <a:lnTo>
                    <a:pt x="576" y="189"/>
                  </a:lnTo>
                  <a:lnTo>
                    <a:pt x="567" y="207"/>
                  </a:lnTo>
                  <a:lnTo>
                    <a:pt x="564" y="218"/>
                  </a:lnTo>
                  <a:lnTo>
                    <a:pt x="562" y="229"/>
                  </a:lnTo>
                  <a:lnTo>
                    <a:pt x="554" y="257"/>
                  </a:lnTo>
                  <a:lnTo>
                    <a:pt x="553" y="269"/>
                  </a:lnTo>
                  <a:lnTo>
                    <a:pt x="551" y="275"/>
                  </a:lnTo>
                  <a:lnTo>
                    <a:pt x="549" y="280"/>
                  </a:lnTo>
                  <a:lnTo>
                    <a:pt x="534" y="287"/>
                  </a:lnTo>
                  <a:lnTo>
                    <a:pt x="523" y="299"/>
                  </a:lnTo>
                  <a:lnTo>
                    <a:pt x="517" y="315"/>
                  </a:lnTo>
                  <a:lnTo>
                    <a:pt x="513" y="331"/>
                  </a:lnTo>
                  <a:lnTo>
                    <a:pt x="511" y="338"/>
                  </a:lnTo>
                  <a:lnTo>
                    <a:pt x="501" y="360"/>
                  </a:lnTo>
                  <a:lnTo>
                    <a:pt x="483" y="391"/>
                  </a:lnTo>
                  <a:lnTo>
                    <a:pt x="481" y="400"/>
                  </a:lnTo>
                  <a:lnTo>
                    <a:pt x="478" y="406"/>
                  </a:lnTo>
                  <a:lnTo>
                    <a:pt x="469" y="409"/>
                  </a:lnTo>
                  <a:lnTo>
                    <a:pt x="456" y="408"/>
                  </a:lnTo>
                  <a:lnTo>
                    <a:pt x="447" y="401"/>
                  </a:lnTo>
                  <a:lnTo>
                    <a:pt x="443" y="398"/>
                  </a:lnTo>
                  <a:lnTo>
                    <a:pt x="443" y="397"/>
                  </a:lnTo>
                  <a:lnTo>
                    <a:pt x="440" y="392"/>
                  </a:lnTo>
                  <a:lnTo>
                    <a:pt x="429" y="382"/>
                  </a:lnTo>
                  <a:lnTo>
                    <a:pt x="414" y="381"/>
                  </a:lnTo>
                  <a:lnTo>
                    <a:pt x="392" y="386"/>
                  </a:lnTo>
                  <a:lnTo>
                    <a:pt x="377" y="386"/>
                  </a:lnTo>
                  <a:lnTo>
                    <a:pt x="375" y="386"/>
                  </a:lnTo>
                  <a:lnTo>
                    <a:pt x="371" y="403"/>
                  </a:lnTo>
                  <a:lnTo>
                    <a:pt x="360" y="408"/>
                  </a:lnTo>
                  <a:lnTo>
                    <a:pt x="352" y="416"/>
                  </a:lnTo>
                  <a:lnTo>
                    <a:pt x="344" y="427"/>
                  </a:lnTo>
                  <a:lnTo>
                    <a:pt x="335" y="443"/>
                  </a:lnTo>
                  <a:lnTo>
                    <a:pt x="332" y="458"/>
                  </a:lnTo>
                  <a:lnTo>
                    <a:pt x="330" y="472"/>
                  </a:lnTo>
                  <a:lnTo>
                    <a:pt x="327" y="481"/>
                  </a:lnTo>
                  <a:lnTo>
                    <a:pt x="320" y="490"/>
                  </a:lnTo>
                  <a:lnTo>
                    <a:pt x="313" y="497"/>
                  </a:lnTo>
                  <a:lnTo>
                    <a:pt x="313" y="504"/>
                  </a:lnTo>
                  <a:lnTo>
                    <a:pt x="309" y="498"/>
                  </a:lnTo>
                  <a:lnTo>
                    <a:pt x="304" y="497"/>
                  </a:lnTo>
                  <a:lnTo>
                    <a:pt x="301" y="505"/>
                  </a:lnTo>
                  <a:lnTo>
                    <a:pt x="300" y="517"/>
                  </a:lnTo>
                  <a:lnTo>
                    <a:pt x="276" y="516"/>
                  </a:lnTo>
                  <a:lnTo>
                    <a:pt x="265" y="517"/>
                  </a:lnTo>
                  <a:lnTo>
                    <a:pt x="242" y="508"/>
                  </a:lnTo>
                  <a:lnTo>
                    <a:pt x="237" y="515"/>
                  </a:lnTo>
                  <a:lnTo>
                    <a:pt x="234" y="516"/>
                  </a:lnTo>
                  <a:lnTo>
                    <a:pt x="231" y="521"/>
                  </a:lnTo>
                  <a:lnTo>
                    <a:pt x="227" y="524"/>
                  </a:lnTo>
                  <a:lnTo>
                    <a:pt x="225" y="524"/>
                  </a:lnTo>
                  <a:lnTo>
                    <a:pt x="221" y="525"/>
                  </a:lnTo>
                  <a:lnTo>
                    <a:pt x="216" y="522"/>
                  </a:lnTo>
                  <a:lnTo>
                    <a:pt x="212" y="525"/>
                  </a:lnTo>
                  <a:lnTo>
                    <a:pt x="210" y="524"/>
                  </a:lnTo>
                  <a:lnTo>
                    <a:pt x="193" y="532"/>
                  </a:lnTo>
                  <a:lnTo>
                    <a:pt x="190" y="524"/>
                  </a:lnTo>
                  <a:lnTo>
                    <a:pt x="182" y="524"/>
                  </a:lnTo>
                  <a:lnTo>
                    <a:pt x="180" y="524"/>
                  </a:lnTo>
                  <a:lnTo>
                    <a:pt x="168" y="521"/>
                  </a:lnTo>
                  <a:lnTo>
                    <a:pt x="163" y="513"/>
                  </a:lnTo>
                  <a:lnTo>
                    <a:pt x="151" y="500"/>
                  </a:lnTo>
                  <a:lnTo>
                    <a:pt x="146" y="482"/>
                  </a:lnTo>
                  <a:lnTo>
                    <a:pt x="146" y="471"/>
                  </a:lnTo>
                  <a:lnTo>
                    <a:pt x="151" y="467"/>
                  </a:lnTo>
                  <a:lnTo>
                    <a:pt x="147" y="467"/>
                  </a:lnTo>
                  <a:lnTo>
                    <a:pt x="140" y="465"/>
                  </a:lnTo>
                  <a:lnTo>
                    <a:pt x="136" y="454"/>
                  </a:lnTo>
                  <a:lnTo>
                    <a:pt x="133" y="451"/>
                  </a:lnTo>
                  <a:lnTo>
                    <a:pt x="130" y="445"/>
                  </a:lnTo>
                  <a:lnTo>
                    <a:pt x="126" y="444"/>
                  </a:lnTo>
                  <a:lnTo>
                    <a:pt x="124" y="439"/>
                  </a:lnTo>
                  <a:lnTo>
                    <a:pt x="117" y="429"/>
                  </a:lnTo>
                  <a:lnTo>
                    <a:pt x="96" y="417"/>
                  </a:lnTo>
                  <a:lnTo>
                    <a:pt x="86" y="416"/>
                  </a:lnTo>
                  <a:lnTo>
                    <a:pt x="64" y="413"/>
                  </a:lnTo>
                  <a:lnTo>
                    <a:pt x="5" y="417"/>
                  </a:lnTo>
                  <a:lnTo>
                    <a:pt x="2" y="414"/>
                  </a:lnTo>
                  <a:lnTo>
                    <a:pt x="0" y="375"/>
                  </a:lnTo>
                  <a:lnTo>
                    <a:pt x="1" y="366"/>
                  </a:lnTo>
                  <a:lnTo>
                    <a:pt x="6" y="345"/>
                  </a:lnTo>
                  <a:lnTo>
                    <a:pt x="5" y="315"/>
                  </a:lnTo>
                  <a:lnTo>
                    <a:pt x="6" y="295"/>
                  </a:lnTo>
                  <a:lnTo>
                    <a:pt x="10" y="283"/>
                  </a:lnTo>
                  <a:lnTo>
                    <a:pt x="22" y="263"/>
                  </a:lnTo>
                  <a:lnTo>
                    <a:pt x="23" y="248"/>
                  </a:lnTo>
                  <a:lnTo>
                    <a:pt x="26" y="239"/>
                  </a:lnTo>
                  <a:lnTo>
                    <a:pt x="34" y="229"/>
                  </a:lnTo>
                  <a:lnTo>
                    <a:pt x="49" y="218"/>
                  </a:lnTo>
                  <a:lnTo>
                    <a:pt x="49" y="212"/>
                  </a:lnTo>
                  <a:lnTo>
                    <a:pt x="53" y="209"/>
                  </a:lnTo>
                  <a:lnTo>
                    <a:pt x="53" y="208"/>
                  </a:lnTo>
                  <a:lnTo>
                    <a:pt x="53" y="204"/>
                  </a:lnTo>
                  <a:lnTo>
                    <a:pt x="48" y="199"/>
                  </a:lnTo>
                  <a:lnTo>
                    <a:pt x="48" y="197"/>
                  </a:lnTo>
                  <a:lnTo>
                    <a:pt x="50" y="191"/>
                  </a:lnTo>
                  <a:lnTo>
                    <a:pt x="53" y="189"/>
                  </a:lnTo>
                  <a:lnTo>
                    <a:pt x="58" y="189"/>
                  </a:lnTo>
                  <a:lnTo>
                    <a:pt x="59" y="187"/>
                  </a:lnTo>
                  <a:lnTo>
                    <a:pt x="59" y="169"/>
                  </a:lnTo>
                  <a:lnTo>
                    <a:pt x="55" y="154"/>
                  </a:lnTo>
                  <a:lnTo>
                    <a:pt x="54" y="149"/>
                  </a:lnTo>
                  <a:lnTo>
                    <a:pt x="44" y="139"/>
                  </a:lnTo>
                  <a:lnTo>
                    <a:pt x="43" y="134"/>
                  </a:lnTo>
                  <a:lnTo>
                    <a:pt x="44" y="123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1" name="Freeform 41"/>
            <p:cNvSpPr>
              <a:spLocks noChangeAspect="1"/>
            </p:cNvSpPr>
            <p:nvPr/>
          </p:nvSpPr>
          <p:spPr bwMode="gray">
            <a:xfrm>
              <a:off x="3416698" y="4149775"/>
              <a:ext cx="110942" cy="126791"/>
            </a:xfrm>
            <a:custGeom>
              <a:avLst/>
              <a:gdLst/>
              <a:ahLst/>
              <a:cxnLst>
                <a:cxn ang="0">
                  <a:pos x="408" y="5"/>
                </a:cxn>
                <a:cxn ang="0">
                  <a:pos x="377" y="16"/>
                </a:cxn>
                <a:cxn ang="0">
                  <a:pos x="343" y="0"/>
                </a:cxn>
                <a:cxn ang="0">
                  <a:pos x="300" y="17"/>
                </a:cxn>
                <a:cxn ang="0">
                  <a:pos x="274" y="47"/>
                </a:cxn>
                <a:cxn ang="0">
                  <a:pos x="274" y="101"/>
                </a:cxn>
                <a:cxn ang="0">
                  <a:pos x="267" y="114"/>
                </a:cxn>
                <a:cxn ang="0">
                  <a:pos x="234" y="96"/>
                </a:cxn>
                <a:cxn ang="0">
                  <a:pos x="205" y="90"/>
                </a:cxn>
                <a:cxn ang="0">
                  <a:pos x="118" y="84"/>
                </a:cxn>
                <a:cxn ang="0">
                  <a:pos x="111" y="117"/>
                </a:cxn>
                <a:cxn ang="0">
                  <a:pos x="121" y="140"/>
                </a:cxn>
                <a:cxn ang="0">
                  <a:pos x="166" y="124"/>
                </a:cxn>
                <a:cxn ang="0">
                  <a:pos x="177" y="157"/>
                </a:cxn>
                <a:cxn ang="0">
                  <a:pos x="158" y="204"/>
                </a:cxn>
                <a:cxn ang="0">
                  <a:pos x="173" y="246"/>
                </a:cxn>
                <a:cxn ang="0">
                  <a:pos x="169" y="275"/>
                </a:cxn>
                <a:cxn ang="0">
                  <a:pos x="161" y="329"/>
                </a:cxn>
                <a:cxn ang="0">
                  <a:pos x="127" y="318"/>
                </a:cxn>
                <a:cxn ang="0">
                  <a:pos x="92" y="310"/>
                </a:cxn>
                <a:cxn ang="0">
                  <a:pos x="74" y="313"/>
                </a:cxn>
                <a:cxn ang="0">
                  <a:pos x="42" y="333"/>
                </a:cxn>
                <a:cxn ang="0">
                  <a:pos x="27" y="350"/>
                </a:cxn>
                <a:cxn ang="0">
                  <a:pos x="31" y="375"/>
                </a:cxn>
                <a:cxn ang="0">
                  <a:pos x="31" y="394"/>
                </a:cxn>
                <a:cxn ang="0">
                  <a:pos x="8" y="397"/>
                </a:cxn>
                <a:cxn ang="0">
                  <a:pos x="0" y="419"/>
                </a:cxn>
                <a:cxn ang="0">
                  <a:pos x="19" y="434"/>
                </a:cxn>
                <a:cxn ang="0">
                  <a:pos x="40" y="456"/>
                </a:cxn>
                <a:cxn ang="0">
                  <a:pos x="63" y="469"/>
                </a:cxn>
                <a:cxn ang="0">
                  <a:pos x="80" y="449"/>
                </a:cxn>
                <a:cxn ang="0">
                  <a:pos x="100" y="447"/>
                </a:cxn>
                <a:cxn ang="0">
                  <a:pos x="121" y="468"/>
                </a:cxn>
                <a:cxn ang="0">
                  <a:pos x="140" y="452"/>
                </a:cxn>
                <a:cxn ang="0">
                  <a:pos x="161" y="444"/>
                </a:cxn>
                <a:cxn ang="0">
                  <a:pos x="177" y="445"/>
                </a:cxn>
                <a:cxn ang="0">
                  <a:pos x="188" y="466"/>
                </a:cxn>
                <a:cxn ang="0">
                  <a:pos x="232" y="437"/>
                </a:cxn>
                <a:cxn ang="0">
                  <a:pos x="261" y="415"/>
                </a:cxn>
                <a:cxn ang="0">
                  <a:pos x="278" y="376"/>
                </a:cxn>
                <a:cxn ang="0">
                  <a:pos x="282" y="337"/>
                </a:cxn>
                <a:cxn ang="0">
                  <a:pos x="312" y="280"/>
                </a:cxn>
                <a:cxn ang="0">
                  <a:pos x="348" y="254"/>
                </a:cxn>
                <a:cxn ang="0">
                  <a:pos x="364" y="237"/>
                </a:cxn>
                <a:cxn ang="0">
                  <a:pos x="372" y="141"/>
                </a:cxn>
                <a:cxn ang="0">
                  <a:pos x="391" y="73"/>
                </a:cxn>
                <a:cxn ang="0">
                  <a:pos x="417" y="17"/>
                </a:cxn>
              </a:cxnLst>
              <a:rect l="0" t="0" r="r" b="b"/>
              <a:pathLst>
                <a:path w="417" h="479">
                  <a:moveTo>
                    <a:pt x="414" y="0"/>
                  </a:moveTo>
                  <a:lnTo>
                    <a:pt x="408" y="5"/>
                  </a:lnTo>
                  <a:lnTo>
                    <a:pt x="393" y="12"/>
                  </a:lnTo>
                  <a:lnTo>
                    <a:pt x="377" y="16"/>
                  </a:lnTo>
                  <a:lnTo>
                    <a:pt x="360" y="10"/>
                  </a:lnTo>
                  <a:lnTo>
                    <a:pt x="343" y="0"/>
                  </a:lnTo>
                  <a:lnTo>
                    <a:pt x="323" y="3"/>
                  </a:lnTo>
                  <a:lnTo>
                    <a:pt x="300" y="17"/>
                  </a:lnTo>
                  <a:lnTo>
                    <a:pt x="283" y="33"/>
                  </a:lnTo>
                  <a:lnTo>
                    <a:pt x="274" y="47"/>
                  </a:lnTo>
                  <a:lnTo>
                    <a:pt x="272" y="58"/>
                  </a:lnTo>
                  <a:lnTo>
                    <a:pt x="274" y="101"/>
                  </a:lnTo>
                  <a:lnTo>
                    <a:pt x="272" y="111"/>
                  </a:lnTo>
                  <a:lnTo>
                    <a:pt x="267" y="114"/>
                  </a:lnTo>
                  <a:lnTo>
                    <a:pt x="244" y="96"/>
                  </a:lnTo>
                  <a:lnTo>
                    <a:pt x="234" y="96"/>
                  </a:lnTo>
                  <a:lnTo>
                    <a:pt x="220" y="91"/>
                  </a:lnTo>
                  <a:lnTo>
                    <a:pt x="205" y="90"/>
                  </a:lnTo>
                  <a:lnTo>
                    <a:pt x="194" y="84"/>
                  </a:lnTo>
                  <a:lnTo>
                    <a:pt x="118" y="84"/>
                  </a:lnTo>
                  <a:lnTo>
                    <a:pt x="112" y="98"/>
                  </a:lnTo>
                  <a:lnTo>
                    <a:pt x="111" y="117"/>
                  </a:lnTo>
                  <a:lnTo>
                    <a:pt x="112" y="135"/>
                  </a:lnTo>
                  <a:lnTo>
                    <a:pt x="121" y="140"/>
                  </a:lnTo>
                  <a:lnTo>
                    <a:pt x="137" y="117"/>
                  </a:lnTo>
                  <a:lnTo>
                    <a:pt x="166" y="124"/>
                  </a:lnTo>
                  <a:lnTo>
                    <a:pt x="176" y="137"/>
                  </a:lnTo>
                  <a:lnTo>
                    <a:pt x="177" y="157"/>
                  </a:lnTo>
                  <a:lnTo>
                    <a:pt x="159" y="187"/>
                  </a:lnTo>
                  <a:lnTo>
                    <a:pt x="158" y="204"/>
                  </a:lnTo>
                  <a:lnTo>
                    <a:pt x="162" y="218"/>
                  </a:lnTo>
                  <a:lnTo>
                    <a:pt x="173" y="246"/>
                  </a:lnTo>
                  <a:lnTo>
                    <a:pt x="172" y="262"/>
                  </a:lnTo>
                  <a:lnTo>
                    <a:pt x="169" y="275"/>
                  </a:lnTo>
                  <a:lnTo>
                    <a:pt x="166" y="312"/>
                  </a:lnTo>
                  <a:lnTo>
                    <a:pt x="161" y="329"/>
                  </a:lnTo>
                  <a:lnTo>
                    <a:pt x="145" y="334"/>
                  </a:lnTo>
                  <a:lnTo>
                    <a:pt x="127" y="318"/>
                  </a:lnTo>
                  <a:lnTo>
                    <a:pt x="102" y="321"/>
                  </a:lnTo>
                  <a:lnTo>
                    <a:pt x="92" y="310"/>
                  </a:lnTo>
                  <a:lnTo>
                    <a:pt x="85" y="305"/>
                  </a:lnTo>
                  <a:lnTo>
                    <a:pt x="74" y="313"/>
                  </a:lnTo>
                  <a:lnTo>
                    <a:pt x="65" y="324"/>
                  </a:lnTo>
                  <a:lnTo>
                    <a:pt x="42" y="333"/>
                  </a:lnTo>
                  <a:lnTo>
                    <a:pt x="32" y="342"/>
                  </a:lnTo>
                  <a:lnTo>
                    <a:pt x="27" y="350"/>
                  </a:lnTo>
                  <a:lnTo>
                    <a:pt x="26" y="363"/>
                  </a:lnTo>
                  <a:lnTo>
                    <a:pt x="31" y="375"/>
                  </a:lnTo>
                  <a:lnTo>
                    <a:pt x="33" y="390"/>
                  </a:lnTo>
                  <a:lnTo>
                    <a:pt x="31" y="394"/>
                  </a:lnTo>
                  <a:lnTo>
                    <a:pt x="19" y="394"/>
                  </a:lnTo>
                  <a:lnTo>
                    <a:pt x="8" y="397"/>
                  </a:lnTo>
                  <a:lnTo>
                    <a:pt x="2" y="404"/>
                  </a:lnTo>
                  <a:lnTo>
                    <a:pt x="0" y="419"/>
                  </a:lnTo>
                  <a:lnTo>
                    <a:pt x="13" y="425"/>
                  </a:lnTo>
                  <a:lnTo>
                    <a:pt x="19" y="434"/>
                  </a:lnTo>
                  <a:lnTo>
                    <a:pt x="33" y="449"/>
                  </a:lnTo>
                  <a:lnTo>
                    <a:pt x="40" y="456"/>
                  </a:lnTo>
                  <a:lnTo>
                    <a:pt x="49" y="479"/>
                  </a:lnTo>
                  <a:lnTo>
                    <a:pt x="63" y="469"/>
                  </a:lnTo>
                  <a:lnTo>
                    <a:pt x="73" y="463"/>
                  </a:lnTo>
                  <a:lnTo>
                    <a:pt x="80" y="449"/>
                  </a:lnTo>
                  <a:lnTo>
                    <a:pt x="90" y="444"/>
                  </a:lnTo>
                  <a:lnTo>
                    <a:pt x="100" y="447"/>
                  </a:lnTo>
                  <a:lnTo>
                    <a:pt x="105" y="458"/>
                  </a:lnTo>
                  <a:lnTo>
                    <a:pt x="121" y="468"/>
                  </a:lnTo>
                  <a:lnTo>
                    <a:pt x="133" y="465"/>
                  </a:lnTo>
                  <a:lnTo>
                    <a:pt x="140" y="452"/>
                  </a:lnTo>
                  <a:lnTo>
                    <a:pt x="148" y="446"/>
                  </a:lnTo>
                  <a:lnTo>
                    <a:pt x="161" y="444"/>
                  </a:lnTo>
                  <a:lnTo>
                    <a:pt x="175" y="440"/>
                  </a:lnTo>
                  <a:lnTo>
                    <a:pt x="177" y="445"/>
                  </a:lnTo>
                  <a:lnTo>
                    <a:pt x="178" y="463"/>
                  </a:lnTo>
                  <a:lnTo>
                    <a:pt x="188" y="466"/>
                  </a:lnTo>
                  <a:lnTo>
                    <a:pt x="209" y="458"/>
                  </a:lnTo>
                  <a:lnTo>
                    <a:pt x="232" y="437"/>
                  </a:lnTo>
                  <a:lnTo>
                    <a:pt x="246" y="430"/>
                  </a:lnTo>
                  <a:lnTo>
                    <a:pt x="261" y="415"/>
                  </a:lnTo>
                  <a:lnTo>
                    <a:pt x="274" y="394"/>
                  </a:lnTo>
                  <a:lnTo>
                    <a:pt x="278" y="376"/>
                  </a:lnTo>
                  <a:lnTo>
                    <a:pt x="278" y="358"/>
                  </a:lnTo>
                  <a:lnTo>
                    <a:pt x="282" y="337"/>
                  </a:lnTo>
                  <a:lnTo>
                    <a:pt x="289" y="316"/>
                  </a:lnTo>
                  <a:lnTo>
                    <a:pt x="312" y="280"/>
                  </a:lnTo>
                  <a:lnTo>
                    <a:pt x="329" y="264"/>
                  </a:lnTo>
                  <a:lnTo>
                    <a:pt x="348" y="254"/>
                  </a:lnTo>
                  <a:lnTo>
                    <a:pt x="363" y="241"/>
                  </a:lnTo>
                  <a:lnTo>
                    <a:pt x="364" y="237"/>
                  </a:lnTo>
                  <a:lnTo>
                    <a:pt x="371" y="207"/>
                  </a:lnTo>
                  <a:lnTo>
                    <a:pt x="372" y="141"/>
                  </a:lnTo>
                  <a:lnTo>
                    <a:pt x="381" y="97"/>
                  </a:lnTo>
                  <a:lnTo>
                    <a:pt x="391" y="73"/>
                  </a:lnTo>
                  <a:lnTo>
                    <a:pt x="412" y="36"/>
                  </a:lnTo>
                  <a:lnTo>
                    <a:pt x="417" y="17"/>
                  </a:lnTo>
                  <a:lnTo>
                    <a:pt x="414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2" name="Freeform 42"/>
            <p:cNvSpPr>
              <a:spLocks noChangeAspect="1"/>
            </p:cNvSpPr>
            <p:nvPr/>
          </p:nvSpPr>
          <p:spPr bwMode="gray">
            <a:xfrm>
              <a:off x="3391604" y="4170906"/>
              <a:ext cx="27735" cy="18490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67" y="0"/>
                </a:cxn>
                <a:cxn ang="0">
                  <a:pos x="25" y="3"/>
                </a:cxn>
                <a:cxn ang="0">
                  <a:pos x="21" y="4"/>
                </a:cxn>
                <a:cxn ang="0">
                  <a:pos x="21" y="14"/>
                </a:cxn>
                <a:cxn ang="0">
                  <a:pos x="14" y="26"/>
                </a:cxn>
                <a:cxn ang="0">
                  <a:pos x="11" y="37"/>
                </a:cxn>
                <a:cxn ang="0">
                  <a:pos x="0" y="56"/>
                </a:cxn>
                <a:cxn ang="0">
                  <a:pos x="15" y="63"/>
                </a:cxn>
                <a:cxn ang="0">
                  <a:pos x="15" y="65"/>
                </a:cxn>
                <a:cxn ang="0">
                  <a:pos x="13" y="69"/>
                </a:cxn>
                <a:cxn ang="0">
                  <a:pos x="13" y="68"/>
                </a:cxn>
                <a:cxn ang="0">
                  <a:pos x="36" y="63"/>
                </a:cxn>
                <a:cxn ang="0">
                  <a:pos x="107" y="60"/>
                </a:cxn>
                <a:cxn ang="0">
                  <a:pos x="105" y="58"/>
                </a:cxn>
                <a:cxn ang="0">
                  <a:pos x="102" y="38"/>
                </a:cxn>
                <a:cxn ang="0">
                  <a:pos x="101" y="15"/>
                </a:cxn>
                <a:cxn ang="0">
                  <a:pos x="107" y="0"/>
                </a:cxn>
              </a:cxnLst>
              <a:rect l="0" t="0" r="r" b="b"/>
              <a:pathLst>
                <a:path w="107" h="69">
                  <a:moveTo>
                    <a:pt x="107" y="0"/>
                  </a:moveTo>
                  <a:lnTo>
                    <a:pt x="67" y="0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21" y="14"/>
                  </a:lnTo>
                  <a:lnTo>
                    <a:pt x="14" y="26"/>
                  </a:lnTo>
                  <a:lnTo>
                    <a:pt x="11" y="37"/>
                  </a:lnTo>
                  <a:lnTo>
                    <a:pt x="0" y="56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36" y="63"/>
                  </a:lnTo>
                  <a:lnTo>
                    <a:pt x="107" y="60"/>
                  </a:lnTo>
                  <a:lnTo>
                    <a:pt x="105" y="58"/>
                  </a:lnTo>
                  <a:lnTo>
                    <a:pt x="102" y="38"/>
                  </a:lnTo>
                  <a:lnTo>
                    <a:pt x="101" y="15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3" name="Freeform 43"/>
            <p:cNvSpPr>
              <a:spLocks noChangeAspect="1"/>
            </p:cNvSpPr>
            <p:nvPr/>
          </p:nvSpPr>
          <p:spPr bwMode="gray">
            <a:xfrm>
              <a:off x="3679526" y="4236944"/>
              <a:ext cx="23773" cy="29056"/>
            </a:xfrm>
            <a:custGeom>
              <a:avLst/>
              <a:gdLst/>
              <a:ahLst/>
              <a:cxnLst>
                <a:cxn ang="0">
                  <a:pos x="83" y="5"/>
                </a:cxn>
                <a:cxn ang="0">
                  <a:pos x="81" y="1"/>
                </a:cxn>
                <a:cxn ang="0">
                  <a:pos x="76" y="1"/>
                </a:cxn>
                <a:cxn ang="0">
                  <a:pos x="76" y="0"/>
                </a:cxn>
                <a:cxn ang="0">
                  <a:pos x="71" y="0"/>
                </a:cxn>
                <a:cxn ang="0">
                  <a:pos x="59" y="4"/>
                </a:cxn>
                <a:cxn ang="0">
                  <a:pos x="49" y="4"/>
                </a:cxn>
                <a:cxn ang="0">
                  <a:pos x="46" y="6"/>
                </a:cxn>
                <a:cxn ang="0">
                  <a:pos x="45" y="9"/>
                </a:cxn>
                <a:cxn ang="0">
                  <a:pos x="45" y="17"/>
                </a:cxn>
                <a:cxn ang="0">
                  <a:pos x="41" y="22"/>
                </a:cxn>
                <a:cxn ang="0">
                  <a:pos x="33" y="22"/>
                </a:cxn>
                <a:cxn ang="0">
                  <a:pos x="28" y="25"/>
                </a:cxn>
                <a:cxn ang="0">
                  <a:pos x="22" y="26"/>
                </a:cxn>
                <a:cxn ang="0">
                  <a:pos x="19" y="25"/>
                </a:cxn>
                <a:cxn ang="0">
                  <a:pos x="16" y="16"/>
                </a:cxn>
                <a:cxn ang="0">
                  <a:pos x="13" y="11"/>
                </a:cxn>
                <a:cxn ang="0">
                  <a:pos x="11" y="10"/>
                </a:cxn>
                <a:cxn ang="0">
                  <a:pos x="6" y="10"/>
                </a:cxn>
                <a:cxn ang="0">
                  <a:pos x="1" y="13"/>
                </a:cxn>
                <a:cxn ang="0">
                  <a:pos x="1" y="22"/>
                </a:cxn>
                <a:cxn ang="0">
                  <a:pos x="0" y="22"/>
                </a:cxn>
                <a:cxn ang="0">
                  <a:pos x="6" y="28"/>
                </a:cxn>
                <a:cxn ang="0">
                  <a:pos x="8" y="34"/>
                </a:cxn>
                <a:cxn ang="0">
                  <a:pos x="11" y="58"/>
                </a:cxn>
                <a:cxn ang="0">
                  <a:pos x="13" y="61"/>
                </a:cxn>
                <a:cxn ang="0">
                  <a:pos x="16" y="69"/>
                </a:cxn>
                <a:cxn ang="0">
                  <a:pos x="17" y="79"/>
                </a:cxn>
                <a:cxn ang="0">
                  <a:pos x="17" y="91"/>
                </a:cxn>
                <a:cxn ang="0">
                  <a:pos x="18" y="101"/>
                </a:cxn>
                <a:cxn ang="0">
                  <a:pos x="23" y="108"/>
                </a:cxn>
                <a:cxn ang="0">
                  <a:pos x="29" y="114"/>
                </a:cxn>
                <a:cxn ang="0">
                  <a:pos x="32" y="113"/>
                </a:cxn>
                <a:cxn ang="0">
                  <a:pos x="43" y="110"/>
                </a:cxn>
                <a:cxn ang="0">
                  <a:pos x="57" y="106"/>
                </a:cxn>
                <a:cxn ang="0">
                  <a:pos x="68" y="86"/>
                </a:cxn>
                <a:cxn ang="0">
                  <a:pos x="73" y="80"/>
                </a:cxn>
                <a:cxn ang="0">
                  <a:pos x="79" y="66"/>
                </a:cxn>
                <a:cxn ang="0">
                  <a:pos x="89" y="54"/>
                </a:cxn>
                <a:cxn ang="0">
                  <a:pos x="93" y="48"/>
                </a:cxn>
                <a:cxn ang="0">
                  <a:pos x="93" y="40"/>
                </a:cxn>
                <a:cxn ang="0">
                  <a:pos x="91" y="34"/>
                </a:cxn>
                <a:cxn ang="0">
                  <a:pos x="87" y="31"/>
                </a:cxn>
                <a:cxn ang="0">
                  <a:pos x="81" y="29"/>
                </a:cxn>
                <a:cxn ang="0">
                  <a:pos x="77" y="26"/>
                </a:cxn>
                <a:cxn ang="0">
                  <a:pos x="77" y="22"/>
                </a:cxn>
                <a:cxn ang="0">
                  <a:pos x="77" y="16"/>
                </a:cxn>
                <a:cxn ang="0">
                  <a:pos x="78" y="10"/>
                </a:cxn>
                <a:cxn ang="0">
                  <a:pos x="83" y="5"/>
                </a:cxn>
              </a:cxnLst>
              <a:rect l="0" t="0" r="r" b="b"/>
              <a:pathLst>
                <a:path w="93" h="114">
                  <a:moveTo>
                    <a:pt x="83" y="5"/>
                  </a:moveTo>
                  <a:lnTo>
                    <a:pt x="81" y="1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1" y="0"/>
                  </a:lnTo>
                  <a:lnTo>
                    <a:pt x="59" y="4"/>
                  </a:lnTo>
                  <a:lnTo>
                    <a:pt x="49" y="4"/>
                  </a:lnTo>
                  <a:lnTo>
                    <a:pt x="46" y="6"/>
                  </a:lnTo>
                  <a:lnTo>
                    <a:pt x="45" y="9"/>
                  </a:lnTo>
                  <a:lnTo>
                    <a:pt x="45" y="17"/>
                  </a:lnTo>
                  <a:lnTo>
                    <a:pt x="41" y="22"/>
                  </a:lnTo>
                  <a:lnTo>
                    <a:pt x="33" y="22"/>
                  </a:lnTo>
                  <a:lnTo>
                    <a:pt x="28" y="25"/>
                  </a:lnTo>
                  <a:lnTo>
                    <a:pt x="22" y="26"/>
                  </a:lnTo>
                  <a:lnTo>
                    <a:pt x="19" y="25"/>
                  </a:lnTo>
                  <a:lnTo>
                    <a:pt x="16" y="16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6" y="10"/>
                  </a:lnTo>
                  <a:lnTo>
                    <a:pt x="1" y="1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8"/>
                  </a:lnTo>
                  <a:lnTo>
                    <a:pt x="8" y="34"/>
                  </a:lnTo>
                  <a:lnTo>
                    <a:pt x="11" y="58"/>
                  </a:lnTo>
                  <a:lnTo>
                    <a:pt x="13" y="61"/>
                  </a:lnTo>
                  <a:lnTo>
                    <a:pt x="16" y="69"/>
                  </a:lnTo>
                  <a:lnTo>
                    <a:pt x="17" y="79"/>
                  </a:lnTo>
                  <a:lnTo>
                    <a:pt x="17" y="91"/>
                  </a:lnTo>
                  <a:lnTo>
                    <a:pt x="18" y="101"/>
                  </a:lnTo>
                  <a:lnTo>
                    <a:pt x="23" y="108"/>
                  </a:lnTo>
                  <a:lnTo>
                    <a:pt x="29" y="114"/>
                  </a:lnTo>
                  <a:lnTo>
                    <a:pt x="32" y="113"/>
                  </a:lnTo>
                  <a:lnTo>
                    <a:pt x="43" y="110"/>
                  </a:lnTo>
                  <a:lnTo>
                    <a:pt x="57" y="106"/>
                  </a:lnTo>
                  <a:lnTo>
                    <a:pt x="68" y="86"/>
                  </a:lnTo>
                  <a:lnTo>
                    <a:pt x="73" y="80"/>
                  </a:lnTo>
                  <a:lnTo>
                    <a:pt x="79" y="66"/>
                  </a:lnTo>
                  <a:lnTo>
                    <a:pt x="89" y="54"/>
                  </a:lnTo>
                  <a:lnTo>
                    <a:pt x="93" y="48"/>
                  </a:lnTo>
                  <a:lnTo>
                    <a:pt x="93" y="40"/>
                  </a:lnTo>
                  <a:lnTo>
                    <a:pt x="91" y="34"/>
                  </a:lnTo>
                  <a:lnTo>
                    <a:pt x="87" y="31"/>
                  </a:lnTo>
                  <a:lnTo>
                    <a:pt x="81" y="29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77" y="16"/>
                  </a:lnTo>
                  <a:lnTo>
                    <a:pt x="78" y="10"/>
                  </a:lnTo>
                  <a:lnTo>
                    <a:pt x="83" y="5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4" name="Freeform 44"/>
            <p:cNvSpPr>
              <a:spLocks noChangeAspect="1"/>
            </p:cNvSpPr>
            <p:nvPr/>
          </p:nvSpPr>
          <p:spPr bwMode="gray">
            <a:xfrm>
              <a:off x="3687450" y="4143171"/>
              <a:ext cx="76603" cy="80565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205" y="21"/>
                </a:cxn>
                <a:cxn ang="0">
                  <a:pos x="170" y="19"/>
                </a:cxn>
                <a:cxn ang="0">
                  <a:pos x="143" y="25"/>
                </a:cxn>
                <a:cxn ang="0">
                  <a:pos x="120" y="22"/>
                </a:cxn>
                <a:cxn ang="0">
                  <a:pos x="98" y="25"/>
                </a:cxn>
                <a:cxn ang="0">
                  <a:pos x="73" y="23"/>
                </a:cxn>
                <a:cxn ang="0">
                  <a:pos x="66" y="32"/>
                </a:cxn>
                <a:cxn ang="0">
                  <a:pos x="60" y="59"/>
                </a:cxn>
                <a:cxn ang="0">
                  <a:pos x="63" y="89"/>
                </a:cxn>
                <a:cxn ang="0">
                  <a:pos x="73" y="98"/>
                </a:cxn>
                <a:cxn ang="0">
                  <a:pos x="84" y="105"/>
                </a:cxn>
                <a:cxn ang="0">
                  <a:pos x="82" y="121"/>
                </a:cxn>
                <a:cxn ang="0">
                  <a:pos x="67" y="135"/>
                </a:cxn>
                <a:cxn ang="0">
                  <a:pos x="52" y="147"/>
                </a:cxn>
                <a:cxn ang="0">
                  <a:pos x="44" y="159"/>
                </a:cxn>
                <a:cxn ang="0">
                  <a:pos x="20" y="186"/>
                </a:cxn>
                <a:cxn ang="0">
                  <a:pos x="11" y="202"/>
                </a:cxn>
                <a:cxn ang="0">
                  <a:pos x="3" y="247"/>
                </a:cxn>
                <a:cxn ang="0">
                  <a:pos x="0" y="296"/>
                </a:cxn>
                <a:cxn ang="0">
                  <a:pos x="11" y="302"/>
                </a:cxn>
                <a:cxn ang="0">
                  <a:pos x="25" y="290"/>
                </a:cxn>
                <a:cxn ang="0">
                  <a:pos x="36" y="285"/>
                </a:cxn>
                <a:cxn ang="0">
                  <a:pos x="63" y="283"/>
                </a:cxn>
                <a:cxn ang="0">
                  <a:pos x="70" y="278"/>
                </a:cxn>
                <a:cxn ang="0">
                  <a:pos x="110" y="274"/>
                </a:cxn>
                <a:cxn ang="0">
                  <a:pos x="120" y="240"/>
                </a:cxn>
                <a:cxn ang="0">
                  <a:pos x="132" y="232"/>
                </a:cxn>
                <a:cxn ang="0">
                  <a:pos x="147" y="221"/>
                </a:cxn>
                <a:cxn ang="0">
                  <a:pos x="157" y="222"/>
                </a:cxn>
                <a:cxn ang="0">
                  <a:pos x="164" y="218"/>
                </a:cxn>
                <a:cxn ang="0">
                  <a:pos x="183" y="223"/>
                </a:cxn>
                <a:cxn ang="0">
                  <a:pos x="201" y="211"/>
                </a:cxn>
                <a:cxn ang="0">
                  <a:pos x="223" y="213"/>
                </a:cxn>
                <a:cxn ang="0">
                  <a:pos x="234" y="213"/>
                </a:cxn>
                <a:cxn ang="0">
                  <a:pos x="258" y="181"/>
                </a:cxn>
                <a:cxn ang="0">
                  <a:pos x="270" y="167"/>
                </a:cxn>
                <a:cxn ang="0">
                  <a:pos x="286" y="143"/>
                </a:cxn>
                <a:cxn ang="0">
                  <a:pos x="289" y="110"/>
                </a:cxn>
                <a:cxn ang="0">
                  <a:pos x="287" y="82"/>
                </a:cxn>
                <a:cxn ang="0">
                  <a:pos x="278" y="67"/>
                </a:cxn>
                <a:cxn ang="0">
                  <a:pos x="267" y="61"/>
                </a:cxn>
                <a:cxn ang="0">
                  <a:pos x="260" y="50"/>
                </a:cxn>
                <a:cxn ang="0">
                  <a:pos x="253" y="21"/>
                </a:cxn>
                <a:cxn ang="0">
                  <a:pos x="251" y="11"/>
                </a:cxn>
                <a:cxn ang="0">
                  <a:pos x="237" y="7"/>
                </a:cxn>
                <a:cxn ang="0">
                  <a:pos x="232" y="3"/>
                </a:cxn>
              </a:cxnLst>
              <a:rect l="0" t="0" r="r" b="b"/>
              <a:pathLst>
                <a:path w="289" h="302">
                  <a:moveTo>
                    <a:pt x="232" y="3"/>
                  </a:moveTo>
                  <a:lnTo>
                    <a:pt x="232" y="0"/>
                  </a:lnTo>
                  <a:lnTo>
                    <a:pt x="232" y="3"/>
                  </a:lnTo>
                  <a:lnTo>
                    <a:pt x="205" y="21"/>
                  </a:lnTo>
                  <a:lnTo>
                    <a:pt x="186" y="21"/>
                  </a:lnTo>
                  <a:lnTo>
                    <a:pt x="170" y="19"/>
                  </a:lnTo>
                  <a:lnTo>
                    <a:pt x="157" y="24"/>
                  </a:lnTo>
                  <a:lnTo>
                    <a:pt x="143" y="25"/>
                  </a:lnTo>
                  <a:lnTo>
                    <a:pt x="126" y="29"/>
                  </a:lnTo>
                  <a:lnTo>
                    <a:pt x="120" y="22"/>
                  </a:lnTo>
                  <a:lnTo>
                    <a:pt x="108" y="23"/>
                  </a:lnTo>
                  <a:lnTo>
                    <a:pt x="98" y="25"/>
                  </a:lnTo>
                  <a:lnTo>
                    <a:pt x="87" y="22"/>
                  </a:lnTo>
                  <a:lnTo>
                    <a:pt x="73" y="23"/>
                  </a:lnTo>
                  <a:lnTo>
                    <a:pt x="66" y="28"/>
                  </a:lnTo>
                  <a:lnTo>
                    <a:pt x="66" y="32"/>
                  </a:lnTo>
                  <a:lnTo>
                    <a:pt x="63" y="41"/>
                  </a:lnTo>
                  <a:lnTo>
                    <a:pt x="60" y="59"/>
                  </a:lnTo>
                  <a:lnTo>
                    <a:pt x="61" y="81"/>
                  </a:lnTo>
                  <a:lnTo>
                    <a:pt x="63" y="89"/>
                  </a:lnTo>
                  <a:lnTo>
                    <a:pt x="68" y="94"/>
                  </a:lnTo>
                  <a:lnTo>
                    <a:pt x="73" y="98"/>
                  </a:lnTo>
                  <a:lnTo>
                    <a:pt x="82" y="100"/>
                  </a:lnTo>
                  <a:lnTo>
                    <a:pt x="84" y="105"/>
                  </a:lnTo>
                  <a:lnTo>
                    <a:pt x="86" y="113"/>
                  </a:lnTo>
                  <a:lnTo>
                    <a:pt x="82" y="121"/>
                  </a:lnTo>
                  <a:lnTo>
                    <a:pt x="73" y="130"/>
                  </a:lnTo>
                  <a:lnTo>
                    <a:pt x="67" y="135"/>
                  </a:lnTo>
                  <a:lnTo>
                    <a:pt x="56" y="140"/>
                  </a:lnTo>
                  <a:lnTo>
                    <a:pt x="52" y="147"/>
                  </a:lnTo>
                  <a:lnTo>
                    <a:pt x="50" y="153"/>
                  </a:lnTo>
                  <a:lnTo>
                    <a:pt x="44" y="159"/>
                  </a:lnTo>
                  <a:lnTo>
                    <a:pt x="33" y="172"/>
                  </a:lnTo>
                  <a:lnTo>
                    <a:pt x="20" y="186"/>
                  </a:lnTo>
                  <a:lnTo>
                    <a:pt x="17" y="191"/>
                  </a:lnTo>
                  <a:lnTo>
                    <a:pt x="11" y="202"/>
                  </a:lnTo>
                  <a:lnTo>
                    <a:pt x="3" y="233"/>
                  </a:lnTo>
                  <a:lnTo>
                    <a:pt x="3" y="247"/>
                  </a:lnTo>
                  <a:lnTo>
                    <a:pt x="1" y="275"/>
                  </a:lnTo>
                  <a:lnTo>
                    <a:pt x="0" y="296"/>
                  </a:lnTo>
                  <a:lnTo>
                    <a:pt x="4" y="299"/>
                  </a:lnTo>
                  <a:lnTo>
                    <a:pt x="11" y="302"/>
                  </a:lnTo>
                  <a:lnTo>
                    <a:pt x="19" y="301"/>
                  </a:lnTo>
                  <a:lnTo>
                    <a:pt x="25" y="290"/>
                  </a:lnTo>
                  <a:lnTo>
                    <a:pt x="29" y="286"/>
                  </a:lnTo>
                  <a:lnTo>
                    <a:pt x="36" y="285"/>
                  </a:lnTo>
                  <a:lnTo>
                    <a:pt x="41" y="281"/>
                  </a:lnTo>
                  <a:lnTo>
                    <a:pt x="63" y="283"/>
                  </a:lnTo>
                  <a:lnTo>
                    <a:pt x="70" y="280"/>
                  </a:lnTo>
                  <a:lnTo>
                    <a:pt x="70" y="278"/>
                  </a:lnTo>
                  <a:lnTo>
                    <a:pt x="115" y="278"/>
                  </a:lnTo>
                  <a:lnTo>
                    <a:pt x="110" y="274"/>
                  </a:lnTo>
                  <a:lnTo>
                    <a:pt x="122" y="247"/>
                  </a:lnTo>
                  <a:lnTo>
                    <a:pt x="120" y="240"/>
                  </a:lnTo>
                  <a:lnTo>
                    <a:pt x="121" y="234"/>
                  </a:lnTo>
                  <a:lnTo>
                    <a:pt x="132" y="232"/>
                  </a:lnTo>
                  <a:lnTo>
                    <a:pt x="142" y="228"/>
                  </a:lnTo>
                  <a:lnTo>
                    <a:pt x="147" y="221"/>
                  </a:lnTo>
                  <a:lnTo>
                    <a:pt x="153" y="223"/>
                  </a:lnTo>
                  <a:lnTo>
                    <a:pt x="157" y="222"/>
                  </a:lnTo>
                  <a:lnTo>
                    <a:pt x="159" y="216"/>
                  </a:lnTo>
                  <a:lnTo>
                    <a:pt x="164" y="218"/>
                  </a:lnTo>
                  <a:lnTo>
                    <a:pt x="175" y="220"/>
                  </a:lnTo>
                  <a:lnTo>
                    <a:pt x="183" y="223"/>
                  </a:lnTo>
                  <a:lnTo>
                    <a:pt x="195" y="207"/>
                  </a:lnTo>
                  <a:lnTo>
                    <a:pt x="201" y="211"/>
                  </a:lnTo>
                  <a:lnTo>
                    <a:pt x="215" y="216"/>
                  </a:lnTo>
                  <a:lnTo>
                    <a:pt x="223" y="213"/>
                  </a:lnTo>
                  <a:lnTo>
                    <a:pt x="232" y="216"/>
                  </a:lnTo>
                  <a:lnTo>
                    <a:pt x="234" y="213"/>
                  </a:lnTo>
                  <a:lnTo>
                    <a:pt x="240" y="208"/>
                  </a:lnTo>
                  <a:lnTo>
                    <a:pt x="258" y="181"/>
                  </a:lnTo>
                  <a:lnTo>
                    <a:pt x="267" y="170"/>
                  </a:lnTo>
                  <a:lnTo>
                    <a:pt x="270" y="167"/>
                  </a:lnTo>
                  <a:lnTo>
                    <a:pt x="278" y="156"/>
                  </a:lnTo>
                  <a:lnTo>
                    <a:pt x="286" y="143"/>
                  </a:lnTo>
                  <a:lnTo>
                    <a:pt x="288" y="130"/>
                  </a:lnTo>
                  <a:lnTo>
                    <a:pt x="289" y="110"/>
                  </a:lnTo>
                  <a:lnTo>
                    <a:pt x="287" y="100"/>
                  </a:lnTo>
                  <a:lnTo>
                    <a:pt x="287" y="82"/>
                  </a:lnTo>
                  <a:lnTo>
                    <a:pt x="286" y="76"/>
                  </a:lnTo>
                  <a:lnTo>
                    <a:pt x="278" y="67"/>
                  </a:lnTo>
                  <a:lnTo>
                    <a:pt x="274" y="65"/>
                  </a:lnTo>
                  <a:lnTo>
                    <a:pt x="267" y="61"/>
                  </a:lnTo>
                  <a:lnTo>
                    <a:pt x="262" y="56"/>
                  </a:lnTo>
                  <a:lnTo>
                    <a:pt x="260" y="50"/>
                  </a:lnTo>
                  <a:lnTo>
                    <a:pt x="255" y="23"/>
                  </a:lnTo>
                  <a:lnTo>
                    <a:pt x="253" y="21"/>
                  </a:lnTo>
                  <a:lnTo>
                    <a:pt x="251" y="18"/>
                  </a:lnTo>
                  <a:lnTo>
                    <a:pt x="251" y="11"/>
                  </a:lnTo>
                  <a:lnTo>
                    <a:pt x="249" y="9"/>
                  </a:lnTo>
                  <a:lnTo>
                    <a:pt x="237" y="7"/>
                  </a:lnTo>
                  <a:lnTo>
                    <a:pt x="234" y="5"/>
                  </a:lnTo>
                  <a:lnTo>
                    <a:pt x="232" y="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5" name="Freeform 45"/>
            <p:cNvSpPr>
              <a:spLocks noChangeAspect="1"/>
            </p:cNvSpPr>
            <p:nvPr/>
          </p:nvSpPr>
          <p:spPr bwMode="gray">
            <a:xfrm>
              <a:off x="3676884" y="4218453"/>
              <a:ext cx="27735" cy="25094"/>
            </a:xfrm>
            <a:custGeom>
              <a:avLst/>
              <a:gdLst/>
              <a:ahLst/>
              <a:cxnLst>
                <a:cxn ang="0">
                  <a:pos x="7" y="92"/>
                </a:cxn>
                <a:cxn ang="0">
                  <a:pos x="8" y="92"/>
                </a:cxn>
                <a:cxn ang="0">
                  <a:pos x="8" y="83"/>
                </a:cxn>
                <a:cxn ang="0">
                  <a:pos x="13" y="80"/>
                </a:cxn>
                <a:cxn ang="0">
                  <a:pos x="18" y="80"/>
                </a:cxn>
                <a:cxn ang="0">
                  <a:pos x="20" y="81"/>
                </a:cxn>
                <a:cxn ang="0">
                  <a:pos x="23" y="86"/>
                </a:cxn>
                <a:cxn ang="0">
                  <a:pos x="26" y="95"/>
                </a:cxn>
                <a:cxn ang="0">
                  <a:pos x="29" y="96"/>
                </a:cxn>
                <a:cxn ang="0">
                  <a:pos x="35" y="95"/>
                </a:cxn>
                <a:cxn ang="0">
                  <a:pos x="40" y="92"/>
                </a:cxn>
                <a:cxn ang="0">
                  <a:pos x="48" y="92"/>
                </a:cxn>
                <a:cxn ang="0">
                  <a:pos x="52" y="87"/>
                </a:cxn>
                <a:cxn ang="0">
                  <a:pos x="52" y="79"/>
                </a:cxn>
                <a:cxn ang="0">
                  <a:pos x="53" y="76"/>
                </a:cxn>
                <a:cxn ang="0">
                  <a:pos x="56" y="74"/>
                </a:cxn>
                <a:cxn ang="0">
                  <a:pos x="66" y="74"/>
                </a:cxn>
                <a:cxn ang="0">
                  <a:pos x="78" y="70"/>
                </a:cxn>
                <a:cxn ang="0">
                  <a:pos x="83" y="70"/>
                </a:cxn>
                <a:cxn ang="0">
                  <a:pos x="83" y="71"/>
                </a:cxn>
                <a:cxn ang="0">
                  <a:pos x="88" y="71"/>
                </a:cxn>
                <a:cxn ang="0">
                  <a:pos x="90" y="75"/>
                </a:cxn>
                <a:cxn ang="0">
                  <a:pos x="101" y="60"/>
                </a:cxn>
                <a:cxn ang="0">
                  <a:pos x="104" y="50"/>
                </a:cxn>
                <a:cxn ang="0">
                  <a:pos x="102" y="43"/>
                </a:cxn>
                <a:cxn ang="0">
                  <a:pos x="98" y="28"/>
                </a:cxn>
                <a:cxn ang="0">
                  <a:pos x="85" y="7"/>
                </a:cxn>
                <a:cxn ang="0">
                  <a:pos x="80" y="0"/>
                </a:cxn>
                <a:cxn ang="0">
                  <a:pos x="75" y="4"/>
                </a:cxn>
                <a:cxn ang="0">
                  <a:pos x="68" y="5"/>
                </a:cxn>
                <a:cxn ang="0">
                  <a:pos x="64" y="9"/>
                </a:cxn>
                <a:cxn ang="0">
                  <a:pos x="58" y="20"/>
                </a:cxn>
                <a:cxn ang="0">
                  <a:pos x="50" y="21"/>
                </a:cxn>
                <a:cxn ang="0">
                  <a:pos x="43" y="18"/>
                </a:cxn>
                <a:cxn ang="0">
                  <a:pos x="39" y="15"/>
                </a:cxn>
                <a:cxn ang="0">
                  <a:pos x="36" y="17"/>
                </a:cxn>
                <a:cxn ang="0">
                  <a:pos x="29" y="24"/>
                </a:cxn>
                <a:cxn ang="0">
                  <a:pos x="21" y="36"/>
                </a:cxn>
                <a:cxn ang="0">
                  <a:pos x="14" y="49"/>
                </a:cxn>
                <a:cxn ang="0">
                  <a:pos x="10" y="60"/>
                </a:cxn>
                <a:cxn ang="0">
                  <a:pos x="0" y="74"/>
                </a:cxn>
                <a:cxn ang="0">
                  <a:pos x="0" y="81"/>
                </a:cxn>
                <a:cxn ang="0">
                  <a:pos x="2" y="85"/>
                </a:cxn>
                <a:cxn ang="0">
                  <a:pos x="7" y="92"/>
                </a:cxn>
              </a:cxnLst>
              <a:rect l="0" t="0" r="r" b="b"/>
              <a:pathLst>
                <a:path w="104" h="96">
                  <a:moveTo>
                    <a:pt x="7" y="92"/>
                  </a:moveTo>
                  <a:lnTo>
                    <a:pt x="8" y="92"/>
                  </a:lnTo>
                  <a:lnTo>
                    <a:pt x="8" y="83"/>
                  </a:lnTo>
                  <a:lnTo>
                    <a:pt x="13" y="80"/>
                  </a:lnTo>
                  <a:lnTo>
                    <a:pt x="18" y="80"/>
                  </a:lnTo>
                  <a:lnTo>
                    <a:pt x="20" y="81"/>
                  </a:lnTo>
                  <a:lnTo>
                    <a:pt x="23" y="86"/>
                  </a:lnTo>
                  <a:lnTo>
                    <a:pt x="26" y="95"/>
                  </a:lnTo>
                  <a:lnTo>
                    <a:pt x="29" y="96"/>
                  </a:lnTo>
                  <a:lnTo>
                    <a:pt x="35" y="95"/>
                  </a:lnTo>
                  <a:lnTo>
                    <a:pt x="40" y="92"/>
                  </a:lnTo>
                  <a:lnTo>
                    <a:pt x="48" y="92"/>
                  </a:lnTo>
                  <a:lnTo>
                    <a:pt x="52" y="87"/>
                  </a:lnTo>
                  <a:lnTo>
                    <a:pt x="52" y="79"/>
                  </a:lnTo>
                  <a:lnTo>
                    <a:pt x="53" y="76"/>
                  </a:lnTo>
                  <a:lnTo>
                    <a:pt x="56" y="74"/>
                  </a:lnTo>
                  <a:lnTo>
                    <a:pt x="66" y="74"/>
                  </a:lnTo>
                  <a:lnTo>
                    <a:pt x="78" y="70"/>
                  </a:lnTo>
                  <a:lnTo>
                    <a:pt x="83" y="70"/>
                  </a:lnTo>
                  <a:lnTo>
                    <a:pt x="83" y="71"/>
                  </a:lnTo>
                  <a:lnTo>
                    <a:pt x="88" y="71"/>
                  </a:lnTo>
                  <a:lnTo>
                    <a:pt x="90" y="75"/>
                  </a:lnTo>
                  <a:lnTo>
                    <a:pt x="101" y="60"/>
                  </a:lnTo>
                  <a:lnTo>
                    <a:pt x="104" y="50"/>
                  </a:lnTo>
                  <a:lnTo>
                    <a:pt x="102" y="43"/>
                  </a:lnTo>
                  <a:lnTo>
                    <a:pt x="98" y="28"/>
                  </a:lnTo>
                  <a:lnTo>
                    <a:pt x="85" y="7"/>
                  </a:lnTo>
                  <a:lnTo>
                    <a:pt x="80" y="0"/>
                  </a:lnTo>
                  <a:lnTo>
                    <a:pt x="75" y="4"/>
                  </a:lnTo>
                  <a:lnTo>
                    <a:pt x="68" y="5"/>
                  </a:lnTo>
                  <a:lnTo>
                    <a:pt x="64" y="9"/>
                  </a:lnTo>
                  <a:lnTo>
                    <a:pt x="58" y="20"/>
                  </a:lnTo>
                  <a:lnTo>
                    <a:pt x="50" y="21"/>
                  </a:lnTo>
                  <a:lnTo>
                    <a:pt x="43" y="18"/>
                  </a:lnTo>
                  <a:lnTo>
                    <a:pt x="39" y="15"/>
                  </a:lnTo>
                  <a:lnTo>
                    <a:pt x="36" y="17"/>
                  </a:lnTo>
                  <a:lnTo>
                    <a:pt x="29" y="24"/>
                  </a:lnTo>
                  <a:lnTo>
                    <a:pt x="21" y="36"/>
                  </a:lnTo>
                  <a:lnTo>
                    <a:pt x="14" y="49"/>
                  </a:lnTo>
                  <a:lnTo>
                    <a:pt x="10" y="60"/>
                  </a:lnTo>
                  <a:lnTo>
                    <a:pt x="0" y="74"/>
                  </a:lnTo>
                  <a:lnTo>
                    <a:pt x="0" y="81"/>
                  </a:lnTo>
                  <a:lnTo>
                    <a:pt x="2" y="85"/>
                  </a:lnTo>
                  <a:lnTo>
                    <a:pt x="7" y="9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6" name="Freeform 46"/>
            <p:cNvSpPr>
              <a:spLocks noChangeAspect="1"/>
            </p:cNvSpPr>
            <p:nvPr/>
          </p:nvSpPr>
          <p:spPr bwMode="gray">
            <a:xfrm>
              <a:off x="3748204" y="4136567"/>
              <a:ext cx="114905" cy="133395"/>
            </a:xfrm>
            <a:custGeom>
              <a:avLst/>
              <a:gdLst/>
              <a:ahLst/>
              <a:cxnLst>
                <a:cxn ang="0">
                  <a:pos x="387" y="204"/>
                </a:cxn>
                <a:cxn ang="0">
                  <a:pos x="387" y="98"/>
                </a:cxn>
                <a:cxn ang="0">
                  <a:pos x="412" y="74"/>
                </a:cxn>
                <a:cxn ang="0">
                  <a:pos x="435" y="37"/>
                </a:cxn>
                <a:cxn ang="0">
                  <a:pos x="421" y="37"/>
                </a:cxn>
                <a:cxn ang="0">
                  <a:pos x="374" y="22"/>
                </a:cxn>
                <a:cxn ang="0">
                  <a:pos x="336" y="32"/>
                </a:cxn>
                <a:cxn ang="0">
                  <a:pos x="297" y="60"/>
                </a:cxn>
                <a:cxn ang="0">
                  <a:pos x="250" y="53"/>
                </a:cxn>
                <a:cxn ang="0">
                  <a:pos x="213" y="47"/>
                </a:cxn>
                <a:cxn ang="0">
                  <a:pos x="164" y="12"/>
                </a:cxn>
                <a:cxn ang="0">
                  <a:pos x="132" y="3"/>
                </a:cxn>
                <a:cxn ang="0">
                  <a:pos x="103" y="0"/>
                </a:cxn>
                <a:cxn ang="0">
                  <a:pos x="69" y="3"/>
                </a:cxn>
                <a:cxn ang="0">
                  <a:pos x="28" y="1"/>
                </a:cxn>
                <a:cxn ang="0">
                  <a:pos x="0" y="28"/>
                </a:cxn>
                <a:cxn ang="0">
                  <a:pos x="5" y="32"/>
                </a:cxn>
                <a:cxn ang="0">
                  <a:pos x="19" y="36"/>
                </a:cxn>
                <a:cxn ang="0">
                  <a:pos x="21" y="46"/>
                </a:cxn>
                <a:cxn ang="0">
                  <a:pos x="28" y="75"/>
                </a:cxn>
                <a:cxn ang="0">
                  <a:pos x="35" y="86"/>
                </a:cxn>
                <a:cxn ang="0">
                  <a:pos x="46" y="92"/>
                </a:cxn>
                <a:cxn ang="0">
                  <a:pos x="55" y="107"/>
                </a:cxn>
                <a:cxn ang="0">
                  <a:pos x="57" y="135"/>
                </a:cxn>
                <a:cxn ang="0">
                  <a:pos x="54" y="168"/>
                </a:cxn>
                <a:cxn ang="0">
                  <a:pos x="38" y="192"/>
                </a:cxn>
                <a:cxn ang="0">
                  <a:pos x="26" y="206"/>
                </a:cxn>
                <a:cxn ang="0">
                  <a:pos x="2" y="238"/>
                </a:cxn>
                <a:cxn ang="0">
                  <a:pos x="8" y="263"/>
                </a:cxn>
                <a:cxn ang="0">
                  <a:pos x="18" y="270"/>
                </a:cxn>
                <a:cxn ang="0">
                  <a:pos x="35" y="265"/>
                </a:cxn>
                <a:cxn ang="0">
                  <a:pos x="45" y="270"/>
                </a:cxn>
                <a:cxn ang="0">
                  <a:pos x="26" y="281"/>
                </a:cxn>
                <a:cxn ang="0">
                  <a:pos x="7" y="295"/>
                </a:cxn>
                <a:cxn ang="0">
                  <a:pos x="207" y="415"/>
                </a:cxn>
                <a:cxn ang="0">
                  <a:pos x="210" y="428"/>
                </a:cxn>
                <a:cxn ang="0">
                  <a:pos x="218" y="458"/>
                </a:cxn>
                <a:cxn ang="0">
                  <a:pos x="306" y="499"/>
                </a:cxn>
                <a:cxn ang="0">
                  <a:pos x="314" y="488"/>
                </a:cxn>
                <a:cxn ang="0">
                  <a:pos x="324" y="463"/>
                </a:cxn>
                <a:cxn ang="0">
                  <a:pos x="342" y="429"/>
                </a:cxn>
                <a:cxn ang="0">
                  <a:pos x="352" y="399"/>
                </a:cxn>
                <a:cxn ang="0">
                  <a:pos x="360" y="391"/>
                </a:cxn>
                <a:cxn ang="0">
                  <a:pos x="379" y="376"/>
                </a:cxn>
                <a:cxn ang="0">
                  <a:pos x="388" y="361"/>
                </a:cxn>
                <a:cxn ang="0">
                  <a:pos x="403" y="358"/>
                </a:cxn>
                <a:cxn ang="0">
                  <a:pos x="417" y="340"/>
                </a:cxn>
                <a:cxn ang="0">
                  <a:pos x="393" y="308"/>
                </a:cxn>
                <a:cxn ang="0">
                  <a:pos x="387" y="257"/>
                </a:cxn>
              </a:cxnLst>
              <a:rect l="0" t="0" r="r" b="b"/>
              <a:pathLst>
                <a:path w="435" h="504">
                  <a:moveTo>
                    <a:pt x="387" y="257"/>
                  </a:moveTo>
                  <a:lnTo>
                    <a:pt x="387" y="204"/>
                  </a:lnTo>
                  <a:lnTo>
                    <a:pt x="387" y="151"/>
                  </a:lnTo>
                  <a:lnTo>
                    <a:pt x="387" y="98"/>
                  </a:lnTo>
                  <a:lnTo>
                    <a:pt x="390" y="96"/>
                  </a:lnTo>
                  <a:lnTo>
                    <a:pt x="412" y="74"/>
                  </a:lnTo>
                  <a:lnTo>
                    <a:pt x="433" y="42"/>
                  </a:lnTo>
                  <a:lnTo>
                    <a:pt x="435" y="37"/>
                  </a:lnTo>
                  <a:lnTo>
                    <a:pt x="430" y="38"/>
                  </a:lnTo>
                  <a:lnTo>
                    <a:pt x="421" y="37"/>
                  </a:lnTo>
                  <a:lnTo>
                    <a:pt x="408" y="38"/>
                  </a:lnTo>
                  <a:lnTo>
                    <a:pt x="374" y="22"/>
                  </a:lnTo>
                  <a:lnTo>
                    <a:pt x="355" y="26"/>
                  </a:lnTo>
                  <a:lnTo>
                    <a:pt x="336" y="32"/>
                  </a:lnTo>
                  <a:lnTo>
                    <a:pt x="320" y="48"/>
                  </a:lnTo>
                  <a:lnTo>
                    <a:pt x="297" y="60"/>
                  </a:lnTo>
                  <a:lnTo>
                    <a:pt x="272" y="59"/>
                  </a:lnTo>
                  <a:lnTo>
                    <a:pt x="250" y="53"/>
                  </a:lnTo>
                  <a:lnTo>
                    <a:pt x="233" y="53"/>
                  </a:lnTo>
                  <a:lnTo>
                    <a:pt x="213" y="47"/>
                  </a:lnTo>
                  <a:lnTo>
                    <a:pt x="202" y="34"/>
                  </a:lnTo>
                  <a:lnTo>
                    <a:pt x="164" y="12"/>
                  </a:lnTo>
                  <a:lnTo>
                    <a:pt x="147" y="4"/>
                  </a:lnTo>
                  <a:lnTo>
                    <a:pt x="132" y="3"/>
                  </a:lnTo>
                  <a:lnTo>
                    <a:pt x="116" y="5"/>
                  </a:lnTo>
                  <a:lnTo>
                    <a:pt x="103" y="0"/>
                  </a:lnTo>
                  <a:lnTo>
                    <a:pt x="82" y="3"/>
                  </a:lnTo>
                  <a:lnTo>
                    <a:pt x="69" y="3"/>
                  </a:lnTo>
                  <a:lnTo>
                    <a:pt x="39" y="0"/>
                  </a:lnTo>
                  <a:lnTo>
                    <a:pt x="28" y="1"/>
                  </a:lnTo>
                  <a:lnTo>
                    <a:pt x="16" y="9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17" y="34"/>
                  </a:lnTo>
                  <a:lnTo>
                    <a:pt x="19" y="36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3" y="48"/>
                  </a:lnTo>
                  <a:lnTo>
                    <a:pt x="28" y="75"/>
                  </a:lnTo>
                  <a:lnTo>
                    <a:pt x="30" y="81"/>
                  </a:lnTo>
                  <a:lnTo>
                    <a:pt x="35" y="86"/>
                  </a:lnTo>
                  <a:lnTo>
                    <a:pt x="42" y="90"/>
                  </a:lnTo>
                  <a:lnTo>
                    <a:pt x="46" y="92"/>
                  </a:lnTo>
                  <a:lnTo>
                    <a:pt x="54" y="101"/>
                  </a:lnTo>
                  <a:lnTo>
                    <a:pt x="55" y="107"/>
                  </a:lnTo>
                  <a:lnTo>
                    <a:pt x="55" y="125"/>
                  </a:lnTo>
                  <a:lnTo>
                    <a:pt x="57" y="135"/>
                  </a:lnTo>
                  <a:lnTo>
                    <a:pt x="56" y="155"/>
                  </a:lnTo>
                  <a:lnTo>
                    <a:pt x="54" y="168"/>
                  </a:lnTo>
                  <a:lnTo>
                    <a:pt x="46" y="181"/>
                  </a:lnTo>
                  <a:lnTo>
                    <a:pt x="38" y="192"/>
                  </a:lnTo>
                  <a:lnTo>
                    <a:pt x="35" y="195"/>
                  </a:lnTo>
                  <a:lnTo>
                    <a:pt x="26" y="206"/>
                  </a:lnTo>
                  <a:lnTo>
                    <a:pt x="8" y="233"/>
                  </a:lnTo>
                  <a:lnTo>
                    <a:pt x="2" y="238"/>
                  </a:lnTo>
                  <a:lnTo>
                    <a:pt x="1" y="253"/>
                  </a:lnTo>
                  <a:lnTo>
                    <a:pt x="8" y="263"/>
                  </a:lnTo>
                  <a:lnTo>
                    <a:pt x="12" y="272"/>
                  </a:lnTo>
                  <a:lnTo>
                    <a:pt x="18" y="270"/>
                  </a:lnTo>
                  <a:lnTo>
                    <a:pt x="26" y="267"/>
                  </a:lnTo>
                  <a:lnTo>
                    <a:pt x="35" y="265"/>
                  </a:lnTo>
                  <a:lnTo>
                    <a:pt x="45" y="265"/>
                  </a:lnTo>
                  <a:lnTo>
                    <a:pt x="45" y="270"/>
                  </a:lnTo>
                  <a:lnTo>
                    <a:pt x="34" y="274"/>
                  </a:lnTo>
                  <a:lnTo>
                    <a:pt x="26" y="281"/>
                  </a:lnTo>
                  <a:lnTo>
                    <a:pt x="14" y="281"/>
                  </a:lnTo>
                  <a:lnTo>
                    <a:pt x="7" y="295"/>
                  </a:lnTo>
                  <a:lnTo>
                    <a:pt x="16" y="303"/>
                  </a:lnTo>
                  <a:lnTo>
                    <a:pt x="207" y="415"/>
                  </a:lnTo>
                  <a:lnTo>
                    <a:pt x="210" y="420"/>
                  </a:lnTo>
                  <a:lnTo>
                    <a:pt x="210" y="428"/>
                  </a:lnTo>
                  <a:lnTo>
                    <a:pt x="215" y="447"/>
                  </a:lnTo>
                  <a:lnTo>
                    <a:pt x="218" y="458"/>
                  </a:lnTo>
                  <a:lnTo>
                    <a:pt x="296" y="504"/>
                  </a:lnTo>
                  <a:lnTo>
                    <a:pt x="306" y="499"/>
                  </a:lnTo>
                  <a:lnTo>
                    <a:pt x="309" y="495"/>
                  </a:lnTo>
                  <a:lnTo>
                    <a:pt x="314" y="488"/>
                  </a:lnTo>
                  <a:lnTo>
                    <a:pt x="318" y="479"/>
                  </a:lnTo>
                  <a:lnTo>
                    <a:pt x="324" y="463"/>
                  </a:lnTo>
                  <a:lnTo>
                    <a:pt x="333" y="450"/>
                  </a:lnTo>
                  <a:lnTo>
                    <a:pt x="342" y="429"/>
                  </a:lnTo>
                  <a:lnTo>
                    <a:pt x="346" y="413"/>
                  </a:lnTo>
                  <a:lnTo>
                    <a:pt x="352" y="399"/>
                  </a:lnTo>
                  <a:lnTo>
                    <a:pt x="357" y="392"/>
                  </a:lnTo>
                  <a:lnTo>
                    <a:pt x="360" y="391"/>
                  </a:lnTo>
                  <a:lnTo>
                    <a:pt x="378" y="382"/>
                  </a:lnTo>
                  <a:lnTo>
                    <a:pt x="379" y="376"/>
                  </a:lnTo>
                  <a:lnTo>
                    <a:pt x="382" y="370"/>
                  </a:lnTo>
                  <a:lnTo>
                    <a:pt x="388" y="361"/>
                  </a:lnTo>
                  <a:lnTo>
                    <a:pt x="394" y="358"/>
                  </a:lnTo>
                  <a:lnTo>
                    <a:pt x="403" y="358"/>
                  </a:lnTo>
                  <a:lnTo>
                    <a:pt x="414" y="346"/>
                  </a:lnTo>
                  <a:lnTo>
                    <a:pt x="417" y="340"/>
                  </a:lnTo>
                  <a:lnTo>
                    <a:pt x="416" y="337"/>
                  </a:lnTo>
                  <a:lnTo>
                    <a:pt x="393" y="308"/>
                  </a:lnTo>
                  <a:lnTo>
                    <a:pt x="387" y="300"/>
                  </a:lnTo>
                  <a:lnTo>
                    <a:pt x="387" y="25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7" name="Freeform 47"/>
            <p:cNvSpPr>
              <a:spLocks noChangeAspect="1"/>
            </p:cNvSpPr>
            <p:nvPr/>
          </p:nvSpPr>
          <p:spPr bwMode="gray">
            <a:xfrm>
              <a:off x="3003306" y="3959588"/>
              <a:ext cx="89811" cy="64716"/>
            </a:xfrm>
            <a:custGeom>
              <a:avLst/>
              <a:gdLst/>
              <a:ahLst/>
              <a:cxnLst>
                <a:cxn ang="0">
                  <a:pos x="43" y="160"/>
                </a:cxn>
                <a:cxn ang="0">
                  <a:pos x="28" y="129"/>
                </a:cxn>
                <a:cxn ang="0">
                  <a:pos x="7" y="113"/>
                </a:cxn>
                <a:cxn ang="0">
                  <a:pos x="1" y="107"/>
                </a:cxn>
                <a:cxn ang="0">
                  <a:pos x="35" y="86"/>
                </a:cxn>
                <a:cxn ang="0">
                  <a:pos x="56" y="33"/>
                </a:cxn>
                <a:cxn ang="0">
                  <a:pos x="70" y="9"/>
                </a:cxn>
                <a:cxn ang="0">
                  <a:pos x="92" y="9"/>
                </a:cxn>
                <a:cxn ang="0">
                  <a:pos x="122" y="5"/>
                </a:cxn>
                <a:cxn ang="0">
                  <a:pos x="135" y="1"/>
                </a:cxn>
                <a:cxn ang="0">
                  <a:pos x="168" y="2"/>
                </a:cxn>
                <a:cxn ang="0">
                  <a:pos x="183" y="9"/>
                </a:cxn>
                <a:cxn ang="0">
                  <a:pos x="206" y="29"/>
                </a:cxn>
                <a:cxn ang="0">
                  <a:pos x="221" y="29"/>
                </a:cxn>
                <a:cxn ang="0">
                  <a:pos x="238" y="58"/>
                </a:cxn>
                <a:cxn ang="0">
                  <a:pos x="248" y="68"/>
                </a:cxn>
                <a:cxn ang="0">
                  <a:pos x="258" y="75"/>
                </a:cxn>
                <a:cxn ang="0">
                  <a:pos x="261" y="82"/>
                </a:cxn>
                <a:cxn ang="0">
                  <a:pos x="277" y="91"/>
                </a:cxn>
                <a:cxn ang="0">
                  <a:pos x="289" y="103"/>
                </a:cxn>
                <a:cxn ang="0">
                  <a:pos x="297" y="123"/>
                </a:cxn>
                <a:cxn ang="0">
                  <a:pos x="302" y="133"/>
                </a:cxn>
                <a:cxn ang="0">
                  <a:pos x="309" y="156"/>
                </a:cxn>
                <a:cxn ang="0">
                  <a:pos x="313" y="181"/>
                </a:cxn>
                <a:cxn ang="0">
                  <a:pos x="323" y="185"/>
                </a:cxn>
                <a:cxn ang="0">
                  <a:pos x="332" y="197"/>
                </a:cxn>
                <a:cxn ang="0">
                  <a:pos x="342" y="212"/>
                </a:cxn>
                <a:cxn ang="0">
                  <a:pos x="342" y="221"/>
                </a:cxn>
                <a:cxn ang="0">
                  <a:pos x="344" y="238"/>
                </a:cxn>
                <a:cxn ang="0">
                  <a:pos x="321" y="242"/>
                </a:cxn>
                <a:cxn ang="0">
                  <a:pos x="293" y="244"/>
                </a:cxn>
                <a:cxn ang="0">
                  <a:pos x="271" y="239"/>
                </a:cxn>
                <a:cxn ang="0">
                  <a:pos x="255" y="238"/>
                </a:cxn>
                <a:cxn ang="0">
                  <a:pos x="237" y="227"/>
                </a:cxn>
                <a:cxn ang="0">
                  <a:pos x="162" y="224"/>
                </a:cxn>
                <a:cxn ang="0">
                  <a:pos x="111" y="236"/>
                </a:cxn>
                <a:cxn ang="0">
                  <a:pos x="57" y="244"/>
                </a:cxn>
                <a:cxn ang="0">
                  <a:pos x="43" y="242"/>
                </a:cxn>
                <a:cxn ang="0">
                  <a:pos x="47" y="199"/>
                </a:cxn>
                <a:cxn ang="0">
                  <a:pos x="98" y="188"/>
                </a:cxn>
                <a:cxn ang="0">
                  <a:pos x="127" y="183"/>
                </a:cxn>
                <a:cxn ang="0">
                  <a:pos x="143" y="182"/>
                </a:cxn>
                <a:cxn ang="0">
                  <a:pos x="175" y="194"/>
                </a:cxn>
                <a:cxn ang="0">
                  <a:pos x="203" y="189"/>
                </a:cxn>
                <a:cxn ang="0">
                  <a:pos x="206" y="177"/>
                </a:cxn>
                <a:cxn ang="0">
                  <a:pos x="191" y="177"/>
                </a:cxn>
                <a:cxn ang="0">
                  <a:pos x="165" y="172"/>
                </a:cxn>
                <a:cxn ang="0">
                  <a:pos x="140" y="162"/>
                </a:cxn>
                <a:cxn ang="0">
                  <a:pos x="120" y="163"/>
                </a:cxn>
              </a:cxnLst>
              <a:rect l="0" t="0" r="r" b="b"/>
              <a:pathLst>
                <a:path w="344" h="244">
                  <a:moveTo>
                    <a:pt x="55" y="174"/>
                  </a:moveTo>
                  <a:lnTo>
                    <a:pt x="54" y="174"/>
                  </a:lnTo>
                  <a:lnTo>
                    <a:pt x="50" y="168"/>
                  </a:lnTo>
                  <a:lnTo>
                    <a:pt x="43" y="160"/>
                  </a:lnTo>
                  <a:lnTo>
                    <a:pt x="41" y="147"/>
                  </a:lnTo>
                  <a:lnTo>
                    <a:pt x="39" y="144"/>
                  </a:lnTo>
                  <a:lnTo>
                    <a:pt x="33" y="138"/>
                  </a:lnTo>
                  <a:lnTo>
                    <a:pt x="28" y="129"/>
                  </a:lnTo>
                  <a:lnTo>
                    <a:pt x="18" y="119"/>
                  </a:lnTo>
                  <a:lnTo>
                    <a:pt x="14" y="112"/>
                  </a:lnTo>
                  <a:lnTo>
                    <a:pt x="9" y="112"/>
                  </a:lnTo>
                  <a:lnTo>
                    <a:pt x="7" y="113"/>
                  </a:lnTo>
                  <a:lnTo>
                    <a:pt x="4" y="117"/>
                  </a:lnTo>
                  <a:lnTo>
                    <a:pt x="1" y="112"/>
                  </a:lnTo>
                  <a:lnTo>
                    <a:pt x="0" y="109"/>
                  </a:lnTo>
                  <a:lnTo>
                    <a:pt x="1" y="107"/>
                  </a:lnTo>
                  <a:lnTo>
                    <a:pt x="6" y="107"/>
                  </a:lnTo>
                  <a:lnTo>
                    <a:pt x="17" y="103"/>
                  </a:lnTo>
                  <a:lnTo>
                    <a:pt x="31" y="91"/>
                  </a:lnTo>
                  <a:lnTo>
                    <a:pt x="35" y="86"/>
                  </a:lnTo>
                  <a:lnTo>
                    <a:pt x="40" y="77"/>
                  </a:lnTo>
                  <a:lnTo>
                    <a:pt x="55" y="56"/>
                  </a:lnTo>
                  <a:lnTo>
                    <a:pt x="56" y="50"/>
                  </a:lnTo>
                  <a:lnTo>
                    <a:pt x="56" y="33"/>
                  </a:lnTo>
                  <a:lnTo>
                    <a:pt x="57" y="32"/>
                  </a:lnTo>
                  <a:lnTo>
                    <a:pt x="61" y="29"/>
                  </a:lnTo>
                  <a:lnTo>
                    <a:pt x="65" y="22"/>
                  </a:lnTo>
                  <a:lnTo>
                    <a:pt x="70" y="9"/>
                  </a:lnTo>
                  <a:lnTo>
                    <a:pt x="73" y="9"/>
                  </a:lnTo>
                  <a:lnTo>
                    <a:pt x="76" y="7"/>
                  </a:lnTo>
                  <a:lnTo>
                    <a:pt x="83" y="9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109" y="10"/>
                  </a:lnTo>
                  <a:lnTo>
                    <a:pt x="111" y="7"/>
                  </a:lnTo>
                  <a:lnTo>
                    <a:pt x="122" y="5"/>
                  </a:lnTo>
                  <a:lnTo>
                    <a:pt x="131" y="6"/>
                  </a:lnTo>
                  <a:lnTo>
                    <a:pt x="133" y="5"/>
                  </a:lnTo>
                  <a:lnTo>
                    <a:pt x="133" y="1"/>
                  </a:lnTo>
                  <a:lnTo>
                    <a:pt x="135" y="1"/>
                  </a:lnTo>
                  <a:lnTo>
                    <a:pt x="141" y="1"/>
                  </a:lnTo>
                  <a:lnTo>
                    <a:pt x="146" y="0"/>
                  </a:lnTo>
                  <a:lnTo>
                    <a:pt x="152" y="2"/>
                  </a:lnTo>
                  <a:lnTo>
                    <a:pt x="168" y="2"/>
                  </a:lnTo>
                  <a:lnTo>
                    <a:pt x="169" y="4"/>
                  </a:lnTo>
                  <a:lnTo>
                    <a:pt x="174" y="2"/>
                  </a:lnTo>
                  <a:lnTo>
                    <a:pt x="176" y="7"/>
                  </a:lnTo>
                  <a:lnTo>
                    <a:pt x="183" y="9"/>
                  </a:lnTo>
                  <a:lnTo>
                    <a:pt x="194" y="17"/>
                  </a:lnTo>
                  <a:lnTo>
                    <a:pt x="195" y="23"/>
                  </a:lnTo>
                  <a:lnTo>
                    <a:pt x="202" y="31"/>
                  </a:lnTo>
                  <a:lnTo>
                    <a:pt x="206" y="29"/>
                  </a:lnTo>
                  <a:lnTo>
                    <a:pt x="212" y="28"/>
                  </a:lnTo>
                  <a:lnTo>
                    <a:pt x="212" y="32"/>
                  </a:lnTo>
                  <a:lnTo>
                    <a:pt x="216" y="33"/>
                  </a:lnTo>
                  <a:lnTo>
                    <a:pt x="221" y="29"/>
                  </a:lnTo>
                  <a:lnTo>
                    <a:pt x="223" y="29"/>
                  </a:lnTo>
                  <a:lnTo>
                    <a:pt x="233" y="44"/>
                  </a:lnTo>
                  <a:lnTo>
                    <a:pt x="238" y="54"/>
                  </a:lnTo>
                  <a:lnTo>
                    <a:pt x="238" y="58"/>
                  </a:lnTo>
                  <a:lnTo>
                    <a:pt x="242" y="59"/>
                  </a:lnTo>
                  <a:lnTo>
                    <a:pt x="245" y="64"/>
                  </a:lnTo>
                  <a:lnTo>
                    <a:pt x="245" y="66"/>
                  </a:lnTo>
                  <a:lnTo>
                    <a:pt x="248" y="68"/>
                  </a:lnTo>
                  <a:lnTo>
                    <a:pt x="251" y="66"/>
                  </a:lnTo>
                  <a:lnTo>
                    <a:pt x="253" y="66"/>
                  </a:lnTo>
                  <a:lnTo>
                    <a:pt x="255" y="74"/>
                  </a:lnTo>
                  <a:lnTo>
                    <a:pt x="258" y="75"/>
                  </a:lnTo>
                  <a:lnTo>
                    <a:pt x="260" y="79"/>
                  </a:lnTo>
                  <a:lnTo>
                    <a:pt x="256" y="80"/>
                  </a:lnTo>
                  <a:lnTo>
                    <a:pt x="256" y="81"/>
                  </a:lnTo>
                  <a:lnTo>
                    <a:pt x="261" y="82"/>
                  </a:lnTo>
                  <a:lnTo>
                    <a:pt x="264" y="86"/>
                  </a:lnTo>
                  <a:lnTo>
                    <a:pt x="267" y="88"/>
                  </a:lnTo>
                  <a:lnTo>
                    <a:pt x="271" y="88"/>
                  </a:lnTo>
                  <a:lnTo>
                    <a:pt x="277" y="91"/>
                  </a:lnTo>
                  <a:lnTo>
                    <a:pt x="280" y="95"/>
                  </a:lnTo>
                  <a:lnTo>
                    <a:pt x="281" y="99"/>
                  </a:lnTo>
                  <a:lnTo>
                    <a:pt x="283" y="101"/>
                  </a:lnTo>
                  <a:lnTo>
                    <a:pt x="289" y="103"/>
                  </a:lnTo>
                  <a:lnTo>
                    <a:pt x="296" y="109"/>
                  </a:lnTo>
                  <a:lnTo>
                    <a:pt x="298" y="112"/>
                  </a:lnTo>
                  <a:lnTo>
                    <a:pt x="299" y="115"/>
                  </a:lnTo>
                  <a:lnTo>
                    <a:pt x="297" y="123"/>
                  </a:lnTo>
                  <a:lnTo>
                    <a:pt x="297" y="129"/>
                  </a:lnTo>
                  <a:lnTo>
                    <a:pt x="299" y="129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5" y="136"/>
                  </a:lnTo>
                  <a:lnTo>
                    <a:pt x="307" y="144"/>
                  </a:lnTo>
                  <a:lnTo>
                    <a:pt x="307" y="150"/>
                  </a:lnTo>
                  <a:lnTo>
                    <a:pt x="309" y="156"/>
                  </a:lnTo>
                  <a:lnTo>
                    <a:pt x="310" y="160"/>
                  </a:lnTo>
                  <a:lnTo>
                    <a:pt x="305" y="167"/>
                  </a:lnTo>
                  <a:lnTo>
                    <a:pt x="305" y="169"/>
                  </a:lnTo>
                  <a:lnTo>
                    <a:pt x="313" y="181"/>
                  </a:lnTo>
                  <a:lnTo>
                    <a:pt x="315" y="187"/>
                  </a:lnTo>
                  <a:lnTo>
                    <a:pt x="316" y="188"/>
                  </a:lnTo>
                  <a:lnTo>
                    <a:pt x="320" y="188"/>
                  </a:lnTo>
                  <a:lnTo>
                    <a:pt x="323" y="185"/>
                  </a:lnTo>
                  <a:lnTo>
                    <a:pt x="328" y="185"/>
                  </a:lnTo>
                  <a:lnTo>
                    <a:pt x="328" y="189"/>
                  </a:lnTo>
                  <a:lnTo>
                    <a:pt x="331" y="193"/>
                  </a:lnTo>
                  <a:lnTo>
                    <a:pt x="332" y="197"/>
                  </a:lnTo>
                  <a:lnTo>
                    <a:pt x="335" y="199"/>
                  </a:lnTo>
                  <a:lnTo>
                    <a:pt x="337" y="204"/>
                  </a:lnTo>
                  <a:lnTo>
                    <a:pt x="341" y="209"/>
                  </a:lnTo>
                  <a:lnTo>
                    <a:pt x="342" y="212"/>
                  </a:lnTo>
                  <a:lnTo>
                    <a:pt x="341" y="212"/>
                  </a:lnTo>
                  <a:lnTo>
                    <a:pt x="340" y="214"/>
                  </a:lnTo>
                  <a:lnTo>
                    <a:pt x="342" y="217"/>
                  </a:lnTo>
                  <a:lnTo>
                    <a:pt x="342" y="221"/>
                  </a:lnTo>
                  <a:lnTo>
                    <a:pt x="339" y="225"/>
                  </a:lnTo>
                  <a:lnTo>
                    <a:pt x="340" y="232"/>
                  </a:lnTo>
                  <a:lnTo>
                    <a:pt x="344" y="236"/>
                  </a:lnTo>
                  <a:lnTo>
                    <a:pt x="344" y="238"/>
                  </a:lnTo>
                  <a:lnTo>
                    <a:pt x="341" y="239"/>
                  </a:lnTo>
                  <a:lnTo>
                    <a:pt x="331" y="239"/>
                  </a:lnTo>
                  <a:lnTo>
                    <a:pt x="325" y="242"/>
                  </a:lnTo>
                  <a:lnTo>
                    <a:pt x="321" y="242"/>
                  </a:lnTo>
                  <a:lnTo>
                    <a:pt x="310" y="241"/>
                  </a:lnTo>
                  <a:lnTo>
                    <a:pt x="308" y="242"/>
                  </a:lnTo>
                  <a:lnTo>
                    <a:pt x="301" y="242"/>
                  </a:lnTo>
                  <a:lnTo>
                    <a:pt x="293" y="244"/>
                  </a:lnTo>
                  <a:lnTo>
                    <a:pt x="287" y="244"/>
                  </a:lnTo>
                  <a:lnTo>
                    <a:pt x="282" y="242"/>
                  </a:lnTo>
                  <a:lnTo>
                    <a:pt x="278" y="242"/>
                  </a:lnTo>
                  <a:lnTo>
                    <a:pt x="271" y="239"/>
                  </a:lnTo>
                  <a:lnTo>
                    <a:pt x="264" y="239"/>
                  </a:lnTo>
                  <a:lnTo>
                    <a:pt x="258" y="233"/>
                  </a:lnTo>
                  <a:lnTo>
                    <a:pt x="255" y="235"/>
                  </a:lnTo>
                  <a:lnTo>
                    <a:pt x="255" y="238"/>
                  </a:lnTo>
                  <a:lnTo>
                    <a:pt x="248" y="237"/>
                  </a:lnTo>
                  <a:lnTo>
                    <a:pt x="248" y="231"/>
                  </a:lnTo>
                  <a:lnTo>
                    <a:pt x="245" y="228"/>
                  </a:lnTo>
                  <a:lnTo>
                    <a:pt x="237" y="227"/>
                  </a:lnTo>
                  <a:lnTo>
                    <a:pt x="231" y="228"/>
                  </a:lnTo>
                  <a:lnTo>
                    <a:pt x="226" y="225"/>
                  </a:lnTo>
                  <a:lnTo>
                    <a:pt x="212" y="224"/>
                  </a:lnTo>
                  <a:lnTo>
                    <a:pt x="162" y="224"/>
                  </a:lnTo>
                  <a:lnTo>
                    <a:pt x="159" y="225"/>
                  </a:lnTo>
                  <a:lnTo>
                    <a:pt x="135" y="225"/>
                  </a:lnTo>
                  <a:lnTo>
                    <a:pt x="122" y="231"/>
                  </a:lnTo>
                  <a:lnTo>
                    <a:pt x="111" y="236"/>
                  </a:lnTo>
                  <a:lnTo>
                    <a:pt x="102" y="238"/>
                  </a:lnTo>
                  <a:lnTo>
                    <a:pt x="72" y="237"/>
                  </a:lnTo>
                  <a:lnTo>
                    <a:pt x="68" y="239"/>
                  </a:lnTo>
                  <a:lnTo>
                    <a:pt x="57" y="244"/>
                  </a:lnTo>
                  <a:lnTo>
                    <a:pt x="50" y="244"/>
                  </a:lnTo>
                  <a:lnTo>
                    <a:pt x="46" y="243"/>
                  </a:lnTo>
                  <a:lnTo>
                    <a:pt x="45" y="241"/>
                  </a:lnTo>
                  <a:lnTo>
                    <a:pt x="43" y="242"/>
                  </a:lnTo>
                  <a:lnTo>
                    <a:pt x="44" y="241"/>
                  </a:lnTo>
                  <a:lnTo>
                    <a:pt x="41" y="239"/>
                  </a:lnTo>
                  <a:lnTo>
                    <a:pt x="43" y="205"/>
                  </a:lnTo>
                  <a:lnTo>
                    <a:pt x="47" y="199"/>
                  </a:lnTo>
                  <a:lnTo>
                    <a:pt x="86" y="195"/>
                  </a:lnTo>
                  <a:lnTo>
                    <a:pt x="94" y="195"/>
                  </a:lnTo>
                  <a:lnTo>
                    <a:pt x="95" y="195"/>
                  </a:lnTo>
                  <a:lnTo>
                    <a:pt x="98" y="188"/>
                  </a:lnTo>
                  <a:lnTo>
                    <a:pt x="103" y="187"/>
                  </a:lnTo>
                  <a:lnTo>
                    <a:pt x="106" y="188"/>
                  </a:lnTo>
                  <a:lnTo>
                    <a:pt x="119" y="187"/>
                  </a:lnTo>
                  <a:lnTo>
                    <a:pt x="127" y="183"/>
                  </a:lnTo>
                  <a:lnTo>
                    <a:pt x="131" y="178"/>
                  </a:lnTo>
                  <a:lnTo>
                    <a:pt x="133" y="177"/>
                  </a:lnTo>
                  <a:lnTo>
                    <a:pt x="140" y="178"/>
                  </a:lnTo>
                  <a:lnTo>
                    <a:pt x="143" y="182"/>
                  </a:lnTo>
                  <a:lnTo>
                    <a:pt x="151" y="184"/>
                  </a:lnTo>
                  <a:lnTo>
                    <a:pt x="159" y="189"/>
                  </a:lnTo>
                  <a:lnTo>
                    <a:pt x="167" y="190"/>
                  </a:lnTo>
                  <a:lnTo>
                    <a:pt x="175" y="194"/>
                  </a:lnTo>
                  <a:lnTo>
                    <a:pt x="183" y="194"/>
                  </a:lnTo>
                  <a:lnTo>
                    <a:pt x="185" y="195"/>
                  </a:lnTo>
                  <a:lnTo>
                    <a:pt x="191" y="192"/>
                  </a:lnTo>
                  <a:lnTo>
                    <a:pt x="203" y="189"/>
                  </a:lnTo>
                  <a:lnTo>
                    <a:pt x="207" y="185"/>
                  </a:lnTo>
                  <a:lnTo>
                    <a:pt x="207" y="182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3" y="177"/>
                  </a:lnTo>
                  <a:lnTo>
                    <a:pt x="200" y="176"/>
                  </a:lnTo>
                  <a:lnTo>
                    <a:pt x="195" y="176"/>
                  </a:lnTo>
                  <a:lnTo>
                    <a:pt x="191" y="177"/>
                  </a:lnTo>
                  <a:lnTo>
                    <a:pt x="180" y="182"/>
                  </a:lnTo>
                  <a:lnTo>
                    <a:pt x="175" y="181"/>
                  </a:lnTo>
                  <a:lnTo>
                    <a:pt x="169" y="178"/>
                  </a:lnTo>
                  <a:lnTo>
                    <a:pt x="165" y="172"/>
                  </a:lnTo>
                  <a:lnTo>
                    <a:pt x="164" y="171"/>
                  </a:lnTo>
                  <a:lnTo>
                    <a:pt x="152" y="171"/>
                  </a:lnTo>
                  <a:lnTo>
                    <a:pt x="146" y="163"/>
                  </a:lnTo>
                  <a:lnTo>
                    <a:pt x="140" y="162"/>
                  </a:lnTo>
                  <a:lnTo>
                    <a:pt x="137" y="161"/>
                  </a:lnTo>
                  <a:lnTo>
                    <a:pt x="131" y="162"/>
                  </a:lnTo>
                  <a:lnTo>
                    <a:pt x="126" y="165"/>
                  </a:lnTo>
                  <a:lnTo>
                    <a:pt x="120" y="163"/>
                  </a:lnTo>
                  <a:lnTo>
                    <a:pt x="115" y="168"/>
                  </a:lnTo>
                  <a:lnTo>
                    <a:pt x="111" y="174"/>
                  </a:lnTo>
                  <a:lnTo>
                    <a:pt x="55" y="17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8" name="Freeform 48"/>
            <p:cNvSpPr>
              <a:spLocks noChangeAspect="1"/>
            </p:cNvSpPr>
            <p:nvPr/>
          </p:nvSpPr>
          <p:spPr bwMode="gray">
            <a:xfrm>
              <a:off x="3686129" y="4217133"/>
              <a:ext cx="158489" cy="155848"/>
            </a:xfrm>
            <a:custGeom>
              <a:avLst/>
              <a:gdLst/>
              <a:ahLst/>
              <a:cxnLst>
                <a:cxn ang="0">
                  <a:pos x="450" y="144"/>
                </a:cxn>
                <a:cxn ang="0">
                  <a:pos x="521" y="238"/>
                </a:cxn>
                <a:cxn ang="0">
                  <a:pos x="505" y="292"/>
                </a:cxn>
                <a:cxn ang="0">
                  <a:pos x="538" y="325"/>
                </a:cxn>
                <a:cxn ang="0">
                  <a:pos x="537" y="349"/>
                </a:cxn>
                <a:cxn ang="0">
                  <a:pos x="536" y="380"/>
                </a:cxn>
                <a:cxn ang="0">
                  <a:pos x="528" y="402"/>
                </a:cxn>
                <a:cxn ang="0">
                  <a:pos x="542" y="432"/>
                </a:cxn>
                <a:cxn ang="0">
                  <a:pos x="550" y="467"/>
                </a:cxn>
                <a:cxn ang="0">
                  <a:pos x="561" y="488"/>
                </a:cxn>
                <a:cxn ang="0">
                  <a:pos x="587" y="514"/>
                </a:cxn>
                <a:cxn ang="0">
                  <a:pos x="593" y="526"/>
                </a:cxn>
                <a:cxn ang="0">
                  <a:pos x="541" y="557"/>
                </a:cxn>
                <a:cxn ang="0">
                  <a:pos x="476" y="564"/>
                </a:cxn>
                <a:cxn ang="0">
                  <a:pos x="436" y="583"/>
                </a:cxn>
                <a:cxn ang="0">
                  <a:pos x="378" y="589"/>
                </a:cxn>
                <a:cxn ang="0">
                  <a:pos x="355" y="580"/>
                </a:cxn>
                <a:cxn ang="0">
                  <a:pos x="331" y="584"/>
                </a:cxn>
                <a:cxn ang="0">
                  <a:pos x="280" y="567"/>
                </a:cxn>
                <a:cxn ang="0">
                  <a:pos x="270" y="531"/>
                </a:cxn>
                <a:cxn ang="0">
                  <a:pos x="249" y="476"/>
                </a:cxn>
                <a:cxn ang="0">
                  <a:pos x="229" y="473"/>
                </a:cxn>
                <a:cxn ang="0">
                  <a:pos x="208" y="475"/>
                </a:cxn>
                <a:cxn ang="0">
                  <a:pos x="178" y="459"/>
                </a:cxn>
                <a:cxn ang="0">
                  <a:pos x="125" y="440"/>
                </a:cxn>
                <a:cxn ang="0">
                  <a:pos x="95" y="418"/>
                </a:cxn>
                <a:cxn ang="0">
                  <a:pos x="65" y="386"/>
                </a:cxn>
                <a:cxn ang="0">
                  <a:pos x="49" y="328"/>
                </a:cxn>
                <a:cxn ang="0">
                  <a:pos x="11" y="278"/>
                </a:cxn>
                <a:cxn ang="0">
                  <a:pos x="9" y="231"/>
                </a:cxn>
                <a:cxn ang="0">
                  <a:pos x="0" y="187"/>
                </a:cxn>
                <a:cxn ang="0">
                  <a:pos x="39" y="159"/>
                </a:cxn>
                <a:cxn ang="0">
                  <a:pos x="64" y="121"/>
                </a:cxn>
                <a:cxn ang="0">
                  <a:pos x="52" y="102"/>
                </a:cxn>
                <a:cxn ang="0">
                  <a:pos x="49" y="83"/>
                </a:cxn>
                <a:cxn ang="0">
                  <a:pos x="66" y="46"/>
                </a:cxn>
                <a:cxn ang="0">
                  <a:pos x="66" y="5"/>
                </a:cxn>
                <a:cxn ang="0">
                  <a:pos x="119" y="7"/>
                </a:cxn>
                <a:cxn ang="0">
                  <a:pos x="118" y="83"/>
                </a:cxn>
                <a:cxn ang="0">
                  <a:pos x="133" y="88"/>
                </a:cxn>
                <a:cxn ang="0">
                  <a:pos x="148" y="75"/>
                </a:cxn>
                <a:cxn ang="0">
                  <a:pos x="173" y="86"/>
                </a:cxn>
                <a:cxn ang="0">
                  <a:pos x="186" y="84"/>
                </a:cxn>
                <a:cxn ang="0">
                  <a:pos x="214" y="79"/>
                </a:cxn>
                <a:cxn ang="0">
                  <a:pos x="209" y="66"/>
                </a:cxn>
                <a:cxn ang="0">
                  <a:pos x="209" y="48"/>
                </a:cxn>
                <a:cxn ang="0">
                  <a:pos x="225" y="35"/>
                </a:cxn>
                <a:cxn ang="0">
                  <a:pos x="238" y="21"/>
                </a:cxn>
                <a:cxn ang="0">
                  <a:pos x="251" y="0"/>
                </a:cxn>
              </a:cxnLst>
              <a:rect l="0" t="0" r="r" b="b"/>
              <a:pathLst>
                <a:path w="596" h="591">
                  <a:moveTo>
                    <a:pt x="442" y="112"/>
                  </a:moveTo>
                  <a:lnTo>
                    <a:pt x="445" y="117"/>
                  </a:lnTo>
                  <a:lnTo>
                    <a:pt x="445" y="125"/>
                  </a:lnTo>
                  <a:lnTo>
                    <a:pt x="450" y="144"/>
                  </a:lnTo>
                  <a:lnTo>
                    <a:pt x="453" y="155"/>
                  </a:lnTo>
                  <a:lnTo>
                    <a:pt x="531" y="201"/>
                  </a:lnTo>
                  <a:lnTo>
                    <a:pt x="528" y="207"/>
                  </a:lnTo>
                  <a:lnTo>
                    <a:pt x="521" y="238"/>
                  </a:lnTo>
                  <a:lnTo>
                    <a:pt x="517" y="244"/>
                  </a:lnTo>
                  <a:lnTo>
                    <a:pt x="514" y="256"/>
                  </a:lnTo>
                  <a:lnTo>
                    <a:pt x="504" y="281"/>
                  </a:lnTo>
                  <a:lnTo>
                    <a:pt x="505" y="292"/>
                  </a:lnTo>
                  <a:lnTo>
                    <a:pt x="507" y="298"/>
                  </a:lnTo>
                  <a:lnTo>
                    <a:pt x="523" y="309"/>
                  </a:lnTo>
                  <a:lnTo>
                    <a:pt x="530" y="317"/>
                  </a:lnTo>
                  <a:lnTo>
                    <a:pt x="538" y="325"/>
                  </a:lnTo>
                  <a:lnTo>
                    <a:pt x="544" y="336"/>
                  </a:lnTo>
                  <a:lnTo>
                    <a:pt x="544" y="341"/>
                  </a:lnTo>
                  <a:lnTo>
                    <a:pt x="542" y="342"/>
                  </a:lnTo>
                  <a:lnTo>
                    <a:pt x="537" y="349"/>
                  </a:lnTo>
                  <a:lnTo>
                    <a:pt x="536" y="362"/>
                  </a:lnTo>
                  <a:lnTo>
                    <a:pt x="533" y="368"/>
                  </a:lnTo>
                  <a:lnTo>
                    <a:pt x="537" y="374"/>
                  </a:lnTo>
                  <a:lnTo>
                    <a:pt x="536" y="380"/>
                  </a:lnTo>
                  <a:lnTo>
                    <a:pt x="538" y="385"/>
                  </a:lnTo>
                  <a:lnTo>
                    <a:pt x="537" y="395"/>
                  </a:lnTo>
                  <a:lnTo>
                    <a:pt x="531" y="395"/>
                  </a:lnTo>
                  <a:lnTo>
                    <a:pt x="528" y="402"/>
                  </a:lnTo>
                  <a:lnTo>
                    <a:pt x="531" y="412"/>
                  </a:lnTo>
                  <a:lnTo>
                    <a:pt x="537" y="425"/>
                  </a:lnTo>
                  <a:lnTo>
                    <a:pt x="542" y="429"/>
                  </a:lnTo>
                  <a:lnTo>
                    <a:pt x="542" y="432"/>
                  </a:lnTo>
                  <a:lnTo>
                    <a:pt x="538" y="435"/>
                  </a:lnTo>
                  <a:lnTo>
                    <a:pt x="550" y="455"/>
                  </a:lnTo>
                  <a:lnTo>
                    <a:pt x="552" y="460"/>
                  </a:lnTo>
                  <a:lnTo>
                    <a:pt x="550" y="467"/>
                  </a:lnTo>
                  <a:lnTo>
                    <a:pt x="555" y="472"/>
                  </a:lnTo>
                  <a:lnTo>
                    <a:pt x="558" y="478"/>
                  </a:lnTo>
                  <a:lnTo>
                    <a:pt x="558" y="484"/>
                  </a:lnTo>
                  <a:lnTo>
                    <a:pt x="561" y="488"/>
                  </a:lnTo>
                  <a:lnTo>
                    <a:pt x="561" y="497"/>
                  </a:lnTo>
                  <a:lnTo>
                    <a:pt x="573" y="503"/>
                  </a:lnTo>
                  <a:lnTo>
                    <a:pt x="577" y="513"/>
                  </a:lnTo>
                  <a:lnTo>
                    <a:pt x="587" y="514"/>
                  </a:lnTo>
                  <a:lnTo>
                    <a:pt x="592" y="518"/>
                  </a:lnTo>
                  <a:lnTo>
                    <a:pt x="595" y="519"/>
                  </a:lnTo>
                  <a:lnTo>
                    <a:pt x="596" y="525"/>
                  </a:lnTo>
                  <a:lnTo>
                    <a:pt x="593" y="526"/>
                  </a:lnTo>
                  <a:lnTo>
                    <a:pt x="579" y="536"/>
                  </a:lnTo>
                  <a:lnTo>
                    <a:pt x="564" y="550"/>
                  </a:lnTo>
                  <a:lnTo>
                    <a:pt x="560" y="552"/>
                  </a:lnTo>
                  <a:lnTo>
                    <a:pt x="541" y="557"/>
                  </a:lnTo>
                  <a:lnTo>
                    <a:pt x="507" y="569"/>
                  </a:lnTo>
                  <a:lnTo>
                    <a:pt x="499" y="570"/>
                  </a:lnTo>
                  <a:lnTo>
                    <a:pt x="489" y="570"/>
                  </a:lnTo>
                  <a:lnTo>
                    <a:pt x="476" y="564"/>
                  </a:lnTo>
                  <a:lnTo>
                    <a:pt x="467" y="567"/>
                  </a:lnTo>
                  <a:lnTo>
                    <a:pt x="453" y="568"/>
                  </a:lnTo>
                  <a:lnTo>
                    <a:pt x="440" y="581"/>
                  </a:lnTo>
                  <a:lnTo>
                    <a:pt x="436" y="583"/>
                  </a:lnTo>
                  <a:lnTo>
                    <a:pt x="429" y="583"/>
                  </a:lnTo>
                  <a:lnTo>
                    <a:pt x="398" y="581"/>
                  </a:lnTo>
                  <a:lnTo>
                    <a:pt x="387" y="589"/>
                  </a:lnTo>
                  <a:lnTo>
                    <a:pt x="378" y="589"/>
                  </a:lnTo>
                  <a:lnTo>
                    <a:pt x="371" y="591"/>
                  </a:lnTo>
                  <a:lnTo>
                    <a:pt x="366" y="590"/>
                  </a:lnTo>
                  <a:lnTo>
                    <a:pt x="361" y="588"/>
                  </a:lnTo>
                  <a:lnTo>
                    <a:pt x="355" y="580"/>
                  </a:lnTo>
                  <a:lnTo>
                    <a:pt x="348" y="578"/>
                  </a:lnTo>
                  <a:lnTo>
                    <a:pt x="340" y="578"/>
                  </a:lnTo>
                  <a:lnTo>
                    <a:pt x="334" y="583"/>
                  </a:lnTo>
                  <a:lnTo>
                    <a:pt x="331" y="584"/>
                  </a:lnTo>
                  <a:lnTo>
                    <a:pt x="290" y="583"/>
                  </a:lnTo>
                  <a:lnTo>
                    <a:pt x="290" y="579"/>
                  </a:lnTo>
                  <a:lnTo>
                    <a:pt x="285" y="570"/>
                  </a:lnTo>
                  <a:lnTo>
                    <a:pt x="280" y="567"/>
                  </a:lnTo>
                  <a:lnTo>
                    <a:pt x="275" y="559"/>
                  </a:lnTo>
                  <a:lnTo>
                    <a:pt x="274" y="557"/>
                  </a:lnTo>
                  <a:lnTo>
                    <a:pt x="275" y="538"/>
                  </a:lnTo>
                  <a:lnTo>
                    <a:pt x="270" y="531"/>
                  </a:lnTo>
                  <a:lnTo>
                    <a:pt x="269" y="513"/>
                  </a:lnTo>
                  <a:lnTo>
                    <a:pt x="264" y="494"/>
                  </a:lnTo>
                  <a:lnTo>
                    <a:pt x="261" y="487"/>
                  </a:lnTo>
                  <a:lnTo>
                    <a:pt x="249" y="476"/>
                  </a:lnTo>
                  <a:lnTo>
                    <a:pt x="237" y="472"/>
                  </a:lnTo>
                  <a:lnTo>
                    <a:pt x="232" y="480"/>
                  </a:lnTo>
                  <a:lnTo>
                    <a:pt x="230" y="476"/>
                  </a:lnTo>
                  <a:lnTo>
                    <a:pt x="229" y="473"/>
                  </a:lnTo>
                  <a:lnTo>
                    <a:pt x="226" y="472"/>
                  </a:lnTo>
                  <a:lnTo>
                    <a:pt x="221" y="472"/>
                  </a:lnTo>
                  <a:lnTo>
                    <a:pt x="210" y="476"/>
                  </a:lnTo>
                  <a:lnTo>
                    <a:pt x="208" y="475"/>
                  </a:lnTo>
                  <a:lnTo>
                    <a:pt x="203" y="468"/>
                  </a:lnTo>
                  <a:lnTo>
                    <a:pt x="193" y="470"/>
                  </a:lnTo>
                  <a:lnTo>
                    <a:pt x="182" y="462"/>
                  </a:lnTo>
                  <a:lnTo>
                    <a:pt x="178" y="459"/>
                  </a:lnTo>
                  <a:lnTo>
                    <a:pt x="176" y="456"/>
                  </a:lnTo>
                  <a:lnTo>
                    <a:pt x="165" y="456"/>
                  </a:lnTo>
                  <a:lnTo>
                    <a:pt x="154" y="452"/>
                  </a:lnTo>
                  <a:lnTo>
                    <a:pt x="125" y="440"/>
                  </a:lnTo>
                  <a:lnTo>
                    <a:pt x="117" y="438"/>
                  </a:lnTo>
                  <a:lnTo>
                    <a:pt x="109" y="434"/>
                  </a:lnTo>
                  <a:lnTo>
                    <a:pt x="105" y="427"/>
                  </a:lnTo>
                  <a:lnTo>
                    <a:pt x="95" y="418"/>
                  </a:lnTo>
                  <a:lnTo>
                    <a:pt x="87" y="416"/>
                  </a:lnTo>
                  <a:lnTo>
                    <a:pt x="81" y="417"/>
                  </a:lnTo>
                  <a:lnTo>
                    <a:pt x="70" y="398"/>
                  </a:lnTo>
                  <a:lnTo>
                    <a:pt x="65" y="386"/>
                  </a:lnTo>
                  <a:lnTo>
                    <a:pt x="58" y="374"/>
                  </a:lnTo>
                  <a:lnTo>
                    <a:pt x="49" y="352"/>
                  </a:lnTo>
                  <a:lnTo>
                    <a:pt x="50" y="338"/>
                  </a:lnTo>
                  <a:lnTo>
                    <a:pt x="49" y="328"/>
                  </a:lnTo>
                  <a:lnTo>
                    <a:pt x="31" y="310"/>
                  </a:lnTo>
                  <a:lnTo>
                    <a:pt x="9" y="298"/>
                  </a:lnTo>
                  <a:lnTo>
                    <a:pt x="6" y="284"/>
                  </a:lnTo>
                  <a:lnTo>
                    <a:pt x="11" y="278"/>
                  </a:lnTo>
                  <a:lnTo>
                    <a:pt x="15" y="272"/>
                  </a:lnTo>
                  <a:lnTo>
                    <a:pt x="11" y="258"/>
                  </a:lnTo>
                  <a:lnTo>
                    <a:pt x="9" y="246"/>
                  </a:lnTo>
                  <a:lnTo>
                    <a:pt x="9" y="231"/>
                  </a:lnTo>
                  <a:lnTo>
                    <a:pt x="5" y="225"/>
                  </a:lnTo>
                  <a:lnTo>
                    <a:pt x="1" y="222"/>
                  </a:lnTo>
                  <a:lnTo>
                    <a:pt x="0" y="206"/>
                  </a:lnTo>
                  <a:lnTo>
                    <a:pt x="0" y="187"/>
                  </a:lnTo>
                  <a:lnTo>
                    <a:pt x="3" y="186"/>
                  </a:lnTo>
                  <a:lnTo>
                    <a:pt x="14" y="183"/>
                  </a:lnTo>
                  <a:lnTo>
                    <a:pt x="28" y="179"/>
                  </a:lnTo>
                  <a:lnTo>
                    <a:pt x="39" y="159"/>
                  </a:lnTo>
                  <a:lnTo>
                    <a:pt x="44" y="153"/>
                  </a:lnTo>
                  <a:lnTo>
                    <a:pt x="50" y="139"/>
                  </a:lnTo>
                  <a:lnTo>
                    <a:pt x="60" y="127"/>
                  </a:lnTo>
                  <a:lnTo>
                    <a:pt x="64" y="121"/>
                  </a:lnTo>
                  <a:lnTo>
                    <a:pt x="64" y="113"/>
                  </a:lnTo>
                  <a:lnTo>
                    <a:pt x="62" y="107"/>
                  </a:lnTo>
                  <a:lnTo>
                    <a:pt x="58" y="104"/>
                  </a:lnTo>
                  <a:lnTo>
                    <a:pt x="52" y="102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8" y="89"/>
                  </a:lnTo>
                  <a:lnTo>
                    <a:pt x="49" y="83"/>
                  </a:lnTo>
                  <a:lnTo>
                    <a:pt x="54" y="78"/>
                  </a:lnTo>
                  <a:lnTo>
                    <a:pt x="65" y="63"/>
                  </a:lnTo>
                  <a:lnTo>
                    <a:pt x="68" y="53"/>
                  </a:lnTo>
                  <a:lnTo>
                    <a:pt x="66" y="46"/>
                  </a:lnTo>
                  <a:lnTo>
                    <a:pt x="62" y="31"/>
                  </a:lnTo>
                  <a:lnTo>
                    <a:pt x="49" y="10"/>
                  </a:lnTo>
                  <a:lnTo>
                    <a:pt x="44" y="3"/>
                  </a:lnTo>
                  <a:lnTo>
                    <a:pt x="66" y="5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118" y="0"/>
                  </a:lnTo>
                  <a:lnTo>
                    <a:pt x="119" y="7"/>
                  </a:lnTo>
                  <a:lnTo>
                    <a:pt x="118" y="26"/>
                  </a:lnTo>
                  <a:lnTo>
                    <a:pt x="114" y="40"/>
                  </a:lnTo>
                  <a:lnTo>
                    <a:pt x="113" y="61"/>
                  </a:lnTo>
                  <a:lnTo>
                    <a:pt x="118" y="83"/>
                  </a:lnTo>
                  <a:lnTo>
                    <a:pt x="117" y="90"/>
                  </a:lnTo>
                  <a:lnTo>
                    <a:pt x="122" y="99"/>
                  </a:lnTo>
                  <a:lnTo>
                    <a:pt x="129" y="95"/>
                  </a:lnTo>
                  <a:lnTo>
                    <a:pt x="133" y="88"/>
                  </a:lnTo>
                  <a:lnTo>
                    <a:pt x="139" y="86"/>
                  </a:lnTo>
                  <a:lnTo>
                    <a:pt x="138" y="78"/>
                  </a:lnTo>
                  <a:lnTo>
                    <a:pt x="143" y="72"/>
                  </a:lnTo>
                  <a:lnTo>
                    <a:pt x="148" y="75"/>
                  </a:lnTo>
                  <a:lnTo>
                    <a:pt x="157" y="85"/>
                  </a:lnTo>
                  <a:lnTo>
                    <a:pt x="163" y="90"/>
                  </a:lnTo>
                  <a:lnTo>
                    <a:pt x="170" y="86"/>
                  </a:lnTo>
                  <a:lnTo>
                    <a:pt x="173" y="86"/>
                  </a:lnTo>
                  <a:lnTo>
                    <a:pt x="176" y="107"/>
                  </a:lnTo>
                  <a:lnTo>
                    <a:pt x="183" y="101"/>
                  </a:lnTo>
                  <a:lnTo>
                    <a:pt x="182" y="94"/>
                  </a:lnTo>
                  <a:lnTo>
                    <a:pt x="186" y="84"/>
                  </a:lnTo>
                  <a:lnTo>
                    <a:pt x="189" y="83"/>
                  </a:lnTo>
                  <a:lnTo>
                    <a:pt x="200" y="83"/>
                  </a:lnTo>
                  <a:lnTo>
                    <a:pt x="205" y="83"/>
                  </a:lnTo>
                  <a:lnTo>
                    <a:pt x="214" y="79"/>
                  </a:lnTo>
                  <a:lnTo>
                    <a:pt x="225" y="72"/>
                  </a:lnTo>
                  <a:lnTo>
                    <a:pt x="226" y="69"/>
                  </a:lnTo>
                  <a:lnTo>
                    <a:pt x="224" y="64"/>
                  </a:lnTo>
                  <a:lnTo>
                    <a:pt x="209" y="66"/>
                  </a:lnTo>
                  <a:lnTo>
                    <a:pt x="200" y="62"/>
                  </a:lnTo>
                  <a:lnTo>
                    <a:pt x="202" y="58"/>
                  </a:lnTo>
                  <a:lnTo>
                    <a:pt x="211" y="52"/>
                  </a:lnTo>
                  <a:lnTo>
                    <a:pt x="209" y="48"/>
                  </a:lnTo>
                  <a:lnTo>
                    <a:pt x="211" y="46"/>
                  </a:lnTo>
                  <a:lnTo>
                    <a:pt x="219" y="46"/>
                  </a:lnTo>
                  <a:lnTo>
                    <a:pt x="220" y="42"/>
                  </a:lnTo>
                  <a:lnTo>
                    <a:pt x="225" y="35"/>
                  </a:lnTo>
                  <a:lnTo>
                    <a:pt x="226" y="30"/>
                  </a:lnTo>
                  <a:lnTo>
                    <a:pt x="231" y="29"/>
                  </a:lnTo>
                  <a:lnTo>
                    <a:pt x="234" y="20"/>
                  </a:lnTo>
                  <a:lnTo>
                    <a:pt x="238" y="21"/>
                  </a:lnTo>
                  <a:lnTo>
                    <a:pt x="240" y="18"/>
                  </a:lnTo>
                  <a:lnTo>
                    <a:pt x="236" y="12"/>
                  </a:lnTo>
                  <a:lnTo>
                    <a:pt x="240" y="5"/>
                  </a:lnTo>
                  <a:lnTo>
                    <a:pt x="251" y="0"/>
                  </a:lnTo>
                  <a:lnTo>
                    <a:pt x="442" y="11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69" name="Freeform 49"/>
            <p:cNvSpPr>
              <a:spLocks noChangeAspect="1"/>
            </p:cNvSpPr>
            <p:nvPr/>
          </p:nvSpPr>
          <p:spPr bwMode="gray">
            <a:xfrm>
              <a:off x="3064060" y="4058643"/>
              <a:ext cx="43584" cy="43584"/>
            </a:xfrm>
            <a:custGeom>
              <a:avLst/>
              <a:gdLst/>
              <a:ahLst/>
              <a:cxnLst>
                <a:cxn ang="0">
                  <a:pos x="8" y="51"/>
                </a:cxn>
                <a:cxn ang="0">
                  <a:pos x="17" y="50"/>
                </a:cxn>
                <a:cxn ang="0">
                  <a:pos x="23" y="39"/>
                </a:cxn>
                <a:cxn ang="0">
                  <a:pos x="32" y="37"/>
                </a:cxn>
                <a:cxn ang="0">
                  <a:pos x="37" y="31"/>
                </a:cxn>
                <a:cxn ang="0">
                  <a:pos x="46" y="16"/>
                </a:cxn>
                <a:cxn ang="0">
                  <a:pos x="49" y="6"/>
                </a:cxn>
                <a:cxn ang="0">
                  <a:pos x="61" y="7"/>
                </a:cxn>
                <a:cxn ang="0">
                  <a:pos x="70" y="5"/>
                </a:cxn>
                <a:cxn ang="0">
                  <a:pos x="76" y="0"/>
                </a:cxn>
                <a:cxn ang="0">
                  <a:pos x="115" y="1"/>
                </a:cxn>
                <a:cxn ang="0">
                  <a:pos x="125" y="12"/>
                </a:cxn>
                <a:cxn ang="0">
                  <a:pos x="134" y="21"/>
                </a:cxn>
                <a:cxn ang="0">
                  <a:pos x="136" y="27"/>
                </a:cxn>
                <a:cxn ang="0">
                  <a:pos x="135" y="32"/>
                </a:cxn>
                <a:cxn ang="0">
                  <a:pos x="145" y="35"/>
                </a:cxn>
                <a:cxn ang="0">
                  <a:pos x="143" y="40"/>
                </a:cxn>
                <a:cxn ang="0">
                  <a:pos x="143" y="45"/>
                </a:cxn>
                <a:cxn ang="0">
                  <a:pos x="146" y="53"/>
                </a:cxn>
                <a:cxn ang="0">
                  <a:pos x="152" y="60"/>
                </a:cxn>
                <a:cxn ang="0">
                  <a:pos x="153" y="71"/>
                </a:cxn>
                <a:cxn ang="0">
                  <a:pos x="146" y="85"/>
                </a:cxn>
                <a:cxn ang="0">
                  <a:pos x="143" y="92"/>
                </a:cxn>
                <a:cxn ang="0">
                  <a:pos x="162" y="82"/>
                </a:cxn>
                <a:cxn ang="0">
                  <a:pos x="164" y="85"/>
                </a:cxn>
                <a:cxn ang="0">
                  <a:pos x="163" y="93"/>
                </a:cxn>
                <a:cxn ang="0">
                  <a:pos x="167" y="98"/>
                </a:cxn>
                <a:cxn ang="0">
                  <a:pos x="152" y="105"/>
                </a:cxn>
                <a:cxn ang="0">
                  <a:pos x="150" y="123"/>
                </a:cxn>
                <a:cxn ang="0">
                  <a:pos x="143" y="129"/>
                </a:cxn>
                <a:cxn ang="0">
                  <a:pos x="136" y="136"/>
                </a:cxn>
                <a:cxn ang="0">
                  <a:pos x="121" y="146"/>
                </a:cxn>
                <a:cxn ang="0">
                  <a:pos x="113" y="148"/>
                </a:cxn>
                <a:cxn ang="0">
                  <a:pos x="112" y="156"/>
                </a:cxn>
                <a:cxn ang="0">
                  <a:pos x="108" y="163"/>
                </a:cxn>
                <a:cxn ang="0">
                  <a:pos x="102" y="166"/>
                </a:cxn>
                <a:cxn ang="0">
                  <a:pos x="61" y="147"/>
                </a:cxn>
                <a:cxn ang="0">
                  <a:pos x="51" y="140"/>
                </a:cxn>
                <a:cxn ang="0">
                  <a:pos x="32" y="124"/>
                </a:cxn>
                <a:cxn ang="0">
                  <a:pos x="23" y="118"/>
                </a:cxn>
                <a:cxn ang="0">
                  <a:pos x="22" y="110"/>
                </a:cxn>
                <a:cxn ang="0">
                  <a:pos x="16" y="102"/>
                </a:cxn>
                <a:cxn ang="0">
                  <a:pos x="5" y="93"/>
                </a:cxn>
                <a:cxn ang="0">
                  <a:pos x="8" y="86"/>
                </a:cxn>
                <a:cxn ang="0">
                  <a:pos x="13" y="87"/>
                </a:cxn>
                <a:cxn ang="0">
                  <a:pos x="11" y="82"/>
                </a:cxn>
                <a:cxn ang="0">
                  <a:pos x="5" y="78"/>
                </a:cxn>
                <a:cxn ang="0">
                  <a:pos x="5" y="65"/>
                </a:cxn>
                <a:cxn ang="0">
                  <a:pos x="0" y="60"/>
                </a:cxn>
                <a:cxn ang="0">
                  <a:pos x="2" y="49"/>
                </a:cxn>
              </a:cxnLst>
              <a:rect l="0" t="0" r="r" b="b"/>
              <a:pathLst>
                <a:path w="167" h="166">
                  <a:moveTo>
                    <a:pt x="2" y="49"/>
                  </a:moveTo>
                  <a:lnTo>
                    <a:pt x="8" y="51"/>
                  </a:lnTo>
                  <a:lnTo>
                    <a:pt x="14" y="51"/>
                  </a:lnTo>
                  <a:lnTo>
                    <a:pt x="17" y="50"/>
                  </a:lnTo>
                  <a:lnTo>
                    <a:pt x="19" y="49"/>
                  </a:lnTo>
                  <a:lnTo>
                    <a:pt x="23" y="39"/>
                  </a:lnTo>
                  <a:lnTo>
                    <a:pt x="28" y="39"/>
                  </a:lnTo>
                  <a:lnTo>
                    <a:pt x="32" y="37"/>
                  </a:lnTo>
                  <a:lnTo>
                    <a:pt x="32" y="32"/>
                  </a:lnTo>
                  <a:lnTo>
                    <a:pt x="37" y="31"/>
                  </a:lnTo>
                  <a:lnTo>
                    <a:pt x="43" y="23"/>
                  </a:lnTo>
                  <a:lnTo>
                    <a:pt x="46" y="16"/>
                  </a:lnTo>
                  <a:lnTo>
                    <a:pt x="45" y="7"/>
                  </a:lnTo>
                  <a:lnTo>
                    <a:pt x="49" y="6"/>
                  </a:lnTo>
                  <a:lnTo>
                    <a:pt x="57" y="5"/>
                  </a:lnTo>
                  <a:lnTo>
                    <a:pt x="61" y="7"/>
                  </a:lnTo>
                  <a:lnTo>
                    <a:pt x="65" y="7"/>
                  </a:lnTo>
                  <a:lnTo>
                    <a:pt x="70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102" y="0"/>
                  </a:lnTo>
                  <a:lnTo>
                    <a:pt x="115" y="1"/>
                  </a:lnTo>
                  <a:lnTo>
                    <a:pt x="119" y="8"/>
                  </a:lnTo>
                  <a:lnTo>
                    <a:pt x="125" y="12"/>
                  </a:lnTo>
                  <a:lnTo>
                    <a:pt x="129" y="17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7"/>
                  </a:lnTo>
                  <a:lnTo>
                    <a:pt x="135" y="29"/>
                  </a:lnTo>
                  <a:lnTo>
                    <a:pt x="135" y="32"/>
                  </a:lnTo>
                  <a:lnTo>
                    <a:pt x="142" y="34"/>
                  </a:lnTo>
                  <a:lnTo>
                    <a:pt x="145" y="35"/>
                  </a:lnTo>
                  <a:lnTo>
                    <a:pt x="145" y="38"/>
                  </a:lnTo>
                  <a:lnTo>
                    <a:pt x="143" y="40"/>
                  </a:lnTo>
                  <a:lnTo>
                    <a:pt x="145" y="45"/>
                  </a:lnTo>
                  <a:lnTo>
                    <a:pt x="143" y="45"/>
                  </a:lnTo>
                  <a:lnTo>
                    <a:pt x="145" y="50"/>
                  </a:lnTo>
                  <a:lnTo>
                    <a:pt x="146" y="53"/>
                  </a:lnTo>
                  <a:lnTo>
                    <a:pt x="151" y="56"/>
                  </a:lnTo>
                  <a:lnTo>
                    <a:pt x="152" y="60"/>
                  </a:lnTo>
                  <a:lnTo>
                    <a:pt x="155" y="70"/>
                  </a:lnTo>
                  <a:lnTo>
                    <a:pt x="153" y="71"/>
                  </a:lnTo>
                  <a:lnTo>
                    <a:pt x="148" y="74"/>
                  </a:lnTo>
                  <a:lnTo>
                    <a:pt x="146" y="85"/>
                  </a:lnTo>
                  <a:lnTo>
                    <a:pt x="143" y="90"/>
                  </a:lnTo>
                  <a:lnTo>
                    <a:pt x="143" y="92"/>
                  </a:lnTo>
                  <a:lnTo>
                    <a:pt x="156" y="87"/>
                  </a:lnTo>
                  <a:lnTo>
                    <a:pt x="162" y="82"/>
                  </a:lnTo>
                  <a:lnTo>
                    <a:pt x="163" y="82"/>
                  </a:lnTo>
                  <a:lnTo>
                    <a:pt x="164" y="85"/>
                  </a:lnTo>
                  <a:lnTo>
                    <a:pt x="164" y="88"/>
                  </a:lnTo>
                  <a:lnTo>
                    <a:pt x="163" y="93"/>
                  </a:lnTo>
                  <a:lnTo>
                    <a:pt x="167" y="97"/>
                  </a:lnTo>
                  <a:lnTo>
                    <a:pt x="167" y="98"/>
                  </a:lnTo>
                  <a:lnTo>
                    <a:pt x="157" y="99"/>
                  </a:lnTo>
                  <a:lnTo>
                    <a:pt x="152" y="105"/>
                  </a:lnTo>
                  <a:lnTo>
                    <a:pt x="150" y="107"/>
                  </a:lnTo>
                  <a:lnTo>
                    <a:pt x="150" y="123"/>
                  </a:lnTo>
                  <a:lnTo>
                    <a:pt x="146" y="124"/>
                  </a:lnTo>
                  <a:lnTo>
                    <a:pt x="143" y="129"/>
                  </a:lnTo>
                  <a:lnTo>
                    <a:pt x="140" y="129"/>
                  </a:lnTo>
                  <a:lnTo>
                    <a:pt x="136" y="136"/>
                  </a:lnTo>
                  <a:lnTo>
                    <a:pt x="130" y="137"/>
                  </a:lnTo>
                  <a:lnTo>
                    <a:pt x="121" y="146"/>
                  </a:lnTo>
                  <a:lnTo>
                    <a:pt x="118" y="148"/>
                  </a:lnTo>
                  <a:lnTo>
                    <a:pt x="113" y="148"/>
                  </a:lnTo>
                  <a:lnTo>
                    <a:pt x="112" y="151"/>
                  </a:lnTo>
                  <a:lnTo>
                    <a:pt x="112" y="156"/>
                  </a:lnTo>
                  <a:lnTo>
                    <a:pt x="109" y="157"/>
                  </a:lnTo>
                  <a:lnTo>
                    <a:pt x="108" y="163"/>
                  </a:lnTo>
                  <a:lnTo>
                    <a:pt x="103" y="166"/>
                  </a:lnTo>
                  <a:lnTo>
                    <a:pt x="102" y="166"/>
                  </a:lnTo>
                  <a:lnTo>
                    <a:pt x="91" y="163"/>
                  </a:lnTo>
                  <a:lnTo>
                    <a:pt x="61" y="147"/>
                  </a:lnTo>
                  <a:lnTo>
                    <a:pt x="53" y="146"/>
                  </a:lnTo>
                  <a:lnTo>
                    <a:pt x="51" y="140"/>
                  </a:lnTo>
                  <a:lnTo>
                    <a:pt x="48" y="135"/>
                  </a:lnTo>
                  <a:lnTo>
                    <a:pt x="32" y="124"/>
                  </a:lnTo>
                  <a:lnTo>
                    <a:pt x="24" y="120"/>
                  </a:lnTo>
                  <a:lnTo>
                    <a:pt x="23" y="118"/>
                  </a:lnTo>
                  <a:lnTo>
                    <a:pt x="23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16" y="102"/>
                  </a:lnTo>
                  <a:lnTo>
                    <a:pt x="10" y="102"/>
                  </a:lnTo>
                  <a:lnTo>
                    <a:pt x="5" y="93"/>
                  </a:lnTo>
                  <a:lnTo>
                    <a:pt x="5" y="86"/>
                  </a:lnTo>
                  <a:lnTo>
                    <a:pt x="8" y="86"/>
                  </a:lnTo>
                  <a:lnTo>
                    <a:pt x="10" y="87"/>
                  </a:lnTo>
                  <a:lnTo>
                    <a:pt x="13" y="87"/>
                  </a:lnTo>
                  <a:lnTo>
                    <a:pt x="13" y="86"/>
                  </a:lnTo>
                  <a:lnTo>
                    <a:pt x="11" y="82"/>
                  </a:lnTo>
                  <a:lnTo>
                    <a:pt x="7" y="81"/>
                  </a:lnTo>
                  <a:lnTo>
                    <a:pt x="5" y="78"/>
                  </a:lnTo>
                  <a:lnTo>
                    <a:pt x="6" y="71"/>
                  </a:lnTo>
                  <a:lnTo>
                    <a:pt x="5" y="65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2" y="4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0" name="Freeform 50"/>
            <p:cNvSpPr>
              <a:spLocks noChangeAspect="1"/>
            </p:cNvSpPr>
            <p:nvPr/>
          </p:nvSpPr>
          <p:spPr bwMode="gray">
            <a:xfrm>
              <a:off x="3132738" y="4048077"/>
              <a:ext cx="88490" cy="92452"/>
            </a:xfrm>
            <a:custGeom>
              <a:avLst/>
              <a:gdLst/>
              <a:ahLst/>
              <a:cxnLst>
                <a:cxn ang="0">
                  <a:pos x="97" y="342"/>
                </a:cxn>
                <a:cxn ang="0">
                  <a:pos x="173" y="317"/>
                </a:cxn>
                <a:cxn ang="0">
                  <a:pos x="258" y="307"/>
                </a:cxn>
                <a:cxn ang="0">
                  <a:pos x="301" y="315"/>
                </a:cxn>
                <a:cxn ang="0">
                  <a:pos x="317" y="310"/>
                </a:cxn>
                <a:cxn ang="0">
                  <a:pos x="318" y="280"/>
                </a:cxn>
                <a:cxn ang="0">
                  <a:pos x="296" y="238"/>
                </a:cxn>
                <a:cxn ang="0">
                  <a:pos x="307" y="199"/>
                </a:cxn>
                <a:cxn ang="0">
                  <a:pos x="318" y="161"/>
                </a:cxn>
                <a:cxn ang="0">
                  <a:pos x="332" y="144"/>
                </a:cxn>
                <a:cxn ang="0">
                  <a:pos x="327" y="95"/>
                </a:cxn>
                <a:cxn ang="0">
                  <a:pos x="326" y="82"/>
                </a:cxn>
                <a:cxn ang="0">
                  <a:pos x="322" y="70"/>
                </a:cxn>
                <a:cxn ang="0">
                  <a:pos x="307" y="54"/>
                </a:cxn>
                <a:cxn ang="0">
                  <a:pos x="290" y="48"/>
                </a:cxn>
                <a:cxn ang="0">
                  <a:pos x="250" y="49"/>
                </a:cxn>
                <a:cxn ang="0">
                  <a:pos x="230" y="61"/>
                </a:cxn>
                <a:cxn ang="0">
                  <a:pos x="218" y="57"/>
                </a:cxn>
                <a:cxn ang="0">
                  <a:pos x="205" y="50"/>
                </a:cxn>
                <a:cxn ang="0">
                  <a:pos x="197" y="39"/>
                </a:cxn>
                <a:cxn ang="0">
                  <a:pos x="188" y="30"/>
                </a:cxn>
                <a:cxn ang="0">
                  <a:pos x="173" y="25"/>
                </a:cxn>
                <a:cxn ang="0">
                  <a:pos x="154" y="16"/>
                </a:cxn>
                <a:cxn ang="0">
                  <a:pos x="140" y="27"/>
                </a:cxn>
                <a:cxn ang="0">
                  <a:pos x="129" y="10"/>
                </a:cxn>
                <a:cxn ang="0">
                  <a:pos x="124" y="1"/>
                </a:cxn>
                <a:cxn ang="0">
                  <a:pos x="108" y="5"/>
                </a:cxn>
                <a:cxn ang="0">
                  <a:pos x="105" y="18"/>
                </a:cxn>
                <a:cxn ang="0">
                  <a:pos x="86" y="27"/>
                </a:cxn>
                <a:cxn ang="0">
                  <a:pos x="73" y="25"/>
                </a:cxn>
                <a:cxn ang="0">
                  <a:pos x="65" y="27"/>
                </a:cxn>
                <a:cxn ang="0">
                  <a:pos x="53" y="18"/>
                </a:cxn>
                <a:cxn ang="0">
                  <a:pos x="42" y="25"/>
                </a:cxn>
                <a:cxn ang="0">
                  <a:pos x="26" y="39"/>
                </a:cxn>
                <a:cxn ang="0">
                  <a:pos x="24" y="70"/>
                </a:cxn>
                <a:cxn ang="0">
                  <a:pos x="37" y="90"/>
                </a:cxn>
                <a:cxn ang="0">
                  <a:pos x="42" y="97"/>
                </a:cxn>
                <a:cxn ang="0">
                  <a:pos x="41" y="111"/>
                </a:cxn>
                <a:cxn ang="0">
                  <a:pos x="47" y="125"/>
                </a:cxn>
                <a:cxn ang="0">
                  <a:pos x="41" y="129"/>
                </a:cxn>
                <a:cxn ang="0">
                  <a:pos x="17" y="128"/>
                </a:cxn>
                <a:cxn ang="0">
                  <a:pos x="17" y="139"/>
                </a:cxn>
                <a:cxn ang="0">
                  <a:pos x="31" y="145"/>
                </a:cxn>
                <a:cxn ang="0">
                  <a:pos x="28" y="152"/>
                </a:cxn>
                <a:cxn ang="0">
                  <a:pos x="22" y="177"/>
                </a:cxn>
                <a:cxn ang="0">
                  <a:pos x="8" y="192"/>
                </a:cxn>
                <a:cxn ang="0">
                  <a:pos x="17" y="202"/>
                </a:cxn>
                <a:cxn ang="0">
                  <a:pos x="0" y="233"/>
                </a:cxn>
                <a:cxn ang="0">
                  <a:pos x="8" y="236"/>
                </a:cxn>
                <a:cxn ang="0">
                  <a:pos x="22" y="245"/>
                </a:cxn>
                <a:cxn ang="0">
                  <a:pos x="38" y="256"/>
                </a:cxn>
                <a:cxn ang="0">
                  <a:pos x="52" y="267"/>
                </a:cxn>
                <a:cxn ang="0">
                  <a:pos x="65" y="280"/>
                </a:cxn>
                <a:cxn ang="0">
                  <a:pos x="66" y="300"/>
                </a:cxn>
                <a:cxn ang="0">
                  <a:pos x="57" y="311"/>
                </a:cxn>
                <a:cxn ang="0">
                  <a:pos x="57" y="350"/>
                </a:cxn>
              </a:cxnLst>
              <a:rect l="0" t="0" r="r" b="b"/>
              <a:pathLst>
                <a:path w="337" h="354">
                  <a:moveTo>
                    <a:pt x="57" y="350"/>
                  </a:moveTo>
                  <a:lnTo>
                    <a:pt x="58" y="353"/>
                  </a:lnTo>
                  <a:lnTo>
                    <a:pt x="74" y="354"/>
                  </a:lnTo>
                  <a:lnTo>
                    <a:pt x="97" y="342"/>
                  </a:lnTo>
                  <a:lnTo>
                    <a:pt x="121" y="332"/>
                  </a:lnTo>
                  <a:lnTo>
                    <a:pt x="135" y="326"/>
                  </a:lnTo>
                  <a:lnTo>
                    <a:pt x="160" y="318"/>
                  </a:lnTo>
                  <a:lnTo>
                    <a:pt x="173" y="317"/>
                  </a:lnTo>
                  <a:lnTo>
                    <a:pt x="208" y="311"/>
                  </a:lnTo>
                  <a:lnTo>
                    <a:pt x="219" y="310"/>
                  </a:lnTo>
                  <a:lnTo>
                    <a:pt x="240" y="307"/>
                  </a:lnTo>
                  <a:lnTo>
                    <a:pt x="258" y="307"/>
                  </a:lnTo>
                  <a:lnTo>
                    <a:pt x="274" y="312"/>
                  </a:lnTo>
                  <a:lnTo>
                    <a:pt x="295" y="316"/>
                  </a:lnTo>
                  <a:lnTo>
                    <a:pt x="299" y="316"/>
                  </a:lnTo>
                  <a:lnTo>
                    <a:pt x="301" y="315"/>
                  </a:lnTo>
                  <a:lnTo>
                    <a:pt x="305" y="308"/>
                  </a:lnTo>
                  <a:lnTo>
                    <a:pt x="307" y="307"/>
                  </a:lnTo>
                  <a:lnTo>
                    <a:pt x="313" y="307"/>
                  </a:lnTo>
                  <a:lnTo>
                    <a:pt x="317" y="310"/>
                  </a:lnTo>
                  <a:lnTo>
                    <a:pt x="323" y="308"/>
                  </a:lnTo>
                  <a:lnTo>
                    <a:pt x="323" y="294"/>
                  </a:lnTo>
                  <a:lnTo>
                    <a:pt x="321" y="281"/>
                  </a:lnTo>
                  <a:lnTo>
                    <a:pt x="318" y="280"/>
                  </a:lnTo>
                  <a:lnTo>
                    <a:pt x="311" y="279"/>
                  </a:lnTo>
                  <a:lnTo>
                    <a:pt x="307" y="274"/>
                  </a:lnTo>
                  <a:lnTo>
                    <a:pt x="304" y="258"/>
                  </a:lnTo>
                  <a:lnTo>
                    <a:pt x="296" y="238"/>
                  </a:lnTo>
                  <a:lnTo>
                    <a:pt x="296" y="230"/>
                  </a:lnTo>
                  <a:lnTo>
                    <a:pt x="297" y="213"/>
                  </a:lnTo>
                  <a:lnTo>
                    <a:pt x="301" y="206"/>
                  </a:lnTo>
                  <a:lnTo>
                    <a:pt x="307" y="199"/>
                  </a:lnTo>
                  <a:lnTo>
                    <a:pt x="310" y="194"/>
                  </a:lnTo>
                  <a:lnTo>
                    <a:pt x="310" y="183"/>
                  </a:lnTo>
                  <a:lnTo>
                    <a:pt x="312" y="174"/>
                  </a:lnTo>
                  <a:lnTo>
                    <a:pt x="318" y="161"/>
                  </a:lnTo>
                  <a:lnTo>
                    <a:pt x="322" y="152"/>
                  </a:lnTo>
                  <a:lnTo>
                    <a:pt x="324" y="150"/>
                  </a:lnTo>
                  <a:lnTo>
                    <a:pt x="328" y="145"/>
                  </a:lnTo>
                  <a:lnTo>
                    <a:pt x="332" y="144"/>
                  </a:lnTo>
                  <a:lnTo>
                    <a:pt x="332" y="139"/>
                  </a:lnTo>
                  <a:lnTo>
                    <a:pt x="337" y="138"/>
                  </a:lnTo>
                  <a:lnTo>
                    <a:pt x="334" y="122"/>
                  </a:lnTo>
                  <a:lnTo>
                    <a:pt x="327" y="95"/>
                  </a:lnTo>
                  <a:lnTo>
                    <a:pt x="324" y="91"/>
                  </a:lnTo>
                  <a:lnTo>
                    <a:pt x="321" y="90"/>
                  </a:lnTo>
                  <a:lnTo>
                    <a:pt x="321" y="87"/>
                  </a:lnTo>
                  <a:lnTo>
                    <a:pt x="326" y="82"/>
                  </a:lnTo>
                  <a:lnTo>
                    <a:pt x="323" y="77"/>
                  </a:lnTo>
                  <a:lnTo>
                    <a:pt x="324" y="74"/>
                  </a:lnTo>
                  <a:lnTo>
                    <a:pt x="324" y="68"/>
                  </a:lnTo>
                  <a:lnTo>
                    <a:pt x="322" y="70"/>
                  </a:lnTo>
                  <a:lnTo>
                    <a:pt x="316" y="70"/>
                  </a:lnTo>
                  <a:lnTo>
                    <a:pt x="313" y="69"/>
                  </a:lnTo>
                  <a:lnTo>
                    <a:pt x="308" y="59"/>
                  </a:lnTo>
                  <a:lnTo>
                    <a:pt x="307" y="54"/>
                  </a:lnTo>
                  <a:lnTo>
                    <a:pt x="302" y="53"/>
                  </a:lnTo>
                  <a:lnTo>
                    <a:pt x="296" y="43"/>
                  </a:lnTo>
                  <a:lnTo>
                    <a:pt x="295" y="43"/>
                  </a:lnTo>
                  <a:lnTo>
                    <a:pt x="290" y="48"/>
                  </a:lnTo>
                  <a:lnTo>
                    <a:pt x="279" y="43"/>
                  </a:lnTo>
                  <a:lnTo>
                    <a:pt x="272" y="43"/>
                  </a:lnTo>
                  <a:lnTo>
                    <a:pt x="262" y="46"/>
                  </a:lnTo>
                  <a:lnTo>
                    <a:pt x="250" y="49"/>
                  </a:lnTo>
                  <a:lnTo>
                    <a:pt x="242" y="52"/>
                  </a:lnTo>
                  <a:lnTo>
                    <a:pt x="236" y="53"/>
                  </a:lnTo>
                  <a:lnTo>
                    <a:pt x="234" y="59"/>
                  </a:lnTo>
                  <a:lnTo>
                    <a:pt x="230" y="61"/>
                  </a:lnTo>
                  <a:lnTo>
                    <a:pt x="223" y="58"/>
                  </a:lnTo>
                  <a:lnTo>
                    <a:pt x="221" y="54"/>
                  </a:lnTo>
                  <a:lnTo>
                    <a:pt x="220" y="54"/>
                  </a:lnTo>
                  <a:lnTo>
                    <a:pt x="218" y="57"/>
                  </a:lnTo>
                  <a:lnTo>
                    <a:pt x="214" y="57"/>
                  </a:lnTo>
                  <a:lnTo>
                    <a:pt x="214" y="58"/>
                  </a:lnTo>
                  <a:lnTo>
                    <a:pt x="207" y="54"/>
                  </a:lnTo>
                  <a:lnTo>
                    <a:pt x="205" y="50"/>
                  </a:lnTo>
                  <a:lnTo>
                    <a:pt x="202" y="47"/>
                  </a:lnTo>
                  <a:lnTo>
                    <a:pt x="198" y="47"/>
                  </a:lnTo>
                  <a:lnTo>
                    <a:pt x="198" y="42"/>
                  </a:lnTo>
                  <a:lnTo>
                    <a:pt x="197" y="39"/>
                  </a:lnTo>
                  <a:lnTo>
                    <a:pt x="194" y="38"/>
                  </a:lnTo>
                  <a:lnTo>
                    <a:pt x="191" y="32"/>
                  </a:lnTo>
                  <a:lnTo>
                    <a:pt x="189" y="31"/>
                  </a:lnTo>
                  <a:lnTo>
                    <a:pt x="188" y="30"/>
                  </a:lnTo>
                  <a:lnTo>
                    <a:pt x="187" y="25"/>
                  </a:lnTo>
                  <a:lnTo>
                    <a:pt x="187" y="23"/>
                  </a:lnTo>
                  <a:lnTo>
                    <a:pt x="184" y="22"/>
                  </a:lnTo>
                  <a:lnTo>
                    <a:pt x="173" y="25"/>
                  </a:lnTo>
                  <a:lnTo>
                    <a:pt x="171" y="23"/>
                  </a:lnTo>
                  <a:lnTo>
                    <a:pt x="167" y="17"/>
                  </a:lnTo>
                  <a:lnTo>
                    <a:pt x="165" y="16"/>
                  </a:lnTo>
                  <a:lnTo>
                    <a:pt x="154" y="16"/>
                  </a:lnTo>
                  <a:lnTo>
                    <a:pt x="150" y="16"/>
                  </a:lnTo>
                  <a:lnTo>
                    <a:pt x="148" y="23"/>
                  </a:lnTo>
                  <a:lnTo>
                    <a:pt x="144" y="23"/>
                  </a:lnTo>
                  <a:lnTo>
                    <a:pt x="140" y="27"/>
                  </a:lnTo>
                  <a:lnTo>
                    <a:pt x="130" y="27"/>
                  </a:lnTo>
                  <a:lnTo>
                    <a:pt x="132" y="25"/>
                  </a:lnTo>
                  <a:lnTo>
                    <a:pt x="130" y="14"/>
                  </a:lnTo>
                  <a:lnTo>
                    <a:pt x="129" y="10"/>
                  </a:lnTo>
                  <a:lnTo>
                    <a:pt x="129" y="9"/>
                  </a:lnTo>
                  <a:lnTo>
                    <a:pt x="129" y="4"/>
                  </a:lnTo>
                  <a:lnTo>
                    <a:pt x="127" y="0"/>
                  </a:lnTo>
                  <a:lnTo>
                    <a:pt x="124" y="1"/>
                  </a:lnTo>
                  <a:lnTo>
                    <a:pt x="118" y="1"/>
                  </a:lnTo>
                  <a:lnTo>
                    <a:pt x="116" y="9"/>
                  </a:lnTo>
                  <a:lnTo>
                    <a:pt x="114" y="9"/>
                  </a:lnTo>
                  <a:lnTo>
                    <a:pt x="108" y="5"/>
                  </a:lnTo>
                  <a:lnTo>
                    <a:pt x="106" y="5"/>
                  </a:lnTo>
                  <a:lnTo>
                    <a:pt x="103" y="9"/>
                  </a:lnTo>
                  <a:lnTo>
                    <a:pt x="103" y="12"/>
                  </a:lnTo>
                  <a:lnTo>
                    <a:pt x="105" y="18"/>
                  </a:lnTo>
                  <a:lnTo>
                    <a:pt x="103" y="21"/>
                  </a:lnTo>
                  <a:lnTo>
                    <a:pt x="92" y="21"/>
                  </a:lnTo>
                  <a:lnTo>
                    <a:pt x="86" y="23"/>
                  </a:lnTo>
                  <a:lnTo>
                    <a:pt x="86" y="27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76" y="30"/>
                  </a:lnTo>
                  <a:lnTo>
                    <a:pt x="73" y="25"/>
                  </a:lnTo>
                  <a:lnTo>
                    <a:pt x="70" y="25"/>
                  </a:lnTo>
                  <a:lnTo>
                    <a:pt x="68" y="26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4" y="21"/>
                  </a:lnTo>
                  <a:lnTo>
                    <a:pt x="60" y="16"/>
                  </a:lnTo>
                  <a:lnTo>
                    <a:pt x="57" y="15"/>
                  </a:lnTo>
                  <a:lnTo>
                    <a:pt x="53" y="18"/>
                  </a:lnTo>
                  <a:lnTo>
                    <a:pt x="48" y="17"/>
                  </a:lnTo>
                  <a:lnTo>
                    <a:pt x="46" y="18"/>
                  </a:lnTo>
                  <a:lnTo>
                    <a:pt x="43" y="21"/>
                  </a:lnTo>
                  <a:lnTo>
                    <a:pt x="42" y="25"/>
                  </a:lnTo>
                  <a:lnTo>
                    <a:pt x="39" y="28"/>
                  </a:lnTo>
                  <a:lnTo>
                    <a:pt x="33" y="30"/>
                  </a:lnTo>
                  <a:lnTo>
                    <a:pt x="32" y="32"/>
                  </a:lnTo>
                  <a:lnTo>
                    <a:pt x="26" y="39"/>
                  </a:lnTo>
                  <a:lnTo>
                    <a:pt x="25" y="42"/>
                  </a:lnTo>
                  <a:lnTo>
                    <a:pt x="22" y="44"/>
                  </a:lnTo>
                  <a:lnTo>
                    <a:pt x="24" y="53"/>
                  </a:lnTo>
                  <a:lnTo>
                    <a:pt x="24" y="70"/>
                  </a:lnTo>
                  <a:lnTo>
                    <a:pt x="24" y="73"/>
                  </a:lnTo>
                  <a:lnTo>
                    <a:pt x="31" y="76"/>
                  </a:lnTo>
                  <a:lnTo>
                    <a:pt x="38" y="76"/>
                  </a:lnTo>
                  <a:lnTo>
                    <a:pt x="37" y="90"/>
                  </a:lnTo>
                  <a:lnTo>
                    <a:pt x="41" y="89"/>
                  </a:lnTo>
                  <a:lnTo>
                    <a:pt x="44" y="93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8" y="101"/>
                  </a:lnTo>
                  <a:lnTo>
                    <a:pt x="35" y="109"/>
                  </a:lnTo>
                  <a:lnTo>
                    <a:pt x="37" y="109"/>
                  </a:lnTo>
                  <a:lnTo>
                    <a:pt x="41" y="111"/>
                  </a:lnTo>
                  <a:lnTo>
                    <a:pt x="44" y="111"/>
                  </a:lnTo>
                  <a:lnTo>
                    <a:pt x="44" y="117"/>
                  </a:lnTo>
                  <a:lnTo>
                    <a:pt x="47" y="120"/>
                  </a:lnTo>
                  <a:lnTo>
                    <a:pt x="47" y="12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4" y="128"/>
                  </a:lnTo>
                  <a:lnTo>
                    <a:pt x="41" y="129"/>
                  </a:lnTo>
                  <a:lnTo>
                    <a:pt x="38" y="129"/>
                  </a:lnTo>
                  <a:lnTo>
                    <a:pt x="35" y="125"/>
                  </a:lnTo>
                  <a:lnTo>
                    <a:pt x="26" y="124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9" y="129"/>
                  </a:lnTo>
                  <a:lnTo>
                    <a:pt x="20" y="134"/>
                  </a:lnTo>
                  <a:lnTo>
                    <a:pt x="17" y="139"/>
                  </a:lnTo>
                  <a:lnTo>
                    <a:pt x="20" y="141"/>
                  </a:lnTo>
                  <a:lnTo>
                    <a:pt x="26" y="141"/>
                  </a:lnTo>
                  <a:lnTo>
                    <a:pt x="30" y="141"/>
                  </a:lnTo>
                  <a:lnTo>
                    <a:pt x="31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3" y="150"/>
                  </a:lnTo>
                  <a:lnTo>
                    <a:pt x="28" y="152"/>
                  </a:lnTo>
                  <a:lnTo>
                    <a:pt x="27" y="157"/>
                  </a:lnTo>
                  <a:lnTo>
                    <a:pt x="27" y="166"/>
                  </a:lnTo>
                  <a:lnTo>
                    <a:pt x="22" y="172"/>
                  </a:lnTo>
                  <a:lnTo>
                    <a:pt x="22" y="177"/>
                  </a:lnTo>
                  <a:lnTo>
                    <a:pt x="9" y="176"/>
                  </a:lnTo>
                  <a:lnTo>
                    <a:pt x="5" y="178"/>
                  </a:lnTo>
                  <a:lnTo>
                    <a:pt x="6" y="183"/>
                  </a:lnTo>
                  <a:lnTo>
                    <a:pt x="8" y="192"/>
                  </a:lnTo>
                  <a:lnTo>
                    <a:pt x="10" y="193"/>
                  </a:lnTo>
                  <a:lnTo>
                    <a:pt x="12" y="197"/>
                  </a:lnTo>
                  <a:lnTo>
                    <a:pt x="12" y="198"/>
                  </a:lnTo>
                  <a:lnTo>
                    <a:pt x="17" y="202"/>
                  </a:lnTo>
                  <a:lnTo>
                    <a:pt x="14" y="217"/>
                  </a:lnTo>
                  <a:lnTo>
                    <a:pt x="12" y="220"/>
                  </a:lnTo>
                  <a:lnTo>
                    <a:pt x="4" y="227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3" y="235"/>
                  </a:lnTo>
                  <a:lnTo>
                    <a:pt x="4" y="237"/>
                  </a:lnTo>
                  <a:lnTo>
                    <a:pt x="8" y="236"/>
                  </a:lnTo>
                  <a:lnTo>
                    <a:pt x="9" y="238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22" y="245"/>
                  </a:lnTo>
                  <a:lnTo>
                    <a:pt x="32" y="245"/>
                  </a:lnTo>
                  <a:lnTo>
                    <a:pt x="35" y="245"/>
                  </a:lnTo>
                  <a:lnTo>
                    <a:pt x="38" y="252"/>
                  </a:lnTo>
                  <a:lnTo>
                    <a:pt x="38" y="256"/>
                  </a:lnTo>
                  <a:lnTo>
                    <a:pt x="41" y="257"/>
                  </a:lnTo>
                  <a:lnTo>
                    <a:pt x="44" y="262"/>
                  </a:lnTo>
                  <a:lnTo>
                    <a:pt x="46" y="265"/>
                  </a:lnTo>
                  <a:lnTo>
                    <a:pt x="52" y="267"/>
                  </a:lnTo>
                  <a:lnTo>
                    <a:pt x="57" y="272"/>
                  </a:lnTo>
                  <a:lnTo>
                    <a:pt x="63" y="270"/>
                  </a:lnTo>
                  <a:lnTo>
                    <a:pt x="63" y="275"/>
                  </a:lnTo>
                  <a:lnTo>
                    <a:pt x="65" y="280"/>
                  </a:lnTo>
                  <a:lnTo>
                    <a:pt x="66" y="286"/>
                  </a:lnTo>
                  <a:lnTo>
                    <a:pt x="64" y="294"/>
                  </a:lnTo>
                  <a:lnTo>
                    <a:pt x="66" y="299"/>
                  </a:lnTo>
                  <a:lnTo>
                    <a:pt x="66" y="300"/>
                  </a:lnTo>
                  <a:lnTo>
                    <a:pt x="62" y="300"/>
                  </a:lnTo>
                  <a:lnTo>
                    <a:pt x="60" y="303"/>
                  </a:lnTo>
                  <a:lnTo>
                    <a:pt x="60" y="311"/>
                  </a:lnTo>
                  <a:lnTo>
                    <a:pt x="57" y="311"/>
                  </a:lnTo>
                  <a:lnTo>
                    <a:pt x="57" y="313"/>
                  </a:lnTo>
                  <a:lnTo>
                    <a:pt x="57" y="318"/>
                  </a:lnTo>
                  <a:lnTo>
                    <a:pt x="55" y="323"/>
                  </a:lnTo>
                  <a:lnTo>
                    <a:pt x="57" y="35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1" name="Freeform 51"/>
            <p:cNvSpPr>
              <a:spLocks noChangeAspect="1"/>
            </p:cNvSpPr>
            <p:nvPr/>
          </p:nvSpPr>
          <p:spPr bwMode="gray">
            <a:xfrm>
              <a:off x="3254247" y="4041474"/>
              <a:ext cx="31698" cy="75282"/>
            </a:xfrm>
            <a:custGeom>
              <a:avLst/>
              <a:gdLst/>
              <a:ahLst/>
              <a:cxnLst>
                <a:cxn ang="0">
                  <a:pos x="80" y="281"/>
                </a:cxn>
                <a:cxn ang="0">
                  <a:pos x="77" y="279"/>
                </a:cxn>
                <a:cxn ang="0">
                  <a:pos x="61" y="262"/>
                </a:cxn>
                <a:cxn ang="0">
                  <a:pos x="53" y="252"/>
                </a:cxn>
                <a:cxn ang="0">
                  <a:pos x="48" y="241"/>
                </a:cxn>
                <a:cxn ang="0">
                  <a:pos x="47" y="231"/>
                </a:cxn>
                <a:cxn ang="0">
                  <a:pos x="46" y="209"/>
                </a:cxn>
                <a:cxn ang="0">
                  <a:pos x="47" y="188"/>
                </a:cxn>
                <a:cxn ang="0">
                  <a:pos x="43" y="148"/>
                </a:cxn>
                <a:cxn ang="0">
                  <a:pos x="42" y="114"/>
                </a:cxn>
                <a:cxn ang="0">
                  <a:pos x="41" y="101"/>
                </a:cxn>
                <a:cxn ang="0">
                  <a:pos x="38" y="95"/>
                </a:cxn>
                <a:cxn ang="0">
                  <a:pos x="34" y="89"/>
                </a:cxn>
                <a:cxn ang="0">
                  <a:pos x="32" y="68"/>
                </a:cxn>
                <a:cxn ang="0">
                  <a:pos x="29" y="53"/>
                </a:cxn>
                <a:cxn ang="0">
                  <a:pos x="25" y="48"/>
                </a:cxn>
                <a:cxn ang="0">
                  <a:pos x="18" y="41"/>
                </a:cxn>
                <a:cxn ang="0">
                  <a:pos x="14" y="33"/>
                </a:cxn>
                <a:cxn ang="0">
                  <a:pos x="5" y="27"/>
                </a:cxn>
                <a:cxn ang="0">
                  <a:pos x="4" y="21"/>
                </a:cxn>
                <a:cxn ang="0">
                  <a:pos x="8" y="16"/>
                </a:cxn>
                <a:cxn ang="0">
                  <a:pos x="8" y="11"/>
                </a:cxn>
                <a:cxn ang="0">
                  <a:pos x="11" y="6"/>
                </a:cxn>
                <a:cxn ang="0">
                  <a:pos x="10" y="5"/>
                </a:cxn>
                <a:cxn ang="0">
                  <a:pos x="2" y="4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35" y="6"/>
                </a:cxn>
                <a:cxn ang="0">
                  <a:pos x="38" y="11"/>
                </a:cxn>
                <a:cxn ang="0">
                  <a:pos x="42" y="11"/>
                </a:cxn>
                <a:cxn ang="0">
                  <a:pos x="45" y="8"/>
                </a:cxn>
                <a:cxn ang="0">
                  <a:pos x="59" y="9"/>
                </a:cxn>
                <a:cxn ang="0">
                  <a:pos x="61" y="8"/>
                </a:cxn>
                <a:cxn ang="0">
                  <a:pos x="58" y="10"/>
                </a:cxn>
                <a:cxn ang="0">
                  <a:pos x="57" y="17"/>
                </a:cxn>
                <a:cxn ang="0">
                  <a:pos x="53" y="25"/>
                </a:cxn>
                <a:cxn ang="0">
                  <a:pos x="52" y="35"/>
                </a:cxn>
                <a:cxn ang="0">
                  <a:pos x="52" y="43"/>
                </a:cxn>
                <a:cxn ang="0">
                  <a:pos x="57" y="47"/>
                </a:cxn>
                <a:cxn ang="0">
                  <a:pos x="63" y="51"/>
                </a:cxn>
                <a:cxn ang="0">
                  <a:pos x="67" y="51"/>
                </a:cxn>
                <a:cxn ang="0">
                  <a:pos x="72" y="53"/>
                </a:cxn>
                <a:cxn ang="0">
                  <a:pos x="84" y="69"/>
                </a:cxn>
                <a:cxn ang="0">
                  <a:pos x="93" y="89"/>
                </a:cxn>
                <a:cxn ang="0">
                  <a:pos x="99" y="110"/>
                </a:cxn>
                <a:cxn ang="0">
                  <a:pos x="102" y="119"/>
                </a:cxn>
                <a:cxn ang="0">
                  <a:pos x="104" y="125"/>
                </a:cxn>
                <a:cxn ang="0">
                  <a:pos x="106" y="134"/>
                </a:cxn>
                <a:cxn ang="0">
                  <a:pos x="108" y="145"/>
                </a:cxn>
                <a:cxn ang="0">
                  <a:pos x="110" y="164"/>
                </a:cxn>
                <a:cxn ang="0">
                  <a:pos x="110" y="215"/>
                </a:cxn>
                <a:cxn ang="0">
                  <a:pos x="106" y="238"/>
                </a:cxn>
                <a:cxn ang="0">
                  <a:pos x="106" y="248"/>
                </a:cxn>
                <a:cxn ang="0">
                  <a:pos x="110" y="261"/>
                </a:cxn>
                <a:cxn ang="0">
                  <a:pos x="112" y="268"/>
                </a:cxn>
                <a:cxn ang="0">
                  <a:pos x="113" y="269"/>
                </a:cxn>
                <a:cxn ang="0">
                  <a:pos x="120" y="270"/>
                </a:cxn>
                <a:cxn ang="0">
                  <a:pos x="99" y="275"/>
                </a:cxn>
                <a:cxn ang="0">
                  <a:pos x="80" y="281"/>
                </a:cxn>
              </a:cxnLst>
              <a:rect l="0" t="0" r="r" b="b"/>
              <a:pathLst>
                <a:path w="120" h="281">
                  <a:moveTo>
                    <a:pt x="80" y="281"/>
                  </a:moveTo>
                  <a:lnTo>
                    <a:pt x="77" y="279"/>
                  </a:lnTo>
                  <a:lnTo>
                    <a:pt x="61" y="262"/>
                  </a:lnTo>
                  <a:lnTo>
                    <a:pt x="53" y="252"/>
                  </a:lnTo>
                  <a:lnTo>
                    <a:pt x="48" y="241"/>
                  </a:lnTo>
                  <a:lnTo>
                    <a:pt x="47" y="231"/>
                  </a:lnTo>
                  <a:lnTo>
                    <a:pt x="46" y="209"/>
                  </a:lnTo>
                  <a:lnTo>
                    <a:pt x="47" y="188"/>
                  </a:lnTo>
                  <a:lnTo>
                    <a:pt x="43" y="148"/>
                  </a:lnTo>
                  <a:lnTo>
                    <a:pt x="42" y="114"/>
                  </a:lnTo>
                  <a:lnTo>
                    <a:pt x="41" y="101"/>
                  </a:lnTo>
                  <a:lnTo>
                    <a:pt x="38" y="95"/>
                  </a:lnTo>
                  <a:lnTo>
                    <a:pt x="34" y="89"/>
                  </a:lnTo>
                  <a:lnTo>
                    <a:pt x="32" y="68"/>
                  </a:lnTo>
                  <a:lnTo>
                    <a:pt x="29" y="53"/>
                  </a:lnTo>
                  <a:lnTo>
                    <a:pt x="25" y="48"/>
                  </a:lnTo>
                  <a:lnTo>
                    <a:pt x="18" y="41"/>
                  </a:lnTo>
                  <a:lnTo>
                    <a:pt x="14" y="33"/>
                  </a:lnTo>
                  <a:lnTo>
                    <a:pt x="5" y="27"/>
                  </a:lnTo>
                  <a:lnTo>
                    <a:pt x="4" y="21"/>
                  </a:lnTo>
                  <a:lnTo>
                    <a:pt x="8" y="16"/>
                  </a:lnTo>
                  <a:lnTo>
                    <a:pt x="8" y="11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1"/>
                  </a:lnTo>
                  <a:lnTo>
                    <a:pt x="35" y="6"/>
                  </a:lnTo>
                  <a:lnTo>
                    <a:pt x="38" y="11"/>
                  </a:lnTo>
                  <a:lnTo>
                    <a:pt x="42" y="11"/>
                  </a:lnTo>
                  <a:lnTo>
                    <a:pt x="45" y="8"/>
                  </a:lnTo>
                  <a:lnTo>
                    <a:pt x="59" y="9"/>
                  </a:lnTo>
                  <a:lnTo>
                    <a:pt x="61" y="8"/>
                  </a:lnTo>
                  <a:lnTo>
                    <a:pt x="58" y="10"/>
                  </a:lnTo>
                  <a:lnTo>
                    <a:pt x="57" y="17"/>
                  </a:lnTo>
                  <a:lnTo>
                    <a:pt x="53" y="25"/>
                  </a:lnTo>
                  <a:lnTo>
                    <a:pt x="52" y="35"/>
                  </a:lnTo>
                  <a:lnTo>
                    <a:pt x="52" y="43"/>
                  </a:lnTo>
                  <a:lnTo>
                    <a:pt x="57" y="47"/>
                  </a:lnTo>
                  <a:lnTo>
                    <a:pt x="63" y="51"/>
                  </a:lnTo>
                  <a:lnTo>
                    <a:pt x="67" y="51"/>
                  </a:lnTo>
                  <a:lnTo>
                    <a:pt x="72" y="53"/>
                  </a:lnTo>
                  <a:lnTo>
                    <a:pt x="84" y="69"/>
                  </a:lnTo>
                  <a:lnTo>
                    <a:pt x="93" y="89"/>
                  </a:lnTo>
                  <a:lnTo>
                    <a:pt x="99" y="110"/>
                  </a:lnTo>
                  <a:lnTo>
                    <a:pt x="102" y="119"/>
                  </a:lnTo>
                  <a:lnTo>
                    <a:pt x="104" y="125"/>
                  </a:lnTo>
                  <a:lnTo>
                    <a:pt x="106" y="134"/>
                  </a:lnTo>
                  <a:lnTo>
                    <a:pt x="108" y="145"/>
                  </a:lnTo>
                  <a:lnTo>
                    <a:pt x="110" y="164"/>
                  </a:lnTo>
                  <a:lnTo>
                    <a:pt x="110" y="215"/>
                  </a:lnTo>
                  <a:lnTo>
                    <a:pt x="106" y="238"/>
                  </a:lnTo>
                  <a:lnTo>
                    <a:pt x="106" y="248"/>
                  </a:lnTo>
                  <a:lnTo>
                    <a:pt x="110" y="261"/>
                  </a:lnTo>
                  <a:lnTo>
                    <a:pt x="112" y="268"/>
                  </a:lnTo>
                  <a:lnTo>
                    <a:pt x="113" y="269"/>
                  </a:lnTo>
                  <a:lnTo>
                    <a:pt x="120" y="270"/>
                  </a:lnTo>
                  <a:lnTo>
                    <a:pt x="99" y="275"/>
                  </a:lnTo>
                  <a:lnTo>
                    <a:pt x="80" y="28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2" name="Freeform 52"/>
            <p:cNvSpPr>
              <a:spLocks noChangeAspect="1"/>
            </p:cNvSpPr>
            <p:nvPr/>
          </p:nvSpPr>
          <p:spPr bwMode="gray">
            <a:xfrm>
              <a:off x="3433868" y="4127322"/>
              <a:ext cx="276035" cy="269431"/>
            </a:xfrm>
            <a:custGeom>
              <a:avLst/>
              <a:gdLst/>
              <a:ahLst/>
              <a:cxnLst>
                <a:cxn ang="0">
                  <a:pos x="960" y="671"/>
                </a:cxn>
                <a:cxn ang="0">
                  <a:pos x="939" y="609"/>
                </a:cxn>
                <a:cxn ang="0">
                  <a:pos x="933" y="528"/>
                </a:cxn>
                <a:cxn ang="0">
                  <a:pos x="933" y="488"/>
                </a:cxn>
                <a:cxn ang="0">
                  <a:pos x="927" y="435"/>
                </a:cxn>
                <a:cxn ang="0">
                  <a:pos x="934" y="392"/>
                </a:cxn>
                <a:cxn ang="0">
                  <a:pos x="960" y="337"/>
                </a:cxn>
                <a:cxn ang="0">
                  <a:pos x="979" y="248"/>
                </a:cxn>
                <a:cxn ang="0">
                  <a:pos x="1015" y="202"/>
                </a:cxn>
                <a:cxn ang="0">
                  <a:pos x="1043" y="167"/>
                </a:cxn>
                <a:cxn ang="0">
                  <a:pos x="1020" y="143"/>
                </a:cxn>
                <a:cxn ang="0">
                  <a:pos x="1019" y="90"/>
                </a:cxn>
                <a:cxn ang="0">
                  <a:pos x="955" y="36"/>
                </a:cxn>
                <a:cxn ang="0">
                  <a:pos x="892" y="52"/>
                </a:cxn>
                <a:cxn ang="0">
                  <a:pos x="839" y="5"/>
                </a:cxn>
                <a:cxn ang="0">
                  <a:pos x="771" y="0"/>
                </a:cxn>
                <a:cxn ang="0">
                  <a:pos x="697" y="16"/>
                </a:cxn>
                <a:cxn ang="0">
                  <a:pos x="676" y="10"/>
                </a:cxn>
                <a:cxn ang="0">
                  <a:pos x="601" y="27"/>
                </a:cxn>
                <a:cxn ang="0">
                  <a:pos x="509" y="53"/>
                </a:cxn>
                <a:cxn ang="0">
                  <a:pos x="436" y="25"/>
                </a:cxn>
                <a:cxn ang="0">
                  <a:pos x="384" y="16"/>
                </a:cxn>
                <a:cxn ang="0">
                  <a:pos x="359" y="75"/>
                </a:cxn>
                <a:cxn ang="0">
                  <a:pos x="326" y="159"/>
                </a:cxn>
                <a:cxn ang="0">
                  <a:pos x="298" y="327"/>
                </a:cxn>
                <a:cxn ang="0">
                  <a:pos x="217" y="423"/>
                </a:cxn>
                <a:cxn ang="0">
                  <a:pos x="181" y="516"/>
                </a:cxn>
                <a:cxn ang="0">
                  <a:pos x="112" y="531"/>
                </a:cxn>
                <a:cxn ang="0">
                  <a:pos x="68" y="551"/>
                </a:cxn>
                <a:cxn ang="0">
                  <a:pos x="18" y="560"/>
                </a:cxn>
                <a:cxn ang="0">
                  <a:pos x="3" y="612"/>
                </a:cxn>
                <a:cxn ang="0">
                  <a:pos x="9" y="624"/>
                </a:cxn>
                <a:cxn ang="0">
                  <a:pos x="70" y="606"/>
                </a:cxn>
                <a:cxn ang="0">
                  <a:pos x="155" y="606"/>
                </a:cxn>
                <a:cxn ang="0">
                  <a:pos x="225" y="613"/>
                </a:cxn>
                <a:cxn ang="0">
                  <a:pos x="244" y="654"/>
                </a:cxn>
                <a:cxn ang="0">
                  <a:pos x="289" y="727"/>
                </a:cxn>
                <a:cxn ang="0">
                  <a:pos x="366" y="725"/>
                </a:cxn>
                <a:cxn ang="0">
                  <a:pos x="393" y="694"/>
                </a:cxn>
                <a:cxn ang="0">
                  <a:pos x="444" y="664"/>
                </a:cxn>
                <a:cxn ang="0">
                  <a:pos x="520" y="699"/>
                </a:cxn>
                <a:cxn ang="0">
                  <a:pos x="527" y="781"/>
                </a:cxn>
                <a:cxn ang="0">
                  <a:pos x="541" y="850"/>
                </a:cxn>
                <a:cxn ang="0">
                  <a:pos x="531" y="894"/>
                </a:cxn>
                <a:cxn ang="0">
                  <a:pos x="549" y="908"/>
                </a:cxn>
                <a:cxn ang="0">
                  <a:pos x="613" y="891"/>
                </a:cxn>
                <a:cxn ang="0">
                  <a:pos x="645" y="882"/>
                </a:cxn>
                <a:cxn ang="0">
                  <a:pos x="667" y="903"/>
                </a:cxn>
                <a:cxn ang="0">
                  <a:pos x="697" y="901"/>
                </a:cxn>
                <a:cxn ang="0">
                  <a:pos x="736" y="925"/>
                </a:cxn>
                <a:cxn ang="0">
                  <a:pos x="799" y="934"/>
                </a:cxn>
                <a:cxn ang="0">
                  <a:pos x="858" y="961"/>
                </a:cxn>
                <a:cxn ang="0">
                  <a:pos x="898" y="999"/>
                </a:cxn>
                <a:cxn ang="0">
                  <a:pos x="941" y="1010"/>
                </a:cxn>
                <a:cxn ang="0">
                  <a:pos x="959" y="1018"/>
                </a:cxn>
                <a:cxn ang="0">
                  <a:pos x="956" y="958"/>
                </a:cxn>
                <a:cxn ang="0">
                  <a:pos x="911" y="955"/>
                </a:cxn>
                <a:cxn ang="0">
                  <a:pos x="895" y="917"/>
                </a:cxn>
                <a:cxn ang="0">
                  <a:pos x="912" y="820"/>
                </a:cxn>
                <a:cxn ang="0">
                  <a:pos x="914" y="772"/>
                </a:cxn>
                <a:cxn ang="0">
                  <a:pos x="941" y="748"/>
                </a:cxn>
              </a:cxnLst>
              <a:rect l="0" t="0" r="r" b="b"/>
              <a:pathLst>
                <a:path w="1045" h="1018">
                  <a:moveTo>
                    <a:pt x="1003" y="735"/>
                  </a:moveTo>
                  <a:lnTo>
                    <a:pt x="995" y="700"/>
                  </a:lnTo>
                  <a:lnTo>
                    <a:pt x="986" y="688"/>
                  </a:lnTo>
                  <a:lnTo>
                    <a:pt x="972" y="684"/>
                  </a:lnTo>
                  <a:lnTo>
                    <a:pt x="960" y="671"/>
                  </a:lnTo>
                  <a:lnTo>
                    <a:pt x="952" y="662"/>
                  </a:lnTo>
                  <a:lnTo>
                    <a:pt x="945" y="646"/>
                  </a:lnTo>
                  <a:lnTo>
                    <a:pt x="940" y="639"/>
                  </a:lnTo>
                  <a:lnTo>
                    <a:pt x="936" y="622"/>
                  </a:lnTo>
                  <a:lnTo>
                    <a:pt x="939" y="609"/>
                  </a:lnTo>
                  <a:lnTo>
                    <a:pt x="939" y="597"/>
                  </a:lnTo>
                  <a:lnTo>
                    <a:pt x="933" y="585"/>
                  </a:lnTo>
                  <a:lnTo>
                    <a:pt x="927" y="566"/>
                  </a:lnTo>
                  <a:lnTo>
                    <a:pt x="928" y="551"/>
                  </a:lnTo>
                  <a:lnTo>
                    <a:pt x="933" y="528"/>
                  </a:lnTo>
                  <a:lnTo>
                    <a:pt x="932" y="517"/>
                  </a:lnTo>
                  <a:lnTo>
                    <a:pt x="928" y="520"/>
                  </a:lnTo>
                  <a:lnTo>
                    <a:pt x="927" y="515"/>
                  </a:lnTo>
                  <a:lnTo>
                    <a:pt x="928" y="503"/>
                  </a:lnTo>
                  <a:lnTo>
                    <a:pt x="933" y="488"/>
                  </a:lnTo>
                  <a:lnTo>
                    <a:pt x="934" y="478"/>
                  </a:lnTo>
                  <a:lnTo>
                    <a:pt x="938" y="471"/>
                  </a:lnTo>
                  <a:lnTo>
                    <a:pt x="935" y="447"/>
                  </a:lnTo>
                  <a:lnTo>
                    <a:pt x="933" y="441"/>
                  </a:lnTo>
                  <a:lnTo>
                    <a:pt x="927" y="435"/>
                  </a:lnTo>
                  <a:lnTo>
                    <a:pt x="922" y="428"/>
                  </a:lnTo>
                  <a:lnTo>
                    <a:pt x="920" y="424"/>
                  </a:lnTo>
                  <a:lnTo>
                    <a:pt x="920" y="417"/>
                  </a:lnTo>
                  <a:lnTo>
                    <a:pt x="930" y="403"/>
                  </a:lnTo>
                  <a:lnTo>
                    <a:pt x="934" y="392"/>
                  </a:lnTo>
                  <a:lnTo>
                    <a:pt x="941" y="379"/>
                  </a:lnTo>
                  <a:lnTo>
                    <a:pt x="949" y="367"/>
                  </a:lnTo>
                  <a:lnTo>
                    <a:pt x="956" y="360"/>
                  </a:lnTo>
                  <a:lnTo>
                    <a:pt x="959" y="358"/>
                  </a:lnTo>
                  <a:lnTo>
                    <a:pt x="960" y="337"/>
                  </a:lnTo>
                  <a:lnTo>
                    <a:pt x="962" y="309"/>
                  </a:lnTo>
                  <a:lnTo>
                    <a:pt x="962" y="295"/>
                  </a:lnTo>
                  <a:lnTo>
                    <a:pt x="970" y="264"/>
                  </a:lnTo>
                  <a:lnTo>
                    <a:pt x="976" y="253"/>
                  </a:lnTo>
                  <a:lnTo>
                    <a:pt x="979" y="248"/>
                  </a:lnTo>
                  <a:lnTo>
                    <a:pt x="992" y="234"/>
                  </a:lnTo>
                  <a:lnTo>
                    <a:pt x="1003" y="221"/>
                  </a:lnTo>
                  <a:lnTo>
                    <a:pt x="1009" y="215"/>
                  </a:lnTo>
                  <a:lnTo>
                    <a:pt x="1011" y="209"/>
                  </a:lnTo>
                  <a:lnTo>
                    <a:pt x="1015" y="202"/>
                  </a:lnTo>
                  <a:lnTo>
                    <a:pt x="1026" y="197"/>
                  </a:lnTo>
                  <a:lnTo>
                    <a:pt x="1032" y="192"/>
                  </a:lnTo>
                  <a:lnTo>
                    <a:pt x="1041" y="183"/>
                  </a:lnTo>
                  <a:lnTo>
                    <a:pt x="1045" y="175"/>
                  </a:lnTo>
                  <a:lnTo>
                    <a:pt x="1043" y="167"/>
                  </a:lnTo>
                  <a:lnTo>
                    <a:pt x="1041" y="162"/>
                  </a:lnTo>
                  <a:lnTo>
                    <a:pt x="1032" y="160"/>
                  </a:lnTo>
                  <a:lnTo>
                    <a:pt x="1027" y="156"/>
                  </a:lnTo>
                  <a:lnTo>
                    <a:pt x="1022" y="151"/>
                  </a:lnTo>
                  <a:lnTo>
                    <a:pt x="1020" y="143"/>
                  </a:lnTo>
                  <a:lnTo>
                    <a:pt x="1019" y="121"/>
                  </a:lnTo>
                  <a:lnTo>
                    <a:pt x="1022" y="103"/>
                  </a:lnTo>
                  <a:lnTo>
                    <a:pt x="1025" y="94"/>
                  </a:lnTo>
                  <a:lnTo>
                    <a:pt x="1025" y="90"/>
                  </a:lnTo>
                  <a:lnTo>
                    <a:pt x="1019" y="90"/>
                  </a:lnTo>
                  <a:lnTo>
                    <a:pt x="1013" y="85"/>
                  </a:lnTo>
                  <a:lnTo>
                    <a:pt x="1004" y="76"/>
                  </a:lnTo>
                  <a:lnTo>
                    <a:pt x="990" y="68"/>
                  </a:lnTo>
                  <a:lnTo>
                    <a:pt x="966" y="42"/>
                  </a:lnTo>
                  <a:lnTo>
                    <a:pt x="955" y="36"/>
                  </a:lnTo>
                  <a:lnTo>
                    <a:pt x="943" y="46"/>
                  </a:lnTo>
                  <a:lnTo>
                    <a:pt x="932" y="47"/>
                  </a:lnTo>
                  <a:lnTo>
                    <a:pt x="905" y="41"/>
                  </a:lnTo>
                  <a:lnTo>
                    <a:pt x="898" y="49"/>
                  </a:lnTo>
                  <a:lnTo>
                    <a:pt x="892" y="52"/>
                  </a:lnTo>
                  <a:lnTo>
                    <a:pt x="869" y="43"/>
                  </a:lnTo>
                  <a:lnTo>
                    <a:pt x="864" y="33"/>
                  </a:lnTo>
                  <a:lnTo>
                    <a:pt x="858" y="25"/>
                  </a:lnTo>
                  <a:lnTo>
                    <a:pt x="846" y="16"/>
                  </a:lnTo>
                  <a:lnTo>
                    <a:pt x="839" y="5"/>
                  </a:lnTo>
                  <a:lnTo>
                    <a:pt x="811" y="5"/>
                  </a:lnTo>
                  <a:lnTo>
                    <a:pt x="803" y="16"/>
                  </a:lnTo>
                  <a:lnTo>
                    <a:pt x="791" y="9"/>
                  </a:lnTo>
                  <a:lnTo>
                    <a:pt x="784" y="16"/>
                  </a:lnTo>
                  <a:lnTo>
                    <a:pt x="771" y="0"/>
                  </a:lnTo>
                  <a:lnTo>
                    <a:pt x="756" y="5"/>
                  </a:lnTo>
                  <a:lnTo>
                    <a:pt x="733" y="9"/>
                  </a:lnTo>
                  <a:lnTo>
                    <a:pt x="713" y="4"/>
                  </a:lnTo>
                  <a:lnTo>
                    <a:pt x="709" y="16"/>
                  </a:lnTo>
                  <a:lnTo>
                    <a:pt x="697" y="16"/>
                  </a:lnTo>
                  <a:lnTo>
                    <a:pt x="690" y="19"/>
                  </a:lnTo>
                  <a:lnTo>
                    <a:pt x="682" y="16"/>
                  </a:lnTo>
                  <a:lnTo>
                    <a:pt x="683" y="16"/>
                  </a:lnTo>
                  <a:lnTo>
                    <a:pt x="682" y="10"/>
                  </a:lnTo>
                  <a:lnTo>
                    <a:pt x="676" y="10"/>
                  </a:lnTo>
                  <a:lnTo>
                    <a:pt x="665" y="16"/>
                  </a:lnTo>
                  <a:lnTo>
                    <a:pt x="639" y="21"/>
                  </a:lnTo>
                  <a:lnTo>
                    <a:pt x="628" y="27"/>
                  </a:lnTo>
                  <a:lnTo>
                    <a:pt x="610" y="32"/>
                  </a:lnTo>
                  <a:lnTo>
                    <a:pt x="601" y="27"/>
                  </a:lnTo>
                  <a:lnTo>
                    <a:pt x="583" y="24"/>
                  </a:lnTo>
                  <a:lnTo>
                    <a:pt x="569" y="32"/>
                  </a:lnTo>
                  <a:lnTo>
                    <a:pt x="567" y="49"/>
                  </a:lnTo>
                  <a:lnTo>
                    <a:pt x="559" y="53"/>
                  </a:lnTo>
                  <a:lnTo>
                    <a:pt x="509" y="53"/>
                  </a:lnTo>
                  <a:lnTo>
                    <a:pt x="486" y="47"/>
                  </a:lnTo>
                  <a:lnTo>
                    <a:pt x="472" y="37"/>
                  </a:lnTo>
                  <a:lnTo>
                    <a:pt x="465" y="46"/>
                  </a:lnTo>
                  <a:lnTo>
                    <a:pt x="457" y="43"/>
                  </a:lnTo>
                  <a:lnTo>
                    <a:pt x="436" y="25"/>
                  </a:lnTo>
                  <a:lnTo>
                    <a:pt x="434" y="16"/>
                  </a:lnTo>
                  <a:lnTo>
                    <a:pt x="427" y="6"/>
                  </a:lnTo>
                  <a:lnTo>
                    <a:pt x="411" y="5"/>
                  </a:lnTo>
                  <a:lnTo>
                    <a:pt x="397" y="5"/>
                  </a:lnTo>
                  <a:lnTo>
                    <a:pt x="384" y="16"/>
                  </a:lnTo>
                  <a:lnTo>
                    <a:pt x="378" y="22"/>
                  </a:lnTo>
                  <a:lnTo>
                    <a:pt x="371" y="37"/>
                  </a:lnTo>
                  <a:lnTo>
                    <a:pt x="363" y="42"/>
                  </a:lnTo>
                  <a:lnTo>
                    <a:pt x="360" y="56"/>
                  </a:lnTo>
                  <a:lnTo>
                    <a:pt x="359" y="75"/>
                  </a:lnTo>
                  <a:lnTo>
                    <a:pt x="362" y="84"/>
                  </a:lnTo>
                  <a:lnTo>
                    <a:pt x="349" y="86"/>
                  </a:lnTo>
                  <a:lnTo>
                    <a:pt x="352" y="103"/>
                  </a:lnTo>
                  <a:lnTo>
                    <a:pt x="347" y="122"/>
                  </a:lnTo>
                  <a:lnTo>
                    <a:pt x="326" y="159"/>
                  </a:lnTo>
                  <a:lnTo>
                    <a:pt x="316" y="183"/>
                  </a:lnTo>
                  <a:lnTo>
                    <a:pt x="307" y="227"/>
                  </a:lnTo>
                  <a:lnTo>
                    <a:pt x="306" y="293"/>
                  </a:lnTo>
                  <a:lnTo>
                    <a:pt x="299" y="323"/>
                  </a:lnTo>
                  <a:lnTo>
                    <a:pt x="298" y="327"/>
                  </a:lnTo>
                  <a:lnTo>
                    <a:pt x="283" y="340"/>
                  </a:lnTo>
                  <a:lnTo>
                    <a:pt x="264" y="350"/>
                  </a:lnTo>
                  <a:lnTo>
                    <a:pt x="247" y="366"/>
                  </a:lnTo>
                  <a:lnTo>
                    <a:pt x="224" y="402"/>
                  </a:lnTo>
                  <a:lnTo>
                    <a:pt x="217" y="423"/>
                  </a:lnTo>
                  <a:lnTo>
                    <a:pt x="213" y="444"/>
                  </a:lnTo>
                  <a:lnTo>
                    <a:pt x="213" y="462"/>
                  </a:lnTo>
                  <a:lnTo>
                    <a:pt x="209" y="480"/>
                  </a:lnTo>
                  <a:lnTo>
                    <a:pt x="196" y="501"/>
                  </a:lnTo>
                  <a:lnTo>
                    <a:pt x="181" y="516"/>
                  </a:lnTo>
                  <a:lnTo>
                    <a:pt x="167" y="523"/>
                  </a:lnTo>
                  <a:lnTo>
                    <a:pt x="144" y="544"/>
                  </a:lnTo>
                  <a:lnTo>
                    <a:pt x="123" y="552"/>
                  </a:lnTo>
                  <a:lnTo>
                    <a:pt x="113" y="549"/>
                  </a:lnTo>
                  <a:lnTo>
                    <a:pt x="112" y="531"/>
                  </a:lnTo>
                  <a:lnTo>
                    <a:pt x="110" y="526"/>
                  </a:lnTo>
                  <a:lnTo>
                    <a:pt x="96" y="530"/>
                  </a:lnTo>
                  <a:lnTo>
                    <a:pt x="83" y="532"/>
                  </a:lnTo>
                  <a:lnTo>
                    <a:pt x="75" y="538"/>
                  </a:lnTo>
                  <a:lnTo>
                    <a:pt x="68" y="551"/>
                  </a:lnTo>
                  <a:lnTo>
                    <a:pt x="56" y="554"/>
                  </a:lnTo>
                  <a:lnTo>
                    <a:pt x="40" y="544"/>
                  </a:lnTo>
                  <a:lnTo>
                    <a:pt x="36" y="546"/>
                  </a:lnTo>
                  <a:lnTo>
                    <a:pt x="27" y="552"/>
                  </a:lnTo>
                  <a:lnTo>
                    <a:pt x="18" y="560"/>
                  </a:lnTo>
                  <a:lnTo>
                    <a:pt x="14" y="576"/>
                  </a:lnTo>
                  <a:lnTo>
                    <a:pt x="11" y="591"/>
                  </a:lnTo>
                  <a:lnTo>
                    <a:pt x="10" y="603"/>
                  </a:lnTo>
                  <a:lnTo>
                    <a:pt x="2" y="608"/>
                  </a:lnTo>
                  <a:lnTo>
                    <a:pt x="3" y="612"/>
                  </a:lnTo>
                  <a:lnTo>
                    <a:pt x="3" y="619"/>
                  </a:lnTo>
                  <a:lnTo>
                    <a:pt x="0" y="625"/>
                  </a:lnTo>
                  <a:lnTo>
                    <a:pt x="2" y="629"/>
                  </a:lnTo>
                  <a:lnTo>
                    <a:pt x="3" y="627"/>
                  </a:lnTo>
                  <a:lnTo>
                    <a:pt x="9" y="624"/>
                  </a:lnTo>
                  <a:lnTo>
                    <a:pt x="27" y="619"/>
                  </a:lnTo>
                  <a:lnTo>
                    <a:pt x="41" y="612"/>
                  </a:lnTo>
                  <a:lnTo>
                    <a:pt x="54" y="607"/>
                  </a:lnTo>
                  <a:lnTo>
                    <a:pt x="63" y="607"/>
                  </a:lnTo>
                  <a:lnTo>
                    <a:pt x="70" y="606"/>
                  </a:lnTo>
                  <a:lnTo>
                    <a:pt x="94" y="607"/>
                  </a:lnTo>
                  <a:lnTo>
                    <a:pt x="116" y="605"/>
                  </a:lnTo>
                  <a:lnTo>
                    <a:pt x="123" y="607"/>
                  </a:lnTo>
                  <a:lnTo>
                    <a:pt x="142" y="608"/>
                  </a:lnTo>
                  <a:lnTo>
                    <a:pt x="155" y="606"/>
                  </a:lnTo>
                  <a:lnTo>
                    <a:pt x="169" y="606"/>
                  </a:lnTo>
                  <a:lnTo>
                    <a:pt x="202" y="603"/>
                  </a:lnTo>
                  <a:lnTo>
                    <a:pt x="218" y="605"/>
                  </a:lnTo>
                  <a:lnTo>
                    <a:pt x="220" y="606"/>
                  </a:lnTo>
                  <a:lnTo>
                    <a:pt x="225" y="613"/>
                  </a:lnTo>
                  <a:lnTo>
                    <a:pt x="229" y="614"/>
                  </a:lnTo>
                  <a:lnTo>
                    <a:pt x="233" y="613"/>
                  </a:lnTo>
                  <a:lnTo>
                    <a:pt x="237" y="622"/>
                  </a:lnTo>
                  <a:lnTo>
                    <a:pt x="242" y="640"/>
                  </a:lnTo>
                  <a:lnTo>
                    <a:pt x="244" y="654"/>
                  </a:lnTo>
                  <a:lnTo>
                    <a:pt x="245" y="659"/>
                  </a:lnTo>
                  <a:lnTo>
                    <a:pt x="252" y="671"/>
                  </a:lnTo>
                  <a:lnTo>
                    <a:pt x="256" y="687"/>
                  </a:lnTo>
                  <a:lnTo>
                    <a:pt x="268" y="700"/>
                  </a:lnTo>
                  <a:lnTo>
                    <a:pt x="289" y="727"/>
                  </a:lnTo>
                  <a:lnTo>
                    <a:pt x="301" y="732"/>
                  </a:lnTo>
                  <a:lnTo>
                    <a:pt x="315" y="732"/>
                  </a:lnTo>
                  <a:lnTo>
                    <a:pt x="336" y="725"/>
                  </a:lnTo>
                  <a:lnTo>
                    <a:pt x="349" y="722"/>
                  </a:lnTo>
                  <a:lnTo>
                    <a:pt x="366" y="725"/>
                  </a:lnTo>
                  <a:lnTo>
                    <a:pt x="386" y="725"/>
                  </a:lnTo>
                  <a:lnTo>
                    <a:pt x="389" y="710"/>
                  </a:lnTo>
                  <a:lnTo>
                    <a:pt x="390" y="703"/>
                  </a:lnTo>
                  <a:lnTo>
                    <a:pt x="392" y="698"/>
                  </a:lnTo>
                  <a:lnTo>
                    <a:pt x="393" y="694"/>
                  </a:lnTo>
                  <a:lnTo>
                    <a:pt x="395" y="689"/>
                  </a:lnTo>
                  <a:lnTo>
                    <a:pt x="396" y="678"/>
                  </a:lnTo>
                  <a:lnTo>
                    <a:pt x="398" y="670"/>
                  </a:lnTo>
                  <a:lnTo>
                    <a:pt x="441" y="670"/>
                  </a:lnTo>
                  <a:lnTo>
                    <a:pt x="444" y="664"/>
                  </a:lnTo>
                  <a:lnTo>
                    <a:pt x="467" y="664"/>
                  </a:lnTo>
                  <a:lnTo>
                    <a:pt x="466" y="686"/>
                  </a:lnTo>
                  <a:lnTo>
                    <a:pt x="514" y="687"/>
                  </a:lnTo>
                  <a:lnTo>
                    <a:pt x="518" y="691"/>
                  </a:lnTo>
                  <a:lnTo>
                    <a:pt x="520" y="699"/>
                  </a:lnTo>
                  <a:lnTo>
                    <a:pt x="522" y="731"/>
                  </a:lnTo>
                  <a:lnTo>
                    <a:pt x="525" y="743"/>
                  </a:lnTo>
                  <a:lnTo>
                    <a:pt x="525" y="759"/>
                  </a:lnTo>
                  <a:lnTo>
                    <a:pt x="527" y="775"/>
                  </a:lnTo>
                  <a:lnTo>
                    <a:pt x="527" y="781"/>
                  </a:lnTo>
                  <a:lnTo>
                    <a:pt x="524" y="792"/>
                  </a:lnTo>
                  <a:lnTo>
                    <a:pt x="524" y="806"/>
                  </a:lnTo>
                  <a:lnTo>
                    <a:pt x="526" y="815"/>
                  </a:lnTo>
                  <a:lnTo>
                    <a:pt x="535" y="829"/>
                  </a:lnTo>
                  <a:lnTo>
                    <a:pt x="541" y="850"/>
                  </a:lnTo>
                  <a:lnTo>
                    <a:pt x="547" y="866"/>
                  </a:lnTo>
                  <a:lnTo>
                    <a:pt x="547" y="874"/>
                  </a:lnTo>
                  <a:lnTo>
                    <a:pt x="542" y="881"/>
                  </a:lnTo>
                  <a:lnTo>
                    <a:pt x="531" y="892"/>
                  </a:lnTo>
                  <a:lnTo>
                    <a:pt x="531" y="894"/>
                  </a:lnTo>
                  <a:lnTo>
                    <a:pt x="532" y="897"/>
                  </a:lnTo>
                  <a:lnTo>
                    <a:pt x="534" y="898"/>
                  </a:lnTo>
                  <a:lnTo>
                    <a:pt x="537" y="899"/>
                  </a:lnTo>
                  <a:lnTo>
                    <a:pt x="543" y="907"/>
                  </a:lnTo>
                  <a:lnTo>
                    <a:pt x="549" y="908"/>
                  </a:lnTo>
                  <a:lnTo>
                    <a:pt x="552" y="907"/>
                  </a:lnTo>
                  <a:lnTo>
                    <a:pt x="554" y="901"/>
                  </a:lnTo>
                  <a:lnTo>
                    <a:pt x="557" y="893"/>
                  </a:lnTo>
                  <a:lnTo>
                    <a:pt x="562" y="891"/>
                  </a:lnTo>
                  <a:lnTo>
                    <a:pt x="613" y="891"/>
                  </a:lnTo>
                  <a:lnTo>
                    <a:pt x="623" y="887"/>
                  </a:lnTo>
                  <a:lnTo>
                    <a:pt x="632" y="890"/>
                  </a:lnTo>
                  <a:lnTo>
                    <a:pt x="634" y="890"/>
                  </a:lnTo>
                  <a:lnTo>
                    <a:pt x="644" y="882"/>
                  </a:lnTo>
                  <a:lnTo>
                    <a:pt x="645" y="882"/>
                  </a:lnTo>
                  <a:lnTo>
                    <a:pt x="655" y="880"/>
                  </a:lnTo>
                  <a:lnTo>
                    <a:pt x="659" y="880"/>
                  </a:lnTo>
                  <a:lnTo>
                    <a:pt x="661" y="881"/>
                  </a:lnTo>
                  <a:lnTo>
                    <a:pt x="667" y="891"/>
                  </a:lnTo>
                  <a:lnTo>
                    <a:pt x="667" y="903"/>
                  </a:lnTo>
                  <a:lnTo>
                    <a:pt x="669" y="908"/>
                  </a:lnTo>
                  <a:lnTo>
                    <a:pt x="672" y="908"/>
                  </a:lnTo>
                  <a:lnTo>
                    <a:pt x="686" y="902"/>
                  </a:lnTo>
                  <a:lnTo>
                    <a:pt x="691" y="901"/>
                  </a:lnTo>
                  <a:lnTo>
                    <a:pt x="697" y="901"/>
                  </a:lnTo>
                  <a:lnTo>
                    <a:pt x="708" y="896"/>
                  </a:lnTo>
                  <a:lnTo>
                    <a:pt x="714" y="904"/>
                  </a:lnTo>
                  <a:lnTo>
                    <a:pt x="718" y="913"/>
                  </a:lnTo>
                  <a:lnTo>
                    <a:pt x="723" y="919"/>
                  </a:lnTo>
                  <a:lnTo>
                    <a:pt x="736" y="925"/>
                  </a:lnTo>
                  <a:lnTo>
                    <a:pt x="748" y="933"/>
                  </a:lnTo>
                  <a:lnTo>
                    <a:pt x="766" y="940"/>
                  </a:lnTo>
                  <a:lnTo>
                    <a:pt x="778" y="941"/>
                  </a:lnTo>
                  <a:lnTo>
                    <a:pt x="787" y="939"/>
                  </a:lnTo>
                  <a:lnTo>
                    <a:pt x="799" y="934"/>
                  </a:lnTo>
                  <a:lnTo>
                    <a:pt x="809" y="931"/>
                  </a:lnTo>
                  <a:lnTo>
                    <a:pt x="814" y="933"/>
                  </a:lnTo>
                  <a:lnTo>
                    <a:pt x="833" y="951"/>
                  </a:lnTo>
                  <a:lnTo>
                    <a:pt x="847" y="957"/>
                  </a:lnTo>
                  <a:lnTo>
                    <a:pt x="858" y="961"/>
                  </a:lnTo>
                  <a:lnTo>
                    <a:pt x="869" y="962"/>
                  </a:lnTo>
                  <a:lnTo>
                    <a:pt x="876" y="968"/>
                  </a:lnTo>
                  <a:lnTo>
                    <a:pt x="881" y="980"/>
                  </a:lnTo>
                  <a:lnTo>
                    <a:pt x="885" y="987"/>
                  </a:lnTo>
                  <a:lnTo>
                    <a:pt x="898" y="999"/>
                  </a:lnTo>
                  <a:lnTo>
                    <a:pt x="912" y="1007"/>
                  </a:lnTo>
                  <a:lnTo>
                    <a:pt x="922" y="1011"/>
                  </a:lnTo>
                  <a:lnTo>
                    <a:pt x="932" y="1012"/>
                  </a:lnTo>
                  <a:lnTo>
                    <a:pt x="935" y="1012"/>
                  </a:lnTo>
                  <a:lnTo>
                    <a:pt x="941" y="1010"/>
                  </a:lnTo>
                  <a:lnTo>
                    <a:pt x="945" y="1009"/>
                  </a:lnTo>
                  <a:lnTo>
                    <a:pt x="946" y="1010"/>
                  </a:lnTo>
                  <a:lnTo>
                    <a:pt x="951" y="1017"/>
                  </a:lnTo>
                  <a:lnTo>
                    <a:pt x="955" y="1018"/>
                  </a:lnTo>
                  <a:lnTo>
                    <a:pt x="959" y="1018"/>
                  </a:lnTo>
                  <a:lnTo>
                    <a:pt x="961" y="1016"/>
                  </a:lnTo>
                  <a:lnTo>
                    <a:pt x="961" y="1009"/>
                  </a:lnTo>
                  <a:lnTo>
                    <a:pt x="960" y="1001"/>
                  </a:lnTo>
                  <a:lnTo>
                    <a:pt x="959" y="966"/>
                  </a:lnTo>
                  <a:lnTo>
                    <a:pt x="956" y="958"/>
                  </a:lnTo>
                  <a:lnTo>
                    <a:pt x="950" y="957"/>
                  </a:lnTo>
                  <a:lnTo>
                    <a:pt x="941" y="962"/>
                  </a:lnTo>
                  <a:lnTo>
                    <a:pt x="930" y="960"/>
                  </a:lnTo>
                  <a:lnTo>
                    <a:pt x="918" y="960"/>
                  </a:lnTo>
                  <a:lnTo>
                    <a:pt x="911" y="955"/>
                  </a:lnTo>
                  <a:lnTo>
                    <a:pt x="901" y="942"/>
                  </a:lnTo>
                  <a:lnTo>
                    <a:pt x="895" y="936"/>
                  </a:lnTo>
                  <a:lnTo>
                    <a:pt x="893" y="934"/>
                  </a:lnTo>
                  <a:lnTo>
                    <a:pt x="892" y="924"/>
                  </a:lnTo>
                  <a:lnTo>
                    <a:pt x="895" y="917"/>
                  </a:lnTo>
                  <a:lnTo>
                    <a:pt x="897" y="905"/>
                  </a:lnTo>
                  <a:lnTo>
                    <a:pt x="912" y="866"/>
                  </a:lnTo>
                  <a:lnTo>
                    <a:pt x="913" y="859"/>
                  </a:lnTo>
                  <a:lnTo>
                    <a:pt x="914" y="834"/>
                  </a:lnTo>
                  <a:lnTo>
                    <a:pt x="912" y="820"/>
                  </a:lnTo>
                  <a:lnTo>
                    <a:pt x="905" y="801"/>
                  </a:lnTo>
                  <a:lnTo>
                    <a:pt x="905" y="791"/>
                  </a:lnTo>
                  <a:lnTo>
                    <a:pt x="907" y="788"/>
                  </a:lnTo>
                  <a:lnTo>
                    <a:pt x="909" y="779"/>
                  </a:lnTo>
                  <a:lnTo>
                    <a:pt x="914" y="772"/>
                  </a:lnTo>
                  <a:lnTo>
                    <a:pt x="922" y="758"/>
                  </a:lnTo>
                  <a:lnTo>
                    <a:pt x="924" y="756"/>
                  </a:lnTo>
                  <a:lnTo>
                    <a:pt x="929" y="752"/>
                  </a:lnTo>
                  <a:lnTo>
                    <a:pt x="932" y="752"/>
                  </a:lnTo>
                  <a:lnTo>
                    <a:pt x="941" y="748"/>
                  </a:lnTo>
                  <a:lnTo>
                    <a:pt x="1003" y="735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3" name="Freeform 53"/>
            <p:cNvSpPr>
              <a:spLocks noChangeAspect="1"/>
            </p:cNvSpPr>
            <p:nvPr/>
          </p:nvSpPr>
          <p:spPr bwMode="gray">
            <a:xfrm>
              <a:off x="5352905" y="4845806"/>
              <a:ext cx="52830" cy="5679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0" y="11"/>
                </a:cxn>
                <a:cxn ang="0">
                  <a:pos x="30" y="7"/>
                </a:cxn>
                <a:cxn ang="0">
                  <a:pos x="68" y="32"/>
                </a:cxn>
                <a:cxn ang="0">
                  <a:pos x="105" y="36"/>
                </a:cxn>
                <a:cxn ang="0">
                  <a:pos x="127" y="23"/>
                </a:cxn>
                <a:cxn ang="0">
                  <a:pos x="148" y="22"/>
                </a:cxn>
                <a:cxn ang="0">
                  <a:pos x="165" y="13"/>
                </a:cxn>
                <a:cxn ang="0">
                  <a:pos x="176" y="7"/>
                </a:cxn>
                <a:cxn ang="0">
                  <a:pos x="193" y="22"/>
                </a:cxn>
                <a:cxn ang="0">
                  <a:pos x="198" y="54"/>
                </a:cxn>
                <a:cxn ang="0">
                  <a:pos x="196" y="85"/>
                </a:cxn>
                <a:cxn ang="0">
                  <a:pos x="201" y="109"/>
                </a:cxn>
                <a:cxn ang="0">
                  <a:pos x="198" y="112"/>
                </a:cxn>
                <a:cxn ang="0">
                  <a:pos x="194" y="94"/>
                </a:cxn>
                <a:cxn ang="0">
                  <a:pos x="182" y="119"/>
                </a:cxn>
                <a:cxn ang="0">
                  <a:pos x="177" y="135"/>
                </a:cxn>
                <a:cxn ang="0">
                  <a:pos x="172" y="157"/>
                </a:cxn>
                <a:cxn ang="0">
                  <a:pos x="156" y="155"/>
                </a:cxn>
                <a:cxn ang="0">
                  <a:pos x="154" y="167"/>
                </a:cxn>
                <a:cxn ang="0">
                  <a:pos x="143" y="179"/>
                </a:cxn>
                <a:cxn ang="0">
                  <a:pos x="137" y="184"/>
                </a:cxn>
                <a:cxn ang="0">
                  <a:pos x="127" y="187"/>
                </a:cxn>
                <a:cxn ang="0">
                  <a:pos x="124" y="206"/>
                </a:cxn>
                <a:cxn ang="0">
                  <a:pos x="111" y="216"/>
                </a:cxn>
                <a:cxn ang="0">
                  <a:pos x="99" y="209"/>
                </a:cxn>
                <a:cxn ang="0">
                  <a:pos x="83" y="208"/>
                </a:cxn>
                <a:cxn ang="0">
                  <a:pos x="69" y="201"/>
                </a:cxn>
                <a:cxn ang="0">
                  <a:pos x="80" y="193"/>
                </a:cxn>
                <a:cxn ang="0">
                  <a:pos x="62" y="188"/>
                </a:cxn>
                <a:cxn ang="0">
                  <a:pos x="41" y="157"/>
                </a:cxn>
                <a:cxn ang="0">
                  <a:pos x="25" y="107"/>
                </a:cxn>
                <a:cxn ang="0">
                  <a:pos x="45" y="118"/>
                </a:cxn>
                <a:cxn ang="0">
                  <a:pos x="25" y="92"/>
                </a:cxn>
                <a:cxn ang="0">
                  <a:pos x="2" y="24"/>
                </a:cxn>
              </a:cxnLst>
              <a:rect l="0" t="0" r="r" b="b"/>
              <a:pathLst>
                <a:path w="201" h="216">
                  <a:moveTo>
                    <a:pt x="2" y="0"/>
                  </a:moveTo>
                  <a:lnTo>
                    <a:pt x="4" y="4"/>
                  </a:lnTo>
                  <a:lnTo>
                    <a:pt x="13" y="6"/>
                  </a:lnTo>
                  <a:lnTo>
                    <a:pt x="20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43" y="13"/>
                  </a:lnTo>
                  <a:lnTo>
                    <a:pt x="68" y="32"/>
                  </a:lnTo>
                  <a:lnTo>
                    <a:pt x="100" y="36"/>
                  </a:lnTo>
                  <a:lnTo>
                    <a:pt x="105" y="36"/>
                  </a:lnTo>
                  <a:lnTo>
                    <a:pt x="116" y="28"/>
                  </a:lnTo>
                  <a:lnTo>
                    <a:pt x="127" y="23"/>
                  </a:lnTo>
                  <a:lnTo>
                    <a:pt x="137" y="24"/>
                  </a:lnTo>
                  <a:lnTo>
                    <a:pt x="148" y="22"/>
                  </a:lnTo>
                  <a:lnTo>
                    <a:pt x="159" y="11"/>
                  </a:lnTo>
                  <a:lnTo>
                    <a:pt x="165" y="13"/>
                  </a:lnTo>
                  <a:lnTo>
                    <a:pt x="172" y="16"/>
                  </a:lnTo>
                  <a:lnTo>
                    <a:pt x="176" y="7"/>
                  </a:lnTo>
                  <a:lnTo>
                    <a:pt x="185" y="11"/>
                  </a:lnTo>
                  <a:lnTo>
                    <a:pt x="193" y="22"/>
                  </a:lnTo>
                  <a:lnTo>
                    <a:pt x="197" y="44"/>
                  </a:lnTo>
                  <a:lnTo>
                    <a:pt x="198" y="54"/>
                  </a:lnTo>
                  <a:lnTo>
                    <a:pt x="196" y="65"/>
                  </a:lnTo>
                  <a:lnTo>
                    <a:pt x="196" y="85"/>
                  </a:lnTo>
                  <a:lnTo>
                    <a:pt x="198" y="103"/>
                  </a:lnTo>
                  <a:lnTo>
                    <a:pt x="201" y="109"/>
                  </a:lnTo>
                  <a:lnTo>
                    <a:pt x="198" y="122"/>
                  </a:lnTo>
                  <a:lnTo>
                    <a:pt x="198" y="112"/>
                  </a:lnTo>
                  <a:lnTo>
                    <a:pt x="197" y="102"/>
                  </a:lnTo>
                  <a:lnTo>
                    <a:pt x="194" y="94"/>
                  </a:lnTo>
                  <a:lnTo>
                    <a:pt x="192" y="101"/>
                  </a:lnTo>
                  <a:lnTo>
                    <a:pt x="182" y="119"/>
                  </a:lnTo>
                  <a:lnTo>
                    <a:pt x="182" y="134"/>
                  </a:lnTo>
                  <a:lnTo>
                    <a:pt x="177" y="135"/>
                  </a:lnTo>
                  <a:lnTo>
                    <a:pt x="177" y="153"/>
                  </a:lnTo>
                  <a:lnTo>
                    <a:pt x="172" y="157"/>
                  </a:lnTo>
                  <a:lnTo>
                    <a:pt x="166" y="157"/>
                  </a:lnTo>
                  <a:lnTo>
                    <a:pt x="156" y="155"/>
                  </a:lnTo>
                  <a:lnTo>
                    <a:pt x="154" y="158"/>
                  </a:lnTo>
                  <a:lnTo>
                    <a:pt x="154" y="167"/>
                  </a:lnTo>
                  <a:lnTo>
                    <a:pt x="150" y="176"/>
                  </a:lnTo>
                  <a:lnTo>
                    <a:pt x="143" y="179"/>
                  </a:lnTo>
                  <a:lnTo>
                    <a:pt x="140" y="190"/>
                  </a:lnTo>
                  <a:lnTo>
                    <a:pt x="137" y="184"/>
                  </a:lnTo>
                  <a:lnTo>
                    <a:pt x="131" y="182"/>
                  </a:lnTo>
                  <a:lnTo>
                    <a:pt x="127" y="187"/>
                  </a:lnTo>
                  <a:lnTo>
                    <a:pt x="124" y="198"/>
                  </a:lnTo>
                  <a:lnTo>
                    <a:pt x="124" y="206"/>
                  </a:lnTo>
                  <a:lnTo>
                    <a:pt x="117" y="215"/>
                  </a:lnTo>
                  <a:lnTo>
                    <a:pt x="111" y="216"/>
                  </a:lnTo>
                  <a:lnTo>
                    <a:pt x="105" y="211"/>
                  </a:lnTo>
                  <a:lnTo>
                    <a:pt x="99" y="209"/>
                  </a:lnTo>
                  <a:lnTo>
                    <a:pt x="94" y="212"/>
                  </a:lnTo>
                  <a:lnTo>
                    <a:pt x="83" y="208"/>
                  </a:lnTo>
                  <a:lnTo>
                    <a:pt x="73" y="208"/>
                  </a:lnTo>
                  <a:lnTo>
                    <a:pt x="69" y="201"/>
                  </a:lnTo>
                  <a:lnTo>
                    <a:pt x="77" y="200"/>
                  </a:lnTo>
                  <a:lnTo>
                    <a:pt x="80" y="193"/>
                  </a:lnTo>
                  <a:lnTo>
                    <a:pt x="70" y="193"/>
                  </a:lnTo>
                  <a:lnTo>
                    <a:pt x="62" y="188"/>
                  </a:lnTo>
                  <a:lnTo>
                    <a:pt x="49" y="165"/>
                  </a:lnTo>
                  <a:lnTo>
                    <a:pt x="41" y="157"/>
                  </a:lnTo>
                  <a:lnTo>
                    <a:pt x="37" y="151"/>
                  </a:lnTo>
                  <a:lnTo>
                    <a:pt x="25" y="107"/>
                  </a:lnTo>
                  <a:lnTo>
                    <a:pt x="37" y="129"/>
                  </a:lnTo>
                  <a:lnTo>
                    <a:pt x="45" y="118"/>
                  </a:lnTo>
                  <a:lnTo>
                    <a:pt x="37" y="113"/>
                  </a:lnTo>
                  <a:lnTo>
                    <a:pt x="25" y="92"/>
                  </a:lnTo>
                  <a:lnTo>
                    <a:pt x="0" y="39"/>
                  </a:lnTo>
                  <a:lnTo>
                    <a:pt x="2" y="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4" name="Freeform 54"/>
            <p:cNvSpPr>
              <a:spLocks noChangeAspect="1"/>
            </p:cNvSpPr>
            <p:nvPr/>
          </p:nvSpPr>
          <p:spPr bwMode="gray">
            <a:xfrm>
              <a:off x="4894608" y="4358452"/>
              <a:ext cx="586410" cy="458297"/>
            </a:xfrm>
            <a:custGeom>
              <a:avLst/>
              <a:gdLst/>
              <a:ahLst/>
              <a:cxnLst>
                <a:cxn ang="0">
                  <a:pos x="80" y="633"/>
                </a:cxn>
                <a:cxn ang="0">
                  <a:pos x="198" y="560"/>
                </a:cxn>
                <a:cxn ang="0">
                  <a:pos x="357" y="522"/>
                </a:cxn>
                <a:cxn ang="0">
                  <a:pos x="497" y="418"/>
                </a:cxn>
                <a:cxn ang="0">
                  <a:pos x="533" y="330"/>
                </a:cxn>
                <a:cxn ang="0">
                  <a:pos x="566" y="326"/>
                </a:cxn>
                <a:cxn ang="0">
                  <a:pos x="634" y="262"/>
                </a:cxn>
                <a:cxn ang="0">
                  <a:pos x="688" y="222"/>
                </a:cxn>
                <a:cxn ang="0">
                  <a:pos x="739" y="187"/>
                </a:cxn>
                <a:cxn ang="0">
                  <a:pos x="818" y="257"/>
                </a:cxn>
                <a:cxn ang="0">
                  <a:pos x="898" y="254"/>
                </a:cxn>
                <a:cxn ang="0">
                  <a:pos x="921" y="160"/>
                </a:cxn>
                <a:cxn ang="0">
                  <a:pos x="974" y="108"/>
                </a:cxn>
                <a:cxn ang="0">
                  <a:pos x="1045" y="48"/>
                </a:cxn>
                <a:cxn ang="0">
                  <a:pos x="1044" y="29"/>
                </a:cxn>
                <a:cxn ang="0">
                  <a:pos x="1116" y="65"/>
                </a:cxn>
                <a:cxn ang="0">
                  <a:pos x="1205" y="90"/>
                </a:cxn>
                <a:cxn ang="0">
                  <a:pos x="1264" y="90"/>
                </a:cxn>
                <a:cxn ang="0">
                  <a:pos x="1279" y="118"/>
                </a:cxn>
                <a:cxn ang="0">
                  <a:pos x="1243" y="165"/>
                </a:cxn>
                <a:cxn ang="0">
                  <a:pos x="1269" y="264"/>
                </a:cxn>
                <a:cxn ang="0">
                  <a:pos x="1384" y="339"/>
                </a:cxn>
                <a:cxn ang="0">
                  <a:pos x="1553" y="270"/>
                </a:cxn>
                <a:cxn ang="0">
                  <a:pos x="1575" y="72"/>
                </a:cxn>
                <a:cxn ang="0">
                  <a:pos x="1623" y="17"/>
                </a:cxn>
                <a:cxn ang="0">
                  <a:pos x="1667" y="171"/>
                </a:cxn>
                <a:cxn ang="0">
                  <a:pos x="1761" y="252"/>
                </a:cxn>
                <a:cxn ang="0">
                  <a:pos x="1806" y="416"/>
                </a:cxn>
                <a:cxn ang="0">
                  <a:pos x="1851" y="485"/>
                </a:cxn>
                <a:cxn ang="0">
                  <a:pos x="1954" y="540"/>
                </a:cxn>
                <a:cxn ang="0">
                  <a:pos x="1994" y="645"/>
                </a:cxn>
                <a:cxn ang="0">
                  <a:pos x="2054" y="661"/>
                </a:cxn>
                <a:cxn ang="0">
                  <a:pos x="2132" y="791"/>
                </a:cxn>
                <a:cxn ang="0">
                  <a:pos x="2191" y="911"/>
                </a:cxn>
                <a:cxn ang="0">
                  <a:pos x="2206" y="1090"/>
                </a:cxn>
                <a:cxn ang="0">
                  <a:pos x="2158" y="1285"/>
                </a:cxn>
                <a:cxn ang="0">
                  <a:pos x="2089" y="1365"/>
                </a:cxn>
                <a:cxn ang="0">
                  <a:pos x="2034" y="1506"/>
                </a:cxn>
                <a:cxn ang="0">
                  <a:pos x="2008" y="1625"/>
                </a:cxn>
                <a:cxn ang="0">
                  <a:pos x="1823" y="1705"/>
                </a:cxn>
                <a:cxn ang="0">
                  <a:pos x="1785" y="1704"/>
                </a:cxn>
                <a:cxn ang="0">
                  <a:pos x="1715" y="1661"/>
                </a:cxn>
                <a:cxn ang="0">
                  <a:pos x="1572" y="1674"/>
                </a:cxn>
                <a:cxn ang="0">
                  <a:pos x="1453" y="1530"/>
                </a:cxn>
                <a:cxn ang="0">
                  <a:pos x="1376" y="1406"/>
                </a:cxn>
                <a:cxn ang="0">
                  <a:pos x="1330" y="1443"/>
                </a:cxn>
                <a:cxn ang="0">
                  <a:pos x="1358" y="1317"/>
                </a:cxn>
                <a:cxn ang="0">
                  <a:pos x="1302" y="1370"/>
                </a:cxn>
                <a:cxn ang="0">
                  <a:pos x="1220" y="1433"/>
                </a:cxn>
                <a:cxn ang="0">
                  <a:pos x="1177" y="1335"/>
                </a:cxn>
                <a:cxn ang="0">
                  <a:pos x="1062" y="1253"/>
                </a:cxn>
                <a:cxn ang="0">
                  <a:pos x="779" y="1270"/>
                </a:cxn>
                <a:cxn ang="0">
                  <a:pos x="587" y="1354"/>
                </a:cxn>
                <a:cxn ang="0">
                  <a:pos x="419" y="1379"/>
                </a:cxn>
                <a:cxn ang="0">
                  <a:pos x="271" y="1452"/>
                </a:cxn>
                <a:cxn ang="0">
                  <a:pos x="130" y="1405"/>
                </a:cxn>
                <a:cxn ang="0">
                  <a:pos x="142" y="1286"/>
                </a:cxn>
                <a:cxn ang="0">
                  <a:pos x="66" y="1024"/>
                </a:cxn>
                <a:cxn ang="0">
                  <a:pos x="12" y="897"/>
                </a:cxn>
                <a:cxn ang="0">
                  <a:pos x="35" y="884"/>
                </a:cxn>
                <a:cxn ang="0">
                  <a:pos x="8" y="758"/>
                </a:cxn>
              </a:cxnLst>
              <a:rect l="0" t="0" r="r" b="b"/>
              <a:pathLst>
                <a:path w="2217" h="1736">
                  <a:moveTo>
                    <a:pt x="43" y="634"/>
                  </a:moveTo>
                  <a:lnTo>
                    <a:pt x="49" y="629"/>
                  </a:lnTo>
                  <a:lnTo>
                    <a:pt x="48" y="645"/>
                  </a:lnTo>
                  <a:lnTo>
                    <a:pt x="48" y="647"/>
                  </a:lnTo>
                  <a:lnTo>
                    <a:pt x="45" y="651"/>
                  </a:lnTo>
                  <a:lnTo>
                    <a:pt x="44" y="656"/>
                  </a:lnTo>
                  <a:lnTo>
                    <a:pt x="48" y="658"/>
                  </a:lnTo>
                  <a:lnTo>
                    <a:pt x="46" y="666"/>
                  </a:lnTo>
                  <a:lnTo>
                    <a:pt x="45" y="671"/>
                  </a:lnTo>
                  <a:lnTo>
                    <a:pt x="50" y="673"/>
                  </a:lnTo>
                  <a:lnTo>
                    <a:pt x="59" y="666"/>
                  </a:lnTo>
                  <a:lnTo>
                    <a:pt x="62" y="652"/>
                  </a:lnTo>
                  <a:lnTo>
                    <a:pt x="72" y="636"/>
                  </a:lnTo>
                  <a:lnTo>
                    <a:pt x="80" y="633"/>
                  </a:lnTo>
                  <a:lnTo>
                    <a:pt x="87" y="628"/>
                  </a:lnTo>
                  <a:lnTo>
                    <a:pt x="94" y="626"/>
                  </a:lnTo>
                  <a:lnTo>
                    <a:pt x="102" y="620"/>
                  </a:lnTo>
                  <a:lnTo>
                    <a:pt x="120" y="617"/>
                  </a:lnTo>
                  <a:lnTo>
                    <a:pt x="125" y="608"/>
                  </a:lnTo>
                  <a:lnTo>
                    <a:pt x="132" y="601"/>
                  </a:lnTo>
                  <a:lnTo>
                    <a:pt x="140" y="596"/>
                  </a:lnTo>
                  <a:lnTo>
                    <a:pt x="146" y="586"/>
                  </a:lnTo>
                  <a:lnTo>
                    <a:pt x="161" y="580"/>
                  </a:lnTo>
                  <a:lnTo>
                    <a:pt x="167" y="575"/>
                  </a:lnTo>
                  <a:lnTo>
                    <a:pt x="174" y="571"/>
                  </a:lnTo>
                  <a:lnTo>
                    <a:pt x="191" y="559"/>
                  </a:lnTo>
                  <a:lnTo>
                    <a:pt x="195" y="558"/>
                  </a:lnTo>
                  <a:lnTo>
                    <a:pt x="198" y="560"/>
                  </a:lnTo>
                  <a:lnTo>
                    <a:pt x="214" y="561"/>
                  </a:lnTo>
                  <a:lnTo>
                    <a:pt x="222" y="564"/>
                  </a:lnTo>
                  <a:lnTo>
                    <a:pt x="232" y="565"/>
                  </a:lnTo>
                  <a:lnTo>
                    <a:pt x="241" y="564"/>
                  </a:lnTo>
                  <a:lnTo>
                    <a:pt x="249" y="561"/>
                  </a:lnTo>
                  <a:lnTo>
                    <a:pt x="260" y="553"/>
                  </a:lnTo>
                  <a:lnTo>
                    <a:pt x="270" y="547"/>
                  </a:lnTo>
                  <a:lnTo>
                    <a:pt x="280" y="544"/>
                  </a:lnTo>
                  <a:lnTo>
                    <a:pt x="291" y="544"/>
                  </a:lnTo>
                  <a:lnTo>
                    <a:pt x="301" y="542"/>
                  </a:lnTo>
                  <a:lnTo>
                    <a:pt x="322" y="522"/>
                  </a:lnTo>
                  <a:lnTo>
                    <a:pt x="335" y="522"/>
                  </a:lnTo>
                  <a:lnTo>
                    <a:pt x="345" y="527"/>
                  </a:lnTo>
                  <a:lnTo>
                    <a:pt x="357" y="522"/>
                  </a:lnTo>
                  <a:lnTo>
                    <a:pt x="370" y="522"/>
                  </a:lnTo>
                  <a:lnTo>
                    <a:pt x="378" y="520"/>
                  </a:lnTo>
                  <a:lnTo>
                    <a:pt x="388" y="515"/>
                  </a:lnTo>
                  <a:lnTo>
                    <a:pt x="413" y="510"/>
                  </a:lnTo>
                  <a:lnTo>
                    <a:pt x="424" y="504"/>
                  </a:lnTo>
                  <a:lnTo>
                    <a:pt x="432" y="499"/>
                  </a:lnTo>
                  <a:lnTo>
                    <a:pt x="454" y="478"/>
                  </a:lnTo>
                  <a:lnTo>
                    <a:pt x="458" y="470"/>
                  </a:lnTo>
                  <a:lnTo>
                    <a:pt x="459" y="461"/>
                  </a:lnTo>
                  <a:lnTo>
                    <a:pt x="467" y="450"/>
                  </a:lnTo>
                  <a:lnTo>
                    <a:pt x="469" y="445"/>
                  </a:lnTo>
                  <a:lnTo>
                    <a:pt x="469" y="439"/>
                  </a:lnTo>
                  <a:lnTo>
                    <a:pt x="476" y="440"/>
                  </a:lnTo>
                  <a:lnTo>
                    <a:pt x="497" y="418"/>
                  </a:lnTo>
                  <a:lnTo>
                    <a:pt x="500" y="413"/>
                  </a:lnTo>
                  <a:lnTo>
                    <a:pt x="497" y="410"/>
                  </a:lnTo>
                  <a:lnTo>
                    <a:pt x="490" y="381"/>
                  </a:lnTo>
                  <a:lnTo>
                    <a:pt x="491" y="369"/>
                  </a:lnTo>
                  <a:lnTo>
                    <a:pt x="499" y="355"/>
                  </a:lnTo>
                  <a:lnTo>
                    <a:pt x="502" y="353"/>
                  </a:lnTo>
                  <a:lnTo>
                    <a:pt x="508" y="353"/>
                  </a:lnTo>
                  <a:lnTo>
                    <a:pt x="512" y="345"/>
                  </a:lnTo>
                  <a:lnTo>
                    <a:pt x="521" y="338"/>
                  </a:lnTo>
                  <a:lnTo>
                    <a:pt x="524" y="338"/>
                  </a:lnTo>
                  <a:lnTo>
                    <a:pt x="523" y="333"/>
                  </a:lnTo>
                  <a:lnTo>
                    <a:pt x="528" y="322"/>
                  </a:lnTo>
                  <a:lnTo>
                    <a:pt x="530" y="321"/>
                  </a:lnTo>
                  <a:lnTo>
                    <a:pt x="533" y="330"/>
                  </a:lnTo>
                  <a:lnTo>
                    <a:pt x="537" y="337"/>
                  </a:lnTo>
                  <a:lnTo>
                    <a:pt x="543" y="353"/>
                  </a:lnTo>
                  <a:lnTo>
                    <a:pt x="549" y="365"/>
                  </a:lnTo>
                  <a:lnTo>
                    <a:pt x="555" y="372"/>
                  </a:lnTo>
                  <a:lnTo>
                    <a:pt x="560" y="381"/>
                  </a:lnTo>
                  <a:lnTo>
                    <a:pt x="564" y="386"/>
                  </a:lnTo>
                  <a:lnTo>
                    <a:pt x="569" y="375"/>
                  </a:lnTo>
                  <a:lnTo>
                    <a:pt x="569" y="360"/>
                  </a:lnTo>
                  <a:lnTo>
                    <a:pt x="571" y="360"/>
                  </a:lnTo>
                  <a:lnTo>
                    <a:pt x="578" y="359"/>
                  </a:lnTo>
                  <a:lnTo>
                    <a:pt x="576" y="346"/>
                  </a:lnTo>
                  <a:lnTo>
                    <a:pt x="570" y="335"/>
                  </a:lnTo>
                  <a:lnTo>
                    <a:pt x="564" y="330"/>
                  </a:lnTo>
                  <a:lnTo>
                    <a:pt x="566" y="326"/>
                  </a:lnTo>
                  <a:lnTo>
                    <a:pt x="565" y="310"/>
                  </a:lnTo>
                  <a:lnTo>
                    <a:pt x="570" y="305"/>
                  </a:lnTo>
                  <a:lnTo>
                    <a:pt x="580" y="310"/>
                  </a:lnTo>
                  <a:lnTo>
                    <a:pt x="588" y="308"/>
                  </a:lnTo>
                  <a:lnTo>
                    <a:pt x="601" y="324"/>
                  </a:lnTo>
                  <a:lnTo>
                    <a:pt x="618" y="327"/>
                  </a:lnTo>
                  <a:lnTo>
                    <a:pt x="619" y="319"/>
                  </a:lnTo>
                  <a:lnTo>
                    <a:pt x="610" y="316"/>
                  </a:lnTo>
                  <a:lnTo>
                    <a:pt x="613" y="303"/>
                  </a:lnTo>
                  <a:lnTo>
                    <a:pt x="623" y="294"/>
                  </a:lnTo>
                  <a:lnTo>
                    <a:pt x="625" y="287"/>
                  </a:lnTo>
                  <a:lnTo>
                    <a:pt x="620" y="270"/>
                  </a:lnTo>
                  <a:lnTo>
                    <a:pt x="625" y="264"/>
                  </a:lnTo>
                  <a:lnTo>
                    <a:pt x="634" y="262"/>
                  </a:lnTo>
                  <a:lnTo>
                    <a:pt x="645" y="268"/>
                  </a:lnTo>
                  <a:lnTo>
                    <a:pt x="647" y="265"/>
                  </a:lnTo>
                  <a:lnTo>
                    <a:pt x="641" y="253"/>
                  </a:lnTo>
                  <a:lnTo>
                    <a:pt x="642" y="247"/>
                  </a:lnTo>
                  <a:lnTo>
                    <a:pt x="646" y="242"/>
                  </a:lnTo>
                  <a:lnTo>
                    <a:pt x="663" y="248"/>
                  </a:lnTo>
                  <a:lnTo>
                    <a:pt x="663" y="243"/>
                  </a:lnTo>
                  <a:lnTo>
                    <a:pt x="657" y="233"/>
                  </a:lnTo>
                  <a:lnTo>
                    <a:pt x="657" y="221"/>
                  </a:lnTo>
                  <a:lnTo>
                    <a:pt x="666" y="217"/>
                  </a:lnTo>
                  <a:lnTo>
                    <a:pt x="671" y="217"/>
                  </a:lnTo>
                  <a:lnTo>
                    <a:pt x="677" y="215"/>
                  </a:lnTo>
                  <a:lnTo>
                    <a:pt x="687" y="214"/>
                  </a:lnTo>
                  <a:lnTo>
                    <a:pt x="688" y="222"/>
                  </a:lnTo>
                  <a:lnTo>
                    <a:pt x="693" y="220"/>
                  </a:lnTo>
                  <a:lnTo>
                    <a:pt x="700" y="214"/>
                  </a:lnTo>
                  <a:lnTo>
                    <a:pt x="705" y="201"/>
                  </a:lnTo>
                  <a:lnTo>
                    <a:pt x="705" y="197"/>
                  </a:lnTo>
                  <a:lnTo>
                    <a:pt x="699" y="189"/>
                  </a:lnTo>
                  <a:lnTo>
                    <a:pt x="702" y="183"/>
                  </a:lnTo>
                  <a:lnTo>
                    <a:pt x="707" y="189"/>
                  </a:lnTo>
                  <a:lnTo>
                    <a:pt x="709" y="198"/>
                  </a:lnTo>
                  <a:lnTo>
                    <a:pt x="715" y="194"/>
                  </a:lnTo>
                  <a:lnTo>
                    <a:pt x="718" y="188"/>
                  </a:lnTo>
                  <a:lnTo>
                    <a:pt x="721" y="189"/>
                  </a:lnTo>
                  <a:lnTo>
                    <a:pt x="722" y="194"/>
                  </a:lnTo>
                  <a:lnTo>
                    <a:pt x="728" y="193"/>
                  </a:lnTo>
                  <a:lnTo>
                    <a:pt x="739" y="187"/>
                  </a:lnTo>
                  <a:lnTo>
                    <a:pt x="743" y="183"/>
                  </a:lnTo>
                  <a:lnTo>
                    <a:pt x="741" y="176"/>
                  </a:lnTo>
                  <a:lnTo>
                    <a:pt x="749" y="174"/>
                  </a:lnTo>
                  <a:lnTo>
                    <a:pt x="753" y="177"/>
                  </a:lnTo>
                  <a:lnTo>
                    <a:pt x="761" y="181"/>
                  </a:lnTo>
                  <a:lnTo>
                    <a:pt x="770" y="181"/>
                  </a:lnTo>
                  <a:lnTo>
                    <a:pt x="780" y="187"/>
                  </a:lnTo>
                  <a:lnTo>
                    <a:pt x="788" y="193"/>
                  </a:lnTo>
                  <a:lnTo>
                    <a:pt x="804" y="215"/>
                  </a:lnTo>
                  <a:lnTo>
                    <a:pt x="818" y="226"/>
                  </a:lnTo>
                  <a:lnTo>
                    <a:pt x="814" y="242"/>
                  </a:lnTo>
                  <a:lnTo>
                    <a:pt x="814" y="253"/>
                  </a:lnTo>
                  <a:lnTo>
                    <a:pt x="815" y="255"/>
                  </a:lnTo>
                  <a:lnTo>
                    <a:pt x="818" y="257"/>
                  </a:lnTo>
                  <a:lnTo>
                    <a:pt x="819" y="254"/>
                  </a:lnTo>
                  <a:lnTo>
                    <a:pt x="822" y="247"/>
                  </a:lnTo>
                  <a:lnTo>
                    <a:pt x="820" y="243"/>
                  </a:lnTo>
                  <a:lnTo>
                    <a:pt x="825" y="238"/>
                  </a:lnTo>
                  <a:lnTo>
                    <a:pt x="829" y="240"/>
                  </a:lnTo>
                  <a:lnTo>
                    <a:pt x="830" y="237"/>
                  </a:lnTo>
                  <a:lnTo>
                    <a:pt x="836" y="240"/>
                  </a:lnTo>
                  <a:lnTo>
                    <a:pt x="836" y="232"/>
                  </a:lnTo>
                  <a:lnTo>
                    <a:pt x="839" y="231"/>
                  </a:lnTo>
                  <a:lnTo>
                    <a:pt x="849" y="233"/>
                  </a:lnTo>
                  <a:lnTo>
                    <a:pt x="862" y="233"/>
                  </a:lnTo>
                  <a:lnTo>
                    <a:pt x="873" y="232"/>
                  </a:lnTo>
                  <a:lnTo>
                    <a:pt x="881" y="236"/>
                  </a:lnTo>
                  <a:lnTo>
                    <a:pt x="898" y="254"/>
                  </a:lnTo>
                  <a:lnTo>
                    <a:pt x="903" y="253"/>
                  </a:lnTo>
                  <a:lnTo>
                    <a:pt x="903" y="249"/>
                  </a:lnTo>
                  <a:lnTo>
                    <a:pt x="899" y="237"/>
                  </a:lnTo>
                  <a:lnTo>
                    <a:pt x="906" y="233"/>
                  </a:lnTo>
                  <a:lnTo>
                    <a:pt x="908" y="232"/>
                  </a:lnTo>
                  <a:lnTo>
                    <a:pt x="894" y="217"/>
                  </a:lnTo>
                  <a:lnTo>
                    <a:pt x="886" y="205"/>
                  </a:lnTo>
                  <a:lnTo>
                    <a:pt x="890" y="189"/>
                  </a:lnTo>
                  <a:lnTo>
                    <a:pt x="893" y="192"/>
                  </a:lnTo>
                  <a:lnTo>
                    <a:pt x="898" y="189"/>
                  </a:lnTo>
                  <a:lnTo>
                    <a:pt x="909" y="172"/>
                  </a:lnTo>
                  <a:lnTo>
                    <a:pt x="909" y="165"/>
                  </a:lnTo>
                  <a:lnTo>
                    <a:pt x="914" y="158"/>
                  </a:lnTo>
                  <a:lnTo>
                    <a:pt x="921" y="160"/>
                  </a:lnTo>
                  <a:lnTo>
                    <a:pt x="931" y="160"/>
                  </a:lnTo>
                  <a:lnTo>
                    <a:pt x="937" y="154"/>
                  </a:lnTo>
                  <a:lnTo>
                    <a:pt x="936" y="141"/>
                  </a:lnTo>
                  <a:lnTo>
                    <a:pt x="929" y="141"/>
                  </a:lnTo>
                  <a:lnTo>
                    <a:pt x="930" y="135"/>
                  </a:lnTo>
                  <a:lnTo>
                    <a:pt x="931" y="125"/>
                  </a:lnTo>
                  <a:lnTo>
                    <a:pt x="935" y="115"/>
                  </a:lnTo>
                  <a:lnTo>
                    <a:pt x="944" y="113"/>
                  </a:lnTo>
                  <a:lnTo>
                    <a:pt x="953" y="109"/>
                  </a:lnTo>
                  <a:lnTo>
                    <a:pt x="954" y="102"/>
                  </a:lnTo>
                  <a:lnTo>
                    <a:pt x="962" y="103"/>
                  </a:lnTo>
                  <a:lnTo>
                    <a:pt x="969" y="108"/>
                  </a:lnTo>
                  <a:lnTo>
                    <a:pt x="973" y="115"/>
                  </a:lnTo>
                  <a:lnTo>
                    <a:pt x="974" y="108"/>
                  </a:lnTo>
                  <a:lnTo>
                    <a:pt x="968" y="98"/>
                  </a:lnTo>
                  <a:lnTo>
                    <a:pt x="971" y="96"/>
                  </a:lnTo>
                  <a:lnTo>
                    <a:pt x="978" y="88"/>
                  </a:lnTo>
                  <a:lnTo>
                    <a:pt x="991" y="92"/>
                  </a:lnTo>
                  <a:lnTo>
                    <a:pt x="992" y="87"/>
                  </a:lnTo>
                  <a:lnTo>
                    <a:pt x="1003" y="90"/>
                  </a:lnTo>
                  <a:lnTo>
                    <a:pt x="1016" y="88"/>
                  </a:lnTo>
                  <a:lnTo>
                    <a:pt x="1026" y="91"/>
                  </a:lnTo>
                  <a:lnTo>
                    <a:pt x="1034" y="91"/>
                  </a:lnTo>
                  <a:lnTo>
                    <a:pt x="1054" y="85"/>
                  </a:lnTo>
                  <a:lnTo>
                    <a:pt x="1062" y="79"/>
                  </a:lnTo>
                  <a:lnTo>
                    <a:pt x="1062" y="55"/>
                  </a:lnTo>
                  <a:lnTo>
                    <a:pt x="1056" y="49"/>
                  </a:lnTo>
                  <a:lnTo>
                    <a:pt x="1045" y="48"/>
                  </a:lnTo>
                  <a:lnTo>
                    <a:pt x="1038" y="49"/>
                  </a:lnTo>
                  <a:lnTo>
                    <a:pt x="1030" y="44"/>
                  </a:lnTo>
                  <a:lnTo>
                    <a:pt x="1026" y="38"/>
                  </a:lnTo>
                  <a:lnTo>
                    <a:pt x="1017" y="34"/>
                  </a:lnTo>
                  <a:lnTo>
                    <a:pt x="1017" y="33"/>
                  </a:lnTo>
                  <a:lnTo>
                    <a:pt x="1021" y="32"/>
                  </a:lnTo>
                  <a:lnTo>
                    <a:pt x="1024" y="34"/>
                  </a:lnTo>
                  <a:lnTo>
                    <a:pt x="1027" y="29"/>
                  </a:lnTo>
                  <a:lnTo>
                    <a:pt x="1029" y="27"/>
                  </a:lnTo>
                  <a:lnTo>
                    <a:pt x="1032" y="31"/>
                  </a:lnTo>
                  <a:lnTo>
                    <a:pt x="1035" y="45"/>
                  </a:lnTo>
                  <a:lnTo>
                    <a:pt x="1039" y="38"/>
                  </a:lnTo>
                  <a:lnTo>
                    <a:pt x="1039" y="29"/>
                  </a:lnTo>
                  <a:lnTo>
                    <a:pt x="1044" y="29"/>
                  </a:lnTo>
                  <a:lnTo>
                    <a:pt x="1046" y="33"/>
                  </a:lnTo>
                  <a:lnTo>
                    <a:pt x="1051" y="32"/>
                  </a:lnTo>
                  <a:lnTo>
                    <a:pt x="1055" y="38"/>
                  </a:lnTo>
                  <a:lnTo>
                    <a:pt x="1059" y="43"/>
                  </a:lnTo>
                  <a:lnTo>
                    <a:pt x="1067" y="49"/>
                  </a:lnTo>
                  <a:lnTo>
                    <a:pt x="1070" y="42"/>
                  </a:lnTo>
                  <a:lnTo>
                    <a:pt x="1075" y="41"/>
                  </a:lnTo>
                  <a:lnTo>
                    <a:pt x="1080" y="44"/>
                  </a:lnTo>
                  <a:lnTo>
                    <a:pt x="1082" y="50"/>
                  </a:lnTo>
                  <a:lnTo>
                    <a:pt x="1089" y="58"/>
                  </a:lnTo>
                  <a:lnTo>
                    <a:pt x="1104" y="61"/>
                  </a:lnTo>
                  <a:lnTo>
                    <a:pt x="1108" y="61"/>
                  </a:lnTo>
                  <a:lnTo>
                    <a:pt x="1113" y="63"/>
                  </a:lnTo>
                  <a:lnTo>
                    <a:pt x="1116" y="65"/>
                  </a:lnTo>
                  <a:lnTo>
                    <a:pt x="1123" y="60"/>
                  </a:lnTo>
                  <a:lnTo>
                    <a:pt x="1126" y="59"/>
                  </a:lnTo>
                  <a:lnTo>
                    <a:pt x="1126" y="66"/>
                  </a:lnTo>
                  <a:lnTo>
                    <a:pt x="1131" y="69"/>
                  </a:lnTo>
                  <a:lnTo>
                    <a:pt x="1141" y="69"/>
                  </a:lnTo>
                  <a:lnTo>
                    <a:pt x="1151" y="76"/>
                  </a:lnTo>
                  <a:lnTo>
                    <a:pt x="1159" y="75"/>
                  </a:lnTo>
                  <a:lnTo>
                    <a:pt x="1167" y="79"/>
                  </a:lnTo>
                  <a:lnTo>
                    <a:pt x="1177" y="74"/>
                  </a:lnTo>
                  <a:lnTo>
                    <a:pt x="1179" y="74"/>
                  </a:lnTo>
                  <a:lnTo>
                    <a:pt x="1184" y="81"/>
                  </a:lnTo>
                  <a:lnTo>
                    <a:pt x="1195" y="81"/>
                  </a:lnTo>
                  <a:lnTo>
                    <a:pt x="1200" y="84"/>
                  </a:lnTo>
                  <a:lnTo>
                    <a:pt x="1205" y="90"/>
                  </a:lnTo>
                  <a:lnTo>
                    <a:pt x="1216" y="79"/>
                  </a:lnTo>
                  <a:lnTo>
                    <a:pt x="1221" y="76"/>
                  </a:lnTo>
                  <a:lnTo>
                    <a:pt x="1225" y="75"/>
                  </a:lnTo>
                  <a:lnTo>
                    <a:pt x="1234" y="76"/>
                  </a:lnTo>
                  <a:lnTo>
                    <a:pt x="1244" y="71"/>
                  </a:lnTo>
                  <a:lnTo>
                    <a:pt x="1238" y="82"/>
                  </a:lnTo>
                  <a:lnTo>
                    <a:pt x="1241" y="85"/>
                  </a:lnTo>
                  <a:lnTo>
                    <a:pt x="1243" y="86"/>
                  </a:lnTo>
                  <a:lnTo>
                    <a:pt x="1248" y="81"/>
                  </a:lnTo>
                  <a:lnTo>
                    <a:pt x="1249" y="85"/>
                  </a:lnTo>
                  <a:lnTo>
                    <a:pt x="1248" y="101"/>
                  </a:lnTo>
                  <a:lnTo>
                    <a:pt x="1249" y="104"/>
                  </a:lnTo>
                  <a:lnTo>
                    <a:pt x="1259" y="101"/>
                  </a:lnTo>
                  <a:lnTo>
                    <a:pt x="1264" y="90"/>
                  </a:lnTo>
                  <a:lnTo>
                    <a:pt x="1263" y="88"/>
                  </a:lnTo>
                  <a:lnTo>
                    <a:pt x="1264" y="79"/>
                  </a:lnTo>
                  <a:lnTo>
                    <a:pt x="1274" y="70"/>
                  </a:lnTo>
                  <a:lnTo>
                    <a:pt x="1276" y="72"/>
                  </a:lnTo>
                  <a:lnTo>
                    <a:pt x="1279" y="77"/>
                  </a:lnTo>
                  <a:lnTo>
                    <a:pt x="1280" y="92"/>
                  </a:lnTo>
                  <a:lnTo>
                    <a:pt x="1288" y="87"/>
                  </a:lnTo>
                  <a:lnTo>
                    <a:pt x="1295" y="87"/>
                  </a:lnTo>
                  <a:lnTo>
                    <a:pt x="1299" y="91"/>
                  </a:lnTo>
                  <a:lnTo>
                    <a:pt x="1297" y="96"/>
                  </a:lnTo>
                  <a:lnTo>
                    <a:pt x="1293" y="106"/>
                  </a:lnTo>
                  <a:lnTo>
                    <a:pt x="1287" y="115"/>
                  </a:lnTo>
                  <a:lnTo>
                    <a:pt x="1284" y="119"/>
                  </a:lnTo>
                  <a:lnTo>
                    <a:pt x="1279" y="118"/>
                  </a:lnTo>
                  <a:lnTo>
                    <a:pt x="1277" y="122"/>
                  </a:lnTo>
                  <a:lnTo>
                    <a:pt x="1284" y="130"/>
                  </a:lnTo>
                  <a:lnTo>
                    <a:pt x="1276" y="141"/>
                  </a:lnTo>
                  <a:lnTo>
                    <a:pt x="1272" y="144"/>
                  </a:lnTo>
                  <a:lnTo>
                    <a:pt x="1264" y="141"/>
                  </a:lnTo>
                  <a:lnTo>
                    <a:pt x="1263" y="136"/>
                  </a:lnTo>
                  <a:lnTo>
                    <a:pt x="1258" y="142"/>
                  </a:lnTo>
                  <a:lnTo>
                    <a:pt x="1259" y="151"/>
                  </a:lnTo>
                  <a:lnTo>
                    <a:pt x="1261" y="156"/>
                  </a:lnTo>
                  <a:lnTo>
                    <a:pt x="1258" y="152"/>
                  </a:lnTo>
                  <a:lnTo>
                    <a:pt x="1253" y="145"/>
                  </a:lnTo>
                  <a:lnTo>
                    <a:pt x="1248" y="144"/>
                  </a:lnTo>
                  <a:lnTo>
                    <a:pt x="1247" y="156"/>
                  </a:lnTo>
                  <a:lnTo>
                    <a:pt x="1243" y="165"/>
                  </a:lnTo>
                  <a:lnTo>
                    <a:pt x="1243" y="171"/>
                  </a:lnTo>
                  <a:lnTo>
                    <a:pt x="1253" y="168"/>
                  </a:lnTo>
                  <a:lnTo>
                    <a:pt x="1248" y="187"/>
                  </a:lnTo>
                  <a:lnTo>
                    <a:pt x="1248" y="190"/>
                  </a:lnTo>
                  <a:lnTo>
                    <a:pt x="1238" y="210"/>
                  </a:lnTo>
                  <a:lnTo>
                    <a:pt x="1234" y="221"/>
                  </a:lnTo>
                  <a:lnTo>
                    <a:pt x="1232" y="225"/>
                  </a:lnTo>
                  <a:lnTo>
                    <a:pt x="1228" y="231"/>
                  </a:lnTo>
                  <a:lnTo>
                    <a:pt x="1228" y="242"/>
                  </a:lnTo>
                  <a:lnTo>
                    <a:pt x="1234" y="246"/>
                  </a:lnTo>
                  <a:lnTo>
                    <a:pt x="1238" y="252"/>
                  </a:lnTo>
                  <a:lnTo>
                    <a:pt x="1245" y="251"/>
                  </a:lnTo>
                  <a:lnTo>
                    <a:pt x="1254" y="258"/>
                  </a:lnTo>
                  <a:lnTo>
                    <a:pt x="1269" y="264"/>
                  </a:lnTo>
                  <a:lnTo>
                    <a:pt x="1271" y="274"/>
                  </a:lnTo>
                  <a:lnTo>
                    <a:pt x="1275" y="283"/>
                  </a:lnTo>
                  <a:lnTo>
                    <a:pt x="1275" y="297"/>
                  </a:lnTo>
                  <a:lnTo>
                    <a:pt x="1285" y="290"/>
                  </a:lnTo>
                  <a:lnTo>
                    <a:pt x="1307" y="296"/>
                  </a:lnTo>
                  <a:lnTo>
                    <a:pt x="1320" y="295"/>
                  </a:lnTo>
                  <a:lnTo>
                    <a:pt x="1324" y="302"/>
                  </a:lnTo>
                  <a:lnTo>
                    <a:pt x="1335" y="308"/>
                  </a:lnTo>
                  <a:lnTo>
                    <a:pt x="1345" y="313"/>
                  </a:lnTo>
                  <a:lnTo>
                    <a:pt x="1355" y="319"/>
                  </a:lnTo>
                  <a:lnTo>
                    <a:pt x="1361" y="327"/>
                  </a:lnTo>
                  <a:lnTo>
                    <a:pt x="1370" y="334"/>
                  </a:lnTo>
                  <a:lnTo>
                    <a:pt x="1377" y="335"/>
                  </a:lnTo>
                  <a:lnTo>
                    <a:pt x="1384" y="339"/>
                  </a:lnTo>
                  <a:lnTo>
                    <a:pt x="1411" y="346"/>
                  </a:lnTo>
                  <a:lnTo>
                    <a:pt x="1421" y="354"/>
                  </a:lnTo>
                  <a:lnTo>
                    <a:pt x="1425" y="365"/>
                  </a:lnTo>
                  <a:lnTo>
                    <a:pt x="1430" y="371"/>
                  </a:lnTo>
                  <a:lnTo>
                    <a:pt x="1460" y="392"/>
                  </a:lnTo>
                  <a:lnTo>
                    <a:pt x="1475" y="398"/>
                  </a:lnTo>
                  <a:lnTo>
                    <a:pt x="1487" y="394"/>
                  </a:lnTo>
                  <a:lnTo>
                    <a:pt x="1498" y="389"/>
                  </a:lnTo>
                  <a:lnTo>
                    <a:pt x="1516" y="384"/>
                  </a:lnTo>
                  <a:lnTo>
                    <a:pt x="1521" y="377"/>
                  </a:lnTo>
                  <a:lnTo>
                    <a:pt x="1524" y="356"/>
                  </a:lnTo>
                  <a:lnTo>
                    <a:pt x="1537" y="333"/>
                  </a:lnTo>
                  <a:lnTo>
                    <a:pt x="1548" y="287"/>
                  </a:lnTo>
                  <a:lnTo>
                    <a:pt x="1553" y="270"/>
                  </a:lnTo>
                  <a:lnTo>
                    <a:pt x="1557" y="258"/>
                  </a:lnTo>
                  <a:lnTo>
                    <a:pt x="1560" y="246"/>
                  </a:lnTo>
                  <a:lnTo>
                    <a:pt x="1559" y="231"/>
                  </a:lnTo>
                  <a:lnTo>
                    <a:pt x="1553" y="213"/>
                  </a:lnTo>
                  <a:lnTo>
                    <a:pt x="1555" y="197"/>
                  </a:lnTo>
                  <a:lnTo>
                    <a:pt x="1553" y="165"/>
                  </a:lnTo>
                  <a:lnTo>
                    <a:pt x="1561" y="145"/>
                  </a:lnTo>
                  <a:lnTo>
                    <a:pt x="1560" y="128"/>
                  </a:lnTo>
                  <a:lnTo>
                    <a:pt x="1565" y="118"/>
                  </a:lnTo>
                  <a:lnTo>
                    <a:pt x="1566" y="108"/>
                  </a:lnTo>
                  <a:lnTo>
                    <a:pt x="1559" y="106"/>
                  </a:lnTo>
                  <a:lnTo>
                    <a:pt x="1560" y="95"/>
                  </a:lnTo>
                  <a:lnTo>
                    <a:pt x="1564" y="76"/>
                  </a:lnTo>
                  <a:lnTo>
                    <a:pt x="1575" y="72"/>
                  </a:lnTo>
                  <a:lnTo>
                    <a:pt x="1578" y="64"/>
                  </a:lnTo>
                  <a:lnTo>
                    <a:pt x="1583" y="45"/>
                  </a:lnTo>
                  <a:lnTo>
                    <a:pt x="1596" y="29"/>
                  </a:lnTo>
                  <a:lnTo>
                    <a:pt x="1596" y="16"/>
                  </a:lnTo>
                  <a:lnTo>
                    <a:pt x="1596" y="15"/>
                  </a:lnTo>
                  <a:lnTo>
                    <a:pt x="1599" y="11"/>
                  </a:lnTo>
                  <a:lnTo>
                    <a:pt x="1604" y="10"/>
                  </a:lnTo>
                  <a:lnTo>
                    <a:pt x="1613" y="5"/>
                  </a:lnTo>
                  <a:lnTo>
                    <a:pt x="1616" y="0"/>
                  </a:lnTo>
                  <a:lnTo>
                    <a:pt x="1623" y="2"/>
                  </a:lnTo>
                  <a:lnTo>
                    <a:pt x="1623" y="7"/>
                  </a:lnTo>
                  <a:lnTo>
                    <a:pt x="1624" y="16"/>
                  </a:lnTo>
                  <a:lnTo>
                    <a:pt x="1623" y="16"/>
                  </a:lnTo>
                  <a:lnTo>
                    <a:pt x="1623" y="17"/>
                  </a:lnTo>
                  <a:lnTo>
                    <a:pt x="1625" y="31"/>
                  </a:lnTo>
                  <a:lnTo>
                    <a:pt x="1625" y="58"/>
                  </a:lnTo>
                  <a:lnTo>
                    <a:pt x="1629" y="68"/>
                  </a:lnTo>
                  <a:lnTo>
                    <a:pt x="1639" y="68"/>
                  </a:lnTo>
                  <a:lnTo>
                    <a:pt x="1641" y="74"/>
                  </a:lnTo>
                  <a:lnTo>
                    <a:pt x="1640" y="88"/>
                  </a:lnTo>
                  <a:lnTo>
                    <a:pt x="1646" y="93"/>
                  </a:lnTo>
                  <a:lnTo>
                    <a:pt x="1650" y="103"/>
                  </a:lnTo>
                  <a:lnTo>
                    <a:pt x="1655" y="107"/>
                  </a:lnTo>
                  <a:lnTo>
                    <a:pt x="1656" y="122"/>
                  </a:lnTo>
                  <a:lnTo>
                    <a:pt x="1661" y="124"/>
                  </a:lnTo>
                  <a:lnTo>
                    <a:pt x="1663" y="139"/>
                  </a:lnTo>
                  <a:lnTo>
                    <a:pt x="1667" y="151"/>
                  </a:lnTo>
                  <a:lnTo>
                    <a:pt x="1667" y="171"/>
                  </a:lnTo>
                  <a:lnTo>
                    <a:pt x="1670" y="179"/>
                  </a:lnTo>
                  <a:lnTo>
                    <a:pt x="1672" y="189"/>
                  </a:lnTo>
                  <a:lnTo>
                    <a:pt x="1677" y="199"/>
                  </a:lnTo>
                  <a:lnTo>
                    <a:pt x="1684" y="208"/>
                  </a:lnTo>
                  <a:lnTo>
                    <a:pt x="1693" y="211"/>
                  </a:lnTo>
                  <a:lnTo>
                    <a:pt x="1705" y="200"/>
                  </a:lnTo>
                  <a:lnTo>
                    <a:pt x="1715" y="198"/>
                  </a:lnTo>
                  <a:lnTo>
                    <a:pt x="1723" y="199"/>
                  </a:lnTo>
                  <a:lnTo>
                    <a:pt x="1729" y="215"/>
                  </a:lnTo>
                  <a:lnTo>
                    <a:pt x="1739" y="219"/>
                  </a:lnTo>
                  <a:lnTo>
                    <a:pt x="1747" y="228"/>
                  </a:lnTo>
                  <a:lnTo>
                    <a:pt x="1755" y="232"/>
                  </a:lnTo>
                  <a:lnTo>
                    <a:pt x="1764" y="242"/>
                  </a:lnTo>
                  <a:lnTo>
                    <a:pt x="1761" y="252"/>
                  </a:lnTo>
                  <a:lnTo>
                    <a:pt x="1764" y="258"/>
                  </a:lnTo>
                  <a:lnTo>
                    <a:pt x="1763" y="276"/>
                  </a:lnTo>
                  <a:lnTo>
                    <a:pt x="1766" y="286"/>
                  </a:lnTo>
                  <a:lnTo>
                    <a:pt x="1766" y="295"/>
                  </a:lnTo>
                  <a:lnTo>
                    <a:pt x="1771" y="303"/>
                  </a:lnTo>
                  <a:lnTo>
                    <a:pt x="1771" y="319"/>
                  </a:lnTo>
                  <a:lnTo>
                    <a:pt x="1775" y="332"/>
                  </a:lnTo>
                  <a:lnTo>
                    <a:pt x="1787" y="349"/>
                  </a:lnTo>
                  <a:lnTo>
                    <a:pt x="1796" y="349"/>
                  </a:lnTo>
                  <a:lnTo>
                    <a:pt x="1797" y="361"/>
                  </a:lnTo>
                  <a:lnTo>
                    <a:pt x="1804" y="381"/>
                  </a:lnTo>
                  <a:lnTo>
                    <a:pt x="1807" y="393"/>
                  </a:lnTo>
                  <a:lnTo>
                    <a:pt x="1808" y="409"/>
                  </a:lnTo>
                  <a:lnTo>
                    <a:pt x="1806" y="416"/>
                  </a:lnTo>
                  <a:lnTo>
                    <a:pt x="1806" y="426"/>
                  </a:lnTo>
                  <a:lnTo>
                    <a:pt x="1808" y="437"/>
                  </a:lnTo>
                  <a:lnTo>
                    <a:pt x="1814" y="443"/>
                  </a:lnTo>
                  <a:lnTo>
                    <a:pt x="1819" y="445"/>
                  </a:lnTo>
                  <a:lnTo>
                    <a:pt x="1818" y="448"/>
                  </a:lnTo>
                  <a:lnTo>
                    <a:pt x="1822" y="445"/>
                  </a:lnTo>
                  <a:lnTo>
                    <a:pt x="1822" y="447"/>
                  </a:lnTo>
                  <a:lnTo>
                    <a:pt x="1819" y="452"/>
                  </a:lnTo>
                  <a:lnTo>
                    <a:pt x="1820" y="454"/>
                  </a:lnTo>
                  <a:lnTo>
                    <a:pt x="1820" y="461"/>
                  </a:lnTo>
                  <a:lnTo>
                    <a:pt x="1824" y="470"/>
                  </a:lnTo>
                  <a:lnTo>
                    <a:pt x="1838" y="475"/>
                  </a:lnTo>
                  <a:lnTo>
                    <a:pt x="1841" y="480"/>
                  </a:lnTo>
                  <a:lnTo>
                    <a:pt x="1851" y="485"/>
                  </a:lnTo>
                  <a:lnTo>
                    <a:pt x="1871" y="490"/>
                  </a:lnTo>
                  <a:lnTo>
                    <a:pt x="1874" y="489"/>
                  </a:lnTo>
                  <a:lnTo>
                    <a:pt x="1881" y="485"/>
                  </a:lnTo>
                  <a:lnTo>
                    <a:pt x="1884" y="502"/>
                  </a:lnTo>
                  <a:lnTo>
                    <a:pt x="1888" y="511"/>
                  </a:lnTo>
                  <a:lnTo>
                    <a:pt x="1893" y="515"/>
                  </a:lnTo>
                  <a:lnTo>
                    <a:pt x="1903" y="512"/>
                  </a:lnTo>
                  <a:lnTo>
                    <a:pt x="1911" y="517"/>
                  </a:lnTo>
                  <a:lnTo>
                    <a:pt x="1920" y="518"/>
                  </a:lnTo>
                  <a:lnTo>
                    <a:pt x="1925" y="527"/>
                  </a:lnTo>
                  <a:lnTo>
                    <a:pt x="1931" y="533"/>
                  </a:lnTo>
                  <a:lnTo>
                    <a:pt x="1937" y="529"/>
                  </a:lnTo>
                  <a:lnTo>
                    <a:pt x="1942" y="533"/>
                  </a:lnTo>
                  <a:lnTo>
                    <a:pt x="1954" y="540"/>
                  </a:lnTo>
                  <a:lnTo>
                    <a:pt x="1958" y="545"/>
                  </a:lnTo>
                  <a:lnTo>
                    <a:pt x="1960" y="556"/>
                  </a:lnTo>
                  <a:lnTo>
                    <a:pt x="1953" y="554"/>
                  </a:lnTo>
                  <a:lnTo>
                    <a:pt x="1952" y="566"/>
                  </a:lnTo>
                  <a:lnTo>
                    <a:pt x="1958" y="572"/>
                  </a:lnTo>
                  <a:lnTo>
                    <a:pt x="1968" y="574"/>
                  </a:lnTo>
                  <a:lnTo>
                    <a:pt x="1970" y="580"/>
                  </a:lnTo>
                  <a:lnTo>
                    <a:pt x="1978" y="588"/>
                  </a:lnTo>
                  <a:lnTo>
                    <a:pt x="1980" y="597"/>
                  </a:lnTo>
                  <a:lnTo>
                    <a:pt x="1983" y="603"/>
                  </a:lnTo>
                  <a:lnTo>
                    <a:pt x="1985" y="610"/>
                  </a:lnTo>
                  <a:lnTo>
                    <a:pt x="1992" y="612"/>
                  </a:lnTo>
                  <a:lnTo>
                    <a:pt x="1994" y="619"/>
                  </a:lnTo>
                  <a:lnTo>
                    <a:pt x="1994" y="645"/>
                  </a:lnTo>
                  <a:lnTo>
                    <a:pt x="1996" y="651"/>
                  </a:lnTo>
                  <a:lnTo>
                    <a:pt x="1997" y="658"/>
                  </a:lnTo>
                  <a:lnTo>
                    <a:pt x="2002" y="662"/>
                  </a:lnTo>
                  <a:lnTo>
                    <a:pt x="2005" y="671"/>
                  </a:lnTo>
                  <a:lnTo>
                    <a:pt x="2007" y="672"/>
                  </a:lnTo>
                  <a:lnTo>
                    <a:pt x="2011" y="669"/>
                  </a:lnTo>
                  <a:lnTo>
                    <a:pt x="2017" y="669"/>
                  </a:lnTo>
                  <a:lnTo>
                    <a:pt x="2017" y="655"/>
                  </a:lnTo>
                  <a:lnTo>
                    <a:pt x="2023" y="650"/>
                  </a:lnTo>
                  <a:lnTo>
                    <a:pt x="2027" y="660"/>
                  </a:lnTo>
                  <a:lnTo>
                    <a:pt x="2032" y="665"/>
                  </a:lnTo>
                  <a:lnTo>
                    <a:pt x="2043" y="669"/>
                  </a:lnTo>
                  <a:lnTo>
                    <a:pt x="2051" y="676"/>
                  </a:lnTo>
                  <a:lnTo>
                    <a:pt x="2054" y="661"/>
                  </a:lnTo>
                  <a:lnTo>
                    <a:pt x="2057" y="665"/>
                  </a:lnTo>
                  <a:lnTo>
                    <a:pt x="2059" y="671"/>
                  </a:lnTo>
                  <a:lnTo>
                    <a:pt x="2061" y="674"/>
                  </a:lnTo>
                  <a:lnTo>
                    <a:pt x="2065" y="690"/>
                  </a:lnTo>
                  <a:lnTo>
                    <a:pt x="2065" y="720"/>
                  </a:lnTo>
                  <a:lnTo>
                    <a:pt x="2068" y="733"/>
                  </a:lnTo>
                  <a:lnTo>
                    <a:pt x="2077" y="739"/>
                  </a:lnTo>
                  <a:lnTo>
                    <a:pt x="2083" y="748"/>
                  </a:lnTo>
                  <a:lnTo>
                    <a:pt x="2098" y="760"/>
                  </a:lnTo>
                  <a:lnTo>
                    <a:pt x="2110" y="760"/>
                  </a:lnTo>
                  <a:lnTo>
                    <a:pt x="2118" y="766"/>
                  </a:lnTo>
                  <a:lnTo>
                    <a:pt x="2124" y="774"/>
                  </a:lnTo>
                  <a:lnTo>
                    <a:pt x="2130" y="785"/>
                  </a:lnTo>
                  <a:lnTo>
                    <a:pt x="2132" y="791"/>
                  </a:lnTo>
                  <a:lnTo>
                    <a:pt x="2141" y="800"/>
                  </a:lnTo>
                  <a:lnTo>
                    <a:pt x="2151" y="802"/>
                  </a:lnTo>
                  <a:lnTo>
                    <a:pt x="2151" y="806"/>
                  </a:lnTo>
                  <a:lnTo>
                    <a:pt x="2163" y="824"/>
                  </a:lnTo>
                  <a:lnTo>
                    <a:pt x="2162" y="830"/>
                  </a:lnTo>
                  <a:lnTo>
                    <a:pt x="2173" y="835"/>
                  </a:lnTo>
                  <a:lnTo>
                    <a:pt x="2177" y="844"/>
                  </a:lnTo>
                  <a:lnTo>
                    <a:pt x="2178" y="862"/>
                  </a:lnTo>
                  <a:lnTo>
                    <a:pt x="2184" y="872"/>
                  </a:lnTo>
                  <a:lnTo>
                    <a:pt x="2186" y="876"/>
                  </a:lnTo>
                  <a:lnTo>
                    <a:pt x="2190" y="871"/>
                  </a:lnTo>
                  <a:lnTo>
                    <a:pt x="2191" y="886"/>
                  </a:lnTo>
                  <a:lnTo>
                    <a:pt x="2189" y="900"/>
                  </a:lnTo>
                  <a:lnTo>
                    <a:pt x="2191" y="911"/>
                  </a:lnTo>
                  <a:lnTo>
                    <a:pt x="2194" y="938"/>
                  </a:lnTo>
                  <a:lnTo>
                    <a:pt x="2197" y="948"/>
                  </a:lnTo>
                  <a:lnTo>
                    <a:pt x="2193" y="945"/>
                  </a:lnTo>
                  <a:lnTo>
                    <a:pt x="2191" y="952"/>
                  </a:lnTo>
                  <a:lnTo>
                    <a:pt x="2193" y="956"/>
                  </a:lnTo>
                  <a:lnTo>
                    <a:pt x="2194" y="963"/>
                  </a:lnTo>
                  <a:lnTo>
                    <a:pt x="2197" y="967"/>
                  </a:lnTo>
                  <a:lnTo>
                    <a:pt x="2200" y="979"/>
                  </a:lnTo>
                  <a:lnTo>
                    <a:pt x="2207" y="995"/>
                  </a:lnTo>
                  <a:lnTo>
                    <a:pt x="2216" y="1023"/>
                  </a:lnTo>
                  <a:lnTo>
                    <a:pt x="2217" y="1050"/>
                  </a:lnTo>
                  <a:lnTo>
                    <a:pt x="2215" y="1066"/>
                  </a:lnTo>
                  <a:lnTo>
                    <a:pt x="2211" y="1074"/>
                  </a:lnTo>
                  <a:lnTo>
                    <a:pt x="2206" y="1090"/>
                  </a:lnTo>
                  <a:lnTo>
                    <a:pt x="2204" y="1110"/>
                  </a:lnTo>
                  <a:lnTo>
                    <a:pt x="2199" y="1142"/>
                  </a:lnTo>
                  <a:lnTo>
                    <a:pt x="2196" y="1145"/>
                  </a:lnTo>
                  <a:lnTo>
                    <a:pt x="2189" y="1164"/>
                  </a:lnTo>
                  <a:lnTo>
                    <a:pt x="2188" y="1182"/>
                  </a:lnTo>
                  <a:lnTo>
                    <a:pt x="2190" y="1201"/>
                  </a:lnTo>
                  <a:lnTo>
                    <a:pt x="2186" y="1207"/>
                  </a:lnTo>
                  <a:lnTo>
                    <a:pt x="2186" y="1214"/>
                  </a:lnTo>
                  <a:lnTo>
                    <a:pt x="2172" y="1252"/>
                  </a:lnTo>
                  <a:lnTo>
                    <a:pt x="2167" y="1258"/>
                  </a:lnTo>
                  <a:lnTo>
                    <a:pt x="2162" y="1266"/>
                  </a:lnTo>
                  <a:lnTo>
                    <a:pt x="2156" y="1273"/>
                  </a:lnTo>
                  <a:lnTo>
                    <a:pt x="2156" y="1280"/>
                  </a:lnTo>
                  <a:lnTo>
                    <a:pt x="2158" y="1285"/>
                  </a:lnTo>
                  <a:lnTo>
                    <a:pt x="2153" y="1291"/>
                  </a:lnTo>
                  <a:lnTo>
                    <a:pt x="2145" y="1302"/>
                  </a:lnTo>
                  <a:lnTo>
                    <a:pt x="2137" y="1302"/>
                  </a:lnTo>
                  <a:lnTo>
                    <a:pt x="2135" y="1306"/>
                  </a:lnTo>
                  <a:lnTo>
                    <a:pt x="2141" y="1308"/>
                  </a:lnTo>
                  <a:lnTo>
                    <a:pt x="2130" y="1312"/>
                  </a:lnTo>
                  <a:lnTo>
                    <a:pt x="2123" y="1316"/>
                  </a:lnTo>
                  <a:lnTo>
                    <a:pt x="2120" y="1323"/>
                  </a:lnTo>
                  <a:lnTo>
                    <a:pt x="2114" y="1331"/>
                  </a:lnTo>
                  <a:lnTo>
                    <a:pt x="2108" y="1346"/>
                  </a:lnTo>
                  <a:lnTo>
                    <a:pt x="2100" y="1357"/>
                  </a:lnTo>
                  <a:lnTo>
                    <a:pt x="2094" y="1359"/>
                  </a:lnTo>
                  <a:lnTo>
                    <a:pt x="2091" y="1360"/>
                  </a:lnTo>
                  <a:lnTo>
                    <a:pt x="2089" y="1365"/>
                  </a:lnTo>
                  <a:lnTo>
                    <a:pt x="2097" y="1367"/>
                  </a:lnTo>
                  <a:lnTo>
                    <a:pt x="2096" y="1379"/>
                  </a:lnTo>
                  <a:lnTo>
                    <a:pt x="2091" y="1392"/>
                  </a:lnTo>
                  <a:lnTo>
                    <a:pt x="2088" y="1392"/>
                  </a:lnTo>
                  <a:lnTo>
                    <a:pt x="2087" y="1400"/>
                  </a:lnTo>
                  <a:lnTo>
                    <a:pt x="2078" y="1411"/>
                  </a:lnTo>
                  <a:lnTo>
                    <a:pt x="2065" y="1458"/>
                  </a:lnTo>
                  <a:lnTo>
                    <a:pt x="2065" y="1468"/>
                  </a:lnTo>
                  <a:lnTo>
                    <a:pt x="2056" y="1462"/>
                  </a:lnTo>
                  <a:lnTo>
                    <a:pt x="2049" y="1481"/>
                  </a:lnTo>
                  <a:lnTo>
                    <a:pt x="2044" y="1487"/>
                  </a:lnTo>
                  <a:lnTo>
                    <a:pt x="2041" y="1497"/>
                  </a:lnTo>
                  <a:lnTo>
                    <a:pt x="2038" y="1500"/>
                  </a:lnTo>
                  <a:lnTo>
                    <a:pt x="2034" y="1506"/>
                  </a:lnTo>
                  <a:lnTo>
                    <a:pt x="2033" y="1521"/>
                  </a:lnTo>
                  <a:lnTo>
                    <a:pt x="2029" y="1538"/>
                  </a:lnTo>
                  <a:lnTo>
                    <a:pt x="2033" y="1546"/>
                  </a:lnTo>
                  <a:lnTo>
                    <a:pt x="2030" y="1550"/>
                  </a:lnTo>
                  <a:lnTo>
                    <a:pt x="2029" y="1562"/>
                  </a:lnTo>
                  <a:lnTo>
                    <a:pt x="2023" y="1577"/>
                  </a:lnTo>
                  <a:lnTo>
                    <a:pt x="2021" y="1587"/>
                  </a:lnTo>
                  <a:lnTo>
                    <a:pt x="2021" y="1593"/>
                  </a:lnTo>
                  <a:lnTo>
                    <a:pt x="2024" y="1603"/>
                  </a:lnTo>
                  <a:lnTo>
                    <a:pt x="2024" y="1613"/>
                  </a:lnTo>
                  <a:lnTo>
                    <a:pt x="2023" y="1621"/>
                  </a:lnTo>
                  <a:lnTo>
                    <a:pt x="2021" y="1629"/>
                  </a:lnTo>
                  <a:lnTo>
                    <a:pt x="2012" y="1624"/>
                  </a:lnTo>
                  <a:lnTo>
                    <a:pt x="2008" y="1625"/>
                  </a:lnTo>
                  <a:lnTo>
                    <a:pt x="2007" y="1637"/>
                  </a:lnTo>
                  <a:lnTo>
                    <a:pt x="1987" y="1643"/>
                  </a:lnTo>
                  <a:lnTo>
                    <a:pt x="1932" y="1645"/>
                  </a:lnTo>
                  <a:lnTo>
                    <a:pt x="1920" y="1648"/>
                  </a:lnTo>
                  <a:lnTo>
                    <a:pt x="1898" y="1661"/>
                  </a:lnTo>
                  <a:lnTo>
                    <a:pt x="1888" y="1669"/>
                  </a:lnTo>
                  <a:lnTo>
                    <a:pt x="1874" y="1678"/>
                  </a:lnTo>
                  <a:lnTo>
                    <a:pt x="1868" y="1685"/>
                  </a:lnTo>
                  <a:lnTo>
                    <a:pt x="1866" y="1691"/>
                  </a:lnTo>
                  <a:lnTo>
                    <a:pt x="1854" y="1699"/>
                  </a:lnTo>
                  <a:lnTo>
                    <a:pt x="1847" y="1705"/>
                  </a:lnTo>
                  <a:lnTo>
                    <a:pt x="1844" y="1701"/>
                  </a:lnTo>
                  <a:lnTo>
                    <a:pt x="1830" y="1705"/>
                  </a:lnTo>
                  <a:lnTo>
                    <a:pt x="1823" y="1705"/>
                  </a:lnTo>
                  <a:lnTo>
                    <a:pt x="1819" y="1706"/>
                  </a:lnTo>
                  <a:lnTo>
                    <a:pt x="1818" y="1715"/>
                  </a:lnTo>
                  <a:lnTo>
                    <a:pt x="1822" y="1720"/>
                  </a:lnTo>
                  <a:lnTo>
                    <a:pt x="1825" y="1713"/>
                  </a:lnTo>
                  <a:lnTo>
                    <a:pt x="1831" y="1709"/>
                  </a:lnTo>
                  <a:lnTo>
                    <a:pt x="1836" y="1709"/>
                  </a:lnTo>
                  <a:lnTo>
                    <a:pt x="1833" y="1720"/>
                  </a:lnTo>
                  <a:lnTo>
                    <a:pt x="1831" y="1729"/>
                  </a:lnTo>
                  <a:lnTo>
                    <a:pt x="1826" y="1736"/>
                  </a:lnTo>
                  <a:lnTo>
                    <a:pt x="1813" y="1717"/>
                  </a:lnTo>
                  <a:lnTo>
                    <a:pt x="1808" y="1717"/>
                  </a:lnTo>
                  <a:lnTo>
                    <a:pt x="1799" y="1713"/>
                  </a:lnTo>
                  <a:lnTo>
                    <a:pt x="1796" y="1704"/>
                  </a:lnTo>
                  <a:lnTo>
                    <a:pt x="1785" y="1704"/>
                  </a:lnTo>
                  <a:lnTo>
                    <a:pt x="1777" y="1696"/>
                  </a:lnTo>
                  <a:lnTo>
                    <a:pt x="1776" y="1690"/>
                  </a:lnTo>
                  <a:lnTo>
                    <a:pt x="1779" y="1679"/>
                  </a:lnTo>
                  <a:lnTo>
                    <a:pt x="1772" y="1673"/>
                  </a:lnTo>
                  <a:lnTo>
                    <a:pt x="1760" y="1682"/>
                  </a:lnTo>
                  <a:lnTo>
                    <a:pt x="1750" y="1685"/>
                  </a:lnTo>
                  <a:lnTo>
                    <a:pt x="1739" y="1682"/>
                  </a:lnTo>
                  <a:lnTo>
                    <a:pt x="1736" y="1675"/>
                  </a:lnTo>
                  <a:lnTo>
                    <a:pt x="1749" y="1675"/>
                  </a:lnTo>
                  <a:lnTo>
                    <a:pt x="1752" y="1666"/>
                  </a:lnTo>
                  <a:lnTo>
                    <a:pt x="1750" y="1652"/>
                  </a:lnTo>
                  <a:lnTo>
                    <a:pt x="1741" y="1647"/>
                  </a:lnTo>
                  <a:lnTo>
                    <a:pt x="1725" y="1659"/>
                  </a:lnTo>
                  <a:lnTo>
                    <a:pt x="1715" y="1661"/>
                  </a:lnTo>
                  <a:lnTo>
                    <a:pt x="1728" y="1669"/>
                  </a:lnTo>
                  <a:lnTo>
                    <a:pt x="1729" y="1672"/>
                  </a:lnTo>
                  <a:lnTo>
                    <a:pt x="1721" y="1673"/>
                  </a:lnTo>
                  <a:lnTo>
                    <a:pt x="1710" y="1678"/>
                  </a:lnTo>
                  <a:lnTo>
                    <a:pt x="1699" y="1686"/>
                  </a:lnTo>
                  <a:lnTo>
                    <a:pt x="1690" y="1701"/>
                  </a:lnTo>
                  <a:lnTo>
                    <a:pt x="1672" y="1710"/>
                  </a:lnTo>
                  <a:lnTo>
                    <a:pt x="1658" y="1713"/>
                  </a:lnTo>
                  <a:lnTo>
                    <a:pt x="1655" y="1709"/>
                  </a:lnTo>
                  <a:lnTo>
                    <a:pt x="1635" y="1699"/>
                  </a:lnTo>
                  <a:lnTo>
                    <a:pt x="1616" y="1686"/>
                  </a:lnTo>
                  <a:lnTo>
                    <a:pt x="1607" y="1683"/>
                  </a:lnTo>
                  <a:lnTo>
                    <a:pt x="1593" y="1682"/>
                  </a:lnTo>
                  <a:lnTo>
                    <a:pt x="1572" y="1674"/>
                  </a:lnTo>
                  <a:lnTo>
                    <a:pt x="1564" y="1675"/>
                  </a:lnTo>
                  <a:lnTo>
                    <a:pt x="1555" y="1682"/>
                  </a:lnTo>
                  <a:lnTo>
                    <a:pt x="1548" y="1671"/>
                  </a:lnTo>
                  <a:lnTo>
                    <a:pt x="1529" y="1659"/>
                  </a:lnTo>
                  <a:lnTo>
                    <a:pt x="1511" y="1658"/>
                  </a:lnTo>
                  <a:lnTo>
                    <a:pt x="1496" y="1650"/>
                  </a:lnTo>
                  <a:lnTo>
                    <a:pt x="1486" y="1639"/>
                  </a:lnTo>
                  <a:lnTo>
                    <a:pt x="1481" y="1625"/>
                  </a:lnTo>
                  <a:lnTo>
                    <a:pt x="1470" y="1618"/>
                  </a:lnTo>
                  <a:lnTo>
                    <a:pt x="1458" y="1588"/>
                  </a:lnTo>
                  <a:lnTo>
                    <a:pt x="1457" y="1582"/>
                  </a:lnTo>
                  <a:lnTo>
                    <a:pt x="1462" y="1572"/>
                  </a:lnTo>
                  <a:lnTo>
                    <a:pt x="1463" y="1559"/>
                  </a:lnTo>
                  <a:lnTo>
                    <a:pt x="1453" y="1530"/>
                  </a:lnTo>
                  <a:lnTo>
                    <a:pt x="1430" y="1500"/>
                  </a:lnTo>
                  <a:lnTo>
                    <a:pt x="1437" y="1483"/>
                  </a:lnTo>
                  <a:lnTo>
                    <a:pt x="1436" y="1480"/>
                  </a:lnTo>
                  <a:lnTo>
                    <a:pt x="1421" y="1481"/>
                  </a:lnTo>
                  <a:lnTo>
                    <a:pt x="1406" y="1490"/>
                  </a:lnTo>
                  <a:lnTo>
                    <a:pt x="1389" y="1496"/>
                  </a:lnTo>
                  <a:lnTo>
                    <a:pt x="1379" y="1497"/>
                  </a:lnTo>
                  <a:lnTo>
                    <a:pt x="1372" y="1495"/>
                  </a:lnTo>
                  <a:lnTo>
                    <a:pt x="1379" y="1484"/>
                  </a:lnTo>
                  <a:lnTo>
                    <a:pt x="1387" y="1468"/>
                  </a:lnTo>
                  <a:lnTo>
                    <a:pt x="1390" y="1453"/>
                  </a:lnTo>
                  <a:lnTo>
                    <a:pt x="1390" y="1436"/>
                  </a:lnTo>
                  <a:lnTo>
                    <a:pt x="1384" y="1419"/>
                  </a:lnTo>
                  <a:lnTo>
                    <a:pt x="1376" y="1406"/>
                  </a:lnTo>
                  <a:lnTo>
                    <a:pt x="1368" y="1400"/>
                  </a:lnTo>
                  <a:lnTo>
                    <a:pt x="1356" y="1424"/>
                  </a:lnTo>
                  <a:lnTo>
                    <a:pt x="1356" y="1436"/>
                  </a:lnTo>
                  <a:lnTo>
                    <a:pt x="1352" y="1448"/>
                  </a:lnTo>
                  <a:lnTo>
                    <a:pt x="1350" y="1460"/>
                  </a:lnTo>
                  <a:lnTo>
                    <a:pt x="1349" y="1463"/>
                  </a:lnTo>
                  <a:lnTo>
                    <a:pt x="1340" y="1462"/>
                  </a:lnTo>
                  <a:lnTo>
                    <a:pt x="1329" y="1467"/>
                  </a:lnTo>
                  <a:lnTo>
                    <a:pt x="1317" y="1467"/>
                  </a:lnTo>
                  <a:lnTo>
                    <a:pt x="1307" y="1473"/>
                  </a:lnTo>
                  <a:lnTo>
                    <a:pt x="1301" y="1467"/>
                  </a:lnTo>
                  <a:lnTo>
                    <a:pt x="1306" y="1448"/>
                  </a:lnTo>
                  <a:lnTo>
                    <a:pt x="1319" y="1449"/>
                  </a:lnTo>
                  <a:lnTo>
                    <a:pt x="1330" y="1443"/>
                  </a:lnTo>
                  <a:lnTo>
                    <a:pt x="1334" y="1429"/>
                  </a:lnTo>
                  <a:lnTo>
                    <a:pt x="1335" y="1417"/>
                  </a:lnTo>
                  <a:lnTo>
                    <a:pt x="1333" y="1415"/>
                  </a:lnTo>
                  <a:lnTo>
                    <a:pt x="1333" y="1411"/>
                  </a:lnTo>
                  <a:lnTo>
                    <a:pt x="1334" y="1405"/>
                  </a:lnTo>
                  <a:lnTo>
                    <a:pt x="1334" y="1397"/>
                  </a:lnTo>
                  <a:lnTo>
                    <a:pt x="1339" y="1384"/>
                  </a:lnTo>
                  <a:lnTo>
                    <a:pt x="1345" y="1368"/>
                  </a:lnTo>
                  <a:lnTo>
                    <a:pt x="1351" y="1365"/>
                  </a:lnTo>
                  <a:lnTo>
                    <a:pt x="1357" y="1355"/>
                  </a:lnTo>
                  <a:lnTo>
                    <a:pt x="1357" y="1330"/>
                  </a:lnTo>
                  <a:lnTo>
                    <a:pt x="1363" y="1331"/>
                  </a:lnTo>
                  <a:lnTo>
                    <a:pt x="1362" y="1324"/>
                  </a:lnTo>
                  <a:lnTo>
                    <a:pt x="1358" y="1317"/>
                  </a:lnTo>
                  <a:lnTo>
                    <a:pt x="1358" y="1307"/>
                  </a:lnTo>
                  <a:lnTo>
                    <a:pt x="1355" y="1304"/>
                  </a:lnTo>
                  <a:lnTo>
                    <a:pt x="1355" y="1293"/>
                  </a:lnTo>
                  <a:lnTo>
                    <a:pt x="1350" y="1288"/>
                  </a:lnTo>
                  <a:lnTo>
                    <a:pt x="1347" y="1297"/>
                  </a:lnTo>
                  <a:lnTo>
                    <a:pt x="1347" y="1317"/>
                  </a:lnTo>
                  <a:lnTo>
                    <a:pt x="1342" y="1318"/>
                  </a:lnTo>
                  <a:lnTo>
                    <a:pt x="1335" y="1330"/>
                  </a:lnTo>
                  <a:lnTo>
                    <a:pt x="1330" y="1341"/>
                  </a:lnTo>
                  <a:lnTo>
                    <a:pt x="1324" y="1354"/>
                  </a:lnTo>
                  <a:lnTo>
                    <a:pt x="1323" y="1360"/>
                  </a:lnTo>
                  <a:lnTo>
                    <a:pt x="1318" y="1368"/>
                  </a:lnTo>
                  <a:lnTo>
                    <a:pt x="1307" y="1367"/>
                  </a:lnTo>
                  <a:lnTo>
                    <a:pt x="1302" y="1370"/>
                  </a:lnTo>
                  <a:lnTo>
                    <a:pt x="1301" y="1374"/>
                  </a:lnTo>
                  <a:lnTo>
                    <a:pt x="1287" y="1382"/>
                  </a:lnTo>
                  <a:lnTo>
                    <a:pt x="1282" y="1388"/>
                  </a:lnTo>
                  <a:lnTo>
                    <a:pt x="1275" y="1390"/>
                  </a:lnTo>
                  <a:lnTo>
                    <a:pt x="1269" y="1405"/>
                  </a:lnTo>
                  <a:lnTo>
                    <a:pt x="1259" y="1417"/>
                  </a:lnTo>
                  <a:lnTo>
                    <a:pt x="1249" y="1425"/>
                  </a:lnTo>
                  <a:lnTo>
                    <a:pt x="1245" y="1437"/>
                  </a:lnTo>
                  <a:lnTo>
                    <a:pt x="1252" y="1437"/>
                  </a:lnTo>
                  <a:lnTo>
                    <a:pt x="1252" y="1454"/>
                  </a:lnTo>
                  <a:lnTo>
                    <a:pt x="1245" y="1449"/>
                  </a:lnTo>
                  <a:lnTo>
                    <a:pt x="1238" y="1452"/>
                  </a:lnTo>
                  <a:lnTo>
                    <a:pt x="1229" y="1440"/>
                  </a:lnTo>
                  <a:lnTo>
                    <a:pt x="1220" y="1433"/>
                  </a:lnTo>
                  <a:lnTo>
                    <a:pt x="1214" y="1427"/>
                  </a:lnTo>
                  <a:lnTo>
                    <a:pt x="1205" y="1426"/>
                  </a:lnTo>
                  <a:lnTo>
                    <a:pt x="1205" y="1416"/>
                  </a:lnTo>
                  <a:lnTo>
                    <a:pt x="1221" y="1427"/>
                  </a:lnTo>
                  <a:lnTo>
                    <a:pt x="1222" y="1419"/>
                  </a:lnTo>
                  <a:lnTo>
                    <a:pt x="1220" y="1405"/>
                  </a:lnTo>
                  <a:lnTo>
                    <a:pt x="1214" y="1398"/>
                  </a:lnTo>
                  <a:lnTo>
                    <a:pt x="1211" y="1383"/>
                  </a:lnTo>
                  <a:lnTo>
                    <a:pt x="1204" y="1372"/>
                  </a:lnTo>
                  <a:lnTo>
                    <a:pt x="1195" y="1365"/>
                  </a:lnTo>
                  <a:lnTo>
                    <a:pt x="1190" y="1347"/>
                  </a:lnTo>
                  <a:lnTo>
                    <a:pt x="1186" y="1343"/>
                  </a:lnTo>
                  <a:lnTo>
                    <a:pt x="1183" y="1334"/>
                  </a:lnTo>
                  <a:lnTo>
                    <a:pt x="1177" y="1335"/>
                  </a:lnTo>
                  <a:lnTo>
                    <a:pt x="1166" y="1330"/>
                  </a:lnTo>
                  <a:lnTo>
                    <a:pt x="1156" y="1324"/>
                  </a:lnTo>
                  <a:lnTo>
                    <a:pt x="1150" y="1316"/>
                  </a:lnTo>
                  <a:lnTo>
                    <a:pt x="1150" y="1306"/>
                  </a:lnTo>
                  <a:lnTo>
                    <a:pt x="1155" y="1306"/>
                  </a:lnTo>
                  <a:lnTo>
                    <a:pt x="1156" y="1292"/>
                  </a:lnTo>
                  <a:lnTo>
                    <a:pt x="1135" y="1286"/>
                  </a:lnTo>
                  <a:lnTo>
                    <a:pt x="1114" y="1265"/>
                  </a:lnTo>
                  <a:lnTo>
                    <a:pt x="1108" y="1263"/>
                  </a:lnTo>
                  <a:lnTo>
                    <a:pt x="1110" y="1270"/>
                  </a:lnTo>
                  <a:lnTo>
                    <a:pt x="1100" y="1269"/>
                  </a:lnTo>
                  <a:lnTo>
                    <a:pt x="1091" y="1263"/>
                  </a:lnTo>
                  <a:lnTo>
                    <a:pt x="1069" y="1252"/>
                  </a:lnTo>
                  <a:lnTo>
                    <a:pt x="1062" y="1253"/>
                  </a:lnTo>
                  <a:lnTo>
                    <a:pt x="1054" y="1259"/>
                  </a:lnTo>
                  <a:lnTo>
                    <a:pt x="1051" y="1258"/>
                  </a:lnTo>
                  <a:lnTo>
                    <a:pt x="1045" y="1255"/>
                  </a:lnTo>
                  <a:lnTo>
                    <a:pt x="1017" y="1231"/>
                  </a:lnTo>
                  <a:lnTo>
                    <a:pt x="1006" y="1227"/>
                  </a:lnTo>
                  <a:lnTo>
                    <a:pt x="995" y="1226"/>
                  </a:lnTo>
                  <a:lnTo>
                    <a:pt x="974" y="1225"/>
                  </a:lnTo>
                  <a:lnTo>
                    <a:pt x="941" y="1230"/>
                  </a:lnTo>
                  <a:lnTo>
                    <a:pt x="899" y="1228"/>
                  </a:lnTo>
                  <a:lnTo>
                    <a:pt x="881" y="1228"/>
                  </a:lnTo>
                  <a:lnTo>
                    <a:pt x="840" y="1248"/>
                  </a:lnTo>
                  <a:lnTo>
                    <a:pt x="820" y="1261"/>
                  </a:lnTo>
                  <a:lnTo>
                    <a:pt x="795" y="1263"/>
                  </a:lnTo>
                  <a:lnTo>
                    <a:pt x="779" y="1270"/>
                  </a:lnTo>
                  <a:lnTo>
                    <a:pt x="758" y="1274"/>
                  </a:lnTo>
                  <a:lnTo>
                    <a:pt x="722" y="1273"/>
                  </a:lnTo>
                  <a:lnTo>
                    <a:pt x="710" y="1270"/>
                  </a:lnTo>
                  <a:lnTo>
                    <a:pt x="695" y="1274"/>
                  </a:lnTo>
                  <a:lnTo>
                    <a:pt x="685" y="1282"/>
                  </a:lnTo>
                  <a:lnTo>
                    <a:pt x="658" y="1297"/>
                  </a:lnTo>
                  <a:lnTo>
                    <a:pt x="642" y="1302"/>
                  </a:lnTo>
                  <a:lnTo>
                    <a:pt x="634" y="1309"/>
                  </a:lnTo>
                  <a:lnTo>
                    <a:pt x="625" y="1313"/>
                  </a:lnTo>
                  <a:lnTo>
                    <a:pt x="614" y="1314"/>
                  </a:lnTo>
                  <a:lnTo>
                    <a:pt x="602" y="1320"/>
                  </a:lnTo>
                  <a:lnTo>
                    <a:pt x="596" y="1333"/>
                  </a:lnTo>
                  <a:lnTo>
                    <a:pt x="592" y="1349"/>
                  </a:lnTo>
                  <a:lnTo>
                    <a:pt x="587" y="1354"/>
                  </a:lnTo>
                  <a:lnTo>
                    <a:pt x="581" y="1363"/>
                  </a:lnTo>
                  <a:lnTo>
                    <a:pt x="577" y="1372"/>
                  </a:lnTo>
                  <a:lnTo>
                    <a:pt x="558" y="1377"/>
                  </a:lnTo>
                  <a:lnTo>
                    <a:pt x="549" y="1377"/>
                  </a:lnTo>
                  <a:lnTo>
                    <a:pt x="539" y="1373"/>
                  </a:lnTo>
                  <a:lnTo>
                    <a:pt x="518" y="1376"/>
                  </a:lnTo>
                  <a:lnTo>
                    <a:pt x="496" y="1382"/>
                  </a:lnTo>
                  <a:lnTo>
                    <a:pt x="491" y="1374"/>
                  </a:lnTo>
                  <a:lnTo>
                    <a:pt x="486" y="1372"/>
                  </a:lnTo>
                  <a:lnTo>
                    <a:pt x="480" y="1374"/>
                  </a:lnTo>
                  <a:lnTo>
                    <a:pt x="464" y="1376"/>
                  </a:lnTo>
                  <a:lnTo>
                    <a:pt x="447" y="1372"/>
                  </a:lnTo>
                  <a:lnTo>
                    <a:pt x="435" y="1372"/>
                  </a:lnTo>
                  <a:lnTo>
                    <a:pt x="419" y="1379"/>
                  </a:lnTo>
                  <a:lnTo>
                    <a:pt x="376" y="1378"/>
                  </a:lnTo>
                  <a:lnTo>
                    <a:pt x="365" y="1383"/>
                  </a:lnTo>
                  <a:lnTo>
                    <a:pt x="355" y="1392"/>
                  </a:lnTo>
                  <a:lnTo>
                    <a:pt x="350" y="1399"/>
                  </a:lnTo>
                  <a:lnTo>
                    <a:pt x="352" y="1404"/>
                  </a:lnTo>
                  <a:lnTo>
                    <a:pt x="350" y="1405"/>
                  </a:lnTo>
                  <a:lnTo>
                    <a:pt x="344" y="1411"/>
                  </a:lnTo>
                  <a:lnTo>
                    <a:pt x="333" y="1414"/>
                  </a:lnTo>
                  <a:lnTo>
                    <a:pt x="316" y="1416"/>
                  </a:lnTo>
                  <a:lnTo>
                    <a:pt x="301" y="1426"/>
                  </a:lnTo>
                  <a:lnTo>
                    <a:pt x="292" y="1436"/>
                  </a:lnTo>
                  <a:lnTo>
                    <a:pt x="287" y="1443"/>
                  </a:lnTo>
                  <a:lnTo>
                    <a:pt x="280" y="1449"/>
                  </a:lnTo>
                  <a:lnTo>
                    <a:pt x="271" y="1452"/>
                  </a:lnTo>
                  <a:lnTo>
                    <a:pt x="261" y="1447"/>
                  </a:lnTo>
                  <a:lnTo>
                    <a:pt x="260" y="1458"/>
                  </a:lnTo>
                  <a:lnTo>
                    <a:pt x="253" y="1454"/>
                  </a:lnTo>
                  <a:lnTo>
                    <a:pt x="244" y="1458"/>
                  </a:lnTo>
                  <a:lnTo>
                    <a:pt x="238" y="1451"/>
                  </a:lnTo>
                  <a:lnTo>
                    <a:pt x="205" y="1453"/>
                  </a:lnTo>
                  <a:lnTo>
                    <a:pt x="190" y="1451"/>
                  </a:lnTo>
                  <a:lnTo>
                    <a:pt x="183" y="1443"/>
                  </a:lnTo>
                  <a:lnTo>
                    <a:pt x="174" y="1440"/>
                  </a:lnTo>
                  <a:lnTo>
                    <a:pt x="174" y="1441"/>
                  </a:lnTo>
                  <a:lnTo>
                    <a:pt x="163" y="1440"/>
                  </a:lnTo>
                  <a:lnTo>
                    <a:pt x="148" y="1424"/>
                  </a:lnTo>
                  <a:lnTo>
                    <a:pt x="141" y="1415"/>
                  </a:lnTo>
                  <a:lnTo>
                    <a:pt x="130" y="1405"/>
                  </a:lnTo>
                  <a:lnTo>
                    <a:pt x="120" y="1402"/>
                  </a:lnTo>
                  <a:lnTo>
                    <a:pt x="108" y="1399"/>
                  </a:lnTo>
                  <a:lnTo>
                    <a:pt x="105" y="1370"/>
                  </a:lnTo>
                  <a:lnTo>
                    <a:pt x="107" y="1357"/>
                  </a:lnTo>
                  <a:lnTo>
                    <a:pt x="107" y="1356"/>
                  </a:lnTo>
                  <a:lnTo>
                    <a:pt x="117" y="1360"/>
                  </a:lnTo>
                  <a:lnTo>
                    <a:pt x="125" y="1359"/>
                  </a:lnTo>
                  <a:lnTo>
                    <a:pt x="136" y="1343"/>
                  </a:lnTo>
                  <a:lnTo>
                    <a:pt x="142" y="1328"/>
                  </a:lnTo>
                  <a:lnTo>
                    <a:pt x="142" y="1318"/>
                  </a:lnTo>
                  <a:lnTo>
                    <a:pt x="137" y="1306"/>
                  </a:lnTo>
                  <a:lnTo>
                    <a:pt x="137" y="1291"/>
                  </a:lnTo>
                  <a:lnTo>
                    <a:pt x="139" y="1297"/>
                  </a:lnTo>
                  <a:lnTo>
                    <a:pt x="142" y="1286"/>
                  </a:lnTo>
                  <a:lnTo>
                    <a:pt x="141" y="1265"/>
                  </a:lnTo>
                  <a:lnTo>
                    <a:pt x="144" y="1248"/>
                  </a:lnTo>
                  <a:lnTo>
                    <a:pt x="141" y="1234"/>
                  </a:lnTo>
                  <a:lnTo>
                    <a:pt x="124" y="1196"/>
                  </a:lnTo>
                  <a:lnTo>
                    <a:pt x="121" y="1185"/>
                  </a:lnTo>
                  <a:lnTo>
                    <a:pt x="117" y="1178"/>
                  </a:lnTo>
                  <a:lnTo>
                    <a:pt x="109" y="1168"/>
                  </a:lnTo>
                  <a:lnTo>
                    <a:pt x="103" y="1150"/>
                  </a:lnTo>
                  <a:lnTo>
                    <a:pt x="98" y="1124"/>
                  </a:lnTo>
                  <a:lnTo>
                    <a:pt x="98" y="1092"/>
                  </a:lnTo>
                  <a:lnTo>
                    <a:pt x="94" y="1081"/>
                  </a:lnTo>
                  <a:lnTo>
                    <a:pt x="78" y="1053"/>
                  </a:lnTo>
                  <a:lnTo>
                    <a:pt x="76" y="1039"/>
                  </a:lnTo>
                  <a:lnTo>
                    <a:pt x="66" y="1024"/>
                  </a:lnTo>
                  <a:lnTo>
                    <a:pt x="54" y="1004"/>
                  </a:lnTo>
                  <a:lnTo>
                    <a:pt x="54" y="983"/>
                  </a:lnTo>
                  <a:lnTo>
                    <a:pt x="46" y="965"/>
                  </a:lnTo>
                  <a:lnTo>
                    <a:pt x="40" y="945"/>
                  </a:lnTo>
                  <a:lnTo>
                    <a:pt x="29" y="938"/>
                  </a:lnTo>
                  <a:lnTo>
                    <a:pt x="19" y="927"/>
                  </a:lnTo>
                  <a:lnTo>
                    <a:pt x="13" y="919"/>
                  </a:lnTo>
                  <a:lnTo>
                    <a:pt x="11" y="909"/>
                  </a:lnTo>
                  <a:lnTo>
                    <a:pt x="5" y="905"/>
                  </a:lnTo>
                  <a:lnTo>
                    <a:pt x="0" y="895"/>
                  </a:lnTo>
                  <a:lnTo>
                    <a:pt x="1" y="889"/>
                  </a:lnTo>
                  <a:lnTo>
                    <a:pt x="3" y="894"/>
                  </a:lnTo>
                  <a:lnTo>
                    <a:pt x="8" y="895"/>
                  </a:lnTo>
                  <a:lnTo>
                    <a:pt x="12" y="897"/>
                  </a:lnTo>
                  <a:lnTo>
                    <a:pt x="15" y="904"/>
                  </a:lnTo>
                  <a:lnTo>
                    <a:pt x="16" y="914"/>
                  </a:lnTo>
                  <a:lnTo>
                    <a:pt x="21" y="911"/>
                  </a:lnTo>
                  <a:lnTo>
                    <a:pt x="23" y="918"/>
                  </a:lnTo>
                  <a:lnTo>
                    <a:pt x="31" y="919"/>
                  </a:lnTo>
                  <a:lnTo>
                    <a:pt x="35" y="913"/>
                  </a:lnTo>
                  <a:lnTo>
                    <a:pt x="34" y="904"/>
                  </a:lnTo>
                  <a:lnTo>
                    <a:pt x="26" y="895"/>
                  </a:lnTo>
                  <a:lnTo>
                    <a:pt x="13" y="866"/>
                  </a:lnTo>
                  <a:lnTo>
                    <a:pt x="13" y="856"/>
                  </a:lnTo>
                  <a:lnTo>
                    <a:pt x="17" y="860"/>
                  </a:lnTo>
                  <a:lnTo>
                    <a:pt x="22" y="871"/>
                  </a:lnTo>
                  <a:lnTo>
                    <a:pt x="27" y="894"/>
                  </a:lnTo>
                  <a:lnTo>
                    <a:pt x="35" y="884"/>
                  </a:lnTo>
                  <a:lnTo>
                    <a:pt x="38" y="893"/>
                  </a:lnTo>
                  <a:lnTo>
                    <a:pt x="39" y="904"/>
                  </a:lnTo>
                  <a:lnTo>
                    <a:pt x="46" y="905"/>
                  </a:lnTo>
                  <a:lnTo>
                    <a:pt x="51" y="898"/>
                  </a:lnTo>
                  <a:lnTo>
                    <a:pt x="54" y="886"/>
                  </a:lnTo>
                  <a:lnTo>
                    <a:pt x="53" y="867"/>
                  </a:lnTo>
                  <a:lnTo>
                    <a:pt x="45" y="860"/>
                  </a:lnTo>
                  <a:lnTo>
                    <a:pt x="39" y="848"/>
                  </a:lnTo>
                  <a:lnTo>
                    <a:pt x="37" y="851"/>
                  </a:lnTo>
                  <a:lnTo>
                    <a:pt x="38" y="844"/>
                  </a:lnTo>
                  <a:lnTo>
                    <a:pt x="31" y="832"/>
                  </a:lnTo>
                  <a:lnTo>
                    <a:pt x="23" y="814"/>
                  </a:lnTo>
                  <a:lnTo>
                    <a:pt x="8" y="787"/>
                  </a:lnTo>
                  <a:lnTo>
                    <a:pt x="8" y="758"/>
                  </a:lnTo>
                  <a:lnTo>
                    <a:pt x="13" y="748"/>
                  </a:lnTo>
                  <a:lnTo>
                    <a:pt x="28" y="733"/>
                  </a:lnTo>
                  <a:lnTo>
                    <a:pt x="29" y="725"/>
                  </a:lnTo>
                  <a:lnTo>
                    <a:pt x="28" y="716"/>
                  </a:lnTo>
                  <a:lnTo>
                    <a:pt x="29" y="695"/>
                  </a:lnTo>
                  <a:lnTo>
                    <a:pt x="22" y="683"/>
                  </a:lnTo>
                  <a:lnTo>
                    <a:pt x="27" y="661"/>
                  </a:lnTo>
                  <a:lnTo>
                    <a:pt x="33" y="652"/>
                  </a:lnTo>
                  <a:lnTo>
                    <a:pt x="39" y="637"/>
                  </a:lnTo>
                  <a:lnTo>
                    <a:pt x="43" y="63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5" name="Freeform 55"/>
            <p:cNvSpPr>
              <a:spLocks noChangeAspect="1"/>
            </p:cNvSpPr>
            <p:nvPr/>
          </p:nvSpPr>
          <p:spPr bwMode="gray">
            <a:xfrm>
              <a:off x="5667242" y="4844485"/>
              <a:ext cx="112263" cy="121508"/>
            </a:xfrm>
            <a:custGeom>
              <a:avLst/>
              <a:gdLst/>
              <a:ahLst/>
              <a:cxnLst>
                <a:cxn ang="0">
                  <a:pos x="319" y="16"/>
                </a:cxn>
                <a:cxn ang="0">
                  <a:pos x="337" y="0"/>
                </a:cxn>
                <a:cxn ang="0">
                  <a:pos x="349" y="22"/>
                </a:cxn>
                <a:cxn ang="0">
                  <a:pos x="362" y="51"/>
                </a:cxn>
                <a:cxn ang="0">
                  <a:pos x="391" y="35"/>
                </a:cxn>
                <a:cxn ang="0">
                  <a:pos x="402" y="35"/>
                </a:cxn>
                <a:cxn ang="0">
                  <a:pos x="411" y="47"/>
                </a:cxn>
                <a:cxn ang="0">
                  <a:pos x="423" y="40"/>
                </a:cxn>
                <a:cxn ang="0">
                  <a:pos x="417" y="68"/>
                </a:cxn>
                <a:cxn ang="0">
                  <a:pos x="411" y="114"/>
                </a:cxn>
                <a:cxn ang="0">
                  <a:pos x="387" y="141"/>
                </a:cxn>
                <a:cxn ang="0">
                  <a:pos x="362" y="180"/>
                </a:cxn>
                <a:cxn ang="0">
                  <a:pos x="342" y="228"/>
                </a:cxn>
                <a:cxn ang="0">
                  <a:pos x="360" y="246"/>
                </a:cxn>
                <a:cxn ang="0">
                  <a:pos x="326" y="235"/>
                </a:cxn>
                <a:cxn ang="0">
                  <a:pos x="316" y="244"/>
                </a:cxn>
                <a:cxn ang="0">
                  <a:pos x="287" y="262"/>
                </a:cxn>
                <a:cxn ang="0">
                  <a:pos x="274" y="265"/>
                </a:cxn>
                <a:cxn ang="0">
                  <a:pos x="262" y="320"/>
                </a:cxn>
                <a:cxn ang="0">
                  <a:pos x="245" y="361"/>
                </a:cxn>
                <a:cxn ang="0">
                  <a:pos x="231" y="390"/>
                </a:cxn>
                <a:cxn ang="0">
                  <a:pos x="230" y="410"/>
                </a:cxn>
                <a:cxn ang="0">
                  <a:pos x="190" y="434"/>
                </a:cxn>
                <a:cxn ang="0">
                  <a:pos x="177" y="449"/>
                </a:cxn>
                <a:cxn ang="0">
                  <a:pos x="138" y="463"/>
                </a:cxn>
                <a:cxn ang="0">
                  <a:pos x="120" y="454"/>
                </a:cxn>
                <a:cxn ang="0">
                  <a:pos x="104" y="454"/>
                </a:cxn>
                <a:cxn ang="0">
                  <a:pos x="91" y="441"/>
                </a:cxn>
                <a:cxn ang="0">
                  <a:pos x="55" y="421"/>
                </a:cxn>
                <a:cxn ang="0">
                  <a:pos x="12" y="422"/>
                </a:cxn>
                <a:cxn ang="0">
                  <a:pos x="13" y="413"/>
                </a:cxn>
                <a:cxn ang="0">
                  <a:pos x="9" y="405"/>
                </a:cxn>
                <a:cxn ang="0">
                  <a:pos x="16" y="391"/>
                </a:cxn>
                <a:cxn ang="0">
                  <a:pos x="24" y="379"/>
                </a:cxn>
                <a:cxn ang="0">
                  <a:pos x="15" y="366"/>
                </a:cxn>
                <a:cxn ang="0">
                  <a:pos x="21" y="353"/>
                </a:cxn>
                <a:cxn ang="0">
                  <a:pos x="37" y="356"/>
                </a:cxn>
                <a:cxn ang="0">
                  <a:pos x="31" y="347"/>
                </a:cxn>
                <a:cxn ang="0">
                  <a:pos x="47" y="325"/>
                </a:cxn>
                <a:cxn ang="0">
                  <a:pos x="56" y="329"/>
                </a:cxn>
                <a:cxn ang="0">
                  <a:pos x="61" y="304"/>
                </a:cxn>
                <a:cxn ang="0">
                  <a:pos x="82" y="278"/>
                </a:cxn>
                <a:cxn ang="0">
                  <a:pos x="102" y="255"/>
                </a:cxn>
                <a:cxn ang="0">
                  <a:pos x="133" y="249"/>
                </a:cxn>
                <a:cxn ang="0">
                  <a:pos x="187" y="208"/>
                </a:cxn>
                <a:cxn ang="0">
                  <a:pos x="219" y="178"/>
                </a:cxn>
                <a:cxn ang="0">
                  <a:pos x="256" y="144"/>
                </a:cxn>
                <a:cxn ang="0">
                  <a:pos x="288" y="81"/>
                </a:cxn>
                <a:cxn ang="0">
                  <a:pos x="308" y="34"/>
                </a:cxn>
              </a:cxnLst>
              <a:rect l="0" t="0" r="r" b="b"/>
              <a:pathLst>
                <a:path w="424" h="463">
                  <a:moveTo>
                    <a:pt x="308" y="34"/>
                  </a:moveTo>
                  <a:lnTo>
                    <a:pt x="310" y="35"/>
                  </a:lnTo>
                  <a:lnTo>
                    <a:pt x="311" y="20"/>
                  </a:lnTo>
                  <a:lnTo>
                    <a:pt x="319" y="16"/>
                  </a:lnTo>
                  <a:lnTo>
                    <a:pt x="327" y="6"/>
                  </a:lnTo>
                  <a:lnTo>
                    <a:pt x="331" y="6"/>
                  </a:lnTo>
                  <a:lnTo>
                    <a:pt x="333" y="2"/>
                  </a:lnTo>
                  <a:lnTo>
                    <a:pt x="337" y="0"/>
                  </a:lnTo>
                  <a:lnTo>
                    <a:pt x="340" y="3"/>
                  </a:lnTo>
                  <a:lnTo>
                    <a:pt x="340" y="14"/>
                  </a:lnTo>
                  <a:lnTo>
                    <a:pt x="343" y="20"/>
                  </a:lnTo>
                  <a:lnTo>
                    <a:pt x="349" y="22"/>
                  </a:lnTo>
                  <a:lnTo>
                    <a:pt x="354" y="22"/>
                  </a:lnTo>
                  <a:lnTo>
                    <a:pt x="358" y="28"/>
                  </a:lnTo>
                  <a:lnTo>
                    <a:pt x="358" y="45"/>
                  </a:lnTo>
                  <a:lnTo>
                    <a:pt x="362" y="51"/>
                  </a:lnTo>
                  <a:lnTo>
                    <a:pt x="368" y="55"/>
                  </a:lnTo>
                  <a:lnTo>
                    <a:pt x="381" y="44"/>
                  </a:lnTo>
                  <a:lnTo>
                    <a:pt x="387" y="41"/>
                  </a:lnTo>
                  <a:lnTo>
                    <a:pt x="391" y="35"/>
                  </a:lnTo>
                  <a:lnTo>
                    <a:pt x="401" y="29"/>
                  </a:lnTo>
                  <a:lnTo>
                    <a:pt x="406" y="28"/>
                  </a:lnTo>
                  <a:lnTo>
                    <a:pt x="407" y="29"/>
                  </a:lnTo>
                  <a:lnTo>
                    <a:pt x="402" y="35"/>
                  </a:lnTo>
                  <a:lnTo>
                    <a:pt x="403" y="36"/>
                  </a:lnTo>
                  <a:lnTo>
                    <a:pt x="405" y="44"/>
                  </a:lnTo>
                  <a:lnTo>
                    <a:pt x="401" y="54"/>
                  </a:lnTo>
                  <a:lnTo>
                    <a:pt x="411" y="47"/>
                  </a:lnTo>
                  <a:lnTo>
                    <a:pt x="408" y="43"/>
                  </a:lnTo>
                  <a:lnTo>
                    <a:pt x="413" y="34"/>
                  </a:lnTo>
                  <a:lnTo>
                    <a:pt x="418" y="33"/>
                  </a:lnTo>
                  <a:lnTo>
                    <a:pt x="423" y="40"/>
                  </a:lnTo>
                  <a:lnTo>
                    <a:pt x="414" y="51"/>
                  </a:lnTo>
                  <a:lnTo>
                    <a:pt x="418" y="51"/>
                  </a:lnTo>
                  <a:lnTo>
                    <a:pt x="422" y="57"/>
                  </a:lnTo>
                  <a:lnTo>
                    <a:pt x="417" y="68"/>
                  </a:lnTo>
                  <a:lnTo>
                    <a:pt x="424" y="87"/>
                  </a:lnTo>
                  <a:lnTo>
                    <a:pt x="422" y="93"/>
                  </a:lnTo>
                  <a:lnTo>
                    <a:pt x="413" y="106"/>
                  </a:lnTo>
                  <a:lnTo>
                    <a:pt x="411" y="114"/>
                  </a:lnTo>
                  <a:lnTo>
                    <a:pt x="405" y="124"/>
                  </a:lnTo>
                  <a:lnTo>
                    <a:pt x="398" y="125"/>
                  </a:lnTo>
                  <a:lnTo>
                    <a:pt x="397" y="129"/>
                  </a:lnTo>
                  <a:lnTo>
                    <a:pt x="387" y="141"/>
                  </a:lnTo>
                  <a:lnTo>
                    <a:pt x="375" y="168"/>
                  </a:lnTo>
                  <a:lnTo>
                    <a:pt x="369" y="174"/>
                  </a:lnTo>
                  <a:lnTo>
                    <a:pt x="365" y="175"/>
                  </a:lnTo>
                  <a:lnTo>
                    <a:pt x="362" y="180"/>
                  </a:lnTo>
                  <a:lnTo>
                    <a:pt x="349" y="189"/>
                  </a:lnTo>
                  <a:lnTo>
                    <a:pt x="347" y="192"/>
                  </a:lnTo>
                  <a:lnTo>
                    <a:pt x="344" y="217"/>
                  </a:lnTo>
                  <a:lnTo>
                    <a:pt x="342" y="228"/>
                  </a:lnTo>
                  <a:lnTo>
                    <a:pt x="352" y="230"/>
                  </a:lnTo>
                  <a:lnTo>
                    <a:pt x="359" y="234"/>
                  </a:lnTo>
                  <a:lnTo>
                    <a:pt x="362" y="243"/>
                  </a:lnTo>
                  <a:lnTo>
                    <a:pt x="360" y="246"/>
                  </a:lnTo>
                  <a:lnTo>
                    <a:pt x="356" y="240"/>
                  </a:lnTo>
                  <a:lnTo>
                    <a:pt x="354" y="246"/>
                  </a:lnTo>
                  <a:lnTo>
                    <a:pt x="333" y="239"/>
                  </a:lnTo>
                  <a:lnTo>
                    <a:pt x="326" y="235"/>
                  </a:lnTo>
                  <a:lnTo>
                    <a:pt x="324" y="237"/>
                  </a:lnTo>
                  <a:lnTo>
                    <a:pt x="324" y="244"/>
                  </a:lnTo>
                  <a:lnTo>
                    <a:pt x="320" y="248"/>
                  </a:lnTo>
                  <a:lnTo>
                    <a:pt x="316" y="244"/>
                  </a:lnTo>
                  <a:lnTo>
                    <a:pt x="313" y="243"/>
                  </a:lnTo>
                  <a:lnTo>
                    <a:pt x="310" y="249"/>
                  </a:lnTo>
                  <a:lnTo>
                    <a:pt x="295" y="256"/>
                  </a:lnTo>
                  <a:lnTo>
                    <a:pt x="287" y="262"/>
                  </a:lnTo>
                  <a:lnTo>
                    <a:pt x="282" y="262"/>
                  </a:lnTo>
                  <a:lnTo>
                    <a:pt x="279" y="256"/>
                  </a:lnTo>
                  <a:lnTo>
                    <a:pt x="274" y="256"/>
                  </a:lnTo>
                  <a:lnTo>
                    <a:pt x="274" y="265"/>
                  </a:lnTo>
                  <a:lnTo>
                    <a:pt x="272" y="277"/>
                  </a:lnTo>
                  <a:lnTo>
                    <a:pt x="265" y="289"/>
                  </a:lnTo>
                  <a:lnTo>
                    <a:pt x="263" y="302"/>
                  </a:lnTo>
                  <a:lnTo>
                    <a:pt x="262" y="320"/>
                  </a:lnTo>
                  <a:lnTo>
                    <a:pt x="256" y="324"/>
                  </a:lnTo>
                  <a:lnTo>
                    <a:pt x="257" y="336"/>
                  </a:lnTo>
                  <a:lnTo>
                    <a:pt x="247" y="347"/>
                  </a:lnTo>
                  <a:lnTo>
                    <a:pt x="245" y="361"/>
                  </a:lnTo>
                  <a:lnTo>
                    <a:pt x="245" y="369"/>
                  </a:lnTo>
                  <a:lnTo>
                    <a:pt x="239" y="379"/>
                  </a:lnTo>
                  <a:lnTo>
                    <a:pt x="233" y="385"/>
                  </a:lnTo>
                  <a:lnTo>
                    <a:pt x="231" y="390"/>
                  </a:lnTo>
                  <a:lnTo>
                    <a:pt x="231" y="398"/>
                  </a:lnTo>
                  <a:lnTo>
                    <a:pt x="228" y="401"/>
                  </a:lnTo>
                  <a:lnTo>
                    <a:pt x="233" y="402"/>
                  </a:lnTo>
                  <a:lnTo>
                    <a:pt x="230" y="410"/>
                  </a:lnTo>
                  <a:lnTo>
                    <a:pt x="223" y="409"/>
                  </a:lnTo>
                  <a:lnTo>
                    <a:pt x="214" y="415"/>
                  </a:lnTo>
                  <a:lnTo>
                    <a:pt x="204" y="428"/>
                  </a:lnTo>
                  <a:lnTo>
                    <a:pt x="190" y="434"/>
                  </a:lnTo>
                  <a:lnTo>
                    <a:pt x="185" y="437"/>
                  </a:lnTo>
                  <a:lnTo>
                    <a:pt x="185" y="441"/>
                  </a:lnTo>
                  <a:lnTo>
                    <a:pt x="180" y="443"/>
                  </a:lnTo>
                  <a:lnTo>
                    <a:pt x="177" y="449"/>
                  </a:lnTo>
                  <a:lnTo>
                    <a:pt x="172" y="453"/>
                  </a:lnTo>
                  <a:lnTo>
                    <a:pt x="153" y="459"/>
                  </a:lnTo>
                  <a:lnTo>
                    <a:pt x="149" y="459"/>
                  </a:lnTo>
                  <a:lnTo>
                    <a:pt x="138" y="463"/>
                  </a:lnTo>
                  <a:lnTo>
                    <a:pt x="132" y="459"/>
                  </a:lnTo>
                  <a:lnTo>
                    <a:pt x="129" y="452"/>
                  </a:lnTo>
                  <a:lnTo>
                    <a:pt x="126" y="450"/>
                  </a:lnTo>
                  <a:lnTo>
                    <a:pt x="120" y="454"/>
                  </a:lnTo>
                  <a:lnTo>
                    <a:pt x="114" y="455"/>
                  </a:lnTo>
                  <a:lnTo>
                    <a:pt x="110" y="454"/>
                  </a:lnTo>
                  <a:lnTo>
                    <a:pt x="110" y="453"/>
                  </a:lnTo>
                  <a:lnTo>
                    <a:pt x="104" y="454"/>
                  </a:lnTo>
                  <a:lnTo>
                    <a:pt x="102" y="449"/>
                  </a:lnTo>
                  <a:lnTo>
                    <a:pt x="102" y="443"/>
                  </a:lnTo>
                  <a:lnTo>
                    <a:pt x="98" y="444"/>
                  </a:lnTo>
                  <a:lnTo>
                    <a:pt x="91" y="441"/>
                  </a:lnTo>
                  <a:lnTo>
                    <a:pt x="73" y="439"/>
                  </a:lnTo>
                  <a:lnTo>
                    <a:pt x="69" y="427"/>
                  </a:lnTo>
                  <a:lnTo>
                    <a:pt x="64" y="422"/>
                  </a:lnTo>
                  <a:lnTo>
                    <a:pt x="55" y="421"/>
                  </a:lnTo>
                  <a:lnTo>
                    <a:pt x="47" y="428"/>
                  </a:lnTo>
                  <a:lnTo>
                    <a:pt x="39" y="429"/>
                  </a:lnTo>
                  <a:lnTo>
                    <a:pt x="18" y="427"/>
                  </a:lnTo>
                  <a:lnTo>
                    <a:pt x="12" y="422"/>
                  </a:lnTo>
                  <a:lnTo>
                    <a:pt x="15" y="415"/>
                  </a:lnTo>
                  <a:lnTo>
                    <a:pt x="20" y="409"/>
                  </a:lnTo>
                  <a:lnTo>
                    <a:pt x="24" y="402"/>
                  </a:lnTo>
                  <a:lnTo>
                    <a:pt x="13" y="413"/>
                  </a:lnTo>
                  <a:lnTo>
                    <a:pt x="9" y="413"/>
                  </a:lnTo>
                  <a:lnTo>
                    <a:pt x="14" y="402"/>
                  </a:lnTo>
                  <a:lnTo>
                    <a:pt x="14" y="401"/>
                  </a:lnTo>
                  <a:lnTo>
                    <a:pt x="9" y="405"/>
                  </a:lnTo>
                  <a:lnTo>
                    <a:pt x="3" y="406"/>
                  </a:lnTo>
                  <a:lnTo>
                    <a:pt x="0" y="400"/>
                  </a:lnTo>
                  <a:lnTo>
                    <a:pt x="4" y="395"/>
                  </a:lnTo>
                  <a:lnTo>
                    <a:pt x="16" y="391"/>
                  </a:lnTo>
                  <a:lnTo>
                    <a:pt x="24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24" y="379"/>
                  </a:lnTo>
                  <a:lnTo>
                    <a:pt x="26" y="373"/>
                  </a:lnTo>
                  <a:lnTo>
                    <a:pt x="21" y="373"/>
                  </a:lnTo>
                  <a:lnTo>
                    <a:pt x="16" y="372"/>
                  </a:lnTo>
                  <a:lnTo>
                    <a:pt x="15" y="366"/>
                  </a:lnTo>
                  <a:lnTo>
                    <a:pt x="21" y="366"/>
                  </a:lnTo>
                  <a:lnTo>
                    <a:pt x="25" y="361"/>
                  </a:lnTo>
                  <a:lnTo>
                    <a:pt x="21" y="358"/>
                  </a:lnTo>
                  <a:lnTo>
                    <a:pt x="21" y="353"/>
                  </a:lnTo>
                  <a:lnTo>
                    <a:pt x="26" y="353"/>
                  </a:lnTo>
                  <a:lnTo>
                    <a:pt x="29" y="357"/>
                  </a:lnTo>
                  <a:lnTo>
                    <a:pt x="34" y="355"/>
                  </a:lnTo>
                  <a:lnTo>
                    <a:pt x="37" y="356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35" y="351"/>
                  </a:lnTo>
                  <a:lnTo>
                    <a:pt x="31" y="347"/>
                  </a:lnTo>
                  <a:lnTo>
                    <a:pt x="35" y="329"/>
                  </a:lnTo>
                  <a:lnTo>
                    <a:pt x="42" y="323"/>
                  </a:lnTo>
                  <a:lnTo>
                    <a:pt x="45" y="321"/>
                  </a:lnTo>
                  <a:lnTo>
                    <a:pt x="47" y="325"/>
                  </a:lnTo>
                  <a:lnTo>
                    <a:pt x="48" y="331"/>
                  </a:lnTo>
                  <a:lnTo>
                    <a:pt x="51" y="332"/>
                  </a:lnTo>
                  <a:lnTo>
                    <a:pt x="53" y="332"/>
                  </a:lnTo>
                  <a:lnTo>
                    <a:pt x="56" y="329"/>
                  </a:lnTo>
                  <a:lnTo>
                    <a:pt x="53" y="319"/>
                  </a:lnTo>
                  <a:lnTo>
                    <a:pt x="55" y="315"/>
                  </a:lnTo>
                  <a:lnTo>
                    <a:pt x="58" y="314"/>
                  </a:lnTo>
                  <a:lnTo>
                    <a:pt x="61" y="304"/>
                  </a:lnTo>
                  <a:lnTo>
                    <a:pt x="69" y="302"/>
                  </a:lnTo>
                  <a:lnTo>
                    <a:pt x="75" y="296"/>
                  </a:lnTo>
                  <a:lnTo>
                    <a:pt x="77" y="286"/>
                  </a:lnTo>
                  <a:lnTo>
                    <a:pt x="82" y="278"/>
                  </a:lnTo>
                  <a:lnTo>
                    <a:pt x="89" y="275"/>
                  </a:lnTo>
                  <a:lnTo>
                    <a:pt x="93" y="260"/>
                  </a:lnTo>
                  <a:lnTo>
                    <a:pt x="96" y="260"/>
                  </a:lnTo>
                  <a:lnTo>
                    <a:pt x="102" y="255"/>
                  </a:lnTo>
                  <a:lnTo>
                    <a:pt x="109" y="255"/>
                  </a:lnTo>
                  <a:lnTo>
                    <a:pt x="116" y="251"/>
                  </a:lnTo>
                  <a:lnTo>
                    <a:pt x="123" y="251"/>
                  </a:lnTo>
                  <a:lnTo>
                    <a:pt x="133" y="249"/>
                  </a:lnTo>
                  <a:lnTo>
                    <a:pt x="141" y="244"/>
                  </a:lnTo>
                  <a:lnTo>
                    <a:pt x="154" y="232"/>
                  </a:lnTo>
                  <a:lnTo>
                    <a:pt x="169" y="223"/>
                  </a:lnTo>
                  <a:lnTo>
                    <a:pt x="187" y="208"/>
                  </a:lnTo>
                  <a:lnTo>
                    <a:pt x="201" y="200"/>
                  </a:lnTo>
                  <a:lnTo>
                    <a:pt x="202" y="191"/>
                  </a:lnTo>
                  <a:lnTo>
                    <a:pt x="213" y="181"/>
                  </a:lnTo>
                  <a:lnTo>
                    <a:pt x="219" y="178"/>
                  </a:lnTo>
                  <a:lnTo>
                    <a:pt x="225" y="178"/>
                  </a:lnTo>
                  <a:lnTo>
                    <a:pt x="235" y="170"/>
                  </a:lnTo>
                  <a:lnTo>
                    <a:pt x="241" y="164"/>
                  </a:lnTo>
                  <a:lnTo>
                    <a:pt x="256" y="144"/>
                  </a:lnTo>
                  <a:lnTo>
                    <a:pt x="261" y="126"/>
                  </a:lnTo>
                  <a:lnTo>
                    <a:pt x="265" y="105"/>
                  </a:lnTo>
                  <a:lnTo>
                    <a:pt x="270" y="93"/>
                  </a:lnTo>
                  <a:lnTo>
                    <a:pt x="288" y="81"/>
                  </a:lnTo>
                  <a:lnTo>
                    <a:pt x="294" y="78"/>
                  </a:lnTo>
                  <a:lnTo>
                    <a:pt x="298" y="72"/>
                  </a:lnTo>
                  <a:lnTo>
                    <a:pt x="304" y="60"/>
                  </a:lnTo>
                  <a:lnTo>
                    <a:pt x="308" y="3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6" name="Freeform 57"/>
            <p:cNvSpPr>
              <a:spLocks noChangeAspect="1"/>
            </p:cNvSpPr>
            <p:nvPr/>
          </p:nvSpPr>
          <p:spPr bwMode="gray">
            <a:xfrm>
              <a:off x="5630261" y="4501092"/>
              <a:ext cx="42264" cy="34339"/>
            </a:xfrm>
            <a:custGeom>
              <a:avLst/>
              <a:gdLst/>
              <a:ahLst/>
              <a:cxnLst>
                <a:cxn ang="0">
                  <a:pos x="60" y="71"/>
                </a:cxn>
                <a:cxn ang="0">
                  <a:pos x="39" y="60"/>
                </a:cxn>
                <a:cxn ang="0">
                  <a:pos x="27" y="43"/>
                </a:cxn>
                <a:cxn ang="0">
                  <a:pos x="21" y="38"/>
                </a:cxn>
                <a:cxn ang="0">
                  <a:pos x="16" y="26"/>
                </a:cxn>
                <a:cxn ang="0">
                  <a:pos x="6" y="17"/>
                </a:cxn>
                <a:cxn ang="0">
                  <a:pos x="6" y="9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4" y="5"/>
                </a:cxn>
                <a:cxn ang="0">
                  <a:pos x="19" y="4"/>
                </a:cxn>
                <a:cxn ang="0">
                  <a:pos x="33" y="14"/>
                </a:cxn>
                <a:cxn ang="0">
                  <a:pos x="40" y="16"/>
                </a:cxn>
                <a:cxn ang="0">
                  <a:pos x="41" y="21"/>
                </a:cxn>
                <a:cxn ang="0">
                  <a:pos x="45" y="26"/>
                </a:cxn>
                <a:cxn ang="0">
                  <a:pos x="51" y="26"/>
                </a:cxn>
                <a:cxn ang="0">
                  <a:pos x="59" y="29"/>
                </a:cxn>
                <a:cxn ang="0">
                  <a:pos x="67" y="43"/>
                </a:cxn>
                <a:cxn ang="0">
                  <a:pos x="72" y="47"/>
                </a:cxn>
                <a:cxn ang="0">
                  <a:pos x="75" y="57"/>
                </a:cxn>
                <a:cxn ang="0">
                  <a:pos x="78" y="58"/>
                </a:cxn>
                <a:cxn ang="0">
                  <a:pos x="82" y="63"/>
                </a:cxn>
                <a:cxn ang="0">
                  <a:pos x="89" y="68"/>
                </a:cxn>
                <a:cxn ang="0">
                  <a:pos x="94" y="74"/>
                </a:cxn>
                <a:cxn ang="0">
                  <a:pos x="98" y="75"/>
                </a:cxn>
                <a:cxn ang="0">
                  <a:pos x="100" y="81"/>
                </a:cxn>
                <a:cxn ang="0">
                  <a:pos x="109" y="82"/>
                </a:cxn>
                <a:cxn ang="0">
                  <a:pos x="123" y="86"/>
                </a:cxn>
                <a:cxn ang="0">
                  <a:pos x="141" y="103"/>
                </a:cxn>
                <a:cxn ang="0">
                  <a:pos x="143" y="109"/>
                </a:cxn>
                <a:cxn ang="0">
                  <a:pos x="150" y="108"/>
                </a:cxn>
                <a:cxn ang="0">
                  <a:pos x="157" y="114"/>
                </a:cxn>
                <a:cxn ang="0">
                  <a:pos x="159" y="123"/>
                </a:cxn>
                <a:cxn ang="0">
                  <a:pos x="158" y="125"/>
                </a:cxn>
                <a:cxn ang="0">
                  <a:pos x="153" y="125"/>
                </a:cxn>
                <a:cxn ang="0">
                  <a:pos x="152" y="133"/>
                </a:cxn>
                <a:cxn ang="0">
                  <a:pos x="150" y="131"/>
                </a:cxn>
                <a:cxn ang="0">
                  <a:pos x="147" y="127"/>
                </a:cxn>
                <a:cxn ang="0">
                  <a:pos x="141" y="122"/>
                </a:cxn>
                <a:cxn ang="0">
                  <a:pos x="138" y="119"/>
                </a:cxn>
                <a:cxn ang="0">
                  <a:pos x="130" y="119"/>
                </a:cxn>
                <a:cxn ang="0">
                  <a:pos x="124" y="115"/>
                </a:cxn>
                <a:cxn ang="0">
                  <a:pos x="116" y="115"/>
                </a:cxn>
                <a:cxn ang="0">
                  <a:pos x="114" y="112"/>
                </a:cxn>
                <a:cxn ang="0">
                  <a:pos x="113" y="104"/>
                </a:cxn>
                <a:cxn ang="0">
                  <a:pos x="108" y="104"/>
                </a:cxn>
                <a:cxn ang="0">
                  <a:pos x="104" y="102"/>
                </a:cxn>
                <a:cxn ang="0">
                  <a:pos x="99" y="102"/>
                </a:cxn>
                <a:cxn ang="0">
                  <a:pos x="98" y="97"/>
                </a:cxn>
                <a:cxn ang="0">
                  <a:pos x="93" y="97"/>
                </a:cxn>
                <a:cxn ang="0">
                  <a:pos x="91" y="95"/>
                </a:cxn>
                <a:cxn ang="0">
                  <a:pos x="84" y="93"/>
                </a:cxn>
                <a:cxn ang="0">
                  <a:pos x="77" y="86"/>
                </a:cxn>
                <a:cxn ang="0">
                  <a:pos x="71" y="86"/>
                </a:cxn>
                <a:cxn ang="0">
                  <a:pos x="66" y="84"/>
                </a:cxn>
                <a:cxn ang="0">
                  <a:pos x="65" y="76"/>
                </a:cxn>
                <a:cxn ang="0">
                  <a:pos x="60" y="71"/>
                </a:cxn>
              </a:cxnLst>
              <a:rect l="0" t="0" r="r" b="b"/>
              <a:pathLst>
                <a:path w="159" h="133">
                  <a:moveTo>
                    <a:pt x="60" y="71"/>
                  </a:moveTo>
                  <a:lnTo>
                    <a:pt x="39" y="60"/>
                  </a:lnTo>
                  <a:lnTo>
                    <a:pt x="27" y="43"/>
                  </a:lnTo>
                  <a:lnTo>
                    <a:pt x="21" y="38"/>
                  </a:lnTo>
                  <a:lnTo>
                    <a:pt x="16" y="26"/>
                  </a:lnTo>
                  <a:lnTo>
                    <a:pt x="6" y="17"/>
                  </a:lnTo>
                  <a:lnTo>
                    <a:pt x="6" y="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4" y="5"/>
                  </a:lnTo>
                  <a:lnTo>
                    <a:pt x="19" y="4"/>
                  </a:lnTo>
                  <a:lnTo>
                    <a:pt x="33" y="14"/>
                  </a:lnTo>
                  <a:lnTo>
                    <a:pt x="40" y="16"/>
                  </a:lnTo>
                  <a:lnTo>
                    <a:pt x="41" y="21"/>
                  </a:lnTo>
                  <a:lnTo>
                    <a:pt x="45" y="26"/>
                  </a:lnTo>
                  <a:lnTo>
                    <a:pt x="51" y="26"/>
                  </a:lnTo>
                  <a:lnTo>
                    <a:pt x="59" y="29"/>
                  </a:lnTo>
                  <a:lnTo>
                    <a:pt x="67" y="43"/>
                  </a:lnTo>
                  <a:lnTo>
                    <a:pt x="72" y="47"/>
                  </a:lnTo>
                  <a:lnTo>
                    <a:pt x="75" y="57"/>
                  </a:lnTo>
                  <a:lnTo>
                    <a:pt x="78" y="58"/>
                  </a:lnTo>
                  <a:lnTo>
                    <a:pt x="82" y="63"/>
                  </a:lnTo>
                  <a:lnTo>
                    <a:pt x="89" y="68"/>
                  </a:lnTo>
                  <a:lnTo>
                    <a:pt x="94" y="74"/>
                  </a:lnTo>
                  <a:lnTo>
                    <a:pt x="98" y="75"/>
                  </a:lnTo>
                  <a:lnTo>
                    <a:pt x="100" y="81"/>
                  </a:lnTo>
                  <a:lnTo>
                    <a:pt x="109" y="82"/>
                  </a:lnTo>
                  <a:lnTo>
                    <a:pt x="123" y="86"/>
                  </a:lnTo>
                  <a:lnTo>
                    <a:pt x="141" y="103"/>
                  </a:lnTo>
                  <a:lnTo>
                    <a:pt x="143" y="109"/>
                  </a:lnTo>
                  <a:lnTo>
                    <a:pt x="150" y="108"/>
                  </a:lnTo>
                  <a:lnTo>
                    <a:pt x="157" y="114"/>
                  </a:lnTo>
                  <a:lnTo>
                    <a:pt x="159" y="123"/>
                  </a:lnTo>
                  <a:lnTo>
                    <a:pt x="158" y="125"/>
                  </a:lnTo>
                  <a:lnTo>
                    <a:pt x="153" y="125"/>
                  </a:lnTo>
                  <a:lnTo>
                    <a:pt x="152" y="133"/>
                  </a:lnTo>
                  <a:lnTo>
                    <a:pt x="150" y="131"/>
                  </a:lnTo>
                  <a:lnTo>
                    <a:pt x="147" y="127"/>
                  </a:lnTo>
                  <a:lnTo>
                    <a:pt x="141" y="122"/>
                  </a:lnTo>
                  <a:lnTo>
                    <a:pt x="138" y="119"/>
                  </a:lnTo>
                  <a:lnTo>
                    <a:pt x="130" y="119"/>
                  </a:lnTo>
                  <a:lnTo>
                    <a:pt x="124" y="115"/>
                  </a:lnTo>
                  <a:lnTo>
                    <a:pt x="116" y="115"/>
                  </a:lnTo>
                  <a:lnTo>
                    <a:pt x="114" y="112"/>
                  </a:lnTo>
                  <a:lnTo>
                    <a:pt x="113" y="104"/>
                  </a:lnTo>
                  <a:lnTo>
                    <a:pt x="108" y="104"/>
                  </a:lnTo>
                  <a:lnTo>
                    <a:pt x="104" y="102"/>
                  </a:lnTo>
                  <a:lnTo>
                    <a:pt x="99" y="102"/>
                  </a:lnTo>
                  <a:lnTo>
                    <a:pt x="98" y="97"/>
                  </a:lnTo>
                  <a:lnTo>
                    <a:pt x="93" y="97"/>
                  </a:lnTo>
                  <a:lnTo>
                    <a:pt x="91" y="95"/>
                  </a:lnTo>
                  <a:lnTo>
                    <a:pt x="84" y="93"/>
                  </a:lnTo>
                  <a:lnTo>
                    <a:pt x="77" y="86"/>
                  </a:lnTo>
                  <a:lnTo>
                    <a:pt x="71" y="86"/>
                  </a:lnTo>
                  <a:lnTo>
                    <a:pt x="66" y="84"/>
                  </a:lnTo>
                  <a:lnTo>
                    <a:pt x="65" y="76"/>
                  </a:lnTo>
                  <a:lnTo>
                    <a:pt x="60" y="71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7" name="Freeform 58"/>
            <p:cNvSpPr>
              <a:spLocks noChangeAspect="1"/>
            </p:cNvSpPr>
            <p:nvPr/>
          </p:nvSpPr>
          <p:spPr bwMode="gray">
            <a:xfrm>
              <a:off x="4259331" y="3510536"/>
              <a:ext cx="159809" cy="76603"/>
            </a:xfrm>
            <a:custGeom>
              <a:avLst/>
              <a:gdLst/>
              <a:ahLst/>
              <a:cxnLst>
                <a:cxn ang="0">
                  <a:pos x="259" y="238"/>
                </a:cxn>
                <a:cxn ang="0">
                  <a:pos x="303" y="218"/>
                </a:cxn>
                <a:cxn ang="0">
                  <a:pos x="334" y="201"/>
                </a:cxn>
                <a:cxn ang="0">
                  <a:pos x="362" y="217"/>
                </a:cxn>
                <a:cxn ang="0">
                  <a:pos x="401" y="204"/>
                </a:cxn>
                <a:cxn ang="0">
                  <a:pos x="433" y="170"/>
                </a:cxn>
                <a:cxn ang="0">
                  <a:pos x="491" y="159"/>
                </a:cxn>
                <a:cxn ang="0">
                  <a:pos x="550" y="112"/>
                </a:cxn>
                <a:cxn ang="0">
                  <a:pos x="604" y="79"/>
                </a:cxn>
                <a:cxn ang="0">
                  <a:pos x="577" y="56"/>
                </a:cxn>
                <a:cxn ang="0">
                  <a:pos x="530" y="34"/>
                </a:cxn>
                <a:cxn ang="0">
                  <a:pos x="508" y="27"/>
                </a:cxn>
                <a:cxn ang="0">
                  <a:pos x="452" y="24"/>
                </a:cxn>
                <a:cxn ang="0">
                  <a:pos x="421" y="18"/>
                </a:cxn>
                <a:cxn ang="0">
                  <a:pos x="366" y="20"/>
                </a:cxn>
                <a:cxn ang="0">
                  <a:pos x="325" y="23"/>
                </a:cxn>
                <a:cxn ang="0">
                  <a:pos x="294" y="18"/>
                </a:cxn>
                <a:cxn ang="0">
                  <a:pos x="260" y="4"/>
                </a:cxn>
                <a:cxn ang="0">
                  <a:pos x="233" y="18"/>
                </a:cxn>
                <a:cxn ang="0">
                  <a:pos x="224" y="48"/>
                </a:cxn>
                <a:cxn ang="0">
                  <a:pos x="191" y="45"/>
                </a:cxn>
                <a:cxn ang="0">
                  <a:pos x="160" y="34"/>
                </a:cxn>
                <a:cxn ang="0">
                  <a:pos x="129" y="32"/>
                </a:cxn>
                <a:cxn ang="0">
                  <a:pos x="98" y="36"/>
                </a:cxn>
                <a:cxn ang="0">
                  <a:pos x="92" y="58"/>
                </a:cxn>
                <a:cxn ang="0">
                  <a:pos x="106" y="79"/>
                </a:cxn>
                <a:cxn ang="0">
                  <a:pos x="70" y="109"/>
                </a:cxn>
                <a:cxn ang="0">
                  <a:pos x="62" y="129"/>
                </a:cxn>
                <a:cxn ang="0">
                  <a:pos x="84" y="144"/>
                </a:cxn>
                <a:cxn ang="0">
                  <a:pos x="117" y="147"/>
                </a:cxn>
                <a:cxn ang="0">
                  <a:pos x="137" y="131"/>
                </a:cxn>
                <a:cxn ang="0">
                  <a:pos x="156" y="154"/>
                </a:cxn>
                <a:cxn ang="0">
                  <a:pos x="181" y="169"/>
                </a:cxn>
                <a:cxn ang="0">
                  <a:pos x="212" y="175"/>
                </a:cxn>
                <a:cxn ang="0">
                  <a:pos x="187" y="195"/>
                </a:cxn>
                <a:cxn ang="0">
                  <a:pos x="168" y="202"/>
                </a:cxn>
                <a:cxn ang="0">
                  <a:pos x="149" y="213"/>
                </a:cxn>
                <a:cxn ang="0">
                  <a:pos x="111" y="215"/>
                </a:cxn>
                <a:cxn ang="0">
                  <a:pos x="88" y="224"/>
                </a:cxn>
                <a:cxn ang="0">
                  <a:pos x="68" y="236"/>
                </a:cxn>
                <a:cxn ang="0">
                  <a:pos x="30" y="229"/>
                </a:cxn>
                <a:cxn ang="0">
                  <a:pos x="0" y="236"/>
                </a:cxn>
                <a:cxn ang="0">
                  <a:pos x="4" y="267"/>
                </a:cxn>
                <a:cxn ang="0">
                  <a:pos x="36" y="268"/>
                </a:cxn>
                <a:cxn ang="0">
                  <a:pos x="76" y="267"/>
                </a:cxn>
                <a:cxn ang="0">
                  <a:pos x="120" y="265"/>
                </a:cxn>
                <a:cxn ang="0">
                  <a:pos x="140" y="287"/>
                </a:cxn>
                <a:cxn ang="0">
                  <a:pos x="178" y="281"/>
                </a:cxn>
                <a:cxn ang="0">
                  <a:pos x="219" y="278"/>
                </a:cxn>
                <a:cxn ang="0">
                  <a:pos x="251" y="267"/>
                </a:cxn>
              </a:cxnLst>
              <a:rect l="0" t="0" r="r" b="b"/>
              <a:pathLst>
                <a:path w="604" h="288">
                  <a:moveTo>
                    <a:pt x="251" y="267"/>
                  </a:moveTo>
                  <a:lnTo>
                    <a:pt x="250" y="256"/>
                  </a:lnTo>
                  <a:lnTo>
                    <a:pt x="259" y="238"/>
                  </a:lnTo>
                  <a:lnTo>
                    <a:pt x="291" y="223"/>
                  </a:lnTo>
                  <a:lnTo>
                    <a:pt x="296" y="218"/>
                  </a:lnTo>
                  <a:lnTo>
                    <a:pt x="303" y="218"/>
                  </a:lnTo>
                  <a:lnTo>
                    <a:pt x="309" y="203"/>
                  </a:lnTo>
                  <a:lnTo>
                    <a:pt x="319" y="207"/>
                  </a:lnTo>
                  <a:lnTo>
                    <a:pt x="334" y="201"/>
                  </a:lnTo>
                  <a:lnTo>
                    <a:pt x="345" y="202"/>
                  </a:lnTo>
                  <a:lnTo>
                    <a:pt x="351" y="215"/>
                  </a:lnTo>
                  <a:lnTo>
                    <a:pt x="362" y="217"/>
                  </a:lnTo>
                  <a:lnTo>
                    <a:pt x="378" y="213"/>
                  </a:lnTo>
                  <a:lnTo>
                    <a:pt x="388" y="214"/>
                  </a:lnTo>
                  <a:lnTo>
                    <a:pt x="401" y="204"/>
                  </a:lnTo>
                  <a:lnTo>
                    <a:pt x="407" y="186"/>
                  </a:lnTo>
                  <a:lnTo>
                    <a:pt x="416" y="175"/>
                  </a:lnTo>
                  <a:lnTo>
                    <a:pt x="433" y="170"/>
                  </a:lnTo>
                  <a:lnTo>
                    <a:pt x="452" y="169"/>
                  </a:lnTo>
                  <a:lnTo>
                    <a:pt x="479" y="164"/>
                  </a:lnTo>
                  <a:lnTo>
                    <a:pt x="491" y="159"/>
                  </a:lnTo>
                  <a:lnTo>
                    <a:pt x="499" y="145"/>
                  </a:lnTo>
                  <a:lnTo>
                    <a:pt x="514" y="132"/>
                  </a:lnTo>
                  <a:lnTo>
                    <a:pt x="550" y="112"/>
                  </a:lnTo>
                  <a:lnTo>
                    <a:pt x="588" y="100"/>
                  </a:lnTo>
                  <a:lnTo>
                    <a:pt x="598" y="93"/>
                  </a:lnTo>
                  <a:lnTo>
                    <a:pt x="604" y="79"/>
                  </a:lnTo>
                  <a:lnTo>
                    <a:pt x="604" y="69"/>
                  </a:lnTo>
                  <a:lnTo>
                    <a:pt x="597" y="69"/>
                  </a:lnTo>
                  <a:lnTo>
                    <a:pt x="577" y="56"/>
                  </a:lnTo>
                  <a:lnTo>
                    <a:pt x="561" y="53"/>
                  </a:lnTo>
                  <a:lnTo>
                    <a:pt x="546" y="35"/>
                  </a:lnTo>
                  <a:lnTo>
                    <a:pt x="530" y="34"/>
                  </a:lnTo>
                  <a:lnTo>
                    <a:pt x="523" y="31"/>
                  </a:lnTo>
                  <a:lnTo>
                    <a:pt x="514" y="31"/>
                  </a:lnTo>
                  <a:lnTo>
                    <a:pt x="508" y="27"/>
                  </a:lnTo>
                  <a:lnTo>
                    <a:pt x="499" y="26"/>
                  </a:lnTo>
                  <a:lnTo>
                    <a:pt x="475" y="27"/>
                  </a:lnTo>
                  <a:lnTo>
                    <a:pt x="452" y="24"/>
                  </a:lnTo>
                  <a:lnTo>
                    <a:pt x="443" y="24"/>
                  </a:lnTo>
                  <a:lnTo>
                    <a:pt x="428" y="18"/>
                  </a:lnTo>
                  <a:lnTo>
                    <a:pt x="421" y="18"/>
                  </a:lnTo>
                  <a:lnTo>
                    <a:pt x="406" y="24"/>
                  </a:lnTo>
                  <a:lnTo>
                    <a:pt x="374" y="20"/>
                  </a:lnTo>
                  <a:lnTo>
                    <a:pt x="366" y="20"/>
                  </a:lnTo>
                  <a:lnTo>
                    <a:pt x="350" y="24"/>
                  </a:lnTo>
                  <a:lnTo>
                    <a:pt x="334" y="24"/>
                  </a:lnTo>
                  <a:lnTo>
                    <a:pt x="325" y="23"/>
                  </a:lnTo>
                  <a:lnTo>
                    <a:pt x="319" y="18"/>
                  </a:lnTo>
                  <a:lnTo>
                    <a:pt x="310" y="16"/>
                  </a:lnTo>
                  <a:lnTo>
                    <a:pt x="294" y="18"/>
                  </a:lnTo>
                  <a:lnTo>
                    <a:pt x="288" y="12"/>
                  </a:lnTo>
                  <a:lnTo>
                    <a:pt x="267" y="0"/>
                  </a:lnTo>
                  <a:lnTo>
                    <a:pt x="260" y="4"/>
                  </a:lnTo>
                  <a:lnTo>
                    <a:pt x="253" y="5"/>
                  </a:lnTo>
                  <a:lnTo>
                    <a:pt x="245" y="8"/>
                  </a:lnTo>
                  <a:lnTo>
                    <a:pt x="233" y="18"/>
                  </a:lnTo>
                  <a:lnTo>
                    <a:pt x="232" y="26"/>
                  </a:lnTo>
                  <a:lnTo>
                    <a:pt x="227" y="32"/>
                  </a:lnTo>
                  <a:lnTo>
                    <a:pt x="224" y="48"/>
                  </a:lnTo>
                  <a:lnTo>
                    <a:pt x="221" y="56"/>
                  </a:lnTo>
                  <a:lnTo>
                    <a:pt x="205" y="52"/>
                  </a:lnTo>
                  <a:lnTo>
                    <a:pt x="191" y="45"/>
                  </a:lnTo>
                  <a:lnTo>
                    <a:pt x="175" y="40"/>
                  </a:lnTo>
                  <a:lnTo>
                    <a:pt x="169" y="36"/>
                  </a:lnTo>
                  <a:lnTo>
                    <a:pt x="160" y="34"/>
                  </a:lnTo>
                  <a:lnTo>
                    <a:pt x="152" y="34"/>
                  </a:lnTo>
                  <a:lnTo>
                    <a:pt x="137" y="31"/>
                  </a:lnTo>
                  <a:lnTo>
                    <a:pt x="129" y="32"/>
                  </a:lnTo>
                  <a:lnTo>
                    <a:pt x="121" y="30"/>
                  </a:lnTo>
                  <a:lnTo>
                    <a:pt x="105" y="32"/>
                  </a:lnTo>
                  <a:lnTo>
                    <a:pt x="98" y="36"/>
                  </a:lnTo>
                  <a:lnTo>
                    <a:pt x="95" y="43"/>
                  </a:lnTo>
                  <a:lnTo>
                    <a:pt x="97" y="51"/>
                  </a:lnTo>
                  <a:lnTo>
                    <a:pt x="92" y="58"/>
                  </a:lnTo>
                  <a:lnTo>
                    <a:pt x="88" y="66"/>
                  </a:lnTo>
                  <a:lnTo>
                    <a:pt x="105" y="70"/>
                  </a:lnTo>
                  <a:lnTo>
                    <a:pt x="106" y="79"/>
                  </a:lnTo>
                  <a:lnTo>
                    <a:pt x="92" y="85"/>
                  </a:lnTo>
                  <a:lnTo>
                    <a:pt x="82" y="97"/>
                  </a:lnTo>
                  <a:lnTo>
                    <a:pt x="70" y="109"/>
                  </a:lnTo>
                  <a:lnTo>
                    <a:pt x="55" y="118"/>
                  </a:lnTo>
                  <a:lnTo>
                    <a:pt x="54" y="127"/>
                  </a:lnTo>
                  <a:lnTo>
                    <a:pt x="62" y="129"/>
                  </a:lnTo>
                  <a:lnTo>
                    <a:pt x="68" y="134"/>
                  </a:lnTo>
                  <a:lnTo>
                    <a:pt x="76" y="131"/>
                  </a:lnTo>
                  <a:lnTo>
                    <a:pt x="84" y="144"/>
                  </a:lnTo>
                  <a:lnTo>
                    <a:pt x="108" y="154"/>
                  </a:lnTo>
                  <a:lnTo>
                    <a:pt x="115" y="154"/>
                  </a:lnTo>
                  <a:lnTo>
                    <a:pt x="117" y="147"/>
                  </a:lnTo>
                  <a:lnTo>
                    <a:pt x="125" y="142"/>
                  </a:lnTo>
                  <a:lnTo>
                    <a:pt x="130" y="127"/>
                  </a:lnTo>
                  <a:lnTo>
                    <a:pt x="137" y="131"/>
                  </a:lnTo>
                  <a:lnTo>
                    <a:pt x="142" y="137"/>
                  </a:lnTo>
                  <a:lnTo>
                    <a:pt x="142" y="145"/>
                  </a:lnTo>
                  <a:lnTo>
                    <a:pt x="156" y="154"/>
                  </a:lnTo>
                  <a:lnTo>
                    <a:pt x="162" y="159"/>
                  </a:lnTo>
                  <a:lnTo>
                    <a:pt x="170" y="159"/>
                  </a:lnTo>
                  <a:lnTo>
                    <a:pt x="181" y="169"/>
                  </a:lnTo>
                  <a:lnTo>
                    <a:pt x="197" y="174"/>
                  </a:lnTo>
                  <a:lnTo>
                    <a:pt x="205" y="171"/>
                  </a:lnTo>
                  <a:lnTo>
                    <a:pt x="212" y="175"/>
                  </a:lnTo>
                  <a:lnTo>
                    <a:pt x="207" y="182"/>
                  </a:lnTo>
                  <a:lnTo>
                    <a:pt x="191" y="186"/>
                  </a:lnTo>
                  <a:lnTo>
                    <a:pt x="187" y="195"/>
                  </a:lnTo>
                  <a:lnTo>
                    <a:pt x="181" y="198"/>
                  </a:lnTo>
                  <a:lnTo>
                    <a:pt x="173" y="196"/>
                  </a:lnTo>
                  <a:lnTo>
                    <a:pt x="168" y="202"/>
                  </a:lnTo>
                  <a:lnTo>
                    <a:pt x="160" y="202"/>
                  </a:lnTo>
                  <a:lnTo>
                    <a:pt x="153" y="206"/>
                  </a:lnTo>
                  <a:lnTo>
                    <a:pt x="149" y="213"/>
                  </a:lnTo>
                  <a:lnTo>
                    <a:pt x="143" y="218"/>
                  </a:lnTo>
                  <a:lnTo>
                    <a:pt x="127" y="220"/>
                  </a:lnTo>
                  <a:lnTo>
                    <a:pt x="111" y="215"/>
                  </a:lnTo>
                  <a:lnTo>
                    <a:pt x="104" y="214"/>
                  </a:lnTo>
                  <a:lnTo>
                    <a:pt x="92" y="215"/>
                  </a:lnTo>
                  <a:lnTo>
                    <a:pt x="88" y="224"/>
                  </a:lnTo>
                  <a:lnTo>
                    <a:pt x="81" y="226"/>
                  </a:lnTo>
                  <a:lnTo>
                    <a:pt x="76" y="234"/>
                  </a:lnTo>
                  <a:lnTo>
                    <a:pt x="68" y="236"/>
                  </a:lnTo>
                  <a:lnTo>
                    <a:pt x="55" y="228"/>
                  </a:lnTo>
                  <a:lnTo>
                    <a:pt x="46" y="226"/>
                  </a:lnTo>
                  <a:lnTo>
                    <a:pt x="30" y="229"/>
                  </a:lnTo>
                  <a:lnTo>
                    <a:pt x="22" y="226"/>
                  </a:lnTo>
                  <a:lnTo>
                    <a:pt x="15" y="231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0" y="261"/>
                  </a:lnTo>
                  <a:lnTo>
                    <a:pt x="4" y="267"/>
                  </a:lnTo>
                  <a:lnTo>
                    <a:pt x="13" y="267"/>
                  </a:lnTo>
                  <a:lnTo>
                    <a:pt x="20" y="265"/>
                  </a:lnTo>
                  <a:lnTo>
                    <a:pt x="36" y="268"/>
                  </a:lnTo>
                  <a:lnTo>
                    <a:pt x="60" y="265"/>
                  </a:lnTo>
                  <a:lnTo>
                    <a:pt x="68" y="265"/>
                  </a:lnTo>
                  <a:lnTo>
                    <a:pt x="76" y="267"/>
                  </a:lnTo>
                  <a:lnTo>
                    <a:pt x="81" y="273"/>
                  </a:lnTo>
                  <a:lnTo>
                    <a:pt x="89" y="274"/>
                  </a:lnTo>
                  <a:lnTo>
                    <a:pt x="120" y="265"/>
                  </a:lnTo>
                  <a:lnTo>
                    <a:pt x="127" y="269"/>
                  </a:lnTo>
                  <a:lnTo>
                    <a:pt x="135" y="271"/>
                  </a:lnTo>
                  <a:lnTo>
                    <a:pt x="140" y="287"/>
                  </a:lnTo>
                  <a:lnTo>
                    <a:pt x="156" y="285"/>
                  </a:lnTo>
                  <a:lnTo>
                    <a:pt x="163" y="288"/>
                  </a:lnTo>
                  <a:lnTo>
                    <a:pt x="178" y="281"/>
                  </a:lnTo>
                  <a:lnTo>
                    <a:pt x="194" y="278"/>
                  </a:lnTo>
                  <a:lnTo>
                    <a:pt x="210" y="281"/>
                  </a:lnTo>
                  <a:lnTo>
                    <a:pt x="219" y="278"/>
                  </a:lnTo>
                  <a:lnTo>
                    <a:pt x="229" y="279"/>
                  </a:lnTo>
                  <a:lnTo>
                    <a:pt x="232" y="265"/>
                  </a:lnTo>
                  <a:lnTo>
                    <a:pt x="251" y="26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8" name="Freeform 59"/>
            <p:cNvSpPr>
              <a:spLocks noChangeAspect="1"/>
            </p:cNvSpPr>
            <p:nvPr/>
          </p:nvSpPr>
          <p:spPr bwMode="gray">
            <a:xfrm>
              <a:off x="4232916" y="3552799"/>
              <a:ext cx="109622" cy="81886"/>
            </a:xfrm>
            <a:custGeom>
              <a:avLst/>
              <a:gdLst/>
              <a:ahLst/>
              <a:cxnLst>
                <a:cxn ang="0">
                  <a:pos x="45" y="286"/>
                </a:cxn>
                <a:cxn ang="0">
                  <a:pos x="72" y="273"/>
                </a:cxn>
                <a:cxn ang="0">
                  <a:pos x="89" y="269"/>
                </a:cxn>
                <a:cxn ang="0">
                  <a:pos x="112" y="274"/>
                </a:cxn>
                <a:cxn ang="0">
                  <a:pos x="118" y="246"/>
                </a:cxn>
                <a:cxn ang="0">
                  <a:pos x="145" y="252"/>
                </a:cxn>
                <a:cxn ang="0">
                  <a:pos x="160" y="238"/>
                </a:cxn>
                <a:cxn ang="0">
                  <a:pos x="176" y="198"/>
                </a:cxn>
                <a:cxn ang="0">
                  <a:pos x="190" y="190"/>
                </a:cxn>
                <a:cxn ang="0">
                  <a:pos x="217" y="207"/>
                </a:cxn>
                <a:cxn ang="0">
                  <a:pos x="219" y="225"/>
                </a:cxn>
                <a:cxn ang="0">
                  <a:pos x="230" y="231"/>
                </a:cxn>
                <a:cxn ang="0">
                  <a:pos x="226" y="254"/>
                </a:cxn>
                <a:cxn ang="0">
                  <a:pos x="224" y="287"/>
                </a:cxn>
                <a:cxn ang="0">
                  <a:pos x="241" y="312"/>
                </a:cxn>
                <a:cxn ang="0">
                  <a:pos x="293" y="286"/>
                </a:cxn>
                <a:cxn ang="0">
                  <a:pos x="307" y="271"/>
                </a:cxn>
                <a:cxn ang="0">
                  <a:pos x="334" y="257"/>
                </a:cxn>
                <a:cxn ang="0">
                  <a:pos x="350" y="260"/>
                </a:cxn>
                <a:cxn ang="0">
                  <a:pos x="364" y="266"/>
                </a:cxn>
                <a:cxn ang="0">
                  <a:pos x="390" y="260"/>
                </a:cxn>
                <a:cxn ang="0">
                  <a:pos x="411" y="268"/>
                </a:cxn>
                <a:cxn ang="0">
                  <a:pos x="417" y="273"/>
                </a:cxn>
                <a:cxn ang="0">
                  <a:pos x="400" y="182"/>
                </a:cxn>
                <a:cxn ang="0">
                  <a:pos x="346" y="162"/>
                </a:cxn>
                <a:cxn ang="0">
                  <a:pos x="333" y="120"/>
                </a:cxn>
                <a:cxn ang="0">
                  <a:pos x="282" y="122"/>
                </a:cxn>
                <a:cxn ang="0">
                  <a:pos x="239" y="112"/>
                </a:cxn>
                <a:cxn ang="0">
                  <a:pos x="185" y="114"/>
                </a:cxn>
                <a:cxn ang="0">
                  <a:pos x="140" y="109"/>
                </a:cxn>
                <a:cxn ang="0">
                  <a:pos x="104" y="102"/>
                </a:cxn>
                <a:cxn ang="0">
                  <a:pos x="126" y="67"/>
                </a:cxn>
                <a:cxn ang="0">
                  <a:pos x="172" y="77"/>
                </a:cxn>
                <a:cxn ang="0">
                  <a:pos x="196" y="56"/>
                </a:cxn>
                <a:cxn ang="0">
                  <a:pos x="172" y="54"/>
                </a:cxn>
                <a:cxn ang="0">
                  <a:pos x="185" y="22"/>
                </a:cxn>
                <a:cxn ang="0">
                  <a:pos x="170" y="0"/>
                </a:cxn>
                <a:cxn ang="0">
                  <a:pos x="132" y="27"/>
                </a:cxn>
                <a:cxn ang="0">
                  <a:pos x="108" y="36"/>
                </a:cxn>
                <a:cxn ang="0">
                  <a:pos x="105" y="63"/>
                </a:cxn>
                <a:cxn ang="0">
                  <a:pos x="75" y="82"/>
                </a:cxn>
                <a:cxn ang="0">
                  <a:pos x="32" y="107"/>
                </a:cxn>
                <a:cxn ang="0">
                  <a:pos x="6" y="112"/>
                </a:cxn>
                <a:cxn ang="0">
                  <a:pos x="14" y="136"/>
                </a:cxn>
                <a:cxn ang="0">
                  <a:pos x="40" y="149"/>
                </a:cxn>
                <a:cxn ang="0">
                  <a:pos x="41" y="187"/>
                </a:cxn>
                <a:cxn ang="0">
                  <a:pos x="52" y="212"/>
                </a:cxn>
                <a:cxn ang="0">
                  <a:pos x="29" y="239"/>
                </a:cxn>
                <a:cxn ang="0">
                  <a:pos x="19" y="269"/>
                </a:cxn>
              </a:cxnLst>
              <a:rect l="0" t="0" r="r" b="b"/>
              <a:pathLst>
                <a:path w="417" h="312">
                  <a:moveTo>
                    <a:pt x="19" y="269"/>
                  </a:moveTo>
                  <a:lnTo>
                    <a:pt x="24" y="274"/>
                  </a:lnTo>
                  <a:lnTo>
                    <a:pt x="37" y="289"/>
                  </a:lnTo>
                  <a:lnTo>
                    <a:pt x="45" y="286"/>
                  </a:lnTo>
                  <a:lnTo>
                    <a:pt x="52" y="286"/>
                  </a:lnTo>
                  <a:lnTo>
                    <a:pt x="53" y="281"/>
                  </a:lnTo>
                  <a:lnTo>
                    <a:pt x="67" y="274"/>
                  </a:lnTo>
                  <a:lnTo>
                    <a:pt x="72" y="273"/>
                  </a:lnTo>
                  <a:lnTo>
                    <a:pt x="76" y="274"/>
                  </a:lnTo>
                  <a:lnTo>
                    <a:pt x="79" y="270"/>
                  </a:lnTo>
                  <a:lnTo>
                    <a:pt x="85" y="268"/>
                  </a:lnTo>
                  <a:lnTo>
                    <a:pt x="89" y="269"/>
                  </a:lnTo>
                  <a:lnTo>
                    <a:pt x="94" y="274"/>
                  </a:lnTo>
                  <a:lnTo>
                    <a:pt x="107" y="279"/>
                  </a:lnTo>
                  <a:lnTo>
                    <a:pt x="111" y="276"/>
                  </a:lnTo>
                  <a:lnTo>
                    <a:pt x="112" y="274"/>
                  </a:lnTo>
                  <a:lnTo>
                    <a:pt x="112" y="269"/>
                  </a:lnTo>
                  <a:lnTo>
                    <a:pt x="110" y="265"/>
                  </a:lnTo>
                  <a:lnTo>
                    <a:pt x="110" y="258"/>
                  </a:lnTo>
                  <a:lnTo>
                    <a:pt x="118" y="246"/>
                  </a:lnTo>
                  <a:lnTo>
                    <a:pt x="123" y="246"/>
                  </a:lnTo>
                  <a:lnTo>
                    <a:pt x="129" y="248"/>
                  </a:lnTo>
                  <a:lnTo>
                    <a:pt x="138" y="246"/>
                  </a:lnTo>
                  <a:lnTo>
                    <a:pt x="145" y="252"/>
                  </a:lnTo>
                  <a:lnTo>
                    <a:pt x="149" y="252"/>
                  </a:lnTo>
                  <a:lnTo>
                    <a:pt x="153" y="250"/>
                  </a:lnTo>
                  <a:lnTo>
                    <a:pt x="159" y="243"/>
                  </a:lnTo>
                  <a:lnTo>
                    <a:pt x="160" y="238"/>
                  </a:lnTo>
                  <a:lnTo>
                    <a:pt x="155" y="232"/>
                  </a:lnTo>
                  <a:lnTo>
                    <a:pt x="155" y="227"/>
                  </a:lnTo>
                  <a:lnTo>
                    <a:pt x="165" y="214"/>
                  </a:lnTo>
                  <a:lnTo>
                    <a:pt x="176" y="198"/>
                  </a:lnTo>
                  <a:lnTo>
                    <a:pt x="178" y="195"/>
                  </a:lnTo>
                  <a:lnTo>
                    <a:pt x="182" y="190"/>
                  </a:lnTo>
                  <a:lnTo>
                    <a:pt x="183" y="189"/>
                  </a:lnTo>
                  <a:lnTo>
                    <a:pt x="190" y="190"/>
                  </a:lnTo>
                  <a:lnTo>
                    <a:pt x="194" y="187"/>
                  </a:lnTo>
                  <a:lnTo>
                    <a:pt x="204" y="189"/>
                  </a:lnTo>
                  <a:lnTo>
                    <a:pt x="217" y="201"/>
                  </a:lnTo>
                  <a:lnTo>
                    <a:pt x="217" y="207"/>
                  </a:lnTo>
                  <a:lnTo>
                    <a:pt x="213" y="215"/>
                  </a:lnTo>
                  <a:lnTo>
                    <a:pt x="213" y="220"/>
                  </a:lnTo>
                  <a:lnTo>
                    <a:pt x="214" y="222"/>
                  </a:lnTo>
                  <a:lnTo>
                    <a:pt x="219" y="225"/>
                  </a:lnTo>
                  <a:lnTo>
                    <a:pt x="225" y="223"/>
                  </a:lnTo>
                  <a:lnTo>
                    <a:pt x="229" y="225"/>
                  </a:lnTo>
                  <a:lnTo>
                    <a:pt x="229" y="227"/>
                  </a:lnTo>
                  <a:lnTo>
                    <a:pt x="230" y="231"/>
                  </a:lnTo>
                  <a:lnTo>
                    <a:pt x="228" y="233"/>
                  </a:lnTo>
                  <a:lnTo>
                    <a:pt x="226" y="238"/>
                  </a:lnTo>
                  <a:lnTo>
                    <a:pt x="228" y="249"/>
                  </a:lnTo>
                  <a:lnTo>
                    <a:pt x="226" y="254"/>
                  </a:lnTo>
                  <a:lnTo>
                    <a:pt x="224" y="259"/>
                  </a:lnTo>
                  <a:lnTo>
                    <a:pt x="224" y="269"/>
                  </a:lnTo>
                  <a:lnTo>
                    <a:pt x="221" y="278"/>
                  </a:lnTo>
                  <a:lnTo>
                    <a:pt x="224" y="287"/>
                  </a:lnTo>
                  <a:lnTo>
                    <a:pt x="230" y="298"/>
                  </a:lnTo>
                  <a:lnTo>
                    <a:pt x="235" y="309"/>
                  </a:lnTo>
                  <a:lnTo>
                    <a:pt x="236" y="311"/>
                  </a:lnTo>
                  <a:lnTo>
                    <a:pt x="241" y="312"/>
                  </a:lnTo>
                  <a:lnTo>
                    <a:pt x="246" y="309"/>
                  </a:lnTo>
                  <a:lnTo>
                    <a:pt x="258" y="302"/>
                  </a:lnTo>
                  <a:lnTo>
                    <a:pt x="272" y="292"/>
                  </a:lnTo>
                  <a:lnTo>
                    <a:pt x="293" y="286"/>
                  </a:lnTo>
                  <a:lnTo>
                    <a:pt x="295" y="285"/>
                  </a:lnTo>
                  <a:lnTo>
                    <a:pt x="299" y="278"/>
                  </a:lnTo>
                  <a:lnTo>
                    <a:pt x="306" y="274"/>
                  </a:lnTo>
                  <a:lnTo>
                    <a:pt x="307" y="271"/>
                  </a:lnTo>
                  <a:lnTo>
                    <a:pt x="312" y="270"/>
                  </a:lnTo>
                  <a:lnTo>
                    <a:pt x="322" y="263"/>
                  </a:lnTo>
                  <a:lnTo>
                    <a:pt x="327" y="262"/>
                  </a:lnTo>
                  <a:lnTo>
                    <a:pt x="334" y="257"/>
                  </a:lnTo>
                  <a:lnTo>
                    <a:pt x="339" y="257"/>
                  </a:lnTo>
                  <a:lnTo>
                    <a:pt x="343" y="259"/>
                  </a:lnTo>
                  <a:lnTo>
                    <a:pt x="346" y="260"/>
                  </a:lnTo>
                  <a:lnTo>
                    <a:pt x="350" y="260"/>
                  </a:lnTo>
                  <a:lnTo>
                    <a:pt x="352" y="270"/>
                  </a:lnTo>
                  <a:lnTo>
                    <a:pt x="354" y="274"/>
                  </a:lnTo>
                  <a:lnTo>
                    <a:pt x="357" y="273"/>
                  </a:lnTo>
                  <a:lnTo>
                    <a:pt x="364" y="266"/>
                  </a:lnTo>
                  <a:lnTo>
                    <a:pt x="364" y="268"/>
                  </a:lnTo>
                  <a:lnTo>
                    <a:pt x="366" y="268"/>
                  </a:lnTo>
                  <a:lnTo>
                    <a:pt x="379" y="263"/>
                  </a:lnTo>
                  <a:lnTo>
                    <a:pt x="390" y="260"/>
                  </a:lnTo>
                  <a:lnTo>
                    <a:pt x="396" y="260"/>
                  </a:lnTo>
                  <a:lnTo>
                    <a:pt x="401" y="264"/>
                  </a:lnTo>
                  <a:lnTo>
                    <a:pt x="409" y="264"/>
                  </a:lnTo>
                  <a:lnTo>
                    <a:pt x="411" y="268"/>
                  </a:lnTo>
                  <a:lnTo>
                    <a:pt x="411" y="270"/>
                  </a:lnTo>
                  <a:lnTo>
                    <a:pt x="406" y="271"/>
                  </a:lnTo>
                  <a:lnTo>
                    <a:pt x="414" y="274"/>
                  </a:lnTo>
                  <a:lnTo>
                    <a:pt x="417" y="273"/>
                  </a:lnTo>
                  <a:lnTo>
                    <a:pt x="417" y="237"/>
                  </a:lnTo>
                  <a:lnTo>
                    <a:pt x="407" y="212"/>
                  </a:lnTo>
                  <a:lnTo>
                    <a:pt x="407" y="193"/>
                  </a:lnTo>
                  <a:lnTo>
                    <a:pt x="400" y="182"/>
                  </a:lnTo>
                  <a:lnTo>
                    <a:pt x="381" y="180"/>
                  </a:lnTo>
                  <a:lnTo>
                    <a:pt x="361" y="187"/>
                  </a:lnTo>
                  <a:lnTo>
                    <a:pt x="350" y="179"/>
                  </a:lnTo>
                  <a:lnTo>
                    <a:pt x="346" y="162"/>
                  </a:lnTo>
                  <a:lnTo>
                    <a:pt x="344" y="142"/>
                  </a:lnTo>
                  <a:lnTo>
                    <a:pt x="355" y="108"/>
                  </a:lnTo>
                  <a:lnTo>
                    <a:pt x="336" y="106"/>
                  </a:lnTo>
                  <a:lnTo>
                    <a:pt x="333" y="120"/>
                  </a:lnTo>
                  <a:lnTo>
                    <a:pt x="323" y="119"/>
                  </a:lnTo>
                  <a:lnTo>
                    <a:pt x="314" y="122"/>
                  </a:lnTo>
                  <a:lnTo>
                    <a:pt x="298" y="119"/>
                  </a:lnTo>
                  <a:lnTo>
                    <a:pt x="282" y="122"/>
                  </a:lnTo>
                  <a:lnTo>
                    <a:pt x="267" y="129"/>
                  </a:lnTo>
                  <a:lnTo>
                    <a:pt x="260" y="126"/>
                  </a:lnTo>
                  <a:lnTo>
                    <a:pt x="244" y="128"/>
                  </a:lnTo>
                  <a:lnTo>
                    <a:pt x="239" y="112"/>
                  </a:lnTo>
                  <a:lnTo>
                    <a:pt x="231" y="110"/>
                  </a:lnTo>
                  <a:lnTo>
                    <a:pt x="224" y="106"/>
                  </a:lnTo>
                  <a:lnTo>
                    <a:pt x="193" y="115"/>
                  </a:lnTo>
                  <a:lnTo>
                    <a:pt x="185" y="114"/>
                  </a:lnTo>
                  <a:lnTo>
                    <a:pt x="180" y="108"/>
                  </a:lnTo>
                  <a:lnTo>
                    <a:pt x="172" y="106"/>
                  </a:lnTo>
                  <a:lnTo>
                    <a:pt x="164" y="106"/>
                  </a:lnTo>
                  <a:lnTo>
                    <a:pt x="140" y="109"/>
                  </a:lnTo>
                  <a:lnTo>
                    <a:pt x="124" y="106"/>
                  </a:lnTo>
                  <a:lnTo>
                    <a:pt x="117" y="108"/>
                  </a:lnTo>
                  <a:lnTo>
                    <a:pt x="108" y="108"/>
                  </a:lnTo>
                  <a:lnTo>
                    <a:pt x="104" y="102"/>
                  </a:lnTo>
                  <a:lnTo>
                    <a:pt x="104" y="86"/>
                  </a:lnTo>
                  <a:lnTo>
                    <a:pt x="104" y="77"/>
                  </a:lnTo>
                  <a:lnTo>
                    <a:pt x="119" y="72"/>
                  </a:lnTo>
                  <a:lnTo>
                    <a:pt x="126" y="67"/>
                  </a:lnTo>
                  <a:lnTo>
                    <a:pt x="134" y="70"/>
                  </a:lnTo>
                  <a:lnTo>
                    <a:pt x="150" y="67"/>
                  </a:lnTo>
                  <a:lnTo>
                    <a:pt x="159" y="69"/>
                  </a:lnTo>
                  <a:lnTo>
                    <a:pt x="172" y="77"/>
                  </a:lnTo>
                  <a:lnTo>
                    <a:pt x="180" y="75"/>
                  </a:lnTo>
                  <a:lnTo>
                    <a:pt x="185" y="67"/>
                  </a:lnTo>
                  <a:lnTo>
                    <a:pt x="192" y="65"/>
                  </a:lnTo>
                  <a:lnTo>
                    <a:pt x="196" y="56"/>
                  </a:lnTo>
                  <a:lnTo>
                    <a:pt x="192" y="56"/>
                  </a:lnTo>
                  <a:lnTo>
                    <a:pt x="185" y="60"/>
                  </a:lnTo>
                  <a:lnTo>
                    <a:pt x="176" y="61"/>
                  </a:lnTo>
                  <a:lnTo>
                    <a:pt x="172" y="54"/>
                  </a:lnTo>
                  <a:lnTo>
                    <a:pt x="167" y="38"/>
                  </a:lnTo>
                  <a:lnTo>
                    <a:pt x="174" y="33"/>
                  </a:lnTo>
                  <a:lnTo>
                    <a:pt x="181" y="29"/>
                  </a:lnTo>
                  <a:lnTo>
                    <a:pt x="185" y="22"/>
                  </a:lnTo>
                  <a:lnTo>
                    <a:pt x="183" y="15"/>
                  </a:lnTo>
                  <a:lnTo>
                    <a:pt x="178" y="9"/>
                  </a:lnTo>
                  <a:lnTo>
                    <a:pt x="177" y="0"/>
                  </a:lnTo>
                  <a:lnTo>
                    <a:pt x="170" y="0"/>
                  </a:lnTo>
                  <a:lnTo>
                    <a:pt x="164" y="5"/>
                  </a:lnTo>
                  <a:lnTo>
                    <a:pt x="160" y="12"/>
                  </a:lnTo>
                  <a:lnTo>
                    <a:pt x="145" y="20"/>
                  </a:lnTo>
                  <a:lnTo>
                    <a:pt x="132" y="27"/>
                  </a:lnTo>
                  <a:lnTo>
                    <a:pt x="123" y="28"/>
                  </a:lnTo>
                  <a:lnTo>
                    <a:pt x="117" y="23"/>
                  </a:lnTo>
                  <a:lnTo>
                    <a:pt x="110" y="27"/>
                  </a:lnTo>
                  <a:lnTo>
                    <a:pt x="108" y="36"/>
                  </a:lnTo>
                  <a:lnTo>
                    <a:pt x="102" y="40"/>
                  </a:lnTo>
                  <a:lnTo>
                    <a:pt x="107" y="47"/>
                  </a:lnTo>
                  <a:lnTo>
                    <a:pt x="107" y="55"/>
                  </a:lnTo>
                  <a:lnTo>
                    <a:pt x="105" y="63"/>
                  </a:lnTo>
                  <a:lnTo>
                    <a:pt x="99" y="67"/>
                  </a:lnTo>
                  <a:lnTo>
                    <a:pt x="83" y="70"/>
                  </a:lnTo>
                  <a:lnTo>
                    <a:pt x="75" y="75"/>
                  </a:lnTo>
                  <a:lnTo>
                    <a:pt x="75" y="82"/>
                  </a:lnTo>
                  <a:lnTo>
                    <a:pt x="63" y="104"/>
                  </a:lnTo>
                  <a:lnTo>
                    <a:pt x="56" y="107"/>
                  </a:lnTo>
                  <a:lnTo>
                    <a:pt x="40" y="108"/>
                  </a:lnTo>
                  <a:lnTo>
                    <a:pt x="32" y="107"/>
                  </a:lnTo>
                  <a:lnTo>
                    <a:pt x="26" y="101"/>
                  </a:lnTo>
                  <a:lnTo>
                    <a:pt x="18" y="102"/>
                  </a:lnTo>
                  <a:lnTo>
                    <a:pt x="10" y="106"/>
                  </a:lnTo>
                  <a:lnTo>
                    <a:pt x="6" y="112"/>
                  </a:lnTo>
                  <a:lnTo>
                    <a:pt x="8" y="120"/>
                  </a:lnTo>
                  <a:lnTo>
                    <a:pt x="0" y="125"/>
                  </a:lnTo>
                  <a:lnTo>
                    <a:pt x="6" y="131"/>
                  </a:lnTo>
                  <a:lnTo>
                    <a:pt x="14" y="136"/>
                  </a:lnTo>
                  <a:lnTo>
                    <a:pt x="16" y="144"/>
                  </a:lnTo>
                  <a:lnTo>
                    <a:pt x="25" y="145"/>
                  </a:lnTo>
                  <a:lnTo>
                    <a:pt x="34" y="144"/>
                  </a:lnTo>
                  <a:lnTo>
                    <a:pt x="40" y="149"/>
                  </a:lnTo>
                  <a:lnTo>
                    <a:pt x="42" y="156"/>
                  </a:lnTo>
                  <a:lnTo>
                    <a:pt x="41" y="165"/>
                  </a:lnTo>
                  <a:lnTo>
                    <a:pt x="37" y="171"/>
                  </a:lnTo>
                  <a:lnTo>
                    <a:pt x="41" y="187"/>
                  </a:lnTo>
                  <a:lnTo>
                    <a:pt x="46" y="194"/>
                  </a:lnTo>
                  <a:lnTo>
                    <a:pt x="53" y="199"/>
                  </a:lnTo>
                  <a:lnTo>
                    <a:pt x="54" y="205"/>
                  </a:lnTo>
                  <a:lnTo>
                    <a:pt x="52" y="212"/>
                  </a:lnTo>
                  <a:lnTo>
                    <a:pt x="47" y="217"/>
                  </a:lnTo>
                  <a:lnTo>
                    <a:pt x="40" y="222"/>
                  </a:lnTo>
                  <a:lnTo>
                    <a:pt x="37" y="228"/>
                  </a:lnTo>
                  <a:lnTo>
                    <a:pt x="29" y="239"/>
                  </a:lnTo>
                  <a:lnTo>
                    <a:pt x="22" y="253"/>
                  </a:lnTo>
                  <a:lnTo>
                    <a:pt x="24" y="259"/>
                  </a:lnTo>
                  <a:lnTo>
                    <a:pt x="24" y="266"/>
                  </a:lnTo>
                  <a:lnTo>
                    <a:pt x="19" y="26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79" name="Freeform 60"/>
            <p:cNvSpPr>
              <a:spLocks noChangeAspect="1"/>
            </p:cNvSpPr>
            <p:nvPr/>
          </p:nvSpPr>
          <p:spPr bwMode="gray">
            <a:xfrm>
              <a:off x="4284426" y="3569969"/>
              <a:ext cx="3962" cy="5283"/>
            </a:xfrm>
            <a:custGeom>
              <a:avLst/>
              <a:gdLst/>
              <a:ahLst/>
              <a:cxnLst>
                <a:cxn ang="0">
                  <a:pos x="16" y="19"/>
                </a:cxn>
                <a:cxn ang="0">
                  <a:pos x="14" y="12"/>
                </a:cxn>
                <a:cxn ang="0">
                  <a:pos x="5" y="0"/>
                </a:cxn>
                <a:cxn ang="0">
                  <a:pos x="0" y="6"/>
                </a:cxn>
                <a:cxn ang="0">
                  <a:pos x="1" y="13"/>
                </a:cxn>
                <a:cxn ang="0">
                  <a:pos x="3" y="21"/>
                </a:cxn>
                <a:cxn ang="0">
                  <a:pos x="12" y="22"/>
                </a:cxn>
                <a:cxn ang="0">
                  <a:pos x="16" y="19"/>
                </a:cxn>
              </a:cxnLst>
              <a:rect l="0" t="0" r="r" b="b"/>
              <a:pathLst>
                <a:path w="16" h="22">
                  <a:moveTo>
                    <a:pt x="16" y="19"/>
                  </a:moveTo>
                  <a:lnTo>
                    <a:pt x="14" y="12"/>
                  </a:lnTo>
                  <a:lnTo>
                    <a:pt x="5" y="0"/>
                  </a:lnTo>
                  <a:lnTo>
                    <a:pt x="0" y="6"/>
                  </a:lnTo>
                  <a:lnTo>
                    <a:pt x="1" y="13"/>
                  </a:lnTo>
                  <a:lnTo>
                    <a:pt x="3" y="21"/>
                  </a:lnTo>
                  <a:lnTo>
                    <a:pt x="12" y="22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0" name="Freeform 61"/>
            <p:cNvSpPr>
              <a:spLocks noChangeAspect="1"/>
            </p:cNvSpPr>
            <p:nvPr/>
          </p:nvSpPr>
          <p:spPr bwMode="gray">
            <a:xfrm>
              <a:off x="4293671" y="3572611"/>
              <a:ext cx="3962" cy="2642"/>
            </a:xfrm>
            <a:custGeom>
              <a:avLst/>
              <a:gdLst/>
              <a:ahLst/>
              <a:cxnLst>
                <a:cxn ang="0">
                  <a:pos x="15" y="4"/>
                </a:cxn>
                <a:cxn ang="0">
                  <a:pos x="7" y="0"/>
                </a:cxn>
                <a:cxn ang="0">
                  <a:pos x="0" y="3"/>
                </a:cxn>
                <a:cxn ang="0">
                  <a:pos x="6" y="9"/>
                </a:cxn>
                <a:cxn ang="0">
                  <a:pos x="14" y="6"/>
                </a:cxn>
                <a:cxn ang="0">
                  <a:pos x="15" y="4"/>
                </a:cxn>
              </a:cxnLst>
              <a:rect l="0" t="0" r="r" b="b"/>
              <a:pathLst>
                <a:path w="15" h="9">
                  <a:moveTo>
                    <a:pt x="15" y="4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6" y="9"/>
                  </a:lnTo>
                  <a:lnTo>
                    <a:pt x="14" y="6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1" name="Freeform 62"/>
            <p:cNvSpPr>
              <a:spLocks noChangeAspect="1"/>
            </p:cNvSpPr>
            <p:nvPr/>
          </p:nvSpPr>
          <p:spPr bwMode="gray">
            <a:xfrm>
              <a:off x="4277822" y="3575252"/>
              <a:ext cx="2642" cy="2642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8" y="0"/>
                </a:cxn>
                <a:cxn ang="0">
                  <a:pos x="0" y="1"/>
                </a:cxn>
                <a:cxn ang="0">
                  <a:pos x="2" y="8"/>
                </a:cxn>
                <a:cxn ang="0">
                  <a:pos x="11" y="8"/>
                </a:cxn>
                <a:cxn ang="0">
                  <a:pos x="12" y="6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2" y="8"/>
                  </a:lnTo>
                  <a:lnTo>
                    <a:pt x="11" y="8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2" name="Freeform 63"/>
            <p:cNvSpPr>
              <a:spLocks noChangeAspect="1"/>
            </p:cNvSpPr>
            <p:nvPr/>
          </p:nvSpPr>
          <p:spPr bwMode="gray">
            <a:xfrm>
              <a:off x="4132540" y="3601667"/>
              <a:ext cx="208677" cy="158489"/>
            </a:xfrm>
            <a:custGeom>
              <a:avLst/>
              <a:gdLst/>
              <a:ahLst/>
              <a:cxnLst>
                <a:cxn ang="0">
                  <a:pos x="65" y="487"/>
                </a:cxn>
                <a:cxn ang="0">
                  <a:pos x="14" y="447"/>
                </a:cxn>
                <a:cxn ang="0">
                  <a:pos x="3" y="371"/>
                </a:cxn>
                <a:cxn ang="0">
                  <a:pos x="0" y="299"/>
                </a:cxn>
                <a:cxn ang="0">
                  <a:pos x="40" y="223"/>
                </a:cxn>
                <a:cxn ang="0">
                  <a:pos x="57" y="206"/>
                </a:cxn>
                <a:cxn ang="0">
                  <a:pos x="98" y="221"/>
                </a:cxn>
                <a:cxn ang="0">
                  <a:pos x="139" y="210"/>
                </a:cxn>
                <a:cxn ang="0">
                  <a:pos x="146" y="184"/>
                </a:cxn>
                <a:cxn ang="0">
                  <a:pos x="186" y="168"/>
                </a:cxn>
                <a:cxn ang="0">
                  <a:pos x="224" y="142"/>
                </a:cxn>
                <a:cxn ang="0">
                  <a:pos x="235" y="95"/>
                </a:cxn>
                <a:cxn ang="0">
                  <a:pos x="259" y="83"/>
                </a:cxn>
                <a:cxn ang="0">
                  <a:pos x="283" y="65"/>
                </a:cxn>
                <a:cxn ang="0">
                  <a:pos x="331" y="77"/>
                </a:cxn>
                <a:cxn ang="0">
                  <a:pos x="396" y="82"/>
                </a:cxn>
                <a:cxn ang="0">
                  <a:pos x="430" y="94"/>
                </a:cxn>
                <a:cxn ang="0">
                  <a:pos x="462" y="81"/>
                </a:cxn>
                <a:cxn ang="0">
                  <a:pos x="489" y="87"/>
                </a:cxn>
                <a:cxn ang="0">
                  <a:pos x="500" y="59"/>
                </a:cxn>
                <a:cxn ang="0">
                  <a:pos x="528" y="63"/>
                </a:cxn>
                <a:cxn ang="0">
                  <a:pos x="542" y="27"/>
                </a:cxn>
                <a:cxn ang="0">
                  <a:pos x="567" y="3"/>
                </a:cxn>
                <a:cxn ang="0">
                  <a:pos x="590" y="28"/>
                </a:cxn>
                <a:cxn ang="0">
                  <a:pos x="606" y="38"/>
                </a:cxn>
                <a:cxn ang="0">
                  <a:pos x="605" y="62"/>
                </a:cxn>
                <a:cxn ang="0">
                  <a:pos x="601" y="100"/>
                </a:cxn>
                <a:cxn ang="0">
                  <a:pos x="623" y="122"/>
                </a:cxn>
                <a:cxn ang="0">
                  <a:pos x="676" y="92"/>
                </a:cxn>
                <a:cxn ang="0">
                  <a:pos x="704" y="75"/>
                </a:cxn>
                <a:cxn ang="0">
                  <a:pos x="727" y="73"/>
                </a:cxn>
                <a:cxn ang="0">
                  <a:pos x="741" y="81"/>
                </a:cxn>
                <a:cxn ang="0">
                  <a:pos x="778" y="77"/>
                </a:cxn>
                <a:cxn ang="0">
                  <a:pos x="785" y="84"/>
                </a:cxn>
                <a:cxn ang="0">
                  <a:pos x="768" y="94"/>
                </a:cxn>
                <a:cxn ang="0">
                  <a:pos x="759" y="108"/>
                </a:cxn>
                <a:cxn ang="0">
                  <a:pos x="725" y="109"/>
                </a:cxn>
                <a:cxn ang="0">
                  <a:pos x="665" y="114"/>
                </a:cxn>
                <a:cxn ang="0">
                  <a:pos x="638" y="129"/>
                </a:cxn>
                <a:cxn ang="0">
                  <a:pos x="622" y="141"/>
                </a:cxn>
                <a:cxn ang="0">
                  <a:pos x="594" y="158"/>
                </a:cxn>
                <a:cxn ang="0">
                  <a:pos x="605" y="183"/>
                </a:cxn>
                <a:cxn ang="0">
                  <a:pos x="608" y="218"/>
                </a:cxn>
                <a:cxn ang="0">
                  <a:pos x="592" y="249"/>
                </a:cxn>
                <a:cxn ang="0">
                  <a:pos x="582" y="277"/>
                </a:cxn>
                <a:cxn ang="0">
                  <a:pos x="569" y="304"/>
                </a:cxn>
                <a:cxn ang="0">
                  <a:pos x="520" y="302"/>
                </a:cxn>
                <a:cxn ang="0">
                  <a:pos x="535" y="336"/>
                </a:cxn>
                <a:cxn ang="0">
                  <a:pos x="517" y="361"/>
                </a:cxn>
                <a:cxn ang="0">
                  <a:pos x="489" y="384"/>
                </a:cxn>
                <a:cxn ang="0">
                  <a:pos x="481" y="404"/>
                </a:cxn>
                <a:cxn ang="0">
                  <a:pos x="463" y="460"/>
                </a:cxn>
                <a:cxn ang="0">
                  <a:pos x="444" y="445"/>
                </a:cxn>
                <a:cxn ang="0">
                  <a:pos x="425" y="448"/>
                </a:cxn>
                <a:cxn ang="0">
                  <a:pos x="391" y="468"/>
                </a:cxn>
                <a:cxn ang="0">
                  <a:pos x="390" y="479"/>
                </a:cxn>
                <a:cxn ang="0">
                  <a:pos x="352" y="476"/>
                </a:cxn>
                <a:cxn ang="0">
                  <a:pos x="321" y="520"/>
                </a:cxn>
                <a:cxn ang="0">
                  <a:pos x="321" y="566"/>
                </a:cxn>
                <a:cxn ang="0">
                  <a:pos x="226" y="587"/>
                </a:cxn>
                <a:cxn ang="0">
                  <a:pos x="197" y="599"/>
                </a:cxn>
                <a:cxn ang="0">
                  <a:pos x="129" y="594"/>
                </a:cxn>
                <a:cxn ang="0">
                  <a:pos x="101" y="598"/>
                </a:cxn>
              </a:cxnLst>
              <a:rect l="0" t="0" r="r" b="b"/>
              <a:pathLst>
                <a:path w="788" h="599">
                  <a:moveTo>
                    <a:pt x="24" y="572"/>
                  </a:moveTo>
                  <a:lnTo>
                    <a:pt x="36" y="547"/>
                  </a:lnTo>
                  <a:lnTo>
                    <a:pt x="59" y="519"/>
                  </a:lnTo>
                  <a:lnTo>
                    <a:pt x="65" y="502"/>
                  </a:lnTo>
                  <a:lnTo>
                    <a:pt x="65" y="487"/>
                  </a:lnTo>
                  <a:lnTo>
                    <a:pt x="59" y="471"/>
                  </a:lnTo>
                  <a:lnTo>
                    <a:pt x="48" y="461"/>
                  </a:lnTo>
                  <a:lnTo>
                    <a:pt x="36" y="461"/>
                  </a:lnTo>
                  <a:lnTo>
                    <a:pt x="24" y="458"/>
                  </a:lnTo>
                  <a:lnTo>
                    <a:pt x="14" y="447"/>
                  </a:lnTo>
                  <a:lnTo>
                    <a:pt x="12" y="434"/>
                  </a:lnTo>
                  <a:lnTo>
                    <a:pt x="15" y="417"/>
                  </a:lnTo>
                  <a:lnTo>
                    <a:pt x="12" y="399"/>
                  </a:lnTo>
                  <a:lnTo>
                    <a:pt x="6" y="383"/>
                  </a:lnTo>
                  <a:lnTo>
                    <a:pt x="3" y="371"/>
                  </a:lnTo>
                  <a:lnTo>
                    <a:pt x="6" y="353"/>
                  </a:lnTo>
                  <a:lnTo>
                    <a:pt x="15" y="335"/>
                  </a:lnTo>
                  <a:lnTo>
                    <a:pt x="14" y="324"/>
                  </a:lnTo>
                  <a:lnTo>
                    <a:pt x="0" y="319"/>
                  </a:lnTo>
                  <a:lnTo>
                    <a:pt x="0" y="299"/>
                  </a:lnTo>
                  <a:lnTo>
                    <a:pt x="0" y="289"/>
                  </a:lnTo>
                  <a:lnTo>
                    <a:pt x="21" y="281"/>
                  </a:lnTo>
                  <a:lnTo>
                    <a:pt x="21" y="266"/>
                  </a:lnTo>
                  <a:lnTo>
                    <a:pt x="35" y="244"/>
                  </a:lnTo>
                  <a:lnTo>
                    <a:pt x="40" y="223"/>
                  </a:lnTo>
                  <a:lnTo>
                    <a:pt x="40" y="206"/>
                  </a:lnTo>
                  <a:lnTo>
                    <a:pt x="42" y="192"/>
                  </a:lnTo>
                  <a:lnTo>
                    <a:pt x="48" y="196"/>
                  </a:lnTo>
                  <a:lnTo>
                    <a:pt x="54" y="202"/>
                  </a:lnTo>
                  <a:lnTo>
                    <a:pt x="57" y="206"/>
                  </a:lnTo>
                  <a:lnTo>
                    <a:pt x="68" y="208"/>
                  </a:lnTo>
                  <a:lnTo>
                    <a:pt x="80" y="206"/>
                  </a:lnTo>
                  <a:lnTo>
                    <a:pt x="86" y="211"/>
                  </a:lnTo>
                  <a:lnTo>
                    <a:pt x="94" y="215"/>
                  </a:lnTo>
                  <a:lnTo>
                    <a:pt x="98" y="221"/>
                  </a:lnTo>
                  <a:lnTo>
                    <a:pt x="103" y="221"/>
                  </a:lnTo>
                  <a:lnTo>
                    <a:pt x="111" y="219"/>
                  </a:lnTo>
                  <a:lnTo>
                    <a:pt x="124" y="219"/>
                  </a:lnTo>
                  <a:lnTo>
                    <a:pt x="130" y="213"/>
                  </a:lnTo>
                  <a:lnTo>
                    <a:pt x="139" y="210"/>
                  </a:lnTo>
                  <a:lnTo>
                    <a:pt x="143" y="207"/>
                  </a:lnTo>
                  <a:lnTo>
                    <a:pt x="145" y="195"/>
                  </a:lnTo>
                  <a:lnTo>
                    <a:pt x="149" y="194"/>
                  </a:lnTo>
                  <a:lnTo>
                    <a:pt x="153" y="189"/>
                  </a:lnTo>
                  <a:lnTo>
                    <a:pt x="146" y="184"/>
                  </a:lnTo>
                  <a:lnTo>
                    <a:pt x="146" y="178"/>
                  </a:lnTo>
                  <a:lnTo>
                    <a:pt x="154" y="179"/>
                  </a:lnTo>
                  <a:lnTo>
                    <a:pt x="160" y="176"/>
                  </a:lnTo>
                  <a:lnTo>
                    <a:pt x="178" y="173"/>
                  </a:lnTo>
                  <a:lnTo>
                    <a:pt x="186" y="168"/>
                  </a:lnTo>
                  <a:lnTo>
                    <a:pt x="194" y="164"/>
                  </a:lnTo>
                  <a:lnTo>
                    <a:pt x="200" y="158"/>
                  </a:lnTo>
                  <a:lnTo>
                    <a:pt x="208" y="157"/>
                  </a:lnTo>
                  <a:lnTo>
                    <a:pt x="223" y="147"/>
                  </a:lnTo>
                  <a:lnTo>
                    <a:pt x="224" y="142"/>
                  </a:lnTo>
                  <a:lnTo>
                    <a:pt x="224" y="135"/>
                  </a:lnTo>
                  <a:lnTo>
                    <a:pt x="226" y="122"/>
                  </a:lnTo>
                  <a:lnTo>
                    <a:pt x="229" y="119"/>
                  </a:lnTo>
                  <a:lnTo>
                    <a:pt x="235" y="102"/>
                  </a:lnTo>
                  <a:lnTo>
                    <a:pt x="235" y="95"/>
                  </a:lnTo>
                  <a:lnTo>
                    <a:pt x="236" y="93"/>
                  </a:lnTo>
                  <a:lnTo>
                    <a:pt x="240" y="89"/>
                  </a:lnTo>
                  <a:lnTo>
                    <a:pt x="245" y="83"/>
                  </a:lnTo>
                  <a:lnTo>
                    <a:pt x="253" y="82"/>
                  </a:lnTo>
                  <a:lnTo>
                    <a:pt x="259" y="83"/>
                  </a:lnTo>
                  <a:lnTo>
                    <a:pt x="274" y="83"/>
                  </a:lnTo>
                  <a:lnTo>
                    <a:pt x="277" y="82"/>
                  </a:lnTo>
                  <a:lnTo>
                    <a:pt x="279" y="77"/>
                  </a:lnTo>
                  <a:lnTo>
                    <a:pt x="280" y="68"/>
                  </a:lnTo>
                  <a:lnTo>
                    <a:pt x="283" y="65"/>
                  </a:lnTo>
                  <a:lnTo>
                    <a:pt x="288" y="65"/>
                  </a:lnTo>
                  <a:lnTo>
                    <a:pt x="293" y="65"/>
                  </a:lnTo>
                  <a:lnTo>
                    <a:pt x="306" y="73"/>
                  </a:lnTo>
                  <a:lnTo>
                    <a:pt x="316" y="77"/>
                  </a:lnTo>
                  <a:lnTo>
                    <a:pt x="331" y="77"/>
                  </a:lnTo>
                  <a:lnTo>
                    <a:pt x="360" y="76"/>
                  </a:lnTo>
                  <a:lnTo>
                    <a:pt x="366" y="78"/>
                  </a:lnTo>
                  <a:lnTo>
                    <a:pt x="374" y="83"/>
                  </a:lnTo>
                  <a:lnTo>
                    <a:pt x="383" y="81"/>
                  </a:lnTo>
                  <a:lnTo>
                    <a:pt x="396" y="82"/>
                  </a:lnTo>
                  <a:lnTo>
                    <a:pt x="401" y="87"/>
                  </a:lnTo>
                  <a:lnTo>
                    <a:pt x="414" y="102"/>
                  </a:lnTo>
                  <a:lnTo>
                    <a:pt x="422" y="99"/>
                  </a:lnTo>
                  <a:lnTo>
                    <a:pt x="429" y="99"/>
                  </a:lnTo>
                  <a:lnTo>
                    <a:pt x="430" y="94"/>
                  </a:lnTo>
                  <a:lnTo>
                    <a:pt x="444" y="87"/>
                  </a:lnTo>
                  <a:lnTo>
                    <a:pt x="449" y="86"/>
                  </a:lnTo>
                  <a:lnTo>
                    <a:pt x="453" y="87"/>
                  </a:lnTo>
                  <a:lnTo>
                    <a:pt x="456" y="83"/>
                  </a:lnTo>
                  <a:lnTo>
                    <a:pt x="462" y="81"/>
                  </a:lnTo>
                  <a:lnTo>
                    <a:pt x="466" y="82"/>
                  </a:lnTo>
                  <a:lnTo>
                    <a:pt x="471" y="87"/>
                  </a:lnTo>
                  <a:lnTo>
                    <a:pt x="484" y="92"/>
                  </a:lnTo>
                  <a:lnTo>
                    <a:pt x="488" y="89"/>
                  </a:lnTo>
                  <a:lnTo>
                    <a:pt x="489" y="87"/>
                  </a:lnTo>
                  <a:lnTo>
                    <a:pt x="489" y="82"/>
                  </a:lnTo>
                  <a:lnTo>
                    <a:pt x="487" y="78"/>
                  </a:lnTo>
                  <a:lnTo>
                    <a:pt x="485" y="71"/>
                  </a:lnTo>
                  <a:lnTo>
                    <a:pt x="495" y="59"/>
                  </a:lnTo>
                  <a:lnTo>
                    <a:pt x="500" y="59"/>
                  </a:lnTo>
                  <a:lnTo>
                    <a:pt x="506" y="61"/>
                  </a:lnTo>
                  <a:lnTo>
                    <a:pt x="514" y="59"/>
                  </a:lnTo>
                  <a:lnTo>
                    <a:pt x="522" y="65"/>
                  </a:lnTo>
                  <a:lnTo>
                    <a:pt x="526" y="65"/>
                  </a:lnTo>
                  <a:lnTo>
                    <a:pt x="528" y="63"/>
                  </a:lnTo>
                  <a:lnTo>
                    <a:pt x="536" y="56"/>
                  </a:lnTo>
                  <a:lnTo>
                    <a:pt x="537" y="51"/>
                  </a:lnTo>
                  <a:lnTo>
                    <a:pt x="532" y="45"/>
                  </a:lnTo>
                  <a:lnTo>
                    <a:pt x="532" y="40"/>
                  </a:lnTo>
                  <a:lnTo>
                    <a:pt x="542" y="27"/>
                  </a:lnTo>
                  <a:lnTo>
                    <a:pt x="553" y="11"/>
                  </a:lnTo>
                  <a:lnTo>
                    <a:pt x="555" y="9"/>
                  </a:lnTo>
                  <a:lnTo>
                    <a:pt x="559" y="3"/>
                  </a:lnTo>
                  <a:lnTo>
                    <a:pt x="560" y="2"/>
                  </a:lnTo>
                  <a:lnTo>
                    <a:pt x="567" y="3"/>
                  </a:lnTo>
                  <a:lnTo>
                    <a:pt x="571" y="0"/>
                  </a:lnTo>
                  <a:lnTo>
                    <a:pt x="581" y="2"/>
                  </a:lnTo>
                  <a:lnTo>
                    <a:pt x="594" y="14"/>
                  </a:lnTo>
                  <a:lnTo>
                    <a:pt x="594" y="20"/>
                  </a:lnTo>
                  <a:lnTo>
                    <a:pt x="590" y="28"/>
                  </a:lnTo>
                  <a:lnTo>
                    <a:pt x="590" y="33"/>
                  </a:lnTo>
                  <a:lnTo>
                    <a:pt x="591" y="35"/>
                  </a:lnTo>
                  <a:lnTo>
                    <a:pt x="596" y="38"/>
                  </a:lnTo>
                  <a:lnTo>
                    <a:pt x="602" y="36"/>
                  </a:lnTo>
                  <a:lnTo>
                    <a:pt x="606" y="38"/>
                  </a:lnTo>
                  <a:lnTo>
                    <a:pt x="606" y="40"/>
                  </a:lnTo>
                  <a:lnTo>
                    <a:pt x="607" y="44"/>
                  </a:lnTo>
                  <a:lnTo>
                    <a:pt x="605" y="46"/>
                  </a:lnTo>
                  <a:lnTo>
                    <a:pt x="603" y="51"/>
                  </a:lnTo>
                  <a:lnTo>
                    <a:pt x="605" y="62"/>
                  </a:lnTo>
                  <a:lnTo>
                    <a:pt x="603" y="67"/>
                  </a:lnTo>
                  <a:lnTo>
                    <a:pt x="601" y="72"/>
                  </a:lnTo>
                  <a:lnTo>
                    <a:pt x="601" y="82"/>
                  </a:lnTo>
                  <a:lnTo>
                    <a:pt x="598" y="92"/>
                  </a:lnTo>
                  <a:lnTo>
                    <a:pt x="601" y="100"/>
                  </a:lnTo>
                  <a:lnTo>
                    <a:pt x="607" y="111"/>
                  </a:lnTo>
                  <a:lnTo>
                    <a:pt x="612" y="122"/>
                  </a:lnTo>
                  <a:lnTo>
                    <a:pt x="613" y="124"/>
                  </a:lnTo>
                  <a:lnTo>
                    <a:pt x="618" y="125"/>
                  </a:lnTo>
                  <a:lnTo>
                    <a:pt x="623" y="122"/>
                  </a:lnTo>
                  <a:lnTo>
                    <a:pt x="635" y="115"/>
                  </a:lnTo>
                  <a:lnTo>
                    <a:pt x="648" y="105"/>
                  </a:lnTo>
                  <a:lnTo>
                    <a:pt x="670" y="99"/>
                  </a:lnTo>
                  <a:lnTo>
                    <a:pt x="671" y="98"/>
                  </a:lnTo>
                  <a:lnTo>
                    <a:pt x="676" y="92"/>
                  </a:lnTo>
                  <a:lnTo>
                    <a:pt x="683" y="87"/>
                  </a:lnTo>
                  <a:lnTo>
                    <a:pt x="684" y="84"/>
                  </a:lnTo>
                  <a:lnTo>
                    <a:pt x="689" y="83"/>
                  </a:lnTo>
                  <a:lnTo>
                    <a:pt x="699" y="77"/>
                  </a:lnTo>
                  <a:lnTo>
                    <a:pt x="704" y="75"/>
                  </a:lnTo>
                  <a:lnTo>
                    <a:pt x="711" y="70"/>
                  </a:lnTo>
                  <a:lnTo>
                    <a:pt x="716" y="70"/>
                  </a:lnTo>
                  <a:lnTo>
                    <a:pt x="720" y="72"/>
                  </a:lnTo>
                  <a:lnTo>
                    <a:pt x="723" y="73"/>
                  </a:lnTo>
                  <a:lnTo>
                    <a:pt x="727" y="73"/>
                  </a:lnTo>
                  <a:lnTo>
                    <a:pt x="729" y="83"/>
                  </a:lnTo>
                  <a:lnTo>
                    <a:pt x="731" y="87"/>
                  </a:lnTo>
                  <a:lnTo>
                    <a:pt x="734" y="86"/>
                  </a:lnTo>
                  <a:lnTo>
                    <a:pt x="741" y="79"/>
                  </a:lnTo>
                  <a:lnTo>
                    <a:pt x="741" y="81"/>
                  </a:lnTo>
                  <a:lnTo>
                    <a:pt x="743" y="81"/>
                  </a:lnTo>
                  <a:lnTo>
                    <a:pt x="756" y="76"/>
                  </a:lnTo>
                  <a:lnTo>
                    <a:pt x="767" y="75"/>
                  </a:lnTo>
                  <a:lnTo>
                    <a:pt x="773" y="75"/>
                  </a:lnTo>
                  <a:lnTo>
                    <a:pt x="778" y="77"/>
                  </a:lnTo>
                  <a:lnTo>
                    <a:pt x="785" y="77"/>
                  </a:lnTo>
                  <a:lnTo>
                    <a:pt x="788" y="81"/>
                  </a:lnTo>
                  <a:lnTo>
                    <a:pt x="788" y="83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3" y="84"/>
                  </a:lnTo>
                  <a:lnTo>
                    <a:pt x="778" y="83"/>
                  </a:lnTo>
                  <a:lnTo>
                    <a:pt x="774" y="83"/>
                  </a:lnTo>
                  <a:lnTo>
                    <a:pt x="766" y="92"/>
                  </a:lnTo>
                  <a:lnTo>
                    <a:pt x="768" y="94"/>
                  </a:lnTo>
                  <a:lnTo>
                    <a:pt x="774" y="97"/>
                  </a:lnTo>
                  <a:lnTo>
                    <a:pt x="775" y="102"/>
                  </a:lnTo>
                  <a:lnTo>
                    <a:pt x="775" y="106"/>
                  </a:lnTo>
                  <a:lnTo>
                    <a:pt x="764" y="104"/>
                  </a:lnTo>
                  <a:lnTo>
                    <a:pt x="759" y="108"/>
                  </a:lnTo>
                  <a:lnTo>
                    <a:pt x="757" y="108"/>
                  </a:lnTo>
                  <a:lnTo>
                    <a:pt x="751" y="113"/>
                  </a:lnTo>
                  <a:lnTo>
                    <a:pt x="746" y="113"/>
                  </a:lnTo>
                  <a:lnTo>
                    <a:pt x="732" y="108"/>
                  </a:lnTo>
                  <a:lnTo>
                    <a:pt x="725" y="109"/>
                  </a:lnTo>
                  <a:lnTo>
                    <a:pt x="721" y="108"/>
                  </a:lnTo>
                  <a:lnTo>
                    <a:pt x="686" y="110"/>
                  </a:lnTo>
                  <a:lnTo>
                    <a:pt x="682" y="110"/>
                  </a:lnTo>
                  <a:lnTo>
                    <a:pt x="672" y="114"/>
                  </a:lnTo>
                  <a:lnTo>
                    <a:pt x="665" y="114"/>
                  </a:lnTo>
                  <a:lnTo>
                    <a:pt x="656" y="120"/>
                  </a:lnTo>
                  <a:lnTo>
                    <a:pt x="648" y="121"/>
                  </a:lnTo>
                  <a:lnTo>
                    <a:pt x="643" y="124"/>
                  </a:lnTo>
                  <a:lnTo>
                    <a:pt x="639" y="125"/>
                  </a:lnTo>
                  <a:lnTo>
                    <a:pt x="638" y="129"/>
                  </a:lnTo>
                  <a:lnTo>
                    <a:pt x="635" y="131"/>
                  </a:lnTo>
                  <a:lnTo>
                    <a:pt x="625" y="134"/>
                  </a:lnTo>
                  <a:lnTo>
                    <a:pt x="624" y="136"/>
                  </a:lnTo>
                  <a:lnTo>
                    <a:pt x="625" y="140"/>
                  </a:lnTo>
                  <a:lnTo>
                    <a:pt x="622" y="141"/>
                  </a:lnTo>
                  <a:lnTo>
                    <a:pt x="617" y="138"/>
                  </a:lnTo>
                  <a:lnTo>
                    <a:pt x="612" y="138"/>
                  </a:lnTo>
                  <a:lnTo>
                    <a:pt x="611" y="140"/>
                  </a:lnTo>
                  <a:lnTo>
                    <a:pt x="610" y="145"/>
                  </a:lnTo>
                  <a:lnTo>
                    <a:pt x="594" y="158"/>
                  </a:lnTo>
                  <a:lnTo>
                    <a:pt x="590" y="162"/>
                  </a:lnTo>
                  <a:lnTo>
                    <a:pt x="589" y="168"/>
                  </a:lnTo>
                  <a:lnTo>
                    <a:pt x="590" y="170"/>
                  </a:lnTo>
                  <a:lnTo>
                    <a:pt x="598" y="175"/>
                  </a:lnTo>
                  <a:lnTo>
                    <a:pt x="605" y="183"/>
                  </a:lnTo>
                  <a:lnTo>
                    <a:pt x="608" y="196"/>
                  </a:lnTo>
                  <a:lnTo>
                    <a:pt x="612" y="206"/>
                  </a:lnTo>
                  <a:lnTo>
                    <a:pt x="612" y="207"/>
                  </a:lnTo>
                  <a:lnTo>
                    <a:pt x="608" y="216"/>
                  </a:lnTo>
                  <a:lnTo>
                    <a:pt x="608" y="218"/>
                  </a:lnTo>
                  <a:lnTo>
                    <a:pt x="611" y="222"/>
                  </a:lnTo>
                  <a:lnTo>
                    <a:pt x="610" y="228"/>
                  </a:lnTo>
                  <a:lnTo>
                    <a:pt x="606" y="235"/>
                  </a:lnTo>
                  <a:lnTo>
                    <a:pt x="601" y="243"/>
                  </a:lnTo>
                  <a:lnTo>
                    <a:pt x="592" y="249"/>
                  </a:lnTo>
                  <a:lnTo>
                    <a:pt x="585" y="258"/>
                  </a:lnTo>
                  <a:lnTo>
                    <a:pt x="581" y="265"/>
                  </a:lnTo>
                  <a:lnTo>
                    <a:pt x="578" y="269"/>
                  </a:lnTo>
                  <a:lnTo>
                    <a:pt x="578" y="275"/>
                  </a:lnTo>
                  <a:lnTo>
                    <a:pt x="582" y="277"/>
                  </a:lnTo>
                  <a:lnTo>
                    <a:pt x="586" y="280"/>
                  </a:lnTo>
                  <a:lnTo>
                    <a:pt x="582" y="283"/>
                  </a:lnTo>
                  <a:lnTo>
                    <a:pt x="582" y="291"/>
                  </a:lnTo>
                  <a:lnTo>
                    <a:pt x="575" y="301"/>
                  </a:lnTo>
                  <a:lnTo>
                    <a:pt x="569" y="304"/>
                  </a:lnTo>
                  <a:lnTo>
                    <a:pt x="558" y="307"/>
                  </a:lnTo>
                  <a:lnTo>
                    <a:pt x="547" y="305"/>
                  </a:lnTo>
                  <a:lnTo>
                    <a:pt x="528" y="301"/>
                  </a:lnTo>
                  <a:lnTo>
                    <a:pt x="524" y="299"/>
                  </a:lnTo>
                  <a:lnTo>
                    <a:pt x="520" y="302"/>
                  </a:lnTo>
                  <a:lnTo>
                    <a:pt x="517" y="307"/>
                  </a:lnTo>
                  <a:lnTo>
                    <a:pt x="520" y="310"/>
                  </a:lnTo>
                  <a:lnTo>
                    <a:pt x="525" y="320"/>
                  </a:lnTo>
                  <a:lnTo>
                    <a:pt x="530" y="320"/>
                  </a:lnTo>
                  <a:lnTo>
                    <a:pt x="535" y="336"/>
                  </a:lnTo>
                  <a:lnTo>
                    <a:pt x="539" y="341"/>
                  </a:lnTo>
                  <a:lnTo>
                    <a:pt x="539" y="345"/>
                  </a:lnTo>
                  <a:lnTo>
                    <a:pt x="533" y="351"/>
                  </a:lnTo>
                  <a:lnTo>
                    <a:pt x="527" y="353"/>
                  </a:lnTo>
                  <a:lnTo>
                    <a:pt x="517" y="361"/>
                  </a:lnTo>
                  <a:lnTo>
                    <a:pt x="509" y="360"/>
                  </a:lnTo>
                  <a:lnTo>
                    <a:pt x="498" y="363"/>
                  </a:lnTo>
                  <a:lnTo>
                    <a:pt x="496" y="377"/>
                  </a:lnTo>
                  <a:lnTo>
                    <a:pt x="490" y="379"/>
                  </a:lnTo>
                  <a:lnTo>
                    <a:pt x="489" y="384"/>
                  </a:lnTo>
                  <a:lnTo>
                    <a:pt x="490" y="390"/>
                  </a:lnTo>
                  <a:lnTo>
                    <a:pt x="489" y="394"/>
                  </a:lnTo>
                  <a:lnTo>
                    <a:pt x="487" y="394"/>
                  </a:lnTo>
                  <a:lnTo>
                    <a:pt x="483" y="399"/>
                  </a:lnTo>
                  <a:lnTo>
                    <a:pt x="481" y="404"/>
                  </a:lnTo>
                  <a:lnTo>
                    <a:pt x="479" y="407"/>
                  </a:lnTo>
                  <a:lnTo>
                    <a:pt x="481" y="425"/>
                  </a:lnTo>
                  <a:lnTo>
                    <a:pt x="483" y="437"/>
                  </a:lnTo>
                  <a:lnTo>
                    <a:pt x="483" y="439"/>
                  </a:lnTo>
                  <a:lnTo>
                    <a:pt x="463" y="460"/>
                  </a:lnTo>
                  <a:lnTo>
                    <a:pt x="460" y="460"/>
                  </a:lnTo>
                  <a:lnTo>
                    <a:pt x="455" y="458"/>
                  </a:lnTo>
                  <a:lnTo>
                    <a:pt x="452" y="454"/>
                  </a:lnTo>
                  <a:lnTo>
                    <a:pt x="451" y="450"/>
                  </a:lnTo>
                  <a:lnTo>
                    <a:pt x="444" y="445"/>
                  </a:lnTo>
                  <a:lnTo>
                    <a:pt x="440" y="445"/>
                  </a:lnTo>
                  <a:lnTo>
                    <a:pt x="438" y="449"/>
                  </a:lnTo>
                  <a:lnTo>
                    <a:pt x="441" y="450"/>
                  </a:lnTo>
                  <a:lnTo>
                    <a:pt x="441" y="453"/>
                  </a:lnTo>
                  <a:lnTo>
                    <a:pt x="425" y="448"/>
                  </a:lnTo>
                  <a:lnTo>
                    <a:pt x="419" y="448"/>
                  </a:lnTo>
                  <a:lnTo>
                    <a:pt x="414" y="450"/>
                  </a:lnTo>
                  <a:lnTo>
                    <a:pt x="412" y="455"/>
                  </a:lnTo>
                  <a:lnTo>
                    <a:pt x="395" y="464"/>
                  </a:lnTo>
                  <a:lnTo>
                    <a:pt x="391" y="468"/>
                  </a:lnTo>
                  <a:lnTo>
                    <a:pt x="392" y="470"/>
                  </a:lnTo>
                  <a:lnTo>
                    <a:pt x="399" y="473"/>
                  </a:lnTo>
                  <a:lnTo>
                    <a:pt x="399" y="475"/>
                  </a:lnTo>
                  <a:lnTo>
                    <a:pt x="397" y="477"/>
                  </a:lnTo>
                  <a:lnTo>
                    <a:pt x="390" y="479"/>
                  </a:lnTo>
                  <a:lnTo>
                    <a:pt x="377" y="481"/>
                  </a:lnTo>
                  <a:lnTo>
                    <a:pt x="368" y="484"/>
                  </a:lnTo>
                  <a:lnTo>
                    <a:pt x="356" y="482"/>
                  </a:lnTo>
                  <a:lnTo>
                    <a:pt x="356" y="479"/>
                  </a:lnTo>
                  <a:lnTo>
                    <a:pt x="352" y="476"/>
                  </a:lnTo>
                  <a:lnTo>
                    <a:pt x="345" y="480"/>
                  </a:lnTo>
                  <a:lnTo>
                    <a:pt x="339" y="491"/>
                  </a:lnTo>
                  <a:lnTo>
                    <a:pt x="327" y="500"/>
                  </a:lnTo>
                  <a:lnTo>
                    <a:pt x="325" y="506"/>
                  </a:lnTo>
                  <a:lnTo>
                    <a:pt x="321" y="520"/>
                  </a:lnTo>
                  <a:lnTo>
                    <a:pt x="322" y="533"/>
                  </a:lnTo>
                  <a:lnTo>
                    <a:pt x="318" y="552"/>
                  </a:lnTo>
                  <a:lnTo>
                    <a:pt x="318" y="556"/>
                  </a:lnTo>
                  <a:lnTo>
                    <a:pt x="322" y="560"/>
                  </a:lnTo>
                  <a:lnTo>
                    <a:pt x="321" y="566"/>
                  </a:lnTo>
                  <a:lnTo>
                    <a:pt x="313" y="572"/>
                  </a:lnTo>
                  <a:lnTo>
                    <a:pt x="288" y="577"/>
                  </a:lnTo>
                  <a:lnTo>
                    <a:pt x="268" y="584"/>
                  </a:lnTo>
                  <a:lnTo>
                    <a:pt x="252" y="588"/>
                  </a:lnTo>
                  <a:lnTo>
                    <a:pt x="226" y="587"/>
                  </a:lnTo>
                  <a:lnTo>
                    <a:pt x="213" y="587"/>
                  </a:lnTo>
                  <a:lnTo>
                    <a:pt x="207" y="589"/>
                  </a:lnTo>
                  <a:lnTo>
                    <a:pt x="203" y="592"/>
                  </a:lnTo>
                  <a:lnTo>
                    <a:pt x="200" y="597"/>
                  </a:lnTo>
                  <a:lnTo>
                    <a:pt x="197" y="599"/>
                  </a:lnTo>
                  <a:lnTo>
                    <a:pt x="181" y="592"/>
                  </a:lnTo>
                  <a:lnTo>
                    <a:pt x="164" y="592"/>
                  </a:lnTo>
                  <a:lnTo>
                    <a:pt x="149" y="594"/>
                  </a:lnTo>
                  <a:lnTo>
                    <a:pt x="138" y="593"/>
                  </a:lnTo>
                  <a:lnTo>
                    <a:pt x="129" y="594"/>
                  </a:lnTo>
                  <a:lnTo>
                    <a:pt x="119" y="594"/>
                  </a:lnTo>
                  <a:lnTo>
                    <a:pt x="116" y="595"/>
                  </a:lnTo>
                  <a:lnTo>
                    <a:pt x="112" y="598"/>
                  </a:lnTo>
                  <a:lnTo>
                    <a:pt x="108" y="599"/>
                  </a:lnTo>
                  <a:lnTo>
                    <a:pt x="101" y="598"/>
                  </a:lnTo>
                  <a:lnTo>
                    <a:pt x="83" y="588"/>
                  </a:lnTo>
                  <a:lnTo>
                    <a:pt x="24" y="57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3" name="Freeform 64"/>
            <p:cNvSpPr>
              <a:spLocks noChangeAspect="1"/>
            </p:cNvSpPr>
            <p:nvPr/>
          </p:nvSpPr>
          <p:spPr bwMode="gray">
            <a:xfrm>
              <a:off x="4637063" y="4122039"/>
              <a:ext cx="157168" cy="166414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5" y="3"/>
                </a:cxn>
                <a:cxn ang="0">
                  <a:pos x="62" y="19"/>
                </a:cxn>
                <a:cxn ang="0">
                  <a:pos x="100" y="19"/>
                </a:cxn>
                <a:cxn ang="0">
                  <a:pos x="130" y="26"/>
                </a:cxn>
                <a:cxn ang="0">
                  <a:pos x="151" y="51"/>
                </a:cxn>
                <a:cxn ang="0">
                  <a:pos x="168" y="72"/>
                </a:cxn>
                <a:cxn ang="0">
                  <a:pos x="196" y="102"/>
                </a:cxn>
                <a:cxn ang="0">
                  <a:pos x="251" y="136"/>
                </a:cxn>
                <a:cxn ang="0">
                  <a:pos x="277" y="159"/>
                </a:cxn>
                <a:cxn ang="0">
                  <a:pos x="302" y="190"/>
                </a:cxn>
                <a:cxn ang="0">
                  <a:pos x="311" y="184"/>
                </a:cxn>
                <a:cxn ang="0">
                  <a:pos x="338" y="211"/>
                </a:cxn>
                <a:cxn ang="0">
                  <a:pos x="355" y="217"/>
                </a:cxn>
                <a:cxn ang="0">
                  <a:pos x="382" y="242"/>
                </a:cxn>
                <a:cxn ang="0">
                  <a:pos x="391" y="236"/>
                </a:cxn>
                <a:cxn ang="0">
                  <a:pos x="423" y="247"/>
                </a:cxn>
                <a:cxn ang="0">
                  <a:pos x="431" y="259"/>
                </a:cxn>
                <a:cxn ang="0">
                  <a:pos x="425" y="270"/>
                </a:cxn>
                <a:cxn ang="0">
                  <a:pos x="417" y="290"/>
                </a:cxn>
                <a:cxn ang="0">
                  <a:pos x="430" y="287"/>
                </a:cxn>
                <a:cxn ang="0">
                  <a:pos x="453" y="281"/>
                </a:cxn>
                <a:cxn ang="0">
                  <a:pos x="467" y="303"/>
                </a:cxn>
                <a:cxn ang="0">
                  <a:pos x="463" y="320"/>
                </a:cxn>
                <a:cxn ang="0">
                  <a:pos x="450" y="344"/>
                </a:cxn>
                <a:cxn ang="0">
                  <a:pos x="474" y="361"/>
                </a:cxn>
                <a:cxn ang="0">
                  <a:pos x="490" y="363"/>
                </a:cxn>
                <a:cxn ang="0">
                  <a:pos x="509" y="384"/>
                </a:cxn>
                <a:cxn ang="0">
                  <a:pos x="510" y="409"/>
                </a:cxn>
                <a:cxn ang="0">
                  <a:pos x="532" y="420"/>
                </a:cxn>
                <a:cxn ang="0">
                  <a:pos x="542" y="435"/>
                </a:cxn>
                <a:cxn ang="0">
                  <a:pos x="570" y="440"/>
                </a:cxn>
                <a:cxn ang="0">
                  <a:pos x="584" y="462"/>
                </a:cxn>
                <a:cxn ang="0">
                  <a:pos x="591" y="487"/>
                </a:cxn>
                <a:cxn ang="0">
                  <a:pos x="587" y="512"/>
                </a:cxn>
                <a:cxn ang="0">
                  <a:pos x="582" y="548"/>
                </a:cxn>
                <a:cxn ang="0">
                  <a:pos x="581" y="613"/>
                </a:cxn>
                <a:cxn ang="0">
                  <a:pos x="563" y="613"/>
                </a:cxn>
                <a:cxn ang="0">
                  <a:pos x="549" y="619"/>
                </a:cxn>
                <a:cxn ang="0">
                  <a:pos x="516" y="608"/>
                </a:cxn>
                <a:cxn ang="0">
                  <a:pos x="508" y="618"/>
                </a:cxn>
                <a:cxn ang="0">
                  <a:pos x="478" y="586"/>
                </a:cxn>
                <a:cxn ang="0">
                  <a:pos x="455" y="571"/>
                </a:cxn>
                <a:cxn ang="0">
                  <a:pos x="409" y="535"/>
                </a:cxn>
                <a:cxn ang="0">
                  <a:pos x="388" y="508"/>
                </a:cxn>
                <a:cxn ang="0">
                  <a:pos x="363" y="484"/>
                </a:cxn>
                <a:cxn ang="0">
                  <a:pos x="312" y="426"/>
                </a:cxn>
                <a:cxn ang="0">
                  <a:pos x="286" y="355"/>
                </a:cxn>
                <a:cxn ang="0">
                  <a:pos x="264" y="328"/>
                </a:cxn>
                <a:cxn ang="0">
                  <a:pos x="232" y="293"/>
                </a:cxn>
                <a:cxn ang="0">
                  <a:pos x="221" y="291"/>
                </a:cxn>
                <a:cxn ang="0">
                  <a:pos x="205" y="237"/>
                </a:cxn>
                <a:cxn ang="0">
                  <a:pos x="191" y="205"/>
                </a:cxn>
                <a:cxn ang="0">
                  <a:pos x="151" y="182"/>
                </a:cxn>
                <a:cxn ang="0">
                  <a:pos x="123" y="146"/>
                </a:cxn>
                <a:cxn ang="0">
                  <a:pos x="105" y="118"/>
                </a:cxn>
                <a:cxn ang="0">
                  <a:pos x="76" y="103"/>
                </a:cxn>
                <a:cxn ang="0">
                  <a:pos x="51" y="77"/>
                </a:cxn>
                <a:cxn ang="0">
                  <a:pos x="12" y="39"/>
                </a:cxn>
                <a:cxn ang="0">
                  <a:pos x="0" y="1"/>
                </a:cxn>
              </a:cxnLst>
              <a:rect l="0" t="0" r="r" b="b"/>
              <a:pathLst>
                <a:path w="594" h="626">
                  <a:moveTo>
                    <a:pt x="0" y="1"/>
                  </a:moveTo>
                  <a:lnTo>
                    <a:pt x="6" y="1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8" y="1"/>
                  </a:lnTo>
                  <a:lnTo>
                    <a:pt x="35" y="3"/>
                  </a:lnTo>
                  <a:lnTo>
                    <a:pt x="42" y="16"/>
                  </a:lnTo>
                  <a:lnTo>
                    <a:pt x="55" y="17"/>
                  </a:lnTo>
                  <a:lnTo>
                    <a:pt x="62" y="19"/>
                  </a:lnTo>
                  <a:lnTo>
                    <a:pt x="74" y="21"/>
                  </a:lnTo>
                  <a:lnTo>
                    <a:pt x="91" y="18"/>
                  </a:lnTo>
                  <a:lnTo>
                    <a:pt x="100" y="19"/>
                  </a:lnTo>
                  <a:lnTo>
                    <a:pt x="110" y="24"/>
                  </a:lnTo>
                  <a:lnTo>
                    <a:pt x="122" y="23"/>
                  </a:lnTo>
                  <a:lnTo>
                    <a:pt x="130" y="26"/>
                  </a:lnTo>
                  <a:lnTo>
                    <a:pt x="146" y="38"/>
                  </a:lnTo>
                  <a:lnTo>
                    <a:pt x="150" y="45"/>
                  </a:lnTo>
                  <a:lnTo>
                    <a:pt x="151" y="51"/>
                  </a:lnTo>
                  <a:lnTo>
                    <a:pt x="155" y="56"/>
                  </a:lnTo>
                  <a:lnTo>
                    <a:pt x="161" y="60"/>
                  </a:lnTo>
                  <a:lnTo>
                    <a:pt x="168" y="72"/>
                  </a:lnTo>
                  <a:lnTo>
                    <a:pt x="171" y="80"/>
                  </a:lnTo>
                  <a:lnTo>
                    <a:pt x="184" y="89"/>
                  </a:lnTo>
                  <a:lnTo>
                    <a:pt x="196" y="102"/>
                  </a:lnTo>
                  <a:lnTo>
                    <a:pt x="230" y="118"/>
                  </a:lnTo>
                  <a:lnTo>
                    <a:pt x="237" y="125"/>
                  </a:lnTo>
                  <a:lnTo>
                    <a:pt x="251" y="136"/>
                  </a:lnTo>
                  <a:lnTo>
                    <a:pt x="259" y="146"/>
                  </a:lnTo>
                  <a:lnTo>
                    <a:pt x="263" y="157"/>
                  </a:lnTo>
                  <a:lnTo>
                    <a:pt x="277" y="159"/>
                  </a:lnTo>
                  <a:lnTo>
                    <a:pt x="282" y="172"/>
                  </a:lnTo>
                  <a:lnTo>
                    <a:pt x="296" y="187"/>
                  </a:lnTo>
                  <a:lnTo>
                    <a:pt x="302" y="190"/>
                  </a:lnTo>
                  <a:lnTo>
                    <a:pt x="307" y="193"/>
                  </a:lnTo>
                  <a:lnTo>
                    <a:pt x="309" y="189"/>
                  </a:lnTo>
                  <a:lnTo>
                    <a:pt x="311" y="184"/>
                  </a:lnTo>
                  <a:lnTo>
                    <a:pt x="320" y="184"/>
                  </a:lnTo>
                  <a:lnTo>
                    <a:pt x="327" y="189"/>
                  </a:lnTo>
                  <a:lnTo>
                    <a:pt x="338" y="211"/>
                  </a:lnTo>
                  <a:lnTo>
                    <a:pt x="345" y="215"/>
                  </a:lnTo>
                  <a:lnTo>
                    <a:pt x="350" y="216"/>
                  </a:lnTo>
                  <a:lnTo>
                    <a:pt x="355" y="217"/>
                  </a:lnTo>
                  <a:lnTo>
                    <a:pt x="371" y="226"/>
                  </a:lnTo>
                  <a:lnTo>
                    <a:pt x="376" y="231"/>
                  </a:lnTo>
                  <a:lnTo>
                    <a:pt x="382" y="242"/>
                  </a:lnTo>
                  <a:lnTo>
                    <a:pt x="386" y="244"/>
                  </a:lnTo>
                  <a:lnTo>
                    <a:pt x="387" y="233"/>
                  </a:lnTo>
                  <a:lnTo>
                    <a:pt x="391" y="236"/>
                  </a:lnTo>
                  <a:lnTo>
                    <a:pt x="396" y="243"/>
                  </a:lnTo>
                  <a:lnTo>
                    <a:pt x="403" y="248"/>
                  </a:lnTo>
                  <a:lnTo>
                    <a:pt x="423" y="247"/>
                  </a:lnTo>
                  <a:lnTo>
                    <a:pt x="430" y="250"/>
                  </a:lnTo>
                  <a:lnTo>
                    <a:pt x="433" y="254"/>
                  </a:lnTo>
                  <a:lnTo>
                    <a:pt x="431" y="259"/>
                  </a:lnTo>
                  <a:lnTo>
                    <a:pt x="428" y="263"/>
                  </a:lnTo>
                  <a:lnTo>
                    <a:pt x="424" y="263"/>
                  </a:lnTo>
                  <a:lnTo>
                    <a:pt x="425" y="270"/>
                  </a:lnTo>
                  <a:lnTo>
                    <a:pt x="429" y="276"/>
                  </a:lnTo>
                  <a:lnTo>
                    <a:pt x="429" y="282"/>
                  </a:lnTo>
                  <a:lnTo>
                    <a:pt x="417" y="290"/>
                  </a:lnTo>
                  <a:lnTo>
                    <a:pt x="415" y="292"/>
                  </a:lnTo>
                  <a:lnTo>
                    <a:pt x="417" y="293"/>
                  </a:lnTo>
                  <a:lnTo>
                    <a:pt x="430" y="287"/>
                  </a:lnTo>
                  <a:lnTo>
                    <a:pt x="438" y="282"/>
                  </a:lnTo>
                  <a:lnTo>
                    <a:pt x="449" y="279"/>
                  </a:lnTo>
                  <a:lnTo>
                    <a:pt x="453" y="281"/>
                  </a:lnTo>
                  <a:lnTo>
                    <a:pt x="462" y="288"/>
                  </a:lnTo>
                  <a:lnTo>
                    <a:pt x="466" y="297"/>
                  </a:lnTo>
                  <a:lnTo>
                    <a:pt x="467" y="303"/>
                  </a:lnTo>
                  <a:lnTo>
                    <a:pt x="453" y="317"/>
                  </a:lnTo>
                  <a:lnTo>
                    <a:pt x="457" y="319"/>
                  </a:lnTo>
                  <a:lnTo>
                    <a:pt x="463" y="320"/>
                  </a:lnTo>
                  <a:lnTo>
                    <a:pt x="461" y="328"/>
                  </a:lnTo>
                  <a:lnTo>
                    <a:pt x="453" y="334"/>
                  </a:lnTo>
                  <a:lnTo>
                    <a:pt x="450" y="344"/>
                  </a:lnTo>
                  <a:lnTo>
                    <a:pt x="455" y="351"/>
                  </a:lnTo>
                  <a:lnTo>
                    <a:pt x="466" y="357"/>
                  </a:lnTo>
                  <a:lnTo>
                    <a:pt x="474" y="361"/>
                  </a:lnTo>
                  <a:lnTo>
                    <a:pt x="482" y="361"/>
                  </a:lnTo>
                  <a:lnTo>
                    <a:pt x="487" y="365"/>
                  </a:lnTo>
                  <a:lnTo>
                    <a:pt x="490" y="363"/>
                  </a:lnTo>
                  <a:lnTo>
                    <a:pt x="501" y="365"/>
                  </a:lnTo>
                  <a:lnTo>
                    <a:pt x="506" y="376"/>
                  </a:lnTo>
                  <a:lnTo>
                    <a:pt x="509" y="384"/>
                  </a:lnTo>
                  <a:lnTo>
                    <a:pt x="510" y="394"/>
                  </a:lnTo>
                  <a:lnTo>
                    <a:pt x="512" y="401"/>
                  </a:lnTo>
                  <a:lnTo>
                    <a:pt x="510" y="409"/>
                  </a:lnTo>
                  <a:lnTo>
                    <a:pt x="516" y="410"/>
                  </a:lnTo>
                  <a:lnTo>
                    <a:pt x="526" y="414"/>
                  </a:lnTo>
                  <a:lnTo>
                    <a:pt x="532" y="420"/>
                  </a:lnTo>
                  <a:lnTo>
                    <a:pt x="526" y="435"/>
                  </a:lnTo>
                  <a:lnTo>
                    <a:pt x="533" y="436"/>
                  </a:lnTo>
                  <a:lnTo>
                    <a:pt x="542" y="435"/>
                  </a:lnTo>
                  <a:lnTo>
                    <a:pt x="552" y="435"/>
                  </a:lnTo>
                  <a:lnTo>
                    <a:pt x="560" y="436"/>
                  </a:lnTo>
                  <a:lnTo>
                    <a:pt x="570" y="440"/>
                  </a:lnTo>
                  <a:lnTo>
                    <a:pt x="573" y="446"/>
                  </a:lnTo>
                  <a:lnTo>
                    <a:pt x="580" y="454"/>
                  </a:lnTo>
                  <a:lnTo>
                    <a:pt x="584" y="462"/>
                  </a:lnTo>
                  <a:lnTo>
                    <a:pt x="591" y="469"/>
                  </a:lnTo>
                  <a:lnTo>
                    <a:pt x="594" y="478"/>
                  </a:lnTo>
                  <a:lnTo>
                    <a:pt x="591" y="487"/>
                  </a:lnTo>
                  <a:lnTo>
                    <a:pt x="585" y="501"/>
                  </a:lnTo>
                  <a:lnTo>
                    <a:pt x="584" y="510"/>
                  </a:lnTo>
                  <a:lnTo>
                    <a:pt x="587" y="512"/>
                  </a:lnTo>
                  <a:lnTo>
                    <a:pt x="589" y="518"/>
                  </a:lnTo>
                  <a:lnTo>
                    <a:pt x="585" y="530"/>
                  </a:lnTo>
                  <a:lnTo>
                    <a:pt x="582" y="548"/>
                  </a:lnTo>
                  <a:lnTo>
                    <a:pt x="584" y="556"/>
                  </a:lnTo>
                  <a:lnTo>
                    <a:pt x="584" y="594"/>
                  </a:lnTo>
                  <a:lnTo>
                    <a:pt x="581" y="613"/>
                  </a:lnTo>
                  <a:lnTo>
                    <a:pt x="579" y="623"/>
                  </a:lnTo>
                  <a:lnTo>
                    <a:pt x="574" y="623"/>
                  </a:lnTo>
                  <a:lnTo>
                    <a:pt x="563" y="613"/>
                  </a:lnTo>
                  <a:lnTo>
                    <a:pt x="554" y="607"/>
                  </a:lnTo>
                  <a:lnTo>
                    <a:pt x="552" y="610"/>
                  </a:lnTo>
                  <a:lnTo>
                    <a:pt x="549" y="619"/>
                  </a:lnTo>
                  <a:lnTo>
                    <a:pt x="543" y="621"/>
                  </a:lnTo>
                  <a:lnTo>
                    <a:pt x="524" y="607"/>
                  </a:lnTo>
                  <a:lnTo>
                    <a:pt x="516" y="608"/>
                  </a:lnTo>
                  <a:lnTo>
                    <a:pt x="524" y="624"/>
                  </a:lnTo>
                  <a:lnTo>
                    <a:pt x="519" y="626"/>
                  </a:lnTo>
                  <a:lnTo>
                    <a:pt x="508" y="618"/>
                  </a:lnTo>
                  <a:lnTo>
                    <a:pt x="500" y="609"/>
                  </a:lnTo>
                  <a:lnTo>
                    <a:pt x="484" y="596"/>
                  </a:lnTo>
                  <a:lnTo>
                    <a:pt x="478" y="586"/>
                  </a:lnTo>
                  <a:lnTo>
                    <a:pt x="471" y="577"/>
                  </a:lnTo>
                  <a:lnTo>
                    <a:pt x="461" y="572"/>
                  </a:lnTo>
                  <a:lnTo>
                    <a:pt x="455" y="571"/>
                  </a:lnTo>
                  <a:lnTo>
                    <a:pt x="436" y="554"/>
                  </a:lnTo>
                  <a:lnTo>
                    <a:pt x="419" y="543"/>
                  </a:lnTo>
                  <a:lnTo>
                    <a:pt x="409" y="535"/>
                  </a:lnTo>
                  <a:lnTo>
                    <a:pt x="399" y="532"/>
                  </a:lnTo>
                  <a:lnTo>
                    <a:pt x="392" y="522"/>
                  </a:lnTo>
                  <a:lnTo>
                    <a:pt x="388" y="508"/>
                  </a:lnTo>
                  <a:lnTo>
                    <a:pt x="383" y="501"/>
                  </a:lnTo>
                  <a:lnTo>
                    <a:pt x="371" y="495"/>
                  </a:lnTo>
                  <a:lnTo>
                    <a:pt x="363" y="484"/>
                  </a:lnTo>
                  <a:lnTo>
                    <a:pt x="339" y="457"/>
                  </a:lnTo>
                  <a:lnTo>
                    <a:pt x="317" y="433"/>
                  </a:lnTo>
                  <a:lnTo>
                    <a:pt x="312" y="426"/>
                  </a:lnTo>
                  <a:lnTo>
                    <a:pt x="311" y="409"/>
                  </a:lnTo>
                  <a:lnTo>
                    <a:pt x="288" y="366"/>
                  </a:lnTo>
                  <a:lnTo>
                    <a:pt x="286" y="355"/>
                  </a:lnTo>
                  <a:lnTo>
                    <a:pt x="278" y="341"/>
                  </a:lnTo>
                  <a:lnTo>
                    <a:pt x="272" y="336"/>
                  </a:lnTo>
                  <a:lnTo>
                    <a:pt x="264" y="328"/>
                  </a:lnTo>
                  <a:lnTo>
                    <a:pt x="258" y="323"/>
                  </a:lnTo>
                  <a:lnTo>
                    <a:pt x="250" y="306"/>
                  </a:lnTo>
                  <a:lnTo>
                    <a:pt x="232" y="293"/>
                  </a:lnTo>
                  <a:lnTo>
                    <a:pt x="225" y="293"/>
                  </a:lnTo>
                  <a:lnTo>
                    <a:pt x="223" y="292"/>
                  </a:lnTo>
                  <a:lnTo>
                    <a:pt x="221" y="291"/>
                  </a:lnTo>
                  <a:lnTo>
                    <a:pt x="216" y="270"/>
                  </a:lnTo>
                  <a:lnTo>
                    <a:pt x="210" y="248"/>
                  </a:lnTo>
                  <a:lnTo>
                    <a:pt x="205" y="237"/>
                  </a:lnTo>
                  <a:lnTo>
                    <a:pt x="198" y="225"/>
                  </a:lnTo>
                  <a:lnTo>
                    <a:pt x="198" y="215"/>
                  </a:lnTo>
                  <a:lnTo>
                    <a:pt x="191" y="205"/>
                  </a:lnTo>
                  <a:lnTo>
                    <a:pt x="181" y="195"/>
                  </a:lnTo>
                  <a:lnTo>
                    <a:pt x="161" y="185"/>
                  </a:lnTo>
                  <a:lnTo>
                    <a:pt x="151" y="182"/>
                  </a:lnTo>
                  <a:lnTo>
                    <a:pt x="139" y="179"/>
                  </a:lnTo>
                  <a:lnTo>
                    <a:pt x="130" y="148"/>
                  </a:lnTo>
                  <a:lnTo>
                    <a:pt x="123" y="146"/>
                  </a:lnTo>
                  <a:lnTo>
                    <a:pt x="121" y="140"/>
                  </a:lnTo>
                  <a:lnTo>
                    <a:pt x="116" y="136"/>
                  </a:lnTo>
                  <a:lnTo>
                    <a:pt x="105" y="118"/>
                  </a:lnTo>
                  <a:lnTo>
                    <a:pt x="94" y="108"/>
                  </a:lnTo>
                  <a:lnTo>
                    <a:pt x="86" y="103"/>
                  </a:lnTo>
                  <a:lnTo>
                    <a:pt x="76" y="103"/>
                  </a:lnTo>
                  <a:lnTo>
                    <a:pt x="65" y="93"/>
                  </a:lnTo>
                  <a:lnTo>
                    <a:pt x="57" y="83"/>
                  </a:lnTo>
                  <a:lnTo>
                    <a:pt x="51" y="77"/>
                  </a:lnTo>
                  <a:lnTo>
                    <a:pt x="41" y="71"/>
                  </a:lnTo>
                  <a:lnTo>
                    <a:pt x="19" y="46"/>
                  </a:lnTo>
                  <a:lnTo>
                    <a:pt x="12" y="39"/>
                  </a:lnTo>
                  <a:lnTo>
                    <a:pt x="4" y="22"/>
                  </a:lnTo>
                  <a:lnTo>
                    <a:pt x="3" y="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4" name="Freeform 65"/>
            <p:cNvSpPr>
              <a:spLocks noChangeAspect="1"/>
            </p:cNvSpPr>
            <p:nvPr/>
          </p:nvSpPr>
          <p:spPr bwMode="gray">
            <a:xfrm>
              <a:off x="4782345" y="4288452"/>
              <a:ext cx="133395" cy="42264"/>
            </a:xfrm>
            <a:custGeom>
              <a:avLst/>
              <a:gdLst/>
              <a:ahLst/>
              <a:cxnLst>
                <a:cxn ang="0">
                  <a:pos x="364" y="129"/>
                </a:cxn>
                <a:cxn ang="0">
                  <a:pos x="334" y="130"/>
                </a:cxn>
                <a:cxn ang="0">
                  <a:pos x="326" y="124"/>
                </a:cxn>
                <a:cxn ang="0">
                  <a:pos x="314" y="126"/>
                </a:cxn>
                <a:cxn ang="0">
                  <a:pos x="288" y="120"/>
                </a:cxn>
                <a:cxn ang="0">
                  <a:pos x="272" y="110"/>
                </a:cxn>
                <a:cxn ang="0">
                  <a:pos x="257" y="102"/>
                </a:cxn>
                <a:cxn ang="0">
                  <a:pos x="231" y="99"/>
                </a:cxn>
                <a:cxn ang="0">
                  <a:pos x="212" y="97"/>
                </a:cxn>
                <a:cxn ang="0">
                  <a:pos x="203" y="99"/>
                </a:cxn>
                <a:cxn ang="0">
                  <a:pos x="191" y="96"/>
                </a:cxn>
                <a:cxn ang="0">
                  <a:pos x="181" y="103"/>
                </a:cxn>
                <a:cxn ang="0">
                  <a:pos x="142" y="96"/>
                </a:cxn>
                <a:cxn ang="0">
                  <a:pos x="116" y="87"/>
                </a:cxn>
                <a:cxn ang="0">
                  <a:pos x="85" y="83"/>
                </a:cxn>
                <a:cxn ang="0">
                  <a:pos x="67" y="76"/>
                </a:cxn>
                <a:cxn ang="0">
                  <a:pos x="72" y="60"/>
                </a:cxn>
                <a:cxn ang="0">
                  <a:pos x="62" y="59"/>
                </a:cxn>
                <a:cxn ang="0">
                  <a:pos x="24" y="50"/>
                </a:cxn>
                <a:cxn ang="0">
                  <a:pos x="6" y="46"/>
                </a:cxn>
                <a:cxn ang="0">
                  <a:pos x="3" y="38"/>
                </a:cxn>
                <a:cxn ang="0">
                  <a:pos x="9" y="41"/>
                </a:cxn>
                <a:cxn ang="0">
                  <a:pos x="20" y="38"/>
                </a:cxn>
                <a:cxn ang="0">
                  <a:pos x="29" y="30"/>
                </a:cxn>
                <a:cxn ang="0">
                  <a:pos x="36" y="14"/>
                </a:cxn>
                <a:cxn ang="0">
                  <a:pos x="53" y="1"/>
                </a:cxn>
                <a:cxn ang="0">
                  <a:pos x="102" y="0"/>
                </a:cxn>
                <a:cxn ang="0">
                  <a:pos x="119" y="7"/>
                </a:cxn>
                <a:cxn ang="0">
                  <a:pos x="132" y="16"/>
                </a:cxn>
                <a:cxn ang="0">
                  <a:pos x="154" y="18"/>
                </a:cxn>
                <a:cxn ang="0">
                  <a:pos x="177" y="33"/>
                </a:cxn>
                <a:cxn ang="0">
                  <a:pos x="196" y="49"/>
                </a:cxn>
                <a:cxn ang="0">
                  <a:pos x="228" y="49"/>
                </a:cxn>
                <a:cxn ang="0">
                  <a:pos x="261" y="53"/>
                </a:cxn>
                <a:cxn ang="0">
                  <a:pos x="279" y="56"/>
                </a:cxn>
                <a:cxn ang="0">
                  <a:pos x="295" y="39"/>
                </a:cxn>
                <a:cxn ang="0">
                  <a:pos x="304" y="25"/>
                </a:cxn>
                <a:cxn ang="0">
                  <a:pos x="317" y="35"/>
                </a:cxn>
                <a:cxn ang="0">
                  <a:pos x="333" y="41"/>
                </a:cxn>
                <a:cxn ang="0">
                  <a:pos x="347" y="40"/>
                </a:cxn>
                <a:cxn ang="0">
                  <a:pos x="358" y="45"/>
                </a:cxn>
                <a:cxn ang="0">
                  <a:pos x="373" y="51"/>
                </a:cxn>
                <a:cxn ang="0">
                  <a:pos x="397" y="55"/>
                </a:cxn>
                <a:cxn ang="0">
                  <a:pos x="412" y="75"/>
                </a:cxn>
                <a:cxn ang="0">
                  <a:pos x="424" y="96"/>
                </a:cxn>
                <a:cxn ang="0">
                  <a:pos x="456" y="97"/>
                </a:cxn>
                <a:cxn ang="0">
                  <a:pos x="481" y="94"/>
                </a:cxn>
                <a:cxn ang="0">
                  <a:pos x="499" y="103"/>
                </a:cxn>
                <a:cxn ang="0">
                  <a:pos x="497" y="136"/>
                </a:cxn>
                <a:cxn ang="0">
                  <a:pos x="503" y="148"/>
                </a:cxn>
                <a:cxn ang="0">
                  <a:pos x="502" y="156"/>
                </a:cxn>
                <a:cxn ang="0">
                  <a:pos x="462" y="141"/>
                </a:cxn>
                <a:cxn ang="0">
                  <a:pos x="433" y="130"/>
                </a:cxn>
                <a:cxn ang="0">
                  <a:pos x="392" y="136"/>
                </a:cxn>
                <a:cxn ang="0">
                  <a:pos x="374" y="129"/>
                </a:cxn>
              </a:cxnLst>
              <a:rect l="0" t="0" r="r" b="b"/>
              <a:pathLst>
                <a:path w="506" h="158">
                  <a:moveTo>
                    <a:pt x="374" y="129"/>
                  </a:moveTo>
                  <a:lnTo>
                    <a:pt x="364" y="129"/>
                  </a:lnTo>
                  <a:lnTo>
                    <a:pt x="353" y="135"/>
                  </a:lnTo>
                  <a:lnTo>
                    <a:pt x="334" y="130"/>
                  </a:lnTo>
                  <a:lnTo>
                    <a:pt x="330" y="127"/>
                  </a:lnTo>
                  <a:lnTo>
                    <a:pt x="326" y="124"/>
                  </a:lnTo>
                  <a:lnTo>
                    <a:pt x="323" y="126"/>
                  </a:lnTo>
                  <a:lnTo>
                    <a:pt x="314" y="126"/>
                  </a:lnTo>
                  <a:lnTo>
                    <a:pt x="304" y="125"/>
                  </a:lnTo>
                  <a:lnTo>
                    <a:pt x="288" y="120"/>
                  </a:lnTo>
                  <a:lnTo>
                    <a:pt x="279" y="115"/>
                  </a:lnTo>
                  <a:lnTo>
                    <a:pt x="272" y="110"/>
                  </a:lnTo>
                  <a:lnTo>
                    <a:pt x="266" y="105"/>
                  </a:lnTo>
                  <a:lnTo>
                    <a:pt x="257" y="102"/>
                  </a:lnTo>
                  <a:lnTo>
                    <a:pt x="242" y="99"/>
                  </a:lnTo>
                  <a:lnTo>
                    <a:pt x="231" y="99"/>
                  </a:lnTo>
                  <a:lnTo>
                    <a:pt x="217" y="96"/>
                  </a:lnTo>
                  <a:lnTo>
                    <a:pt x="212" y="97"/>
                  </a:lnTo>
                  <a:lnTo>
                    <a:pt x="208" y="99"/>
                  </a:lnTo>
                  <a:lnTo>
                    <a:pt x="203" y="99"/>
                  </a:lnTo>
                  <a:lnTo>
                    <a:pt x="201" y="96"/>
                  </a:lnTo>
                  <a:lnTo>
                    <a:pt x="191" y="96"/>
                  </a:lnTo>
                  <a:lnTo>
                    <a:pt x="186" y="100"/>
                  </a:lnTo>
                  <a:lnTo>
                    <a:pt x="181" y="103"/>
                  </a:lnTo>
                  <a:lnTo>
                    <a:pt x="177" y="103"/>
                  </a:lnTo>
                  <a:lnTo>
                    <a:pt x="142" y="96"/>
                  </a:lnTo>
                  <a:lnTo>
                    <a:pt x="129" y="89"/>
                  </a:lnTo>
                  <a:lnTo>
                    <a:pt x="116" y="87"/>
                  </a:lnTo>
                  <a:lnTo>
                    <a:pt x="95" y="86"/>
                  </a:lnTo>
                  <a:lnTo>
                    <a:pt x="85" y="83"/>
                  </a:lnTo>
                  <a:lnTo>
                    <a:pt x="79" y="80"/>
                  </a:lnTo>
                  <a:lnTo>
                    <a:pt x="67" y="76"/>
                  </a:lnTo>
                  <a:lnTo>
                    <a:pt x="63" y="72"/>
                  </a:lnTo>
                  <a:lnTo>
                    <a:pt x="72" y="60"/>
                  </a:lnTo>
                  <a:lnTo>
                    <a:pt x="70" y="59"/>
                  </a:lnTo>
                  <a:lnTo>
                    <a:pt x="62" y="59"/>
                  </a:lnTo>
                  <a:lnTo>
                    <a:pt x="42" y="50"/>
                  </a:lnTo>
                  <a:lnTo>
                    <a:pt x="24" y="50"/>
                  </a:lnTo>
                  <a:lnTo>
                    <a:pt x="18" y="48"/>
                  </a:lnTo>
                  <a:lnTo>
                    <a:pt x="6" y="46"/>
                  </a:lnTo>
                  <a:lnTo>
                    <a:pt x="0" y="40"/>
                  </a:lnTo>
                  <a:lnTo>
                    <a:pt x="3" y="38"/>
                  </a:lnTo>
                  <a:lnTo>
                    <a:pt x="5" y="39"/>
                  </a:lnTo>
                  <a:lnTo>
                    <a:pt x="9" y="41"/>
                  </a:lnTo>
                  <a:lnTo>
                    <a:pt x="15" y="41"/>
                  </a:lnTo>
                  <a:lnTo>
                    <a:pt x="20" y="38"/>
                  </a:lnTo>
                  <a:lnTo>
                    <a:pt x="24" y="30"/>
                  </a:lnTo>
                  <a:lnTo>
                    <a:pt x="29" y="30"/>
                  </a:lnTo>
                  <a:lnTo>
                    <a:pt x="33" y="23"/>
                  </a:lnTo>
                  <a:lnTo>
                    <a:pt x="36" y="14"/>
                  </a:lnTo>
                  <a:lnTo>
                    <a:pt x="41" y="5"/>
                  </a:lnTo>
                  <a:lnTo>
                    <a:pt x="53" y="1"/>
                  </a:lnTo>
                  <a:lnTo>
                    <a:pt x="89" y="7"/>
                  </a:lnTo>
                  <a:lnTo>
                    <a:pt x="102" y="0"/>
                  </a:lnTo>
                  <a:lnTo>
                    <a:pt x="113" y="0"/>
                  </a:lnTo>
                  <a:lnTo>
                    <a:pt x="119" y="7"/>
                  </a:lnTo>
                  <a:lnTo>
                    <a:pt x="122" y="14"/>
                  </a:lnTo>
                  <a:lnTo>
                    <a:pt x="132" y="16"/>
                  </a:lnTo>
                  <a:lnTo>
                    <a:pt x="140" y="14"/>
                  </a:lnTo>
                  <a:lnTo>
                    <a:pt x="154" y="18"/>
                  </a:lnTo>
                  <a:lnTo>
                    <a:pt x="164" y="19"/>
                  </a:lnTo>
                  <a:lnTo>
                    <a:pt x="177" y="33"/>
                  </a:lnTo>
                  <a:lnTo>
                    <a:pt x="186" y="46"/>
                  </a:lnTo>
                  <a:lnTo>
                    <a:pt x="196" y="49"/>
                  </a:lnTo>
                  <a:lnTo>
                    <a:pt x="207" y="48"/>
                  </a:lnTo>
                  <a:lnTo>
                    <a:pt x="228" y="49"/>
                  </a:lnTo>
                  <a:lnTo>
                    <a:pt x="234" y="48"/>
                  </a:lnTo>
                  <a:lnTo>
                    <a:pt x="261" y="53"/>
                  </a:lnTo>
                  <a:lnTo>
                    <a:pt x="271" y="54"/>
                  </a:lnTo>
                  <a:lnTo>
                    <a:pt x="279" y="56"/>
                  </a:lnTo>
                  <a:lnTo>
                    <a:pt x="287" y="54"/>
                  </a:lnTo>
                  <a:lnTo>
                    <a:pt x="295" y="39"/>
                  </a:lnTo>
                  <a:lnTo>
                    <a:pt x="296" y="32"/>
                  </a:lnTo>
                  <a:lnTo>
                    <a:pt x="304" y="25"/>
                  </a:lnTo>
                  <a:lnTo>
                    <a:pt x="311" y="27"/>
                  </a:lnTo>
                  <a:lnTo>
                    <a:pt x="317" y="35"/>
                  </a:lnTo>
                  <a:lnTo>
                    <a:pt x="323" y="41"/>
                  </a:lnTo>
                  <a:lnTo>
                    <a:pt x="333" y="41"/>
                  </a:lnTo>
                  <a:lnTo>
                    <a:pt x="342" y="37"/>
                  </a:lnTo>
                  <a:lnTo>
                    <a:pt x="347" y="40"/>
                  </a:lnTo>
                  <a:lnTo>
                    <a:pt x="353" y="41"/>
                  </a:lnTo>
                  <a:lnTo>
                    <a:pt x="358" y="45"/>
                  </a:lnTo>
                  <a:lnTo>
                    <a:pt x="365" y="46"/>
                  </a:lnTo>
                  <a:lnTo>
                    <a:pt x="373" y="51"/>
                  </a:lnTo>
                  <a:lnTo>
                    <a:pt x="390" y="50"/>
                  </a:lnTo>
                  <a:lnTo>
                    <a:pt x="397" y="55"/>
                  </a:lnTo>
                  <a:lnTo>
                    <a:pt x="404" y="70"/>
                  </a:lnTo>
                  <a:lnTo>
                    <a:pt x="412" y="75"/>
                  </a:lnTo>
                  <a:lnTo>
                    <a:pt x="414" y="91"/>
                  </a:lnTo>
                  <a:lnTo>
                    <a:pt x="424" y="96"/>
                  </a:lnTo>
                  <a:lnTo>
                    <a:pt x="435" y="99"/>
                  </a:lnTo>
                  <a:lnTo>
                    <a:pt x="456" y="97"/>
                  </a:lnTo>
                  <a:lnTo>
                    <a:pt x="467" y="97"/>
                  </a:lnTo>
                  <a:lnTo>
                    <a:pt x="481" y="94"/>
                  </a:lnTo>
                  <a:lnTo>
                    <a:pt x="492" y="97"/>
                  </a:lnTo>
                  <a:lnTo>
                    <a:pt x="499" y="103"/>
                  </a:lnTo>
                  <a:lnTo>
                    <a:pt x="500" y="116"/>
                  </a:lnTo>
                  <a:lnTo>
                    <a:pt x="497" y="136"/>
                  </a:lnTo>
                  <a:lnTo>
                    <a:pt x="499" y="143"/>
                  </a:lnTo>
                  <a:lnTo>
                    <a:pt x="503" y="148"/>
                  </a:lnTo>
                  <a:lnTo>
                    <a:pt x="506" y="158"/>
                  </a:lnTo>
                  <a:lnTo>
                    <a:pt x="502" y="156"/>
                  </a:lnTo>
                  <a:lnTo>
                    <a:pt x="495" y="150"/>
                  </a:lnTo>
                  <a:lnTo>
                    <a:pt x="462" y="141"/>
                  </a:lnTo>
                  <a:lnTo>
                    <a:pt x="446" y="135"/>
                  </a:lnTo>
                  <a:lnTo>
                    <a:pt x="433" y="130"/>
                  </a:lnTo>
                  <a:lnTo>
                    <a:pt x="406" y="138"/>
                  </a:lnTo>
                  <a:lnTo>
                    <a:pt x="392" y="136"/>
                  </a:lnTo>
                  <a:lnTo>
                    <a:pt x="381" y="131"/>
                  </a:lnTo>
                  <a:lnTo>
                    <a:pt x="374" y="12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5" name="Freeform 66"/>
            <p:cNvSpPr>
              <a:spLocks noChangeAspect="1"/>
            </p:cNvSpPr>
            <p:nvPr/>
          </p:nvSpPr>
          <p:spPr bwMode="gray">
            <a:xfrm>
              <a:off x="4835174" y="4140530"/>
              <a:ext cx="143961" cy="122829"/>
            </a:xfrm>
            <a:custGeom>
              <a:avLst/>
              <a:gdLst/>
              <a:ahLst/>
              <a:cxnLst>
                <a:cxn ang="0">
                  <a:pos x="474" y="15"/>
                </a:cxn>
                <a:cxn ang="0">
                  <a:pos x="471" y="22"/>
                </a:cxn>
                <a:cxn ang="0">
                  <a:pos x="485" y="38"/>
                </a:cxn>
                <a:cxn ang="0">
                  <a:pos x="470" y="42"/>
                </a:cxn>
                <a:cxn ang="0">
                  <a:pos x="460" y="57"/>
                </a:cxn>
                <a:cxn ang="0">
                  <a:pos x="461" y="67"/>
                </a:cxn>
                <a:cxn ang="0">
                  <a:pos x="475" y="80"/>
                </a:cxn>
                <a:cxn ang="0">
                  <a:pos x="493" y="121"/>
                </a:cxn>
                <a:cxn ang="0">
                  <a:pos x="490" y="132"/>
                </a:cxn>
                <a:cxn ang="0">
                  <a:pos x="547" y="186"/>
                </a:cxn>
                <a:cxn ang="0">
                  <a:pos x="519" y="194"/>
                </a:cxn>
                <a:cxn ang="0">
                  <a:pos x="495" y="186"/>
                </a:cxn>
                <a:cxn ang="0">
                  <a:pos x="486" y="202"/>
                </a:cxn>
                <a:cxn ang="0">
                  <a:pos x="471" y="228"/>
                </a:cxn>
                <a:cxn ang="0">
                  <a:pos x="468" y="266"/>
                </a:cxn>
                <a:cxn ang="0">
                  <a:pos x="438" y="311"/>
                </a:cxn>
                <a:cxn ang="0">
                  <a:pos x="402" y="336"/>
                </a:cxn>
                <a:cxn ang="0">
                  <a:pos x="411" y="350"/>
                </a:cxn>
                <a:cxn ang="0">
                  <a:pos x="417" y="381"/>
                </a:cxn>
                <a:cxn ang="0">
                  <a:pos x="407" y="393"/>
                </a:cxn>
                <a:cxn ang="0">
                  <a:pos x="398" y="407"/>
                </a:cxn>
                <a:cxn ang="0">
                  <a:pos x="394" y="417"/>
                </a:cxn>
                <a:cxn ang="0">
                  <a:pos x="374" y="441"/>
                </a:cxn>
                <a:cxn ang="0">
                  <a:pos x="324" y="465"/>
                </a:cxn>
                <a:cxn ang="0">
                  <a:pos x="308" y="433"/>
                </a:cxn>
                <a:cxn ang="0">
                  <a:pos x="293" y="423"/>
                </a:cxn>
                <a:cxn ang="0">
                  <a:pos x="262" y="428"/>
                </a:cxn>
                <a:cxn ang="0">
                  <a:pos x="240" y="414"/>
                </a:cxn>
                <a:cxn ang="0">
                  <a:pos x="221" y="408"/>
                </a:cxn>
                <a:cxn ang="0">
                  <a:pos x="201" y="424"/>
                </a:cxn>
                <a:cxn ang="0">
                  <a:pos x="174" y="427"/>
                </a:cxn>
                <a:cxn ang="0">
                  <a:pos x="160" y="430"/>
                </a:cxn>
                <a:cxn ang="0">
                  <a:pos x="146" y="398"/>
                </a:cxn>
                <a:cxn ang="0">
                  <a:pos x="129" y="398"/>
                </a:cxn>
                <a:cxn ang="0">
                  <a:pos x="110" y="406"/>
                </a:cxn>
                <a:cxn ang="0">
                  <a:pos x="84" y="397"/>
                </a:cxn>
                <a:cxn ang="0">
                  <a:pos x="70" y="387"/>
                </a:cxn>
                <a:cxn ang="0">
                  <a:pos x="62" y="353"/>
                </a:cxn>
                <a:cxn ang="0">
                  <a:pos x="59" y="333"/>
                </a:cxn>
                <a:cxn ang="0">
                  <a:pos x="55" y="305"/>
                </a:cxn>
                <a:cxn ang="0">
                  <a:pos x="39" y="278"/>
                </a:cxn>
                <a:cxn ang="0">
                  <a:pos x="18" y="268"/>
                </a:cxn>
                <a:cxn ang="0">
                  <a:pos x="11" y="233"/>
                </a:cxn>
                <a:cxn ang="0">
                  <a:pos x="1" y="214"/>
                </a:cxn>
                <a:cxn ang="0">
                  <a:pos x="7" y="163"/>
                </a:cxn>
                <a:cxn ang="0">
                  <a:pos x="25" y="134"/>
                </a:cxn>
                <a:cxn ang="0">
                  <a:pos x="60" y="174"/>
                </a:cxn>
                <a:cxn ang="0">
                  <a:pos x="99" y="185"/>
                </a:cxn>
                <a:cxn ang="0">
                  <a:pos x="129" y="186"/>
                </a:cxn>
                <a:cxn ang="0">
                  <a:pos x="156" y="183"/>
                </a:cxn>
                <a:cxn ang="0">
                  <a:pos x="184" y="155"/>
                </a:cxn>
                <a:cxn ang="0">
                  <a:pos x="217" y="166"/>
                </a:cxn>
                <a:cxn ang="0">
                  <a:pos x="253" y="174"/>
                </a:cxn>
                <a:cxn ang="0">
                  <a:pos x="285" y="163"/>
                </a:cxn>
                <a:cxn ang="0">
                  <a:pos x="308" y="147"/>
                </a:cxn>
                <a:cxn ang="0">
                  <a:pos x="330" y="90"/>
                </a:cxn>
                <a:cxn ang="0">
                  <a:pos x="363" y="27"/>
                </a:cxn>
                <a:cxn ang="0">
                  <a:pos x="394" y="0"/>
                </a:cxn>
                <a:cxn ang="0">
                  <a:pos x="468" y="11"/>
                </a:cxn>
              </a:cxnLst>
              <a:rect l="0" t="0" r="r" b="b"/>
              <a:pathLst>
                <a:path w="547" h="467">
                  <a:moveTo>
                    <a:pt x="472" y="11"/>
                  </a:moveTo>
                  <a:lnTo>
                    <a:pt x="475" y="13"/>
                  </a:lnTo>
                  <a:lnTo>
                    <a:pt x="474" y="15"/>
                  </a:lnTo>
                  <a:lnTo>
                    <a:pt x="469" y="18"/>
                  </a:lnTo>
                  <a:lnTo>
                    <a:pt x="464" y="19"/>
                  </a:lnTo>
                  <a:lnTo>
                    <a:pt x="471" y="22"/>
                  </a:lnTo>
                  <a:lnTo>
                    <a:pt x="477" y="27"/>
                  </a:lnTo>
                  <a:lnTo>
                    <a:pt x="485" y="30"/>
                  </a:lnTo>
                  <a:lnTo>
                    <a:pt x="485" y="38"/>
                  </a:lnTo>
                  <a:lnTo>
                    <a:pt x="479" y="41"/>
                  </a:lnTo>
                  <a:lnTo>
                    <a:pt x="471" y="40"/>
                  </a:lnTo>
                  <a:lnTo>
                    <a:pt x="470" y="42"/>
                  </a:lnTo>
                  <a:lnTo>
                    <a:pt x="457" y="43"/>
                  </a:lnTo>
                  <a:lnTo>
                    <a:pt x="453" y="47"/>
                  </a:lnTo>
                  <a:lnTo>
                    <a:pt x="460" y="57"/>
                  </a:lnTo>
                  <a:lnTo>
                    <a:pt x="464" y="59"/>
                  </a:lnTo>
                  <a:lnTo>
                    <a:pt x="465" y="63"/>
                  </a:lnTo>
                  <a:lnTo>
                    <a:pt x="461" y="67"/>
                  </a:lnTo>
                  <a:lnTo>
                    <a:pt x="464" y="70"/>
                  </a:lnTo>
                  <a:lnTo>
                    <a:pt x="470" y="75"/>
                  </a:lnTo>
                  <a:lnTo>
                    <a:pt x="475" y="80"/>
                  </a:lnTo>
                  <a:lnTo>
                    <a:pt x="479" y="88"/>
                  </a:lnTo>
                  <a:lnTo>
                    <a:pt x="496" y="116"/>
                  </a:lnTo>
                  <a:lnTo>
                    <a:pt x="493" y="121"/>
                  </a:lnTo>
                  <a:lnTo>
                    <a:pt x="492" y="124"/>
                  </a:lnTo>
                  <a:lnTo>
                    <a:pt x="490" y="127"/>
                  </a:lnTo>
                  <a:lnTo>
                    <a:pt x="490" y="132"/>
                  </a:lnTo>
                  <a:lnTo>
                    <a:pt x="491" y="137"/>
                  </a:lnTo>
                  <a:lnTo>
                    <a:pt x="541" y="180"/>
                  </a:lnTo>
                  <a:lnTo>
                    <a:pt x="547" y="186"/>
                  </a:lnTo>
                  <a:lnTo>
                    <a:pt x="547" y="191"/>
                  </a:lnTo>
                  <a:lnTo>
                    <a:pt x="538" y="193"/>
                  </a:lnTo>
                  <a:lnTo>
                    <a:pt x="519" y="194"/>
                  </a:lnTo>
                  <a:lnTo>
                    <a:pt x="504" y="191"/>
                  </a:lnTo>
                  <a:lnTo>
                    <a:pt x="496" y="181"/>
                  </a:lnTo>
                  <a:lnTo>
                    <a:pt x="495" y="186"/>
                  </a:lnTo>
                  <a:lnTo>
                    <a:pt x="497" y="194"/>
                  </a:lnTo>
                  <a:lnTo>
                    <a:pt x="496" y="197"/>
                  </a:lnTo>
                  <a:lnTo>
                    <a:pt x="486" y="202"/>
                  </a:lnTo>
                  <a:lnTo>
                    <a:pt x="479" y="212"/>
                  </a:lnTo>
                  <a:lnTo>
                    <a:pt x="474" y="219"/>
                  </a:lnTo>
                  <a:lnTo>
                    <a:pt x="471" y="228"/>
                  </a:lnTo>
                  <a:lnTo>
                    <a:pt x="471" y="240"/>
                  </a:lnTo>
                  <a:lnTo>
                    <a:pt x="468" y="248"/>
                  </a:lnTo>
                  <a:lnTo>
                    <a:pt x="468" y="266"/>
                  </a:lnTo>
                  <a:lnTo>
                    <a:pt x="460" y="276"/>
                  </a:lnTo>
                  <a:lnTo>
                    <a:pt x="447" y="304"/>
                  </a:lnTo>
                  <a:lnTo>
                    <a:pt x="438" y="311"/>
                  </a:lnTo>
                  <a:lnTo>
                    <a:pt x="433" y="309"/>
                  </a:lnTo>
                  <a:lnTo>
                    <a:pt x="427" y="316"/>
                  </a:lnTo>
                  <a:lnTo>
                    <a:pt x="402" y="336"/>
                  </a:lnTo>
                  <a:lnTo>
                    <a:pt x="404" y="339"/>
                  </a:lnTo>
                  <a:lnTo>
                    <a:pt x="410" y="341"/>
                  </a:lnTo>
                  <a:lnTo>
                    <a:pt x="411" y="350"/>
                  </a:lnTo>
                  <a:lnTo>
                    <a:pt x="411" y="358"/>
                  </a:lnTo>
                  <a:lnTo>
                    <a:pt x="422" y="363"/>
                  </a:lnTo>
                  <a:lnTo>
                    <a:pt x="417" y="381"/>
                  </a:lnTo>
                  <a:lnTo>
                    <a:pt x="411" y="377"/>
                  </a:lnTo>
                  <a:lnTo>
                    <a:pt x="409" y="381"/>
                  </a:lnTo>
                  <a:lnTo>
                    <a:pt x="407" y="393"/>
                  </a:lnTo>
                  <a:lnTo>
                    <a:pt x="404" y="401"/>
                  </a:lnTo>
                  <a:lnTo>
                    <a:pt x="399" y="402"/>
                  </a:lnTo>
                  <a:lnTo>
                    <a:pt x="398" y="407"/>
                  </a:lnTo>
                  <a:lnTo>
                    <a:pt x="398" y="412"/>
                  </a:lnTo>
                  <a:lnTo>
                    <a:pt x="396" y="416"/>
                  </a:lnTo>
                  <a:lnTo>
                    <a:pt x="394" y="417"/>
                  </a:lnTo>
                  <a:lnTo>
                    <a:pt x="390" y="420"/>
                  </a:lnTo>
                  <a:lnTo>
                    <a:pt x="387" y="433"/>
                  </a:lnTo>
                  <a:lnTo>
                    <a:pt x="374" y="441"/>
                  </a:lnTo>
                  <a:lnTo>
                    <a:pt x="371" y="441"/>
                  </a:lnTo>
                  <a:lnTo>
                    <a:pt x="361" y="447"/>
                  </a:lnTo>
                  <a:lnTo>
                    <a:pt x="324" y="465"/>
                  </a:lnTo>
                  <a:lnTo>
                    <a:pt x="315" y="467"/>
                  </a:lnTo>
                  <a:lnTo>
                    <a:pt x="310" y="443"/>
                  </a:lnTo>
                  <a:lnTo>
                    <a:pt x="308" y="433"/>
                  </a:lnTo>
                  <a:lnTo>
                    <a:pt x="304" y="430"/>
                  </a:lnTo>
                  <a:lnTo>
                    <a:pt x="301" y="430"/>
                  </a:lnTo>
                  <a:lnTo>
                    <a:pt x="293" y="423"/>
                  </a:lnTo>
                  <a:lnTo>
                    <a:pt x="280" y="423"/>
                  </a:lnTo>
                  <a:lnTo>
                    <a:pt x="271" y="427"/>
                  </a:lnTo>
                  <a:lnTo>
                    <a:pt x="262" y="428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40" y="414"/>
                  </a:lnTo>
                  <a:lnTo>
                    <a:pt x="229" y="407"/>
                  </a:lnTo>
                  <a:lnTo>
                    <a:pt x="223" y="404"/>
                  </a:lnTo>
                  <a:lnTo>
                    <a:pt x="221" y="408"/>
                  </a:lnTo>
                  <a:lnTo>
                    <a:pt x="222" y="413"/>
                  </a:lnTo>
                  <a:lnTo>
                    <a:pt x="213" y="419"/>
                  </a:lnTo>
                  <a:lnTo>
                    <a:pt x="201" y="424"/>
                  </a:lnTo>
                  <a:lnTo>
                    <a:pt x="194" y="425"/>
                  </a:lnTo>
                  <a:lnTo>
                    <a:pt x="183" y="423"/>
                  </a:lnTo>
                  <a:lnTo>
                    <a:pt x="174" y="427"/>
                  </a:lnTo>
                  <a:lnTo>
                    <a:pt x="168" y="428"/>
                  </a:lnTo>
                  <a:lnTo>
                    <a:pt x="163" y="430"/>
                  </a:lnTo>
                  <a:lnTo>
                    <a:pt x="160" y="430"/>
                  </a:lnTo>
                  <a:lnTo>
                    <a:pt x="158" y="412"/>
                  </a:lnTo>
                  <a:lnTo>
                    <a:pt x="151" y="391"/>
                  </a:lnTo>
                  <a:lnTo>
                    <a:pt x="146" y="398"/>
                  </a:lnTo>
                  <a:lnTo>
                    <a:pt x="143" y="401"/>
                  </a:lnTo>
                  <a:lnTo>
                    <a:pt x="133" y="397"/>
                  </a:lnTo>
                  <a:lnTo>
                    <a:pt x="129" y="398"/>
                  </a:lnTo>
                  <a:lnTo>
                    <a:pt x="124" y="403"/>
                  </a:lnTo>
                  <a:lnTo>
                    <a:pt x="119" y="404"/>
                  </a:lnTo>
                  <a:lnTo>
                    <a:pt x="110" y="406"/>
                  </a:lnTo>
                  <a:lnTo>
                    <a:pt x="104" y="403"/>
                  </a:lnTo>
                  <a:lnTo>
                    <a:pt x="94" y="404"/>
                  </a:lnTo>
                  <a:lnTo>
                    <a:pt x="84" y="397"/>
                  </a:lnTo>
                  <a:lnTo>
                    <a:pt x="81" y="400"/>
                  </a:lnTo>
                  <a:lnTo>
                    <a:pt x="73" y="401"/>
                  </a:lnTo>
                  <a:lnTo>
                    <a:pt x="70" y="387"/>
                  </a:lnTo>
                  <a:lnTo>
                    <a:pt x="71" y="377"/>
                  </a:lnTo>
                  <a:lnTo>
                    <a:pt x="67" y="373"/>
                  </a:lnTo>
                  <a:lnTo>
                    <a:pt x="62" y="353"/>
                  </a:lnTo>
                  <a:lnTo>
                    <a:pt x="56" y="341"/>
                  </a:lnTo>
                  <a:lnTo>
                    <a:pt x="56" y="336"/>
                  </a:lnTo>
                  <a:lnTo>
                    <a:pt x="59" y="333"/>
                  </a:lnTo>
                  <a:lnTo>
                    <a:pt x="60" y="325"/>
                  </a:lnTo>
                  <a:lnTo>
                    <a:pt x="57" y="314"/>
                  </a:lnTo>
                  <a:lnTo>
                    <a:pt x="55" y="305"/>
                  </a:lnTo>
                  <a:lnTo>
                    <a:pt x="45" y="288"/>
                  </a:lnTo>
                  <a:lnTo>
                    <a:pt x="43" y="283"/>
                  </a:lnTo>
                  <a:lnTo>
                    <a:pt x="39" y="278"/>
                  </a:lnTo>
                  <a:lnTo>
                    <a:pt x="29" y="274"/>
                  </a:lnTo>
                  <a:lnTo>
                    <a:pt x="23" y="268"/>
                  </a:lnTo>
                  <a:lnTo>
                    <a:pt x="18" y="268"/>
                  </a:lnTo>
                  <a:lnTo>
                    <a:pt x="13" y="264"/>
                  </a:lnTo>
                  <a:lnTo>
                    <a:pt x="12" y="253"/>
                  </a:lnTo>
                  <a:lnTo>
                    <a:pt x="11" y="233"/>
                  </a:lnTo>
                  <a:lnTo>
                    <a:pt x="6" y="223"/>
                  </a:lnTo>
                  <a:lnTo>
                    <a:pt x="2" y="219"/>
                  </a:lnTo>
                  <a:lnTo>
                    <a:pt x="1" y="214"/>
                  </a:lnTo>
                  <a:lnTo>
                    <a:pt x="0" y="196"/>
                  </a:lnTo>
                  <a:lnTo>
                    <a:pt x="1" y="182"/>
                  </a:lnTo>
                  <a:lnTo>
                    <a:pt x="7" y="163"/>
                  </a:lnTo>
                  <a:lnTo>
                    <a:pt x="12" y="154"/>
                  </a:lnTo>
                  <a:lnTo>
                    <a:pt x="19" y="145"/>
                  </a:lnTo>
                  <a:lnTo>
                    <a:pt x="25" y="134"/>
                  </a:lnTo>
                  <a:lnTo>
                    <a:pt x="33" y="129"/>
                  </a:lnTo>
                  <a:lnTo>
                    <a:pt x="33" y="134"/>
                  </a:lnTo>
                  <a:lnTo>
                    <a:pt x="60" y="174"/>
                  </a:lnTo>
                  <a:lnTo>
                    <a:pt x="73" y="185"/>
                  </a:lnTo>
                  <a:lnTo>
                    <a:pt x="87" y="188"/>
                  </a:lnTo>
                  <a:lnTo>
                    <a:pt x="99" y="185"/>
                  </a:lnTo>
                  <a:lnTo>
                    <a:pt x="110" y="183"/>
                  </a:lnTo>
                  <a:lnTo>
                    <a:pt x="120" y="190"/>
                  </a:lnTo>
                  <a:lnTo>
                    <a:pt x="129" y="186"/>
                  </a:lnTo>
                  <a:lnTo>
                    <a:pt x="138" y="186"/>
                  </a:lnTo>
                  <a:lnTo>
                    <a:pt x="148" y="187"/>
                  </a:lnTo>
                  <a:lnTo>
                    <a:pt x="156" y="183"/>
                  </a:lnTo>
                  <a:lnTo>
                    <a:pt x="172" y="165"/>
                  </a:lnTo>
                  <a:lnTo>
                    <a:pt x="179" y="156"/>
                  </a:lnTo>
                  <a:lnTo>
                    <a:pt x="184" y="155"/>
                  </a:lnTo>
                  <a:lnTo>
                    <a:pt x="211" y="156"/>
                  </a:lnTo>
                  <a:lnTo>
                    <a:pt x="216" y="159"/>
                  </a:lnTo>
                  <a:lnTo>
                    <a:pt x="217" y="166"/>
                  </a:lnTo>
                  <a:lnTo>
                    <a:pt x="222" y="166"/>
                  </a:lnTo>
                  <a:lnTo>
                    <a:pt x="243" y="174"/>
                  </a:lnTo>
                  <a:lnTo>
                    <a:pt x="253" y="174"/>
                  </a:lnTo>
                  <a:lnTo>
                    <a:pt x="264" y="167"/>
                  </a:lnTo>
                  <a:lnTo>
                    <a:pt x="273" y="165"/>
                  </a:lnTo>
                  <a:lnTo>
                    <a:pt x="285" y="163"/>
                  </a:lnTo>
                  <a:lnTo>
                    <a:pt x="298" y="159"/>
                  </a:lnTo>
                  <a:lnTo>
                    <a:pt x="304" y="154"/>
                  </a:lnTo>
                  <a:lnTo>
                    <a:pt x="308" y="147"/>
                  </a:lnTo>
                  <a:lnTo>
                    <a:pt x="315" y="135"/>
                  </a:lnTo>
                  <a:lnTo>
                    <a:pt x="324" y="117"/>
                  </a:lnTo>
                  <a:lnTo>
                    <a:pt x="330" y="90"/>
                  </a:lnTo>
                  <a:lnTo>
                    <a:pt x="356" y="61"/>
                  </a:lnTo>
                  <a:lnTo>
                    <a:pt x="361" y="49"/>
                  </a:lnTo>
                  <a:lnTo>
                    <a:pt x="363" y="27"/>
                  </a:lnTo>
                  <a:lnTo>
                    <a:pt x="369" y="10"/>
                  </a:lnTo>
                  <a:lnTo>
                    <a:pt x="375" y="2"/>
                  </a:lnTo>
                  <a:lnTo>
                    <a:pt x="394" y="0"/>
                  </a:lnTo>
                  <a:lnTo>
                    <a:pt x="445" y="2"/>
                  </a:lnTo>
                  <a:lnTo>
                    <a:pt x="454" y="7"/>
                  </a:lnTo>
                  <a:lnTo>
                    <a:pt x="468" y="11"/>
                  </a:lnTo>
                  <a:lnTo>
                    <a:pt x="472" y="1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6" name="Freeform 68"/>
            <p:cNvSpPr>
              <a:spLocks noChangeAspect="1"/>
            </p:cNvSpPr>
            <p:nvPr/>
          </p:nvSpPr>
          <p:spPr bwMode="gray">
            <a:xfrm>
              <a:off x="5300076" y="4240906"/>
              <a:ext cx="143961" cy="117546"/>
            </a:xfrm>
            <a:custGeom>
              <a:avLst/>
              <a:gdLst/>
              <a:ahLst/>
              <a:cxnLst>
                <a:cxn ang="0">
                  <a:pos x="5" y="134"/>
                </a:cxn>
                <a:cxn ang="0">
                  <a:pos x="0" y="231"/>
                </a:cxn>
                <a:cxn ang="0">
                  <a:pos x="10" y="346"/>
                </a:cxn>
                <a:cxn ang="0">
                  <a:pos x="31" y="362"/>
                </a:cxn>
                <a:cxn ang="0">
                  <a:pos x="56" y="362"/>
                </a:cxn>
                <a:cxn ang="0">
                  <a:pos x="93" y="368"/>
                </a:cxn>
                <a:cxn ang="0">
                  <a:pos x="125" y="352"/>
                </a:cxn>
                <a:cxn ang="0">
                  <a:pos x="118" y="323"/>
                </a:cxn>
                <a:cxn ang="0">
                  <a:pos x="137" y="307"/>
                </a:cxn>
                <a:cxn ang="0">
                  <a:pos x="152" y="298"/>
                </a:cxn>
                <a:cxn ang="0">
                  <a:pos x="155" y="273"/>
                </a:cxn>
                <a:cxn ang="0">
                  <a:pos x="180" y="278"/>
                </a:cxn>
                <a:cxn ang="0">
                  <a:pos x="196" y="276"/>
                </a:cxn>
                <a:cxn ang="0">
                  <a:pos x="211" y="279"/>
                </a:cxn>
                <a:cxn ang="0">
                  <a:pos x="232" y="289"/>
                </a:cxn>
                <a:cxn ang="0">
                  <a:pos x="258" y="296"/>
                </a:cxn>
                <a:cxn ang="0">
                  <a:pos x="291" y="323"/>
                </a:cxn>
                <a:cxn ang="0">
                  <a:pos x="330" y="356"/>
                </a:cxn>
                <a:cxn ang="0">
                  <a:pos x="335" y="375"/>
                </a:cxn>
                <a:cxn ang="0">
                  <a:pos x="357" y="392"/>
                </a:cxn>
                <a:cxn ang="0">
                  <a:pos x="388" y="415"/>
                </a:cxn>
                <a:cxn ang="0">
                  <a:pos x="425" y="419"/>
                </a:cxn>
                <a:cxn ang="0">
                  <a:pos x="495" y="435"/>
                </a:cxn>
                <a:cxn ang="0">
                  <a:pos x="526" y="441"/>
                </a:cxn>
                <a:cxn ang="0">
                  <a:pos x="515" y="427"/>
                </a:cxn>
                <a:cxn ang="0">
                  <a:pos x="544" y="425"/>
                </a:cxn>
                <a:cxn ang="0">
                  <a:pos x="506" y="413"/>
                </a:cxn>
                <a:cxn ang="0">
                  <a:pos x="496" y="391"/>
                </a:cxn>
                <a:cxn ang="0">
                  <a:pos x="462" y="383"/>
                </a:cxn>
                <a:cxn ang="0">
                  <a:pos x="456" y="357"/>
                </a:cxn>
                <a:cxn ang="0">
                  <a:pos x="419" y="351"/>
                </a:cxn>
                <a:cxn ang="0">
                  <a:pos x="397" y="323"/>
                </a:cxn>
                <a:cxn ang="0">
                  <a:pos x="393" y="301"/>
                </a:cxn>
                <a:cxn ang="0">
                  <a:pos x="367" y="285"/>
                </a:cxn>
                <a:cxn ang="0">
                  <a:pos x="341" y="255"/>
                </a:cxn>
                <a:cxn ang="0">
                  <a:pos x="339" y="231"/>
                </a:cxn>
                <a:cxn ang="0">
                  <a:pos x="370" y="227"/>
                </a:cxn>
                <a:cxn ang="0">
                  <a:pos x="375" y="201"/>
                </a:cxn>
                <a:cxn ang="0">
                  <a:pos x="348" y="187"/>
                </a:cxn>
                <a:cxn ang="0">
                  <a:pos x="296" y="166"/>
                </a:cxn>
                <a:cxn ang="0">
                  <a:pos x="266" y="136"/>
                </a:cxn>
                <a:cxn ang="0">
                  <a:pos x="238" y="103"/>
                </a:cxn>
                <a:cxn ang="0">
                  <a:pos x="193" y="70"/>
                </a:cxn>
                <a:cxn ang="0">
                  <a:pos x="166" y="61"/>
                </a:cxn>
                <a:cxn ang="0">
                  <a:pos x="92" y="36"/>
                </a:cxn>
                <a:cxn ang="0">
                  <a:pos x="42" y="16"/>
                </a:cxn>
                <a:cxn ang="0">
                  <a:pos x="1" y="0"/>
                </a:cxn>
              </a:cxnLst>
              <a:rect l="0" t="0" r="r" b="b"/>
              <a:pathLst>
                <a:path w="544" h="446">
                  <a:moveTo>
                    <a:pt x="1" y="0"/>
                  </a:moveTo>
                  <a:lnTo>
                    <a:pt x="0" y="9"/>
                  </a:lnTo>
                  <a:lnTo>
                    <a:pt x="5" y="134"/>
                  </a:lnTo>
                  <a:lnTo>
                    <a:pt x="5" y="206"/>
                  </a:lnTo>
                  <a:lnTo>
                    <a:pt x="1" y="227"/>
                  </a:lnTo>
                  <a:lnTo>
                    <a:pt x="0" y="231"/>
                  </a:lnTo>
                  <a:lnTo>
                    <a:pt x="7" y="248"/>
                  </a:lnTo>
                  <a:lnTo>
                    <a:pt x="7" y="289"/>
                  </a:lnTo>
                  <a:lnTo>
                    <a:pt x="10" y="346"/>
                  </a:lnTo>
                  <a:lnTo>
                    <a:pt x="13" y="360"/>
                  </a:lnTo>
                  <a:lnTo>
                    <a:pt x="26" y="359"/>
                  </a:lnTo>
                  <a:lnTo>
                    <a:pt x="31" y="362"/>
                  </a:lnTo>
                  <a:lnTo>
                    <a:pt x="39" y="365"/>
                  </a:lnTo>
                  <a:lnTo>
                    <a:pt x="48" y="365"/>
                  </a:lnTo>
                  <a:lnTo>
                    <a:pt x="56" y="362"/>
                  </a:lnTo>
                  <a:lnTo>
                    <a:pt x="72" y="362"/>
                  </a:lnTo>
                  <a:lnTo>
                    <a:pt x="77" y="362"/>
                  </a:lnTo>
                  <a:lnTo>
                    <a:pt x="93" y="368"/>
                  </a:lnTo>
                  <a:lnTo>
                    <a:pt x="99" y="366"/>
                  </a:lnTo>
                  <a:lnTo>
                    <a:pt x="114" y="356"/>
                  </a:lnTo>
                  <a:lnTo>
                    <a:pt x="125" y="352"/>
                  </a:lnTo>
                  <a:lnTo>
                    <a:pt x="130" y="346"/>
                  </a:lnTo>
                  <a:lnTo>
                    <a:pt x="124" y="330"/>
                  </a:lnTo>
                  <a:lnTo>
                    <a:pt x="118" y="323"/>
                  </a:lnTo>
                  <a:lnTo>
                    <a:pt x="112" y="317"/>
                  </a:lnTo>
                  <a:lnTo>
                    <a:pt x="131" y="312"/>
                  </a:lnTo>
                  <a:lnTo>
                    <a:pt x="137" y="307"/>
                  </a:lnTo>
                  <a:lnTo>
                    <a:pt x="135" y="302"/>
                  </a:lnTo>
                  <a:lnTo>
                    <a:pt x="140" y="297"/>
                  </a:lnTo>
                  <a:lnTo>
                    <a:pt x="152" y="298"/>
                  </a:lnTo>
                  <a:lnTo>
                    <a:pt x="160" y="296"/>
                  </a:lnTo>
                  <a:lnTo>
                    <a:pt x="157" y="287"/>
                  </a:lnTo>
                  <a:lnTo>
                    <a:pt x="155" y="273"/>
                  </a:lnTo>
                  <a:lnTo>
                    <a:pt x="161" y="278"/>
                  </a:lnTo>
                  <a:lnTo>
                    <a:pt x="173" y="280"/>
                  </a:lnTo>
                  <a:lnTo>
                    <a:pt x="180" y="278"/>
                  </a:lnTo>
                  <a:lnTo>
                    <a:pt x="184" y="273"/>
                  </a:lnTo>
                  <a:lnTo>
                    <a:pt x="189" y="269"/>
                  </a:lnTo>
                  <a:lnTo>
                    <a:pt x="196" y="276"/>
                  </a:lnTo>
                  <a:lnTo>
                    <a:pt x="203" y="273"/>
                  </a:lnTo>
                  <a:lnTo>
                    <a:pt x="210" y="275"/>
                  </a:lnTo>
                  <a:lnTo>
                    <a:pt x="211" y="279"/>
                  </a:lnTo>
                  <a:lnTo>
                    <a:pt x="216" y="282"/>
                  </a:lnTo>
                  <a:lnTo>
                    <a:pt x="223" y="284"/>
                  </a:lnTo>
                  <a:lnTo>
                    <a:pt x="232" y="289"/>
                  </a:lnTo>
                  <a:lnTo>
                    <a:pt x="238" y="290"/>
                  </a:lnTo>
                  <a:lnTo>
                    <a:pt x="247" y="296"/>
                  </a:lnTo>
                  <a:lnTo>
                    <a:pt x="258" y="296"/>
                  </a:lnTo>
                  <a:lnTo>
                    <a:pt x="278" y="302"/>
                  </a:lnTo>
                  <a:lnTo>
                    <a:pt x="289" y="311"/>
                  </a:lnTo>
                  <a:lnTo>
                    <a:pt x="291" y="323"/>
                  </a:lnTo>
                  <a:lnTo>
                    <a:pt x="306" y="341"/>
                  </a:lnTo>
                  <a:lnTo>
                    <a:pt x="312" y="354"/>
                  </a:lnTo>
                  <a:lnTo>
                    <a:pt x="330" y="356"/>
                  </a:lnTo>
                  <a:lnTo>
                    <a:pt x="328" y="365"/>
                  </a:lnTo>
                  <a:lnTo>
                    <a:pt x="329" y="367"/>
                  </a:lnTo>
                  <a:lnTo>
                    <a:pt x="335" y="375"/>
                  </a:lnTo>
                  <a:lnTo>
                    <a:pt x="343" y="378"/>
                  </a:lnTo>
                  <a:lnTo>
                    <a:pt x="350" y="384"/>
                  </a:lnTo>
                  <a:lnTo>
                    <a:pt x="357" y="392"/>
                  </a:lnTo>
                  <a:lnTo>
                    <a:pt x="373" y="410"/>
                  </a:lnTo>
                  <a:lnTo>
                    <a:pt x="378" y="410"/>
                  </a:lnTo>
                  <a:lnTo>
                    <a:pt x="388" y="415"/>
                  </a:lnTo>
                  <a:lnTo>
                    <a:pt x="399" y="416"/>
                  </a:lnTo>
                  <a:lnTo>
                    <a:pt x="408" y="419"/>
                  </a:lnTo>
                  <a:lnTo>
                    <a:pt x="425" y="419"/>
                  </a:lnTo>
                  <a:lnTo>
                    <a:pt x="442" y="424"/>
                  </a:lnTo>
                  <a:lnTo>
                    <a:pt x="494" y="431"/>
                  </a:lnTo>
                  <a:lnTo>
                    <a:pt x="495" y="435"/>
                  </a:lnTo>
                  <a:lnTo>
                    <a:pt x="497" y="441"/>
                  </a:lnTo>
                  <a:lnTo>
                    <a:pt x="512" y="446"/>
                  </a:lnTo>
                  <a:lnTo>
                    <a:pt x="526" y="441"/>
                  </a:lnTo>
                  <a:lnTo>
                    <a:pt x="531" y="435"/>
                  </a:lnTo>
                  <a:lnTo>
                    <a:pt x="522" y="429"/>
                  </a:lnTo>
                  <a:lnTo>
                    <a:pt x="515" y="427"/>
                  </a:lnTo>
                  <a:lnTo>
                    <a:pt x="522" y="426"/>
                  </a:lnTo>
                  <a:lnTo>
                    <a:pt x="533" y="427"/>
                  </a:lnTo>
                  <a:lnTo>
                    <a:pt x="544" y="425"/>
                  </a:lnTo>
                  <a:lnTo>
                    <a:pt x="542" y="420"/>
                  </a:lnTo>
                  <a:lnTo>
                    <a:pt x="517" y="416"/>
                  </a:lnTo>
                  <a:lnTo>
                    <a:pt x="506" y="413"/>
                  </a:lnTo>
                  <a:lnTo>
                    <a:pt x="486" y="402"/>
                  </a:lnTo>
                  <a:lnTo>
                    <a:pt x="489" y="394"/>
                  </a:lnTo>
                  <a:lnTo>
                    <a:pt x="496" y="391"/>
                  </a:lnTo>
                  <a:lnTo>
                    <a:pt x="486" y="386"/>
                  </a:lnTo>
                  <a:lnTo>
                    <a:pt x="473" y="383"/>
                  </a:lnTo>
                  <a:lnTo>
                    <a:pt x="462" y="383"/>
                  </a:lnTo>
                  <a:lnTo>
                    <a:pt x="453" y="377"/>
                  </a:lnTo>
                  <a:lnTo>
                    <a:pt x="454" y="367"/>
                  </a:lnTo>
                  <a:lnTo>
                    <a:pt x="456" y="357"/>
                  </a:lnTo>
                  <a:lnTo>
                    <a:pt x="451" y="354"/>
                  </a:lnTo>
                  <a:lnTo>
                    <a:pt x="426" y="356"/>
                  </a:lnTo>
                  <a:lnTo>
                    <a:pt x="419" y="351"/>
                  </a:lnTo>
                  <a:lnTo>
                    <a:pt x="410" y="336"/>
                  </a:lnTo>
                  <a:lnTo>
                    <a:pt x="403" y="330"/>
                  </a:lnTo>
                  <a:lnTo>
                    <a:pt x="397" y="323"/>
                  </a:lnTo>
                  <a:lnTo>
                    <a:pt x="397" y="309"/>
                  </a:lnTo>
                  <a:lnTo>
                    <a:pt x="395" y="303"/>
                  </a:lnTo>
                  <a:lnTo>
                    <a:pt x="393" y="301"/>
                  </a:lnTo>
                  <a:lnTo>
                    <a:pt x="387" y="300"/>
                  </a:lnTo>
                  <a:lnTo>
                    <a:pt x="383" y="296"/>
                  </a:lnTo>
                  <a:lnTo>
                    <a:pt x="367" y="285"/>
                  </a:lnTo>
                  <a:lnTo>
                    <a:pt x="356" y="271"/>
                  </a:lnTo>
                  <a:lnTo>
                    <a:pt x="348" y="268"/>
                  </a:lnTo>
                  <a:lnTo>
                    <a:pt x="341" y="255"/>
                  </a:lnTo>
                  <a:lnTo>
                    <a:pt x="339" y="244"/>
                  </a:lnTo>
                  <a:lnTo>
                    <a:pt x="334" y="237"/>
                  </a:lnTo>
                  <a:lnTo>
                    <a:pt x="339" y="231"/>
                  </a:lnTo>
                  <a:lnTo>
                    <a:pt x="351" y="231"/>
                  </a:lnTo>
                  <a:lnTo>
                    <a:pt x="362" y="230"/>
                  </a:lnTo>
                  <a:lnTo>
                    <a:pt x="370" y="227"/>
                  </a:lnTo>
                  <a:lnTo>
                    <a:pt x="378" y="227"/>
                  </a:lnTo>
                  <a:lnTo>
                    <a:pt x="379" y="212"/>
                  </a:lnTo>
                  <a:lnTo>
                    <a:pt x="375" y="201"/>
                  </a:lnTo>
                  <a:lnTo>
                    <a:pt x="366" y="193"/>
                  </a:lnTo>
                  <a:lnTo>
                    <a:pt x="356" y="187"/>
                  </a:lnTo>
                  <a:lnTo>
                    <a:pt x="348" y="187"/>
                  </a:lnTo>
                  <a:lnTo>
                    <a:pt x="323" y="182"/>
                  </a:lnTo>
                  <a:lnTo>
                    <a:pt x="314" y="178"/>
                  </a:lnTo>
                  <a:lnTo>
                    <a:pt x="296" y="166"/>
                  </a:lnTo>
                  <a:lnTo>
                    <a:pt x="270" y="160"/>
                  </a:lnTo>
                  <a:lnTo>
                    <a:pt x="266" y="156"/>
                  </a:lnTo>
                  <a:lnTo>
                    <a:pt x="266" y="136"/>
                  </a:lnTo>
                  <a:lnTo>
                    <a:pt x="262" y="124"/>
                  </a:lnTo>
                  <a:lnTo>
                    <a:pt x="250" y="112"/>
                  </a:lnTo>
                  <a:lnTo>
                    <a:pt x="238" y="103"/>
                  </a:lnTo>
                  <a:lnTo>
                    <a:pt x="225" y="97"/>
                  </a:lnTo>
                  <a:lnTo>
                    <a:pt x="201" y="82"/>
                  </a:lnTo>
                  <a:lnTo>
                    <a:pt x="193" y="70"/>
                  </a:lnTo>
                  <a:lnTo>
                    <a:pt x="188" y="65"/>
                  </a:lnTo>
                  <a:lnTo>
                    <a:pt x="177" y="65"/>
                  </a:lnTo>
                  <a:lnTo>
                    <a:pt x="166" y="61"/>
                  </a:lnTo>
                  <a:lnTo>
                    <a:pt x="124" y="43"/>
                  </a:lnTo>
                  <a:lnTo>
                    <a:pt x="102" y="39"/>
                  </a:lnTo>
                  <a:lnTo>
                    <a:pt x="92" y="36"/>
                  </a:lnTo>
                  <a:lnTo>
                    <a:pt x="81" y="33"/>
                  </a:lnTo>
                  <a:lnTo>
                    <a:pt x="63" y="22"/>
                  </a:lnTo>
                  <a:lnTo>
                    <a:pt x="42" y="16"/>
                  </a:lnTo>
                  <a:lnTo>
                    <a:pt x="31" y="10"/>
                  </a:lnTo>
                  <a:lnTo>
                    <a:pt x="16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87" name="Group 69"/>
            <p:cNvGrpSpPr>
              <a:grpSpLocks noChangeAspect="1"/>
            </p:cNvGrpSpPr>
            <p:nvPr/>
          </p:nvGrpSpPr>
          <p:grpSpPr bwMode="gray">
            <a:xfrm>
              <a:off x="4955362" y="3930532"/>
              <a:ext cx="134716" cy="192828"/>
              <a:chOff x="3802" y="2280"/>
              <a:chExt cx="102" cy="146"/>
            </a:xfrm>
            <a:solidFill>
              <a:srgbClr val="C9C7C3"/>
            </a:solidFill>
          </p:grpSpPr>
          <p:sp>
            <p:nvSpPr>
              <p:cNvPr id="361" name="Freeform 70"/>
              <p:cNvSpPr>
                <a:spLocks noChangeAspect="1"/>
              </p:cNvSpPr>
              <p:nvPr/>
            </p:nvSpPr>
            <p:spPr bwMode="gray">
              <a:xfrm>
                <a:off x="3802" y="2362"/>
                <a:ext cx="25" cy="33"/>
              </a:xfrm>
              <a:custGeom>
                <a:avLst/>
                <a:gdLst/>
                <a:ahLst/>
                <a:cxnLst>
                  <a:cxn ang="0">
                    <a:pos x="120" y="2"/>
                  </a:cxn>
                  <a:cxn ang="0">
                    <a:pos x="123" y="0"/>
                  </a:cxn>
                  <a:cxn ang="0">
                    <a:pos x="124" y="1"/>
                  </a:cxn>
                  <a:cxn ang="0">
                    <a:pos x="125" y="15"/>
                  </a:cxn>
                  <a:cxn ang="0">
                    <a:pos x="126" y="18"/>
                  </a:cxn>
                  <a:cxn ang="0">
                    <a:pos x="124" y="23"/>
                  </a:cxn>
                  <a:cxn ang="0">
                    <a:pos x="124" y="32"/>
                  </a:cxn>
                  <a:cxn ang="0">
                    <a:pos x="129" y="47"/>
                  </a:cxn>
                  <a:cxn ang="0">
                    <a:pos x="126" y="53"/>
                  </a:cxn>
                  <a:cxn ang="0">
                    <a:pos x="117" y="59"/>
                  </a:cxn>
                  <a:cxn ang="0">
                    <a:pos x="112" y="67"/>
                  </a:cxn>
                  <a:cxn ang="0">
                    <a:pos x="103" y="76"/>
                  </a:cxn>
                  <a:cxn ang="0">
                    <a:pos x="93" y="80"/>
                  </a:cxn>
                  <a:cxn ang="0">
                    <a:pos x="86" y="85"/>
                  </a:cxn>
                  <a:cxn ang="0">
                    <a:pos x="82" y="98"/>
                  </a:cxn>
                  <a:cxn ang="0">
                    <a:pos x="70" y="112"/>
                  </a:cxn>
                  <a:cxn ang="0">
                    <a:pos x="49" y="130"/>
                  </a:cxn>
                  <a:cxn ang="0">
                    <a:pos x="37" y="142"/>
                  </a:cxn>
                  <a:cxn ang="0">
                    <a:pos x="28" y="150"/>
                  </a:cxn>
                  <a:cxn ang="0">
                    <a:pos x="19" y="151"/>
                  </a:cxn>
                  <a:cxn ang="0">
                    <a:pos x="13" y="158"/>
                  </a:cxn>
                  <a:cxn ang="0">
                    <a:pos x="6" y="163"/>
                  </a:cxn>
                  <a:cxn ang="0">
                    <a:pos x="0" y="163"/>
                  </a:cxn>
                  <a:cxn ang="0">
                    <a:pos x="2" y="150"/>
                  </a:cxn>
                  <a:cxn ang="0">
                    <a:pos x="10" y="137"/>
                  </a:cxn>
                  <a:cxn ang="0">
                    <a:pos x="17" y="130"/>
                  </a:cxn>
                  <a:cxn ang="0">
                    <a:pos x="32" y="119"/>
                  </a:cxn>
                  <a:cxn ang="0">
                    <a:pos x="37" y="118"/>
                  </a:cxn>
                  <a:cxn ang="0">
                    <a:pos x="69" y="85"/>
                  </a:cxn>
                  <a:cxn ang="0">
                    <a:pos x="77" y="75"/>
                  </a:cxn>
                  <a:cxn ang="0">
                    <a:pos x="82" y="71"/>
                  </a:cxn>
                  <a:cxn ang="0">
                    <a:pos x="88" y="61"/>
                  </a:cxn>
                  <a:cxn ang="0">
                    <a:pos x="97" y="55"/>
                  </a:cxn>
                  <a:cxn ang="0">
                    <a:pos x="104" y="53"/>
                  </a:cxn>
                  <a:cxn ang="0">
                    <a:pos x="112" y="39"/>
                  </a:cxn>
                  <a:cxn ang="0">
                    <a:pos x="110" y="29"/>
                  </a:cxn>
                  <a:cxn ang="0">
                    <a:pos x="113" y="34"/>
                  </a:cxn>
                  <a:cxn ang="0">
                    <a:pos x="117" y="31"/>
                  </a:cxn>
                  <a:cxn ang="0">
                    <a:pos x="115" y="27"/>
                  </a:cxn>
                  <a:cxn ang="0">
                    <a:pos x="112" y="23"/>
                  </a:cxn>
                  <a:cxn ang="0">
                    <a:pos x="114" y="21"/>
                  </a:cxn>
                  <a:cxn ang="0">
                    <a:pos x="117" y="13"/>
                  </a:cxn>
                  <a:cxn ang="0">
                    <a:pos x="118" y="5"/>
                  </a:cxn>
                  <a:cxn ang="0">
                    <a:pos x="120" y="2"/>
                  </a:cxn>
                </a:cxnLst>
                <a:rect l="0" t="0" r="r" b="b"/>
                <a:pathLst>
                  <a:path w="129" h="163">
                    <a:moveTo>
                      <a:pt x="120" y="2"/>
                    </a:moveTo>
                    <a:lnTo>
                      <a:pt x="123" y="0"/>
                    </a:lnTo>
                    <a:lnTo>
                      <a:pt x="124" y="1"/>
                    </a:lnTo>
                    <a:lnTo>
                      <a:pt x="125" y="15"/>
                    </a:lnTo>
                    <a:lnTo>
                      <a:pt x="126" y="18"/>
                    </a:lnTo>
                    <a:lnTo>
                      <a:pt x="124" y="23"/>
                    </a:lnTo>
                    <a:lnTo>
                      <a:pt x="124" y="32"/>
                    </a:lnTo>
                    <a:lnTo>
                      <a:pt x="129" y="47"/>
                    </a:lnTo>
                    <a:lnTo>
                      <a:pt x="126" y="53"/>
                    </a:lnTo>
                    <a:lnTo>
                      <a:pt x="117" y="59"/>
                    </a:lnTo>
                    <a:lnTo>
                      <a:pt x="112" y="67"/>
                    </a:lnTo>
                    <a:lnTo>
                      <a:pt x="103" y="76"/>
                    </a:lnTo>
                    <a:lnTo>
                      <a:pt x="93" y="80"/>
                    </a:lnTo>
                    <a:lnTo>
                      <a:pt x="86" y="85"/>
                    </a:lnTo>
                    <a:lnTo>
                      <a:pt x="82" y="98"/>
                    </a:lnTo>
                    <a:lnTo>
                      <a:pt x="70" y="112"/>
                    </a:lnTo>
                    <a:lnTo>
                      <a:pt x="49" y="130"/>
                    </a:lnTo>
                    <a:lnTo>
                      <a:pt x="37" y="142"/>
                    </a:lnTo>
                    <a:lnTo>
                      <a:pt x="28" y="150"/>
                    </a:lnTo>
                    <a:lnTo>
                      <a:pt x="19" y="151"/>
                    </a:lnTo>
                    <a:lnTo>
                      <a:pt x="13" y="158"/>
                    </a:lnTo>
                    <a:lnTo>
                      <a:pt x="6" y="163"/>
                    </a:lnTo>
                    <a:lnTo>
                      <a:pt x="0" y="163"/>
                    </a:lnTo>
                    <a:lnTo>
                      <a:pt x="2" y="150"/>
                    </a:lnTo>
                    <a:lnTo>
                      <a:pt x="10" y="137"/>
                    </a:lnTo>
                    <a:lnTo>
                      <a:pt x="17" y="130"/>
                    </a:lnTo>
                    <a:lnTo>
                      <a:pt x="32" y="119"/>
                    </a:lnTo>
                    <a:lnTo>
                      <a:pt x="37" y="118"/>
                    </a:lnTo>
                    <a:lnTo>
                      <a:pt x="69" y="85"/>
                    </a:lnTo>
                    <a:lnTo>
                      <a:pt x="77" y="75"/>
                    </a:lnTo>
                    <a:lnTo>
                      <a:pt x="82" y="71"/>
                    </a:lnTo>
                    <a:lnTo>
                      <a:pt x="88" y="61"/>
                    </a:lnTo>
                    <a:lnTo>
                      <a:pt x="97" y="55"/>
                    </a:lnTo>
                    <a:lnTo>
                      <a:pt x="104" y="53"/>
                    </a:lnTo>
                    <a:lnTo>
                      <a:pt x="112" y="39"/>
                    </a:lnTo>
                    <a:lnTo>
                      <a:pt x="110" y="29"/>
                    </a:lnTo>
                    <a:lnTo>
                      <a:pt x="113" y="34"/>
                    </a:lnTo>
                    <a:lnTo>
                      <a:pt x="117" y="31"/>
                    </a:lnTo>
                    <a:lnTo>
                      <a:pt x="115" y="27"/>
                    </a:lnTo>
                    <a:lnTo>
                      <a:pt x="112" y="23"/>
                    </a:lnTo>
                    <a:lnTo>
                      <a:pt x="114" y="21"/>
                    </a:lnTo>
                    <a:lnTo>
                      <a:pt x="117" y="13"/>
                    </a:lnTo>
                    <a:lnTo>
                      <a:pt x="118" y="5"/>
                    </a:lnTo>
                    <a:lnTo>
                      <a:pt x="12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2" name="Freeform 71"/>
              <p:cNvSpPr>
                <a:spLocks noChangeAspect="1"/>
              </p:cNvSpPr>
              <p:nvPr/>
            </p:nvSpPr>
            <p:spPr bwMode="gray">
              <a:xfrm>
                <a:off x="3835" y="2339"/>
                <a:ext cx="14" cy="1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32" y="0"/>
                  </a:cxn>
                  <a:cxn ang="0">
                    <a:pos x="37" y="0"/>
                  </a:cxn>
                  <a:cxn ang="0">
                    <a:pos x="47" y="3"/>
                  </a:cxn>
                  <a:cxn ang="0">
                    <a:pos x="56" y="10"/>
                  </a:cxn>
                  <a:cxn ang="0">
                    <a:pos x="59" y="16"/>
                  </a:cxn>
                  <a:cxn ang="0">
                    <a:pos x="63" y="17"/>
                  </a:cxn>
                  <a:cxn ang="0">
                    <a:pos x="64" y="28"/>
                  </a:cxn>
                  <a:cxn ang="0">
                    <a:pos x="64" y="38"/>
                  </a:cxn>
                  <a:cxn ang="0">
                    <a:pos x="67" y="51"/>
                  </a:cxn>
                  <a:cxn ang="0">
                    <a:pos x="63" y="54"/>
                  </a:cxn>
                  <a:cxn ang="0">
                    <a:pos x="63" y="62"/>
                  </a:cxn>
                  <a:cxn ang="0">
                    <a:pos x="48" y="71"/>
                  </a:cxn>
                  <a:cxn ang="0">
                    <a:pos x="45" y="64"/>
                  </a:cxn>
                  <a:cxn ang="0">
                    <a:pos x="36" y="57"/>
                  </a:cxn>
                  <a:cxn ang="0">
                    <a:pos x="26" y="36"/>
                  </a:cxn>
                  <a:cxn ang="0">
                    <a:pos x="25" y="25"/>
                  </a:cxn>
                  <a:cxn ang="0">
                    <a:pos x="20" y="16"/>
                  </a:cxn>
                  <a:cxn ang="0">
                    <a:pos x="13" y="13"/>
                  </a:cxn>
                  <a:cxn ang="0">
                    <a:pos x="10" y="4"/>
                  </a:cxn>
                  <a:cxn ang="0">
                    <a:pos x="5" y="3"/>
                  </a:cxn>
                  <a:cxn ang="0">
                    <a:pos x="2" y="3"/>
                  </a:cxn>
                </a:cxnLst>
                <a:rect l="0" t="0" r="r" b="b"/>
                <a:pathLst>
                  <a:path w="67" h="71">
                    <a:moveTo>
                      <a:pt x="2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7" y="3"/>
                    </a:lnTo>
                    <a:lnTo>
                      <a:pt x="56" y="10"/>
                    </a:lnTo>
                    <a:lnTo>
                      <a:pt x="59" y="16"/>
                    </a:lnTo>
                    <a:lnTo>
                      <a:pt x="63" y="17"/>
                    </a:lnTo>
                    <a:lnTo>
                      <a:pt x="64" y="28"/>
                    </a:lnTo>
                    <a:lnTo>
                      <a:pt x="64" y="38"/>
                    </a:lnTo>
                    <a:lnTo>
                      <a:pt x="67" y="51"/>
                    </a:lnTo>
                    <a:lnTo>
                      <a:pt x="63" y="54"/>
                    </a:lnTo>
                    <a:lnTo>
                      <a:pt x="63" y="62"/>
                    </a:lnTo>
                    <a:lnTo>
                      <a:pt x="48" y="71"/>
                    </a:lnTo>
                    <a:lnTo>
                      <a:pt x="45" y="64"/>
                    </a:lnTo>
                    <a:lnTo>
                      <a:pt x="36" y="57"/>
                    </a:lnTo>
                    <a:lnTo>
                      <a:pt x="26" y="36"/>
                    </a:lnTo>
                    <a:lnTo>
                      <a:pt x="25" y="25"/>
                    </a:lnTo>
                    <a:lnTo>
                      <a:pt x="20" y="16"/>
                    </a:lnTo>
                    <a:lnTo>
                      <a:pt x="13" y="13"/>
                    </a:lnTo>
                    <a:lnTo>
                      <a:pt x="10" y="4"/>
                    </a:lnTo>
                    <a:lnTo>
                      <a:pt x="5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3" name="Freeform 72"/>
              <p:cNvSpPr>
                <a:spLocks noChangeAspect="1"/>
              </p:cNvSpPr>
              <p:nvPr/>
            </p:nvSpPr>
            <p:spPr bwMode="gray">
              <a:xfrm>
                <a:off x="3830" y="2280"/>
                <a:ext cx="47" cy="69"/>
              </a:xfrm>
              <a:custGeom>
                <a:avLst/>
                <a:gdLst/>
                <a:ahLst/>
                <a:cxnLst>
                  <a:cxn ang="0">
                    <a:pos x="139" y="17"/>
                  </a:cxn>
                  <a:cxn ang="0">
                    <a:pos x="129" y="44"/>
                  </a:cxn>
                  <a:cxn ang="0">
                    <a:pos x="139" y="75"/>
                  </a:cxn>
                  <a:cxn ang="0">
                    <a:pos x="146" y="97"/>
                  </a:cxn>
                  <a:cxn ang="0">
                    <a:pos x="133" y="132"/>
                  </a:cxn>
                  <a:cxn ang="0">
                    <a:pos x="120" y="144"/>
                  </a:cxn>
                  <a:cxn ang="0">
                    <a:pos x="98" y="165"/>
                  </a:cxn>
                  <a:cxn ang="0">
                    <a:pos x="87" y="188"/>
                  </a:cxn>
                  <a:cxn ang="0">
                    <a:pos x="98" y="216"/>
                  </a:cxn>
                  <a:cxn ang="0">
                    <a:pos x="99" y="238"/>
                  </a:cxn>
                  <a:cxn ang="0">
                    <a:pos x="120" y="268"/>
                  </a:cxn>
                  <a:cxn ang="0">
                    <a:pos x="131" y="261"/>
                  </a:cxn>
                  <a:cxn ang="0">
                    <a:pos x="145" y="245"/>
                  </a:cxn>
                  <a:cxn ang="0">
                    <a:pos x="167" y="245"/>
                  </a:cxn>
                  <a:cxn ang="0">
                    <a:pos x="179" y="273"/>
                  </a:cxn>
                  <a:cxn ang="0">
                    <a:pos x="189" y="259"/>
                  </a:cxn>
                  <a:cxn ang="0">
                    <a:pos x="206" y="267"/>
                  </a:cxn>
                  <a:cxn ang="0">
                    <a:pos x="215" y="279"/>
                  </a:cxn>
                  <a:cxn ang="0">
                    <a:pos x="216" y="299"/>
                  </a:cxn>
                  <a:cxn ang="0">
                    <a:pos x="220" y="312"/>
                  </a:cxn>
                  <a:cxn ang="0">
                    <a:pos x="232" y="317"/>
                  </a:cxn>
                  <a:cxn ang="0">
                    <a:pos x="231" y="345"/>
                  </a:cxn>
                  <a:cxn ang="0">
                    <a:pos x="227" y="324"/>
                  </a:cxn>
                  <a:cxn ang="0">
                    <a:pos x="201" y="317"/>
                  </a:cxn>
                  <a:cxn ang="0">
                    <a:pos x="184" y="294"/>
                  </a:cxn>
                  <a:cxn ang="0">
                    <a:pos x="166" y="279"/>
                  </a:cxn>
                  <a:cxn ang="0">
                    <a:pos x="149" y="280"/>
                  </a:cxn>
                  <a:cxn ang="0">
                    <a:pos x="152" y="306"/>
                  </a:cxn>
                  <a:cxn ang="0">
                    <a:pos x="124" y="273"/>
                  </a:cxn>
                  <a:cxn ang="0">
                    <a:pos x="98" y="268"/>
                  </a:cxn>
                  <a:cxn ang="0">
                    <a:pos x="75" y="284"/>
                  </a:cxn>
                  <a:cxn ang="0">
                    <a:pos x="56" y="270"/>
                  </a:cxn>
                  <a:cxn ang="0">
                    <a:pos x="45" y="254"/>
                  </a:cxn>
                  <a:cxn ang="0">
                    <a:pos x="61" y="231"/>
                  </a:cxn>
                  <a:cxn ang="0">
                    <a:pos x="45" y="219"/>
                  </a:cxn>
                  <a:cxn ang="0">
                    <a:pos x="33" y="230"/>
                  </a:cxn>
                  <a:cxn ang="0">
                    <a:pos x="16" y="203"/>
                  </a:cxn>
                  <a:cxn ang="0">
                    <a:pos x="0" y="138"/>
                  </a:cxn>
                  <a:cxn ang="0">
                    <a:pos x="17" y="146"/>
                  </a:cxn>
                  <a:cxn ang="0">
                    <a:pos x="29" y="97"/>
                  </a:cxn>
                  <a:cxn ang="0">
                    <a:pos x="33" y="53"/>
                  </a:cxn>
                  <a:cxn ang="0">
                    <a:pos x="43" y="7"/>
                  </a:cxn>
                  <a:cxn ang="0">
                    <a:pos x="67" y="1"/>
                  </a:cxn>
                  <a:cxn ang="0">
                    <a:pos x="113" y="17"/>
                  </a:cxn>
                  <a:cxn ang="0">
                    <a:pos x="130" y="4"/>
                  </a:cxn>
                </a:cxnLst>
                <a:rect l="0" t="0" r="r" b="b"/>
                <a:pathLst>
                  <a:path w="236" h="345">
                    <a:moveTo>
                      <a:pt x="134" y="10"/>
                    </a:moveTo>
                    <a:lnTo>
                      <a:pt x="137" y="14"/>
                    </a:lnTo>
                    <a:lnTo>
                      <a:pt x="139" y="17"/>
                    </a:lnTo>
                    <a:lnTo>
                      <a:pt x="135" y="22"/>
                    </a:lnTo>
                    <a:lnTo>
                      <a:pt x="130" y="33"/>
                    </a:lnTo>
                    <a:lnTo>
                      <a:pt x="129" y="44"/>
                    </a:lnTo>
                    <a:lnTo>
                      <a:pt x="129" y="66"/>
                    </a:lnTo>
                    <a:lnTo>
                      <a:pt x="134" y="74"/>
                    </a:lnTo>
                    <a:lnTo>
                      <a:pt x="139" y="75"/>
                    </a:lnTo>
                    <a:lnTo>
                      <a:pt x="141" y="81"/>
                    </a:lnTo>
                    <a:lnTo>
                      <a:pt x="146" y="87"/>
                    </a:lnTo>
                    <a:lnTo>
                      <a:pt x="146" y="97"/>
                    </a:lnTo>
                    <a:lnTo>
                      <a:pt x="141" y="109"/>
                    </a:lnTo>
                    <a:lnTo>
                      <a:pt x="135" y="122"/>
                    </a:lnTo>
                    <a:lnTo>
                      <a:pt x="133" y="132"/>
                    </a:lnTo>
                    <a:lnTo>
                      <a:pt x="128" y="143"/>
                    </a:lnTo>
                    <a:lnTo>
                      <a:pt x="121" y="148"/>
                    </a:lnTo>
                    <a:lnTo>
                      <a:pt x="120" y="144"/>
                    </a:lnTo>
                    <a:lnTo>
                      <a:pt x="112" y="150"/>
                    </a:lnTo>
                    <a:lnTo>
                      <a:pt x="104" y="156"/>
                    </a:lnTo>
                    <a:lnTo>
                      <a:pt x="98" y="165"/>
                    </a:lnTo>
                    <a:lnTo>
                      <a:pt x="98" y="175"/>
                    </a:lnTo>
                    <a:lnTo>
                      <a:pt x="94" y="184"/>
                    </a:lnTo>
                    <a:lnTo>
                      <a:pt x="87" y="188"/>
                    </a:lnTo>
                    <a:lnTo>
                      <a:pt x="88" y="198"/>
                    </a:lnTo>
                    <a:lnTo>
                      <a:pt x="93" y="208"/>
                    </a:lnTo>
                    <a:lnTo>
                      <a:pt x="98" y="216"/>
                    </a:lnTo>
                    <a:lnTo>
                      <a:pt x="102" y="222"/>
                    </a:lnTo>
                    <a:lnTo>
                      <a:pt x="99" y="227"/>
                    </a:lnTo>
                    <a:lnTo>
                      <a:pt x="99" y="238"/>
                    </a:lnTo>
                    <a:lnTo>
                      <a:pt x="104" y="247"/>
                    </a:lnTo>
                    <a:lnTo>
                      <a:pt x="106" y="254"/>
                    </a:lnTo>
                    <a:lnTo>
                      <a:pt x="120" y="268"/>
                    </a:lnTo>
                    <a:lnTo>
                      <a:pt x="125" y="268"/>
                    </a:lnTo>
                    <a:lnTo>
                      <a:pt x="134" y="265"/>
                    </a:lnTo>
                    <a:lnTo>
                      <a:pt x="131" y="261"/>
                    </a:lnTo>
                    <a:lnTo>
                      <a:pt x="133" y="251"/>
                    </a:lnTo>
                    <a:lnTo>
                      <a:pt x="136" y="253"/>
                    </a:lnTo>
                    <a:lnTo>
                      <a:pt x="145" y="245"/>
                    </a:lnTo>
                    <a:lnTo>
                      <a:pt x="155" y="247"/>
                    </a:lnTo>
                    <a:lnTo>
                      <a:pt x="160" y="243"/>
                    </a:lnTo>
                    <a:lnTo>
                      <a:pt x="167" y="245"/>
                    </a:lnTo>
                    <a:lnTo>
                      <a:pt x="173" y="252"/>
                    </a:lnTo>
                    <a:lnTo>
                      <a:pt x="178" y="263"/>
                    </a:lnTo>
                    <a:lnTo>
                      <a:pt x="179" y="273"/>
                    </a:lnTo>
                    <a:lnTo>
                      <a:pt x="184" y="276"/>
                    </a:lnTo>
                    <a:lnTo>
                      <a:pt x="190" y="270"/>
                    </a:lnTo>
                    <a:lnTo>
                      <a:pt x="189" y="259"/>
                    </a:lnTo>
                    <a:lnTo>
                      <a:pt x="194" y="262"/>
                    </a:lnTo>
                    <a:lnTo>
                      <a:pt x="198" y="264"/>
                    </a:lnTo>
                    <a:lnTo>
                      <a:pt x="206" y="267"/>
                    </a:lnTo>
                    <a:lnTo>
                      <a:pt x="221" y="273"/>
                    </a:lnTo>
                    <a:lnTo>
                      <a:pt x="223" y="278"/>
                    </a:lnTo>
                    <a:lnTo>
                      <a:pt x="215" y="279"/>
                    </a:lnTo>
                    <a:lnTo>
                      <a:pt x="207" y="285"/>
                    </a:lnTo>
                    <a:lnTo>
                      <a:pt x="209" y="294"/>
                    </a:lnTo>
                    <a:lnTo>
                      <a:pt x="216" y="299"/>
                    </a:lnTo>
                    <a:lnTo>
                      <a:pt x="221" y="301"/>
                    </a:lnTo>
                    <a:lnTo>
                      <a:pt x="219" y="308"/>
                    </a:lnTo>
                    <a:lnTo>
                      <a:pt x="220" y="312"/>
                    </a:lnTo>
                    <a:lnTo>
                      <a:pt x="225" y="312"/>
                    </a:lnTo>
                    <a:lnTo>
                      <a:pt x="226" y="316"/>
                    </a:lnTo>
                    <a:lnTo>
                      <a:pt x="232" y="317"/>
                    </a:lnTo>
                    <a:lnTo>
                      <a:pt x="236" y="321"/>
                    </a:lnTo>
                    <a:lnTo>
                      <a:pt x="236" y="339"/>
                    </a:lnTo>
                    <a:lnTo>
                      <a:pt x="231" y="345"/>
                    </a:lnTo>
                    <a:lnTo>
                      <a:pt x="223" y="338"/>
                    </a:lnTo>
                    <a:lnTo>
                      <a:pt x="221" y="331"/>
                    </a:lnTo>
                    <a:lnTo>
                      <a:pt x="227" y="324"/>
                    </a:lnTo>
                    <a:lnTo>
                      <a:pt x="223" y="324"/>
                    </a:lnTo>
                    <a:lnTo>
                      <a:pt x="211" y="324"/>
                    </a:lnTo>
                    <a:lnTo>
                      <a:pt x="201" y="317"/>
                    </a:lnTo>
                    <a:lnTo>
                      <a:pt x="194" y="315"/>
                    </a:lnTo>
                    <a:lnTo>
                      <a:pt x="190" y="302"/>
                    </a:lnTo>
                    <a:lnTo>
                      <a:pt x="184" y="294"/>
                    </a:lnTo>
                    <a:lnTo>
                      <a:pt x="173" y="289"/>
                    </a:lnTo>
                    <a:lnTo>
                      <a:pt x="168" y="284"/>
                    </a:lnTo>
                    <a:lnTo>
                      <a:pt x="166" y="279"/>
                    </a:lnTo>
                    <a:lnTo>
                      <a:pt x="157" y="270"/>
                    </a:lnTo>
                    <a:lnTo>
                      <a:pt x="147" y="268"/>
                    </a:lnTo>
                    <a:lnTo>
                      <a:pt x="149" y="280"/>
                    </a:lnTo>
                    <a:lnTo>
                      <a:pt x="158" y="302"/>
                    </a:lnTo>
                    <a:lnTo>
                      <a:pt x="158" y="306"/>
                    </a:lnTo>
                    <a:lnTo>
                      <a:pt x="152" y="306"/>
                    </a:lnTo>
                    <a:lnTo>
                      <a:pt x="147" y="294"/>
                    </a:lnTo>
                    <a:lnTo>
                      <a:pt x="137" y="286"/>
                    </a:lnTo>
                    <a:lnTo>
                      <a:pt x="124" y="273"/>
                    </a:lnTo>
                    <a:lnTo>
                      <a:pt x="115" y="268"/>
                    </a:lnTo>
                    <a:lnTo>
                      <a:pt x="109" y="267"/>
                    </a:lnTo>
                    <a:lnTo>
                      <a:pt x="98" y="268"/>
                    </a:lnTo>
                    <a:lnTo>
                      <a:pt x="92" y="278"/>
                    </a:lnTo>
                    <a:lnTo>
                      <a:pt x="85" y="283"/>
                    </a:lnTo>
                    <a:lnTo>
                      <a:pt x="75" y="284"/>
                    </a:lnTo>
                    <a:lnTo>
                      <a:pt x="70" y="278"/>
                    </a:lnTo>
                    <a:lnTo>
                      <a:pt x="63" y="276"/>
                    </a:lnTo>
                    <a:lnTo>
                      <a:pt x="56" y="270"/>
                    </a:lnTo>
                    <a:lnTo>
                      <a:pt x="50" y="274"/>
                    </a:lnTo>
                    <a:lnTo>
                      <a:pt x="47" y="264"/>
                    </a:lnTo>
                    <a:lnTo>
                      <a:pt x="45" y="254"/>
                    </a:lnTo>
                    <a:lnTo>
                      <a:pt x="49" y="247"/>
                    </a:lnTo>
                    <a:lnTo>
                      <a:pt x="56" y="240"/>
                    </a:lnTo>
                    <a:lnTo>
                      <a:pt x="61" y="231"/>
                    </a:lnTo>
                    <a:lnTo>
                      <a:pt x="61" y="225"/>
                    </a:lnTo>
                    <a:lnTo>
                      <a:pt x="55" y="220"/>
                    </a:lnTo>
                    <a:lnTo>
                      <a:pt x="45" y="219"/>
                    </a:lnTo>
                    <a:lnTo>
                      <a:pt x="44" y="233"/>
                    </a:lnTo>
                    <a:lnTo>
                      <a:pt x="42" y="238"/>
                    </a:lnTo>
                    <a:lnTo>
                      <a:pt x="33" y="230"/>
                    </a:lnTo>
                    <a:lnTo>
                      <a:pt x="28" y="219"/>
                    </a:lnTo>
                    <a:lnTo>
                      <a:pt x="21" y="219"/>
                    </a:lnTo>
                    <a:lnTo>
                      <a:pt x="16" y="203"/>
                    </a:lnTo>
                    <a:lnTo>
                      <a:pt x="13" y="188"/>
                    </a:lnTo>
                    <a:lnTo>
                      <a:pt x="2" y="155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8" y="136"/>
                    </a:lnTo>
                    <a:lnTo>
                      <a:pt x="17" y="146"/>
                    </a:lnTo>
                    <a:lnTo>
                      <a:pt x="29" y="143"/>
                    </a:lnTo>
                    <a:lnTo>
                      <a:pt x="28" y="113"/>
                    </a:lnTo>
                    <a:lnTo>
                      <a:pt x="29" y="97"/>
                    </a:lnTo>
                    <a:lnTo>
                      <a:pt x="34" y="82"/>
                    </a:lnTo>
                    <a:lnTo>
                      <a:pt x="34" y="65"/>
                    </a:lnTo>
                    <a:lnTo>
                      <a:pt x="33" y="53"/>
                    </a:lnTo>
                    <a:lnTo>
                      <a:pt x="34" y="41"/>
                    </a:lnTo>
                    <a:lnTo>
                      <a:pt x="38" y="17"/>
                    </a:lnTo>
                    <a:lnTo>
                      <a:pt x="43" y="7"/>
                    </a:lnTo>
                    <a:lnTo>
                      <a:pt x="50" y="0"/>
                    </a:lnTo>
                    <a:lnTo>
                      <a:pt x="56" y="1"/>
                    </a:lnTo>
                    <a:lnTo>
                      <a:pt x="67" y="1"/>
                    </a:lnTo>
                    <a:lnTo>
                      <a:pt x="80" y="4"/>
                    </a:lnTo>
                    <a:lnTo>
                      <a:pt x="102" y="17"/>
                    </a:lnTo>
                    <a:lnTo>
                      <a:pt x="113" y="17"/>
                    </a:lnTo>
                    <a:lnTo>
                      <a:pt x="120" y="15"/>
                    </a:lnTo>
                    <a:lnTo>
                      <a:pt x="123" y="4"/>
                    </a:lnTo>
                    <a:lnTo>
                      <a:pt x="130" y="4"/>
                    </a:lnTo>
                    <a:lnTo>
                      <a:pt x="134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4" name="Freeform 73"/>
              <p:cNvSpPr>
                <a:spLocks noChangeAspect="1"/>
              </p:cNvSpPr>
              <p:nvPr/>
            </p:nvSpPr>
            <p:spPr bwMode="gray">
              <a:xfrm>
                <a:off x="3867" y="2349"/>
                <a:ext cx="9" cy="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6" y="2"/>
                  </a:cxn>
                  <a:cxn ang="0">
                    <a:pos x="7" y="4"/>
                  </a:cxn>
                  <a:cxn ang="0">
                    <a:pos x="9" y="6"/>
                  </a:cxn>
                  <a:cxn ang="0">
                    <a:pos x="14" y="6"/>
                  </a:cxn>
                  <a:cxn ang="0">
                    <a:pos x="43" y="29"/>
                  </a:cxn>
                  <a:cxn ang="0">
                    <a:pos x="45" y="35"/>
                  </a:cxn>
                  <a:cxn ang="0">
                    <a:pos x="45" y="45"/>
                  </a:cxn>
                  <a:cxn ang="0">
                    <a:pos x="35" y="41"/>
                  </a:cxn>
                  <a:cxn ang="0">
                    <a:pos x="27" y="35"/>
                  </a:cxn>
                  <a:cxn ang="0">
                    <a:pos x="20" y="25"/>
                  </a:cxn>
                  <a:cxn ang="0">
                    <a:pos x="17" y="22"/>
                  </a:cxn>
                  <a:cxn ang="0">
                    <a:pos x="9" y="27"/>
                  </a:cxn>
                  <a:cxn ang="0">
                    <a:pos x="2" y="33"/>
                  </a:cxn>
                  <a:cxn ang="0">
                    <a:pos x="0" y="32"/>
                  </a:cxn>
                  <a:cxn ang="0">
                    <a:pos x="2" y="18"/>
                  </a:cxn>
                  <a:cxn ang="0">
                    <a:pos x="2" y="0"/>
                  </a:cxn>
                </a:cxnLst>
                <a:rect l="0" t="0" r="r" b="b"/>
                <a:pathLst>
                  <a:path w="45" h="45">
                    <a:moveTo>
                      <a:pt x="2" y="0"/>
                    </a:moveTo>
                    <a:lnTo>
                      <a:pt x="6" y="2"/>
                    </a:lnTo>
                    <a:lnTo>
                      <a:pt x="7" y="4"/>
                    </a:lnTo>
                    <a:lnTo>
                      <a:pt x="9" y="6"/>
                    </a:lnTo>
                    <a:lnTo>
                      <a:pt x="14" y="6"/>
                    </a:lnTo>
                    <a:lnTo>
                      <a:pt x="43" y="29"/>
                    </a:lnTo>
                    <a:lnTo>
                      <a:pt x="45" y="35"/>
                    </a:lnTo>
                    <a:lnTo>
                      <a:pt x="45" y="45"/>
                    </a:lnTo>
                    <a:lnTo>
                      <a:pt x="35" y="41"/>
                    </a:lnTo>
                    <a:lnTo>
                      <a:pt x="27" y="35"/>
                    </a:lnTo>
                    <a:lnTo>
                      <a:pt x="20" y="25"/>
                    </a:lnTo>
                    <a:lnTo>
                      <a:pt x="17" y="22"/>
                    </a:lnTo>
                    <a:lnTo>
                      <a:pt x="9" y="27"/>
                    </a:lnTo>
                    <a:lnTo>
                      <a:pt x="2" y="33"/>
                    </a:lnTo>
                    <a:lnTo>
                      <a:pt x="0" y="32"/>
                    </a:lnTo>
                    <a:lnTo>
                      <a:pt x="2" y="1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5" name="Freeform 74"/>
              <p:cNvSpPr>
                <a:spLocks noChangeAspect="1"/>
              </p:cNvSpPr>
              <p:nvPr/>
            </p:nvSpPr>
            <p:spPr bwMode="gray">
              <a:xfrm>
                <a:off x="3879" y="2348"/>
                <a:ext cx="15" cy="1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3" y="4"/>
                  </a:cxn>
                  <a:cxn ang="0">
                    <a:pos x="26" y="5"/>
                  </a:cxn>
                  <a:cxn ang="0">
                    <a:pos x="38" y="0"/>
                  </a:cxn>
                  <a:cxn ang="0">
                    <a:pos x="44" y="2"/>
                  </a:cxn>
                  <a:cxn ang="0">
                    <a:pos x="51" y="6"/>
                  </a:cxn>
                  <a:cxn ang="0">
                    <a:pos x="55" y="15"/>
                  </a:cxn>
                  <a:cxn ang="0">
                    <a:pos x="64" y="21"/>
                  </a:cxn>
                  <a:cxn ang="0">
                    <a:pos x="64" y="32"/>
                  </a:cxn>
                  <a:cxn ang="0">
                    <a:pos x="62" y="47"/>
                  </a:cxn>
                  <a:cxn ang="0">
                    <a:pos x="64" y="57"/>
                  </a:cxn>
                  <a:cxn ang="0">
                    <a:pos x="72" y="78"/>
                  </a:cxn>
                  <a:cxn ang="0">
                    <a:pos x="77" y="85"/>
                  </a:cxn>
                  <a:cxn ang="0">
                    <a:pos x="62" y="85"/>
                  </a:cxn>
                  <a:cxn ang="0">
                    <a:pos x="51" y="83"/>
                  </a:cxn>
                  <a:cxn ang="0">
                    <a:pos x="48" y="73"/>
                  </a:cxn>
                  <a:cxn ang="0">
                    <a:pos x="42" y="70"/>
                  </a:cxn>
                  <a:cxn ang="0">
                    <a:pos x="34" y="64"/>
                  </a:cxn>
                  <a:cxn ang="0">
                    <a:pos x="34" y="59"/>
                  </a:cxn>
                  <a:cxn ang="0">
                    <a:pos x="37" y="51"/>
                  </a:cxn>
                  <a:cxn ang="0">
                    <a:pos x="35" y="48"/>
                  </a:cxn>
                  <a:cxn ang="0">
                    <a:pos x="19" y="32"/>
                  </a:cxn>
                  <a:cxn ang="0">
                    <a:pos x="13" y="30"/>
                  </a:cxn>
                  <a:cxn ang="0">
                    <a:pos x="6" y="21"/>
                  </a:cxn>
                  <a:cxn ang="0">
                    <a:pos x="0" y="6"/>
                  </a:cxn>
                  <a:cxn ang="0">
                    <a:pos x="0" y="4"/>
                  </a:cxn>
                </a:cxnLst>
                <a:rect l="0" t="0" r="r" b="b"/>
                <a:pathLst>
                  <a:path w="77" h="85">
                    <a:moveTo>
                      <a:pt x="0" y="4"/>
                    </a:moveTo>
                    <a:lnTo>
                      <a:pt x="3" y="4"/>
                    </a:lnTo>
                    <a:lnTo>
                      <a:pt x="26" y="5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1" y="6"/>
                    </a:lnTo>
                    <a:lnTo>
                      <a:pt x="55" y="15"/>
                    </a:lnTo>
                    <a:lnTo>
                      <a:pt x="64" y="21"/>
                    </a:lnTo>
                    <a:lnTo>
                      <a:pt x="64" y="32"/>
                    </a:lnTo>
                    <a:lnTo>
                      <a:pt x="62" y="47"/>
                    </a:lnTo>
                    <a:lnTo>
                      <a:pt x="64" y="57"/>
                    </a:lnTo>
                    <a:lnTo>
                      <a:pt x="72" y="78"/>
                    </a:lnTo>
                    <a:lnTo>
                      <a:pt x="77" y="85"/>
                    </a:lnTo>
                    <a:lnTo>
                      <a:pt x="62" y="85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42" y="70"/>
                    </a:lnTo>
                    <a:lnTo>
                      <a:pt x="34" y="64"/>
                    </a:lnTo>
                    <a:lnTo>
                      <a:pt x="34" y="59"/>
                    </a:lnTo>
                    <a:lnTo>
                      <a:pt x="37" y="51"/>
                    </a:lnTo>
                    <a:lnTo>
                      <a:pt x="35" y="48"/>
                    </a:lnTo>
                    <a:lnTo>
                      <a:pt x="19" y="32"/>
                    </a:lnTo>
                    <a:lnTo>
                      <a:pt x="13" y="30"/>
                    </a:lnTo>
                    <a:lnTo>
                      <a:pt x="6" y="21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6" name="Freeform 75"/>
              <p:cNvSpPr>
                <a:spLocks noChangeAspect="1"/>
              </p:cNvSpPr>
              <p:nvPr/>
            </p:nvSpPr>
            <p:spPr bwMode="gray">
              <a:xfrm>
                <a:off x="3853" y="2356"/>
                <a:ext cx="13" cy="1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11" y="2"/>
                  </a:cxn>
                  <a:cxn ang="0">
                    <a:pos x="24" y="11"/>
                  </a:cxn>
                  <a:cxn ang="0">
                    <a:pos x="27" y="17"/>
                  </a:cxn>
                  <a:cxn ang="0">
                    <a:pos x="33" y="18"/>
                  </a:cxn>
                  <a:cxn ang="0">
                    <a:pos x="49" y="18"/>
                  </a:cxn>
                  <a:cxn ang="0">
                    <a:pos x="50" y="22"/>
                  </a:cxn>
                  <a:cxn ang="0">
                    <a:pos x="60" y="19"/>
                  </a:cxn>
                  <a:cxn ang="0">
                    <a:pos x="63" y="21"/>
                  </a:cxn>
                  <a:cxn ang="0">
                    <a:pos x="63" y="33"/>
                  </a:cxn>
                  <a:cxn ang="0">
                    <a:pos x="60" y="44"/>
                  </a:cxn>
                  <a:cxn ang="0">
                    <a:pos x="52" y="49"/>
                  </a:cxn>
                  <a:cxn ang="0">
                    <a:pos x="44" y="59"/>
                  </a:cxn>
                  <a:cxn ang="0">
                    <a:pos x="36" y="65"/>
                  </a:cxn>
                  <a:cxn ang="0">
                    <a:pos x="32" y="67"/>
                  </a:cxn>
                  <a:cxn ang="0">
                    <a:pos x="23" y="68"/>
                  </a:cxn>
                  <a:cxn ang="0">
                    <a:pos x="11" y="73"/>
                  </a:cxn>
                  <a:cxn ang="0">
                    <a:pos x="3" y="83"/>
                  </a:cxn>
                  <a:cxn ang="0">
                    <a:pos x="1" y="71"/>
                  </a:cxn>
                  <a:cxn ang="0">
                    <a:pos x="1" y="59"/>
                  </a:cxn>
                  <a:cxn ang="0">
                    <a:pos x="3" y="45"/>
                  </a:cxn>
                  <a:cxn ang="0">
                    <a:pos x="6" y="17"/>
                  </a:cxn>
                  <a:cxn ang="0">
                    <a:pos x="4" y="11"/>
                  </a:cxn>
                  <a:cxn ang="0">
                    <a:pos x="0" y="6"/>
                  </a:cxn>
                  <a:cxn ang="0">
                    <a:pos x="0" y="1"/>
                  </a:cxn>
                </a:cxnLst>
                <a:rect l="0" t="0" r="r" b="b"/>
                <a:pathLst>
                  <a:path w="63" h="83">
                    <a:moveTo>
                      <a:pt x="0" y="1"/>
                    </a:moveTo>
                    <a:lnTo>
                      <a:pt x="2" y="0"/>
                    </a:lnTo>
                    <a:lnTo>
                      <a:pt x="11" y="2"/>
                    </a:lnTo>
                    <a:lnTo>
                      <a:pt x="24" y="11"/>
                    </a:lnTo>
                    <a:lnTo>
                      <a:pt x="27" y="17"/>
                    </a:lnTo>
                    <a:lnTo>
                      <a:pt x="33" y="18"/>
                    </a:lnTo>
                    <a:lnTo>
                      <a:pt x="49" y="18"/>
                    </a:lnTo>
                    <a:lnTo>
                      <a:pt x="50" y="22"/>
                    </a:lnTo>
                    <a:lnTo>
                      <a:pt x="60" y="19"/>
                    </a:lnTo>
                    <a:lnTo>
                      <a:pt x="63" y="21"/>
                    </a:lnTo>
                    <a:lnTo>
                      <a:pt x="63" y="33"/>
                    </a:lnTo>
                    <a:lnTo>
                      <a:pt x="60" y="44"/>
                    </a:lnTo>
                    <a:lnTo>
                      <a:pt x="52" y="49"/>
                    </a:lnTo>
                    <a:lnTo>
                      <a:pt x="44" y="59"/>
                    </a:lnTo>
                    <a:lnTo>
                      <a:pt x="36" y="65"/>
                    </a:lnTo>
                    <a:lnTo>
                      <a:pt x="32" y="67"/>
                    </a:lnTo>
                    <a:lnTo>
                      <a:pt x="23" y="68"/>
                    </a:lnTo>
                    <a:lnTo>
                      <a:pt x="11" y="73"/>
                    </a:lnTo>
                    <a:lnTo>
                      <a:pt x="3" y="83"/>
                    </a:lnTo>
                    <a:lnTo>
                      <a:pt x="1" y="71"/>
                    </a:lnTo>
                    <a:lnTo>
                      <a:pt x="1" y="59"/>
                    </a:lnTo>
                    <a:lnTo>
                      <a:pt x="3" y="45"/>
                    </a:lnTo>
                    <a:lnTo>
                      <a:pt x="6" y="17"/>
                    </a:lnTo>
                    <a:lnTo>
                      <a:pt x="4" y="11"/>
                    </a:lnTo>
                    <a:lnTo>
                      <a:pt x="0" y="6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7" name="Freeform 76"/>
              <p:cNvSpPr>
                <a:spLocks noChangeAspect="1"/>
              </p:cNvSpPr>
              <p:nvPr/>
            </p:nvSpPr>
            <p:spPr bwMode="gray">
              <a:xfrm>
                <a:off x="3858" y="2367"/>
                <a:ext cx="12" cy="21"/>
              </a:xfrm>
              <a:custGeom>
                <a:avLst/>
                <a:gdLst/>
                <a:ahLst/>
                <a:cxnLst>
                  <a:cxn ang="0">
                    <a:pos x="29" y="8"/>
                  </a:cxn>
                  <a:cxn ang="0">
                    <a:pos x="39" y="0"/>
                  </a:cxn>
                  <a:cxn ang="0">
                    <a:pos x="43" y="1"/>
                  </a:cxn>
                  <a:cxn ang="0">
                    <a:pos x="59" y="5"/>
                  </a:cxn>
                  <a:cxn ang="0">
                    <a:pos x="59" y="14"/>
                  </a:cxn>
                  <a:cxn ang="0">
                    <a:pos x="57" y="25"/>
                  </a:cxn>
                  <a:cxn ang="0">
                    <a:pos x="52" y="30"/>
                  </a:cxn>
                  <a:cxn ang="0">
                    <a:pos x="51" y="41"/>
                  </a:cxn>
                  <a:cxn ang="0">
                    <a:pos x="41" y="62"/>
                  </a:cxn>
                  <a:cxn ang="0">
                    <a:pos x="40" y="75"/>
                  </a:cxn>
                  <a:cxn ang="0">
                    <a:pos x="41" y="83"/>
                  </a:cxn>
                  <a:cxn ang="0">
                    <a:pos x="44" y="90"/>
                  </a:cxn>
                  <a:cxn ang="0">
                    <a:pos x="43" y="101"/>
                  </a:cxn>
                  <a:cxn ang="0">
                    <a:pos x="34" y="107"/>
                  </a:cxn>
                  <a:cxn ang="0">
                    <a:pos x="25" y="97"/>
                  </a:cxn>
                  <a:cxn ang="0">
                    <a:pos x="19" y="89"/>
                  </a:cxn>
                  <a:cxn ang="0">
                    <a:pos x="13" y="86"/>
                  </a:cxn>
                  <a:cxn ang="0">
                    <a:pos x="6" y="79"/>
                  </a:cxn>
                  <a:cxn ang="0">
                    <a:pos x="0" y="69"/>
                  </a:cxn>
                  <a:cxn ang="0">
                    <a:pos x="3" y="57"/>
                  </a:cxn>
                  <a:cxn ang="0">
                    <a:pos x="18" y="51"/>
                  </a:cxn>
                  <a:cxn ang="0">
                    <a:pos x="22" y="42"/>
                  </a:cxn>
                  <a:cxn ang="0">
                    <a:pos x="22" y="25"/>
                  </a:cxn>
                  <a:cxn ang="0">
                    <a:pos x="27" y="10"/>
                  </a:cxn>
                  <a:cxn ang="0">
                    <a:pos x="29" y="8"/>
                  </a:cxn>
                </a:cxnLst>
                <a:rect l="0" t="0" r="r" b="b"/>
                <a:pathLst>
                  <a:path w="59" h="107">
                    <a:moveTo>
                      <a:pt x="29" y="8"/>
                    </a:moveTo>
                    <a:lnTo>
                      <a:pt x="39" y="0"/>
                    </a:lnTo>
                    <a:lnTo>
                      <a:pt x="43" y="1"/>
                    </a:lnTo>
                    <a:lnTo>
                      <a:pt x="59" y="5"/>
                    </a:lnTo>
                    <a:lnTo>
                      <a:pt x="59" y="14"/>
                    </a:lnTo>
                    <a:lnTo>
                      <a:pt x="57" y="25"/>
                    </a:lnTo>
                    <a:lnTo>
                      <a:pt x="52" y="30"/>
                    </a:lnTo>
                    <a:lnTo>
                      <a:pt x="51" y="41"/>
                    </a:lnTo>
                    <a:lnTo>
                      <a:pt x="41" y="62"/>
                    </a:lnTo>
                    <a:lnTo>
                      <a:pt x="40" y="75"/>
                    </a:lnTo>
                    <a:lnTo>
                      <a:pt x="41" y="83"/>
                    </a:lnTo>
                    <a:lnTo>
                      <a:pt x="44" y="90"/>
                    </a:lnTo>
                    <a:lnTo>
                      <a:pt x="43" y="101"/>
                    </a:lnTo>
                    <a:lnTo>
                      <a:pt x="34" y="107"/>
                    </a:lnTo>
                    <a:lnTo>
                      <a:pt x="25" y="97"/>
                    </a:lnTo>
                    <a:lnTo>
                      <a:pt x="19" y="89"/>
                    </a:lnTo>
                    <a:lnTo>
                      <a:pt x="13" y="86"/>
                    </a:lnTo>
                    <a:lnTo>
                      <a:pt x="6" y="79"/>
                    </a:lnTo>
                    <a:lnTo>
                      <a:pt x="0" y="69"/>
                    </a:lnTo>
                    <a:lnTo>
                      <a:pt x="3" y="57"/>
                    </a:lnTo>
                    <a:lnTo>
                      <a:pt x="18" y="51"/>
                    </a:lnTo>
                    <a:lnTo>
                      <a:pt x="22" y="42"/>
                    </a:lnTo>
                    <a:lnTo>
                      <a:pt x="22" y="25"/>
                    </a:lnTo>
                    <a:lnTo>
                      <a:pt x="27" y="10"/>
                    </a:lnTo>
                    <a:lnTo>
                      <a:pt x="2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8" name="Freeform 77"/>
              <p:cNvSpPr>
                <a:spLocks noChangeAspect="1"/>
              </p:cNvSpPr>
              <p:nvPr/>
            </p:nvSpPr>
            <p:spPr bwMode="gray">
              <a:xfrm>
                <a:off x="3879" y="2361"/>
                <a:ext cx="10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5"/>
                  </a:cxn>
                  <a:cxn ang="0">
                    <a:pos x="6" y="8"/>
                  </a:cxn>
                  <a:cxn ang="0">
                    <a:pos x="11" y="6"/>
                  </a:cxn>
                  <a:cxn ang="0">
                    <a:pos x="16" y="8"/>
                  </a:cxn>
                  <a:cxn ang="0">
                    <a:pos x="29" y="7"/>
                  </a:cxn>
                  <a:cxn ang="0">
                    <a:pos x="37" y="18"/>
                  </a:cxn>
                  <a:cxn ang="0">
                    <a:pos x="38" y="43"/>
                  </a:cxn>
                  <a:cxn ang="0">
                    <a:pos x="43" y="51"/>
                  </a:cxn>
                  <a:cxn ang="0">
                    <a:pos x="48" y="64"/>
                  </a:cxn>
                  <a:cxn ang="0">
                    <a:pos x="51" y="69"/>
                  </a:cxn>
                  <a:cxn ang="0">
                    <a:pos x="44" y="72"/>
                  </a:cxn>
                  <a:cxn ang="0">
                    <a:pos x="38" y="70"/>
                  </a:cxn>
                  <a:cxn ang="0">
                    <a:pos x="37" y="81"/>
                  </a:cxn>
                  <a:cxn ang="0">
                    <a:pos x="29" y="78"/>
                  </a:cxn>
                  <a:cxn ang="0">
                    <a:pos x="26" y="67"/>
                  </a:cxn>
                  <a:cxn ang="0">
                    <a:pos x="26" y="43"/>
                  </a:cxn>
                  <a:cxn ang="0">
                    <a:pos x="19" y="30"/>
                  </a:cxn>
                  <a:cxn ang="0">
                    <a:pos x="8" y="34"/>
                  </a:cxn>
                  <a:cxn ang="0">
                    <a:pos x="6" y="22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0"/>
                  </a:cxn>
                </a:cxnLst>
                <a:rect l="0" t="0" r="r" b="b"/>
                <a:pathLst>
                  <a:path w="51" h="81">
                    <a:moveTo>
                      <a:pt x="0" y="0"/>
                    </a:moveTo>
                    <a:lnTo>
                      <a:pt x="2" y="5"/>
                    </a:lnTo>
                    <a:lnTo>
                      <a:pt x="6" y="8"/>
                    </a:lnTo>
                    <a:lnTo>
                      <a:pt x="11" y="6"/>
                    </a:lnTo>
                    <a:lnTo>
                      <a:pt x="16" y="8"/>
                    </a:lnTo>
                    <a:lnTo>
                      <a:pt x="29" y="7"/>
                    </a:lnTo>
                    <a:lnTo>
                      <a:pt x="37" y="18"/>
                    </a:lnTo>
                    <a:lnTo>
                      <a:pt x="38" y="43"/>
                    </a:lnTo>
                    <a:lnTo>
                      <a:pt x="43" y="51"/>
                    </a:lnTo>
                    <a:lnTo>
                      <a:pt x="48" y="64"/>
                    </a:lnTo>
                    <a:lnTo>
                      <a:pt x="51" y="69"/>
                    </a:lnTo>
                    <a:lnTo>
                      <a:pt x="44" y="72"/>
                    </a:lnTo>
                    <a:lnTo>
                      <a:pt x="38" y="70"/>
                    </a:lnTo>
                    <a:lnTo>
                      <a:pt x="37" y="81"/>
                    </a:lnTo>
                    <a:lnTo>
                      <a:pt x="29" y="78"/>
                    </a:lnTo>
                    <a:lnTo>
                      <a:pt x="26" y="67"/>
                    </a:lnTo>
                    <a:lnTo>
                      <a:pt x="26" y="43"/>
                    </a:lnTo>
                    <a:lnTo>
                      <a:pt x="19" y="30"/>
                    </a:lnTo>
                    <a:lnTo>
                      <a:pt x="8" y="34"/>
                    </a:lnTo>
                    <a:lnTo>
                      <a:pt x="6" y="22"/>
                    </a:lnTo>
                    <a:lnTo>
                      <a:pt x="3" y="10"/>
                    </a:lnTo>
                    <a:lnTo>
                      <a:pt x="1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9" name="Freeform 78"/>
              <p:cNvSpPr>
                <a:spLocks noChangeAspect="1"/>
              </p:cNvSpPr>
              <p:nvPr/>
            </p:nvSpPr>
            <p:spPr bwMode="gray">
              <a:xfrm>
                <a:off x="3869" y="2363"/>
                <a:ext cx="7" cy="20"/>
              </a:xfrm>
              <a:custGeom>
                <a:avLst/>
                <a:gdLst/>
                <a:ahLst/>
                <a:cxnLst>
                  <a:cxn ang="0">
                    <a:pos x="35" y="2"/>
                  </a:cxn>
                  <a:cxn ang="0">
                    <a:pos x="37" y="0"/>
                  </a:cxn>
                  <a:cxn ang="0">
                    <a:pos x="38" y="5"/>
                  </a:cxn>
                  <a:cxn ang="0">
                    <a:pos x="37" y="10"/>
                  </a:cxn>
                  <a:cxn ang="0">
                    <a:pos x="37" y="33"/>
                  </a:cxn>
                  <a:cxn ang="0">
                    <a:pos x="36" y="48"/>
                  </a:cxn>
                  <a:cxn ang="0">
                    <a:pos x="24" y="58"/>
                  </a:cxn>
                  <a:cxn ang="0">
                    <a:pos x="15" y="75"/>
                  </a:cxn>
                  <a:cxn ang="0">
                    <a:pos x="10" y="86"/>
                  </a:cxn>
                  <a:cxn ang="0">
                    <a:pos x="6" y="96"/>
                  </a:cxn>
                  <a:cxn ang="0">
                    <a:pos x="3" y="99"/>
                  </a:cxn>
                  <a:cxn ang="0">
                    <a:pos x="0" y="87"/>
                  </a:cxn>
                  <a:cxn ang="0">
                    <a:pos x="0" y="78"/>
                  </a:cxn>
                  <a:cxn ang="0">
                    <a:pos x="8" y="58"/>
                  </a:cxn>
                  <a:cxn ang="0">
                    <a:pos x="17" y="41"/>
                  </a:cxn>
                  <a:cxn ang="0">
                    <a:pos x="26" y="21"/>
                  </a:cxn>
                  <a:cxn ang="0">
                    <a:pos x="31" y="5"/>
                  </a:cxn>
                  <a:cxn ang="0">
                    <a:pos x="35" y="2"/>
                  </a:cxn>
                </a:cxnLst>
                <a:rect l="0" t="0" r="r" b="b"/>
                <a:pathLst>
                  <a:path w="38" h="99">
                    <a:moveTo>
                      <a:pt x="35" y="2"/>
                    </a:moveTo>
                    <a:lnTo>
                      <a:pt x="37" y="0"/>
                    </a:lnTo>
                    <a:lnTo>
                      <a:pt x="38" y="5"/>
                    </a:lnTo>
                    <a:lnTo>
                      <a:pt x="37" y="10"/>
                    </a:lnTo>
                    <a:lnTo>
                      <a:pt x="37" y="33"/>
                    </a:lnTo>
                    <a:lnTo>
                      <a:pt x="36" y="48"/>
                    </a:lnTo>
                    <a:lnTo>
                      <a:pt x="24" y="58"/>
                    </a:lnTo>
                    <a:lnTo>
                      <a:pt x="15" y="75"/>
                    </a:lnTo>
                    <a:lnTo>
                      <a:pt x="10" y="86"/>
                    </a:lnTo>
                    <a:lnTo>
                      <a:pt x="6" y="96"/>
                    </a:lnTo>
                    <a:lnTo>
                      <a:pt x="3" y="99"/>
                    </a:lnTo>
                    <a:lnTo>
                      <a:pt x="0" y="87"/>
                    </a:lnTo>
                    <a:lnTo>
                      <a:pt x="0" y="78"/>
                    </a:lnTo>
                    <a:lnTo>
                      <a:pt x="8" y="58"/>
                    </a:lnTo>
                    <a:lnTo>
                      <a:pt x="17" y="41"/>
                    </a:lnTo>
                    <a:lnTo>
                      <a:pt x="26" y="21"/>
                    </a:lnTo>
                    <a:lnTo>
                      <a:pt x="31" y="5"/>
                    </a:lnTo>
                    <a:lnTo>
                      <a:pt x="3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70" name="Freeform 79"/>
              <p:cNvSpPr>
                <a:spLocks noChangeAspect="1"/>
              </p:cNvSpPr>
              <p:nvPr/>
            </p:nvSpPr>
            <p:spPr bwMode="gray">
              <a:xfrm>
                <a:off x="3874" y="2375"/>
                <a:ext cx="8" cy="7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6"/>
                  </a:cxn>
                  <a:cxn ang="0">
                    <a:pos x="2" y="16"/>
                  </a:cxn>
                  <a:cxn ang="0">
                    <a:pos x="9" y="12"/>
                  </a:cxn>
                  <a:cxn ang="0">
                    <a:pos x="12" y="5"/>
                  </a:cxn>
                  <a:cxn ang="0">
                    <a:pos x="20" y="0"/>
                  </a:cxn>
                  <a:cxn ang="0">
                    <a:pos x="32" y="5"/>
                  </a:cxn>
                  <a:cxn ang="0">
                    <a:pos x="39" y="3"/>
                  </a:cxn>
                  <a:cxn ang="0">
                    <a:pos x="39" y="14"/>
                  </a:cxn>
                  <a:cxn ang="0">
                    <a:pos x="38" y="18"/>
                  </a:cxn>
                  <a:cxn ang="0">
                    <a:pos x="39" y="24"/>
                  </a:cxn>
                  <a:cxn ang="0">
                    <a:pos x="37" y="27"/>
                  </a:cxn>
                  <a:cxn ang="0">
                    <a:pos x="22" y="31"/>
                  </a:cxn>
                  <a:cxn ang="0">
                    <a:pos x="7" y="30"/>
                  </a:cxn>
                  <a:cxn ang="0">
                    <a:pos x="4" y="26"/>
                  </a:cxn>
                  <a:cxn ang="0">
                    <a:pos x="0" y="18"/>
                  </a:cxn>
                </a:cxnLst>
                <a:rect l="0" t="0" r="r" b="b"/>
                <a:pathLst>
                  <a:path w="39" h="31">
                    <a:moveTo>
                      <a:pt x="0" y="18"/>
                    </a:moveTo>
                    <a:lnTo>
                      <a:pt x="0" y="16"/>
                    </a:lnTo>
                    <a:lnTo>
                      <a:pt x="2" y="16"/>
                    </a:lnTo>
                    <a:lnTo>
                      <a:pt x="9" y="12"/>
                    </a:lnTo>
                    <a:lnTo>
                      <a:pt x="12" y="5"/>
                    </a:lnTo>
                    <a:lnTo>
                      <a:pt x="20" y="0"/>
                    </a:lnTo>
                    <a:lnTo>
                      <a:pt x="32" y="5"/>
                    </a:lnTo>
                    <a:lnTo>
                      <a:pt x="39" y="3"/>
                    </a:lnTo>
                    <a:lnTo>
                      <a:pt x="39" y="14"/>
                    </a:lnTo>
                    <a:lnTo>
                      <a:pt x="38" y="18"/>
                    </a:lnTo>
                    <a:lnTo>
                      <a:pt x="39" y="24"/>
                    </a:lnTo>
                    <a:lnTo>
                      <a:pt x="37" y="27"/>
                    </a:lnTo>
                    <a:lnTo>
                      <a:pt x="22" y="31"/>
                    </a:lnTo>
                    <a:lnTo>
                      <a:pt x="7" y="30"/>
                    </a:lnTo>
                    <a:lnTo>
                      <a:pt x="4" y="2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71" name="Freeform 80"/>
              <p:cNvSpPr>
                <a:spLocks noChangeAspect="1"/>
              </p:cNvSpPr>
              <p:nvPr/>
            </p:nvSpPr>
            <p:spPr bwMode="gray">
              <a:xfrm>
                <a:off x="3853" y="2380"/>
                <a:ext cx="51" cy="46"/>
              </a:xfrm>
              <a:custGeom>
                <a:avLst/>
                <a:gdLst/>
                <a:ahLst/>
                <a:cxnLst>
                  <a:cxn ang="0">
                    <a:pos x="190" y="0"/>
                  </a:cxn>
                  <a:cxn ang="0">
                    <a:pos x="207" y="10"/>
                  </a:cxn>
                  <a:cxn ang="0">
                    <a:pos x="224" y="26"/>
                  </a:cxn>
                  <a:cxn ang="0">
                    <a:pos x="233" y="33"/>
                  </a:cxn>
                  <a:cxn ang="0">
                    <a:pos x="240" y="51"/>
                  </a:cxn>
                  <a:cxn ang="0">
                    <a:pos x="242" y="70"/>
                  </a:cxn>
                  <a:cxn ang="0">
                    <a:pos x="246" y="86"/>
                  </a:cxn>
                  <a:cxn ang="0">
                    <a:pos x="250" y="110"/>
                  </a:cxn>
                  <a:cxn ang="0">
                    <a:pos x="254" y="142"/>
                  </a:cxn>
                  <a:cxn ang="0">
                    <a:pos x="243" y="152"/>
                  </a:cxn>
                  <a:cxn ang="0">
                    <a:pos x="238" y="185"/>
                  </a:cxn>
                  <a:cxn ang="0">
                    <a:pos x="227" y="167"/>
                  </a:cxn>
                  <a:cxn ang="0">
                    <a:pos x="221" y="142"/>
                  </a:cxn>
                  <a:cxn ang="0">
                    <a:pos x="212" y="131"/>
                  </a:cxn>
                  <a:cxn ang="0">
                    <a:pos x="192" y="158"/>
                  </a:cxn>
                  <a:cxn ang="0">
                    <a:pos x="197" y="179"/>
                  </a:cxn>
                  <a:cxn ang="0">
                    <a:pos x="206" y="201"/>
                  </a:cxn>
                  <a:cxn ang="0">
                    <a:pos x="194" y="227"/>
                  </a:cxn>
                  <a:cxn ang="0">
                    <a:pos x="184" y="211"/>
                  </a:cxn>
                  <a:cxn ang="0">
                    <a:pos x="174" y="211"/>
                  </a:cxn>
                  <a:cxn ang="0">
                    <a:pos x="156" y="210"/>
                  </a:cxn>
                  <a:cxn ang="0">
                    <a:pos x="125" y="189"/>
                  </a:cxn>
                  <a:cxn ang="0">
                    <a:pos x="119" y="171"/>
                  </a:cxn>
                  <a:cxn ang="0">
                    <a:pos x="113" y="150"/>
                  </a:cxn>
                  <a:cxn ang="0">
                    <a:pos x="125" y="126"/>
                  </a:cxn>
                  <a:cxn ang="0">
                    <a:pos x="105" y="108"/>
                  </a:cxn>
                  <a:cxn ang="0">
                    <a:pos x="89" y="104"/>
                  </a:cxn>
                  <a:cxn ang="0">
                    <a:pos x="81" y="125"/>
                  </a:cxn>
                  <a:cxn ang="0">
                    <a:pos x="68" y="121"/>
                  </a:cxn>
                  <a:cxn ang="0">
                    <a:pos x="55" y="126"/>
                  </a:cxn>
                  <a:cxn ang="0">
                    <a:pos x="50" y="123"/>
                  </a:cxn>
                  <a:cxn ang="0">
                    <a:pos x="39" y="112"/>
                  </a:cxn>
                  <a:cxn ang="0">
                    <a:pos x="16" y="153"/>
                  </a:cxn>
                  <a:cxn ang="0">
                    <a:pos x="3" y="155"/>
                  </a:cxn>
                  <a:cxn ang="0">
                    <a:pos x="7" y="121"/>
                  </a:cxn>
                  <a:cxn ang="0">
                    <a:pos x="22" y="93"/>
                  </a:cxn>
                  <a:cxn ang="0">
                    <a:pos x="56" y="76"/>
                  </a:cxn>
                  <a:cxn ang="0">
                    <a:pos x="73" y="64"/>
                  </a:cxn>
                  <a:cxn ang="0">
                    <a:pos x="99" y="64"/>
                  </a:cxn>
                  <a:cxn ang="0">
                    <a:pos x="98" y="94"/>
                  </a:cxn>
                  <a:cxn ang="0">
                    <a:pos x="127" y="69"/>
                  </a:cxn>
                  <a:cxn ang="0">
                    <a:pos x="146" y="66"/>
                  </a:cxn>
                  <a:cxn ang="0">
                    <a:pos x="153" y="49"/>
                  </a:cxn>
                  <a:cxn ang="0">
                    <a:pos x="169" y="46"/>
                  </a:cxn>
                  <a:cxn ang="0">
                    <a:pos x="189" y="43"/>
                  </a:cxn>
                  <a:cxn ang="0">
                    <a:pos x="194" y="26"/>
                  </a:cxn>
                  <a:cxn ang="0">
                    <a:pos x="191" y="1"/>
                  </a:cxn>
                </a:cxnLst>
                <a:rect l="0" t="0" r="r" b="b"/>
                <a:pathLst>
                  <a:path w="254" h="227">
                    <a:moveTo>
                      <a:pt x="191" y="1"/>
                    </a:moveTo>
                    <a:lnTo>
                      <a:pt x="190" y="0"/>
                    </a:lnTo>
                    <a:lnTo>
                      <a:pt x="200" y="0"/>
                    </a:lnTo>
                    <a:lnTo>
                      <a:pt x="207" y="10"/>
                    </a:lnTo>
                    <a:lnTo>
                      <a:pt x="215" y="13"/>
                    </a:lnTo>
                    <a:lnTo>
                      <a:pt x="224" y="26"/>
                    </a:lnTo>
                    <a:lnTo>
                      <a:pt x="229" y="26"/>
                    </a:lnTo>
                    <a:lnTo>
                      <a:pt x="233" y="33"/>
                    </a:lnTo>
                    <a:lnTo>
                      <a:pt x="240" y="46"/>
                    </a:lnTo>
                    <a:lnTo>
                      <a:pt x="240" y="51"/>
                    </a:lnTo>
                    <a:lnTo>
                      <a:pt x="231" y="64"/>
                    </a:lnTo>
                    <a:lnTo>
                      <a:pt x="242" y="70"/>
                    </a:lnTo>
                    <a:lnTo>
                      <a:pt x="242" y="81"/>
                    </a:lnTo>
                    <a:lnTo>
                      <a:pt x="246" y="86"/>
                    </a:lnTo>
                    <a:lnTo>
                      <a:pt x="248" y="104"/>
                    </a:lnTo>
                    <a:lnTo>
                      <a:pt x="250" y="110"/>
                    </a:lnTo>
                    <a:lnTo>
                      <a:pt x="254" y="124"/>
                    </a:lnTo>
                    <a:lnTo>
                      <a:pt x="254" y="142"/>
                    </a:lnTo>
                    <a:lnTo>
                      <a:pt x="249" y="150"/>
                    </a:lnTo>
                    <a:lnTo>
                      <a:pt x="243" y="152"/>
                    </a:lnTo>
                    <a:lnTo>
                      <a:pt x="238" y="161"/>
                    </a:lnTo>
                    <a:lnTo>
                      <a:pt x="238" y="185"/>
                    </a:lnTo>
                    <a:lnTo>
                      <a:pt x="231" y="179"/>
                    </a:lnTo>
                    <a:lnTo>
                      <a:pt x="227" y="167"/>
                    </a:lnTo>
                    <a:lnTo>
                      <a:pt x="227" y="151"/>
                    </a:lnTo>
                    <a:lnTo>
                      <a:pt x="221" y="142"/>
                    </a:lnTo>
                    <a:lnTo>
                      <a:pt x="217" y="134"/>
                    </a:lnTo>
                    <a:lnTo>
                      <a:pt x="212" y="131"/>
                    </a:lnTo>
                    <a:lnTo>
                      <a:pt x="207" y="135"/>
                    </a:lnTo>
                    <a:lnTo>
                      <a:pt x="192" y="158"/>
                    </a:lnTo>
                    <a:lnTo>
                      <a:pt x="191" y="172"/>
                    </a:lnTo>
                    <a:lnTo>
                      <a:pt x="197" y="179"/>
                    </a:lnTo>
                    <a:lnTo>
                      <a:pt x="202" y="189"/>
                    </a:lnTo>
                    <a:lnTo>
                      <a:pt x="206" y="201"/>
                    </a:lnTo>
                    <a:lnTo>
                      <a:pt x="206" y="207"/>
                    </a:lnTo>
                    <a:lnTo>
                      <a:pt x="194" y="227"/>
                    </a:lnTo>
                    <a:lnTo>
                      <a:pt x="186" y="223"/>
                    </a:lnTo>
                    <a:lnTo>
                      <a:pt x="184" y="211"/>
                    </a:lnTo>
                    <a:lnTo>
                      <a:pt x="183" y="205"/>
                    </a:lnTo>
                    <a:lnTo>
                      <a:pt x="174" y="211"/>
                    </a:lnTo>
                    <a:lnTo>
                      <a:pt x="164" y="212"/>
                    </a:lnTo>
                    <a:lnTo>
                      <a:pt x="156" y="210"/>
                    </a:lnTo>
                    <a:lnTo>
                      <a:pt x="133" y="199"/>
                    </a:lnTo>
                    <a:lnTo>
                      <a:pt x="125" y="189"/>
                    </a:lnTo>
                    <a:lnTo>
                      <a:pt x="120" y="182"/>
                    </a:lnTo>
                    <a:lnTo>
                      <a:pt x="119" y="171"/>
                    </a:lnTo>
                    <a:lnTo>
                      <a:pt x="116" y="162"/>
                    </a:lnTo>
                    <a:lnTo>
                      <a:pt x="113" y="150"/>
                    </a:lnTo>
                    <a:lnTo>
                      <a:pt x="125" y="134"/>
                    </a:lnTo>
                    <a:lnTo>
                      <a:pt x="125" y="126"/>
                    </a:lnTo>
                    <a:lnTo>
                      <a:pt x="116" y="116"/>
                    </a:lnTo>
                    <a:lnTo>
                      <a:pt x="105" y="108"/>
                    </a:lnTo>
                    <a:lnTo>
                      <a:pt x="97" y="104"/>
                    </a:lnTo>
                    <a:lnTo>
                      <a:pt x="89" y="104"/>
                    </a:lnTo>
                    <a:lnTo>
                      <a:pt x="81" y="119"/>
                    </a:lnTo>
                    <a:lnTo>
                      <a:pt x="81" y="125"/>
                    </a:lnTo>
                    <a:lnTo>
                      <a:pt x="73" y="121"/>
                    </a:lnTo>
                    <a:lnTo>
                      <a:pt x="68" y="121"/>
                    </a:lnTo>
                    <a:lnTo>
                      <a:pt x="68" y="114"/>
                    </a:lnTo>
                    <a:lnTo>
                      <a:pt x="55" y="126"/>
                    </a:lnTo>
                    <a:lnTo>
                      <a:pt x="54" y="132"/>
                    </a:lnTo>
                    <a:lnTo>
                      <a:pt x="50" y="123"/>
                    </a:lnTo>
                    <a:lnTo>
                      <a:pt x="47" y="112"/>
                    </a:lnTo>
                    <a:lnTo>
                      <a:pt x="39" y="112"/>
                    </a:lnTo>
                    <a:lnTo>
                      <a:pt x="28" y="124"/>
                    </a:lnTo>
                    <a:lnTo>
                      <a:pt x="16" y="153"/>
                    </a:lnTo>
                    <a:lnTo>
                      <a:pt x="9" y="156"/>
                    </a:lnTo>
                    <a:lnTo>
                      <a:pt x="3" y="155"/>
                    </a:lnTo>
                    <a:lnTo>
                      <a:pt x="0" y="144"/>
                    </a:lnTo>
                    <a:lnTo>
                      <a:pt x="7" y="121"/>
                    </a:lnTo>
                    <a:lnTo>
                      <a:pt x="12" y="104"/>
                    </a:lnTo>
                    <a:lnTo>
                      <a:pt x="22" y="93"/>
                    </a:lnTo>
                    <a:lnTo>
                      <a:pt x="52" y="85"/>
                    </a:lnTo>
                    <a:lnTo>
                      <a:pt x="56" y="76"/>
                    </a:lnTo>
                    <a:lnTo>
                      <a:pt x="63" y="69"/>
                    </a:lnTo>
                    <a:lnTo>
                      <a:pt x="73" y="64"/>
                    </a:lnTo>
                    <a:lnTo>
                      <a:pt x="79" y="56"/>
                    </a:lnTo>
                    <a:lnTo>
                      <a:pt x="99" y="64"/>
                    </a:lnTo>
                    <a:lnTo>
                      <a:pt x="104" y="76"/>
                    </a:lnTo>
                    <a:lnTo>
                      <a:pt x="98" y="94"/>
                    </a:lnTo>
                    <a:lnTo>
                      <a:pt x="120" y="85"/>
                    </a:lnTo>
                    <a:lnTo>
                      <a:pt x="127" y="69"/>
                    </a:lnTo>
                    <a:lnTo>
                      <a:pt x="138" y="64"/>
                    </a:lnTo>
                    <a:lnTo>
                      <a:pt x="146" y="66"/>
                    </a:lnTo>
                    <a:lnTo>
                      <a:pt x="151" y="60"/>
                    </a:lnTo>
                    <a:lnTo>
                      <a:pt x="153" y="49"/>
                    </a:lnTo>
                    <a:lnTo>
                      <a:pt x="158" y="43"/>
                    </a:lnTo>
                    <a:lnTo>
                      <a:pt x="169" y="46"/>
                    </a:lnTo>
                    <a:lnTo>
                      <a:pt x="181" y="40"/>
                    </a:lnTo>
                    <a:lnTo>
                      <a:pt x="189" y="43"/>
                    </a:lnTo>
                    <a:lnTo>
                      <a:pt x="192" y="39"/>
                    </a:lnTo>
                    <a:lnTo>
                      <a:pt x="194" y="26"/>
                    </a:lnTo>
                    <a:lnTo>
                      <a:pt x="191" y="7"/>
                    </a:lnTo>
                    <a:lnTo>
                      <a:pt x="191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88" name="Freeform 81"/>
            <p:cNvSpPr>
              <a:spLocks noChangeAspect="1"/>
            </p:cNvSpPr>
            <p:nvPr/>
          </p:nvSpPr>
          <p:spPr bwMode="gray">
            <a:xfrm>
              <a:off x="4907816" y="4129964"/>
              <a:ext cx="19811" cy="15849"/>
            </a:xfrm>
            <a:custGeom>
              <a:avLst/>
              <a:gdLst/>
              <a:ahLst/>
              <a:cxnLst>
                <a:cxn ang="0">
                  <a:pos x="67" y="9"/>
                </a:cxn>
                <a:cxn ang="0">
                  <a:pos x="72" y="14"/>
                </a:cxn>
                <a:cxn ang="0">
                  <a:pos x="76" y="21"/>
                </a:cxn>
                <a:cxn ang="0">
                  <a:pos x="77" y="26"/>
                </a:cxn>
                <a:cxn ang="0">
                  <a:pos x="77" y="32"/>
                </a:cxn>
                <a:cxn ang="0">
                  <a:pos x="76" y="37"/>
                </a:cxn>
                <a:cxn ang="0">
                  <a:pos x="70" y="37"/>
                </a:cxn>
                <a:cxn ang="0">
                  <a:pos x="65" y="35"/>
                </a:cxn>
                <a:cxn ang="0">
                  <a:pos x="61" y="27"/>
                </a:cxn>
                <a:cxn ang="0">
                  <a:pos x="59" y="20"/>
                </a:cxn>
                <a:cxn ang="0">
                  <a:pos x="56" y="16"/>
                </a:cxn>
                <a:cxn ang="0">
                  <a:pos x="51" y="16"/>
                </a:cxn>
                <a:cxn ang="0">
                  <a:pos x="46" y="19"/>
                </a:cxn>
                <a:cxn ang="0">
                  <a:pos x="43" y="24"/>
                </a:cxn>
                <a:cxn ang="0">
                  <a:pos x="41" y="48"/>
                </a:cxn>
                <a:cxn ang="0">
                  <a:pos x="39" y="56"/>
                </a:cxn>
                <a:cxn ang="0">
                  <a:pos x="34" y="58"/>
                </a:cxn>
                <a:cxn ang="0">
                  <a:pos x="29" y="57"/>
                </a:cxn>
                <a:cxn ang="0">
                  <a:pos x="26" y="53"/>
                </a:cxn>
                <a:cxn ang="0">
                  <a:pos x="21" y="48"/>
                </a:cxn>
                <a:cxn ang="0">
                  <a:pos x="17" y="42"/>
                </a:cxn>
                <a:cxn ang="0">
                  <a:pos x="7" y="31"/>
                </a:cxn>
                <a:cxn ang="0">
                  <a:pos x="3" y="29"/>
                </a:cxn>
                <a:cxn ang="0">
                  <a:pos x="0" y="27"/>
                </a:cxn>
                <a:cxn ang="0">
                  <a:pos x="2" y="25"/>
                </a:cxn>
                <a:cxn ang="0">
                  <a:pos x="11" y="22"/>
                </a:cxn>
                <a:cxn ang="0">
                  <a:pos x="26" y="21"/>
                </a:cxn>
                <a:cxn ang="0">
                  <a:pos x="33" y="16"/>
                </a:cxn>
                <a:cxn ang="0">
                  <a:pos x="53" y="0"/>
                </a:cxn>
                <a:cxn ang="0">
                  <a:pos x="55" y="8"/>
                </a:cxn>
                <a:cxn ang="0">
                  <a:pos x="67" y="9"/>
                </a:cxn>
              </a:cxnLst>
              <a:rect l="0" t="0" r="r" b="b"/>
              <a:pathLst>
                <a:path w="77" h="58">
                  <a:moveTo>
                    <a:pt x="67" y="9"/>
                  </a:moveTo>
                  <a:lnTo>
                    <a:pt x="72" y="14"/>
                  </a:lnTo>
                  <a:lnTo>
                    <a:pt x="76" y="21"/>
                  </a:lnTo>
                  <a:lnTo>
                    <a:pt x="77" y="26"/>
                  </a:lnTo>
                  <a:lnTo>
                    <a:pt x="77" y="32"/>
                  </a:lnTo>
                  <a:lnTo>
                    <a:pt x="76" y="37"/>
                  </a:lnTo>
                  <a:lnTo>
                    <a:pt x="70" y="37"/>
                  </a:lnTo>
                  <a:lnTo>
                    <a:pt x="65" y="35"/>
                  </a:lnTo>
                  <a:lnTo>
                    <a:pt x="61" y="27"/>
                  </a:lnTo>
                  <a:lnTo>
                    <a:pt x="59" y="20"/>
                  </a:lnTo>
                  <a:lnTo>
                    <a:pt x="56" y="16"/>
                  </a:lnTo>
                  <a:lnTo>
                    <a:pt x="51" y="16"/>
                  </a:lnTo>
                  <a:lnTo>
                    <a:pt x="46" y="19"/>
                  </a:lnTo>
                  <a:lnTo>
                    <a:pt x="43" y="24"/>
                  </a:lnTo>
                  <a:lnTo>
                    <a:pt x="41" y="48"/>
                  </a:lnTo>
                  <a:lnTo>
                    <a:pt x="39" y="56"/>
                  </a:lnTo>
                  <a:lnTo>
                    <a:pt x="34" y="58"/>
                  </a:lnTo>
                  <a:lnTo>
                    <a:pt x="29" y="57"/>
                  </a:lnTo>
                  <a:lnTo>
                    <a:pt x="26" y="53"/>
                  </a:lnTo>
                  <a:lnTo>
                    <a:pt x="21" y="48"/>
                  </a:lnTo>
                  <a:lnTo>
                    <a:pt x="17" y="42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11" y="22"/>
                  </a:lnTo>
                  <a:lnTo>
                    <a:pt x="26" y="21"/>
                  </a:lnTo>
                  <a:lnTo>
                    <a:pt x="33" y="16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67" y="9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89" name="Freeform 82"/>
            <p:cNvSpPr>
              <a:spLocks noChangeAspect="1"/>
            </p:cNvSpPr>
            <p:nvPr/>
          </p:nvSpPr>
          <p:spPr bwMode="gray">
            <a:xfrm>
              <a:off x="4938192" y="4250151"/>
              <a:ext cx="3962" cy="11887"/>
            </a:xfrm>
            <a:custGeom>
              <a:avLst/>
              <a:gdLst/>
              <a:ahLst/>
              <a:cxnLst>
                <a:cxn ang="0">
                  <a:pos x="8" y="1"/>
                </a:cxn>
                <a:cxn ang="0">
                  <a:pos x="9" y="0"/>
                </a:cxn>
                <a:cxn ang="0">
                  <a:pos x="11" y="10"/>
                </a:cxn>
                <a:cxn ang="0">
                  <a:pos x="13" y="26"/>
                </a:cxn>
                <a:cxn ang="0">
                  <a:pos x="15" y="33"/>
                </a:cxn>
                <a:cxn ang="0">
                  <a:pos x="9" y="41"/>
                </a:cxn>
                <a:cxn ang="0">
                  <a:pos x="4" y="42"/>
                </a:cxn>
                <a:cxn ang="0">
                  <a:pos x="0" y="27"/>
                </a:cxn>
                <a:cxn ang="0">
                  <a:pos x="0" y="13"/>
                </a:cxn>
                <a:cxn ang="0">
                  <a:pos x="3" y="4"/>
                </a:cxn>
                <a:cxn ang="0">
                  <a:pos x="8" y="0"/>
                </a:cxn>
                <a:cxn ang="0">
                  <a:pos x="8" y="1"/>
                </a:cxn>
              </a:cxnLst>
              <a:rect l="0" t="0" r="r" b="b"/>
              <a:pathLst>
                <a:path w="15" h="42">
                  <a:moveTo>
                    <a:pt x="8" y="1"/>
                  </a:moveTo>
                  <a:lnTo>
                    <a:pt x="9" y="0"/>
                  </a:lnTo>
                  <a:lnTo>
                    <a:pt x="11" y="10"/>
                  </a:lnTo>
                  <a:lnTo>
                    <a:pt x="13" y="26"/>
                  </a:lnTo>
                  <a:lnTo>
                    <a:pt x="15" y="33"/>
                  </a:lnTo>
                  <a:lnTo>
                    <a:pt x="9" y="41"/>
                  </a:lnTo>
                  <a:lnTo>
                    <a:pt x="4" y="42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3" y="4"/>
                  </a:lnTo>
                  <a:lnTo>
                    <a:pt x="8" y="0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0" name="Freeform 83"/>
            <p:cNvSpPr>
              <a:spLocks noChangeAspect="1"/>
            </p:cNvSpPr>
            <p:nvPr/>
          </p:nvSpPr>
          <p:spPr bwMode="gray">
            <a:xfrm>
              <a:off x="5063663" y="4324112"/>
              <a:ext cx="35660" cy="15849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2" y="38"/>
                </a:cxn>
                <a:cxn ang="0">
                  <a:pos x="11" y="29"/>
                </a:cxn>
                <a:cxn ang="0">
                  <a:pos x="18" y="17"/>
                </a:cxn>
                <a:cxn ang="0">
                  <a:pos x="27" y="16"/>
                </a:cxn>
                <a:cxn ang="0">
                  <a:pos x="55" y="11"/>
                </a:cxn>
                <a:cxn ang="0">
                  <a:pos x="61" y="7"/>
                </a:cxn>
                <a:cxn ang="0">
                  <a:pos x="71" y="10"/>
                </a:cxn>
                <a:cxn ang="0">
                  <a:pos x="98" y="7"/>
                </a:cxn>
                <a:cxn ang="0">
                  <a:pos x="109" y="3"/>
                </a:cxn>
                <a:cxn ang="0">
                  <a:pos x="118" y="2"/>
                </a:cxn>
                <a:cxn ang="0">
                  <a:pos x="124" y="0"/>
                </a:cxn>
                <a:cxn ang="0">
                  <a:pos x="132" y="2"/>
                </a:cxn>
                <a:cxn ang="0">
                  <a:pos x="133" y="6"/>
                </a:cxn>
                <a:cxn ang="0">
                  <a:pos x="129" y="19"/>
                </a:cxn>
                <a:cxn ang="0">
                  <a:pos x="113" y="23"/>
                </a:cxn>
                <a:cxn ang="0">
                  <a:pos x="88" y="37"/>
                </a:cxn>
                <a:cxn ang="0">
                  <a:pos x="73" y="40"/>
                </a:cxn>
                <a:cxn ang="0">
                  <a:pos x="61" y="46"/>
                </a:cxn>
                <a:cxn ang="0">
                  <a:pos x="39" y="51"/>
                </a:cxn>
                <a:cxn ang="0">
                  <a:pos x="23" y="61"/>
                </a:cxn>
                <a:cxn ang="0">
                  <a:pos x="18" y="59"/>
                </a:cxn>
                <a:cxn ang="0">
                  <a:pos x="0" y="39"/>
                </a:cxn>
              </a:cxnLst>
              <a:rect l="0" t="0" r="r" b="b"/>
              <a:pathLst>
                <a:path w="133" h="61">
                  <a:moveTo>
                    <a:pt x="0" y="39"/>
                  </a:moveTo>
                  <a:lnTo>
                    <a:pt x="2" y="38"/>
                  </a:lnTo>
                  <a:lnTo>
                    <a:pt x="11" y="29"/>
                  </a:lnTo>
                  <a:lnTo>
                    <a:pt x="18" y="17"/>
                  </a:lnTo>
                  <a:lnTo>
                    <a:pt x="27" y="16"/>
                  </a:lnTo>
                  <a:lnTo>
                    <a:pt x="55" y="11"/>
                  </a:lnTo>
                  <a:lnTo>
                    <a:pt x="61" y="7"/>
                  </a:lnTo>
                  <a:lnTo>
                    <a:pt x="71" y="10"/>
                  </a:lnTo>
                  <a:lnTo>
                    <a:pt x="98" y="7"/>
                  </a:lnTo>
                  <a:lnTo>
                    <a:pt x="109" y="3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33" y="6"/>
                  </a:lnTo>
                  <a:lnTo>
                    <a:pt x="129" y="19"/>
                  </a:lnTo>
                  <a:lnTo>
                    <a:pt x="113" y="23"/>
                  </a:lnTo>
                  <a:lnTo>
                    <a:pt x="88" y="37"/>
                  </a:lnTo>
                  <a:lnTo>
                    <a:pt x="73" y="40"/>
                  </a:lnTo>
                  <a:lnTo>
                    <a:pt x="61" y="46"/>
                  </a:lnTo>
                  <a:lnTo>
                    <a:pt x="39" y="51"/>
                  </a:lnTo>
                  <a:lnTo>
                    <a:pt x="23" y="61"/>
                  </a:lnTo>
                  <a:lnTo>
                    <a:pt x="18" y="5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1" name="Freeform 84"/>
            <p:cNvSpPr>
              <a:spLocks noChangeAspect="1"/>
            </p:cNvSpPr>
            <p:nvPr/>
          </p:nvSpPr>
          <p:spPr bwMode="gray">
            <a:xfrm>
              <a:off x="5046493" y="4334678"/>
              <a:ext cx="22453" cy="18490"/>
            </a:xfrm>
            <a:custGeom>
              <a:avLst/>
              <a:gdLst/>
              <a:ahLst/>
              <a:cxnLst>
                <a:cxn ang="0">
                  <a:pos x="85" y="20"/>
                </a:cxn>
                <a:cxn ang="0">
                  <a:pos x="85" y="22"/>
                </a:cxn>
                <a:cxn ang="0">
                  <a:pos x="80" y="35"/>
                </a:cxn>
                <a:cxn ang="0">
                  <a:pos x="69" y="46"/>
                </a:cxn>
                <a:cxn ang="0">
                  <a:pos x="63" y="54"/>
                </a:cxn>
                <a:cxn ang="0">
                  <a:pos x="54" y="58"/>
                </a:cxn>
                <a:cxn ang="0">
                  <a:pos x="49" y="60"/>
                </a:cxn>
                <a:cxn ang="0">
                  <a:pos x="40" y="63"/>
                </a:cxn>
                <a:cxn ang="0">
                  <a:pos x="31" y="68"/>
                </a:cxn>
                <a:cxn ang="0">
                  <a:pos x="21" y="70"/>
                </a:cxn>
                <a:cxn ang="0">
                  <a:pos x="15" y="71"/>
                </a:cxn>
                <a:cxn ang="0">
                  <a:pos x="5" y="71"/>
                </a:cxn>
                <a:cxn ang="0">
                  <a:pos x="0" y="66"/>
                </a:cxn>
                <a:cxn ang="0">
                  <a:pos x="8" y="58"/>
                </a:cxn>
                <a:cxn ang="0">
                  <a:pos x="9" y="52"/>
                </a:cxn>
                <a:cxn ang="0">
                  <a:pos x="6" y="46"/>
                </a:cxn>
                <a:cxn ang="0">
                  <a:pos x="8" y="31"/>
                </a:cxn>
                <a:cxn ang="0">
                  <a:pos x="15" y="23"/>
                </a:cxn>
                <a:cxn ang="0">
                  <a:pos x="22" y="17"/>
                </a:cxn>
                <a:cxn ang="0">
                  <a:pos x="32" y="15"/>
                </a:cxn>
                <a:cxn ang="0">
                  <a:pos x="41" y="9"/>
                </a:cxn>
                <a:cxn ang="0">
                  <a:pos x="48" y="6"/>
                </a:cxn>
                <a:cxn ang="0">
                  <a:pos x="53" y="4"/>
                </a:cxn>
                <a:cxn ang="0">
                  <a:pos x="62" y="3"/>
                </a:cxn>
                <a:cxn ang="0">
                  <a:pos x="67" y="0"/>
                </a:cxn>
                <a:cxn ang="0">
                  <a:pos x="85" y="20"/>
                </a:cxn>
              </a:cxnLst>
              <a:rect l="0" t="0" r="r" b="b"/>
              <a:pathLst>
                <a:path w="85" h="71">
                  <a:moveTo>
                    <a:pt x="85" y="20"/>
                  </a:moveTo>
                  <a:lnTo>
                    <a:pt x="85" y="22"/>
                  </a:lnTo>
                  <a:lnTo>
                    <a:pt x="80" y="35"/>
                  </a:lnTo>
                  <a:lnTo>
                    <a:pt x="69" y="46"/>
                  </a:lnTo>
                  <a:lnTo>
                    <a:pt x="63" y="54"/>
                  </a:lnTo>
                  <a:lnTo>
                    <a:pt x="54" y="58"/>
                  </a:lnTo>
                  <a:lnTo>
                    <a:pt x="49" y="60"/>
                  </a:lnTo>
                  <a:lnTo>
                    <a:pt x="40" y="63"/>
                  </a:lnTo>
                  <a:lnTo>
                    <a:pt x="31" y="68"/>
                  </a:lnTo>
                  <a:lnTo>
                    <a:pt x="21" y="70"/>
                  </a:lnTo>
                  <a:lnTo>
                    <a:pt x="15" y="71"/>
                  </a:lnTo>
                  <a:lnTo>
                    <a:pt x="5" y="71"/>
                  </a:lnTo>
                  <a:lnTo>
                    <a:pt x="0" y="66"/>
                  </a:lnTo>
                  <a:lnTo>
                    <a:pt x="8" y="58"/>
                  </a:lnTo>
                  <a:lnTo>
                    <a:pt x="9" y="52"/>
                  </a:lnTo>
                  <a:lnTo>
                    <a:pt x="6" y="46"/>
                  </a:lnTo>
                  <a:lnTo>
                    <a:pt x="8" y="31"/>
                  </a:lnTo>
                  <a:lnTo>
                    <a:pt x="15" y="23"/>
                  </a:lnTo>
                  <a:lnTo>
                    <a:pt x="22" y="17"/>
                  </a:lnTo>
                  <a:lnTo>
                    <a:pt x="32" y="15"/>
                  </a:lnTo>
                  <a:lnTo>
                    <a:pt x="41" y="9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62" y="3"/>
                  </a:lnTo>
                  <a:lnTo>
                    <a:pt x="67" y="0"/>
                  </a:lnTo>
                  <a:lnTo>
                    <a:pt x="85" y="2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2" name="Freeform 85"/>
            <p:cNvSpPr>
              <a:spLocks noChangeAspect="1"/>
            </p:cNvSpPr>
            <p:nvPr/>
          </p:nvSpPr>
          <p:spPr bwMode="gray">
            <a:xfrm>
              <a:off x="5109889" y="4243547"/>
              <a:ext cx="42264" cy="15849"/>
            </a:xfrm>
            <a:custGeom>
              <a:avLst/>
              <a:gdLst/>
              <a:ahLst/>
              <a:cxnLst>
                <a:cxn ang="0">
                  <a:pos x="3" y="38"/>
                </a:cxn>
                <a:cxn ang="0">
                  <a:pos x="1" y="37"/>
                </a:cxn>
                <a:cxn ang="0">
                  <a:pos x="0" y="24"/>
                </a:cxn>
                <a:cxn ang="0">
                  <a:pos x="2" y="18"/>
                </a:cxn>
                <a:cxn ang="0">
                  <a:pos x="7" y="14"/>
                </a:cxn>
                <a:cxn ang="0">
                  <a:pos x="12" y="8"/>
                </a:cxn>
                <a:cxn ang="0">
                  <a:pos x="17" y="3"/>
                </a:cxn>
                <a:cxn ang="0">
                  <a:pos x="43" y="5"/>
                </a:cxn>
                <a:cxn ang="0">
                  <a:pos x="54" y="4"/>
                </a:cxn>
                <a:cxn ang="0">
                  <a:pos x="63" y="2"/>
                </a:cxn>
                <a:cxn ang="0">
                  <a:pos x="70" y="5"/>
                </a:cxn>
                <a:cxn ang="0">
                  <a:pos x="88" y="0"/>
                </a:cxn>
                <a:cxn ang="0">
                  <a:pos x="99" y="4"/>
                </a:cxn>
                <a:cxn ang="0">
                  <a:pos x="108" y="11"/>
                </a:cxn>
                <a:cxn ang="0">
                  <a:pos x="116" y="13"/>
                </a:cxn>
                <a:cxn ang="0">
                  <a:pos x="125" y="13"/>
                </a:cxn>
                <a:cxn ang="0">
                  <a:pos x="132" y="10"/>
                </a:cxn>
                <a:cxn ang="0">
                  <a:pos x="142" y="14"/>
                </a:cxn>
                <a:cxn ang="0">
                  <a:pos x="148" y="30"/>
                </a:cxn>
                <a:cxn ang="0">
                  <a:pos x="152" y="35"/>
                </a:cxn>
                <a:cxn ang="0">
                  <a:pos x="160" y="37"/>
                </a:cxn>
                <a:cxn ang="0">
                  <a:pos x="162" y="50"/>
                </a:cxn>
                <a:cxn ang="0">
                  <a:pos x="157" y="59"/>
                </a:cxn>
                <a:cxn ang="0">
                  <a:pos x="149" y="54"/>
                </a:cxn>
                <a:cxn ang="0">
                  <a:pos x="108" y="32"/>
                </a:cxn>
                <a:cxn ang="0">
                  <a:pos x="98" y="30"/>
                </a:cxn>
                <a:cxn ang="0">
                  <a:pos x="88" y="30"/>
                </a:cxn>
                <a:cxn ang="0">
                  <a:pos x="88" y="35"/>
                </a:cxn>
                <a:cxn ang="0">
                  <a:pos x="83" y="36"/>
                </a:cxn>
                <a:cxn ang="0">
                  <a:pos x="72" y="35"/>
                </a:cxn>
                <a:cxn ang="0">
                  <a:pos x="62" y="34"/>
                </a:cxn>
                <a:cxn ang="0">
                  <a:pos x="54" y="26"/>
                </a:cxn>
                <a:cxn ang="0">
                  <a:pos x="45" y="30"/>
                </a:cxn>
                <a:cxn ang="0">
                  <a:pos x="41" y="35"/>
                </a:cxn>
                <a:cxn ang="0">
                  <a:pos x="34" y="37"/>
                </a:cxn>
                <a:cxn ang="0">
                  <a:pos x="24" y="32"/>
                </a:cxn>
                <a:cxn ang="0">
                  <a:pos x="13" y="21"/>
                </a:cxn>
                <a:cxn ang="0">
                  <a:pos x="11" y="24"/>
                </a:cxn>
                <a:cxn ang="0">
                  <a:pos x="3" y="38"/>
                </a:cxn>
              </a:cxnLst>
              <a:rect l="0" t="0" r="r" b="b"/>
              <a:pathLst>
                <a:path w="162" h="59">
                  <a:moveTo>
                    <a:pt x="3" y="38"/>
                  </a:moveTo>
                  <a:lnTo>
                    <a:pt x="1" y="37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7" y="14"/>
                  </a:lnTo>
                  <a:lnTo>
                    <a:pt x="12" y="8"/>
                  </a:lnTo>
                  <a:lnTo>
                    <a:pt x="17" y="3"/>
                  </a:lnTo>
                  <a:lnTo>
                    <a:pt x="43" y="5"/>
                  </a:lnTo>
                  <a:lnTo>
                    <a:pt x="54" y="4"/>
                  </a:lnTo>
                  <a:lnTo>
                    <a:pt x="63" y="2"/>
                  </a:lnTo>
                  <a:lnTo>
                    <a:pt x="70" y="5"/>
                  </a:lnTo>
                  <a:lnTo>
                    <a:pt x="88" y="0"/>
                  </a:lnTo>
                  <a:lnTo>
                    <a:pt x="99" y="4"/>
                  </a:lnTo>
                  <a:lnTo>
                    <a:pt x="108" y="11"/>
                  </a:lnTo>
                  <a:lnTo>
                    <a:pt x="116" y="13"/>
                  </a:lnTo>
                  <a:lnTo>
                    <a:pt x="125" y="13"/>
                  </a:lnTo>
                  <a:lnTo>
                    <a:pt x="132" y="10"/>
                  </a:lnTo>
                  <a:lnTo>
                    <a:pt x="142" y="14"/>
                  </a:lnTo>
                  <a:lnTo>
                    <a:pt x="148" y="30"/>
                  </a:lnTo>
                  <a:lnTo>
                    <a:pt x="152" y="35"/>
                  </a:lnTo>
                  <a:lnTo>
                    <a:pt x="160" y="37"/>
                  </a:lnTo>
                  <a:lnTo>
                    <a:pt x="162" y="50"/>
                  </a:lnTo>
                  <a:lnTo>
                    <a:pt x="157" y="59"/>
                  </a:lnTo>
                  <a:lnTo>
                    <a:pt x="149" y="54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5"/>
                  </a:lnTo>
                  <a:lnTo>
                    <a:pt x="83" y="36"/>
                  </a:lnTo>
                  <a:lnTo>
                    <a:pt x="72" y="35"/>
                  </a:lnTo>
                  <a:lnTo>
                    <a:pt x="62" y="34"/>
                  </a:lnTo>
                  <a:lnTo>
                    <a:pt x="54" y="26"/>
                  </a:lnTo>
                  <a:lnTo>
                    <a:pt x="45" y="30"/>
                  </a:lnTo>
                  <a:lnTo>
                    <a:pt x="41" y="35"/>
                  </a:lnTo>
                  <a:lnTo>
                    <a:pt x="34" y="37"/>
                  </a:lnTo>
                  <a:lnTo>
                    <a:pt x="24" y="32"/>
                  </a:lnTo>
                  <a:lnTo>
                    <a:pt x="13" y="21"/>
                  </a:lnTo>
                  <a:lnTo>
                    <a:pt x="11" y="24"/>
                  </a:lnTo>
                  <a:lnTo>
                    <a:pt x="3" y="38"/>
                  </a:lnTo>
                  <a:close/>
                </a:path>
              </a:pathLst>
            </a:custGeom>
            <a:solidFill>
              <a:srgbClr val="92908D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3" name="Freeform 86"/>
            <p:cNvSpPr>
              <a:spLocks noChangeAspect="1"/>
            </p:cNvSpPr>
            <p:nvPr/>
          </p:nvSpPr>
          <p:spPr bwMode="gray">
            <a:xfrm>
              <a:off x="4979135" y="4178831"/>
              <a:ext cx="91131" cy="106980"/>
            </a:xfrm>
            <a:custGeom>
              <a:avLst/>
              <a:gdLst/>
              <a:ahLst/>
              <a:cxnLst>
                <a:cxn ang="0">
                  <a:pos x="141" y="30"/>
                </a:cxn>
                <a:cxn ang="0">
                  <a:pos x="163" y="33"/>
                </a:cxn>
                <a:cxn ang="0">
                  <a:pos x="184" y="36"/>
                </a:cxn>
                <a:cxn ang="0">
                  <a:pos x="205" y="43"/>
                </a:cxn>
                <a:cxn ang="0">
                  <a:pos x="229" y="42"/>
                </a:cxn>
                <a:cxn ang="0">
                  <a:pos x="288" y="42"/>
                </a:cxn>
                <a:cxn ang="0">
                  <a:pos x="325" y="6"/>
                </a:cxn>
                <a:cxn ang="0">
                  <a:pos x="344" y="4"/>
                </a:cxn>
                <a:cxn ang="0">
                  <a:pos x="339" y="30"/>
                </a:cxn>
                <a:cxn ang="0">
                  <a:pos x="303" y="69"/>
                </a:cxn>
                <a:cxn ang="0">
                  <a:pos x="268" y="78"/>
                </a:cxn>
                <a:cxn ang="0">
                  <a:pos x="218" y="68"/>
                </a:cxn>
                <a:cxn ang="0">
                  <a:pos x="164" y="72"/>
                </a:cxn>
                <a:cxn ang="0">
                  <a:pos x="145" y="69"/>
                </a:cxn>
                <a:cxn ang="0">
                  <a:pos x="121" y="72"/>
                </a:cxn>
                <a:cxn ang="0">
                  <a:pos x="87" y="69"/>
                </a:cxn>
                <a:cxn ang="0">
                  <a:pos x="67" y="107"/>
                </a:cxn>
                <a:cxn ang="0">
                  <a:pos x="86" y="148"/>
                </a:cxn>
                <a:cxn ang="0">
                  <a:pos x="124" y="164"/>
                </a:cxn>
                <a:cxn ang="0">
                  <a:pos x="151" y="143"/>
                </a:cxn>
                <a:cxn ang="0">
                  <a:pos x="172" y="148"/>
                </a:cxn>
                <a:cxn ang="0">
                  <a:pos x="215" y="138"/>
                </a:cxn>
                <a:cxn ang="0">
                  <a:pos x="244" y="124"/>
                </a:cxn>
                <a:cxn ang="0">
                  <a:pos x="243" y="150"/>
                </a:cxn>
                <a:cxn ang="0">
                  <a:pos x="198" y="172"/>
                </a:cxn>
                <a:cxn ang="0">
                  <a:pos x="166" y="189"/>
                </a:cxn>
                <a:cxn ang="0">
                  <a:pos x="137" y="193"/>
                </a:cxn>
                <a:cxn ang="0">
                  <a:pos x="180" y="251"/>
                </a:cxn>
                <a:cxn ang="0">
                  <a:pos x="196" y="271"/>
                </a:cxn>
                <a:cxn ang="0">
                  <a:pos x="184" y="286"/>
                </a:cxn>
                <a:cxn ang="0">
                  <a:pos x="202" y="309"/>
                </a:cxn>
                <a:cxn ang="0">
                  <a:pos x="216" y="320"/>
                </a:cxn>
                <a:cxn ang="0">
                  <a:pos x="211" y="337"/>
                </a:cxn>
                <a:cxn ang="0">
                  <a:pos x="175" y="354"/>
                </a:cxn>
                <a:cxn ang="0">
                  <a:pos x="146" y="348"/>
                </a:cxn>
                <a:cxn ang="0">
                  <a:pos x="143" y="314"/>
                </a:cxn>
                <a:cxn ang="0">
                  <a:pos x="113" y="280"/>
                </a:cxn>
                <a:cxn ang="0">
                  <a:pos x="119" y="245"/>
                </a:cxn>
                <a:cxn ang="0">
                  <a:pos x="92" y="245"/>
                </a:cxn>
                <a:cxn ang="0">
                  <a:pos x="83" y="280"/>
                </a:cxn>
                <a:cxn ang="0">
                  <a:pos x="86" y="354"/>
                </a:cxn>
                <a:cxn ang="0">
                  <a:pos x="85" y="397"/>
                </a:cxn>
                <a:cxn ang="0">
                  <a:pos x="55" y="404"/>
                </a:cxn>
                <a:cxn ang="0">
                  <a:pos x="27" y="384"/>
                </a:cxn>
                <a:cxn ang="0">
                  <a:pos x="43" y="316"/>
                </a:cxn>
                <a:cxn ang="0">
                  <a:pos x="22" y="284"/>
                </a:cxn>
                <a:cxn ang="0">
                  <a:pos x="0" y="259"/>
                </a:cxn>
                <a:cxn ang="0">
                  <a:pos x="18" y="210"/>
                </a:cxn>
                <a:cxn ang="0">
                  <a:pos x="37" y="144"/>
                </a:cxn>
                <a:cxn ang="0">
                  <a:pos x="51" y="138"/>
                </a:cxn>
                <a:cxn ang="0">
                  <a:pos x="45" y="97"/>
                </a:cxn>
                <a:cxn ang="0">
                  <a:pos x="55" y="80"/>
                </a:cxn>
                <a:cxn ang="0">
                  <a:pos x="73" y="46"/>
                </a:cxn>
                <a:cxn ang="0">
                  <a:pos x="93" y="51"/>
                </a:cxn>
                <a:cxn ang="0">
                  <a:pos x="110" y="24"/>
                </a:cxn>
              </a:cxnLst>
              <a:rect l="0" t="0" r="r" b="b"/>
              <a:pathLst>
                <a:path w="345" h="404">
                  <a:moveTo>
                    <a:pt x="120" y="22"/>
                  </a:moveTo>
                  <a:lnTo>
                    <a:pt x="139" y="24"/>
                  </a:lnTo>
                  <a:lnTo>
                    <a:pt x="141" y="30"/>
                  </a:lnTo>
                  <a:lnTo>
                    <a:pt x="147" y="35"/>
                  </a:lnTo>
                  <a:lnTo>
                    <a:pt x="155" y="36"/>
                  </a:lnTo>
                  <a:lnTo>
                    <a:pt x="163" y="33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4" y="36"/>
                  </a:lnTo>
                  <a:lnTo>
                    <a:pt x="193" y="36"/>
                  </a:lnTo>
                  <a:lnTo>
                    <a:pt x="201" y="38"/>
                  </a:lnTo>
                  <a:lnTo>
                    <a:pt x="205" y="43"/>
                  </a:lnTo>
                  <a:lnTo>
                    <a:pt x="216" y="47"/>
                  </a:lnTo>
                  <a:lnTo>
                    <a:pt x="222" y="46"/>
                  </a:lnTo>
                  <a:lnTo>
                    <a:pt x="229" y="42"/>
                  </a:lnTo>
                  <a:lnTo>
                    <a:pt x="237" y="41"/>
                  </a:lnTo>
                  <a:lnTo>
                    <a:pt x="274" y="46"/>
                  </a:lnTo>
                  <a:lnTo>
                    <a:pt x="288" y="42"/>
                  </a:lnTo>
                  <a:lnTo>
                    <a:pt x="309" y="21"/>
                  </a:lnTo>
                  <a:lnTo>
                    <a:pt x="317" y="16"/>
                  </a:lnTo>
                  <a:lnTo>
                    <a:pt x="325" y="6"/>
                  </a:lnTo>
                  <a:lnTo>
                    <a:pt x="335" y="0"/>
                  </a:lnTo>
                  <a:lnTo>
                    <a:pt x="341" y="2"/>
                  </a:lnTo>
                  <a:lnTo>
                    <a:pt x="344" y="4"/>
                  </a:lnTo>
                  <a:lnTo>
                    <a:pt x="345" y="13"/>
                  </a:lnTo>
                  <a:lnTo>
                    <a:pt x="344" y="20"/>
                  </a:lnTo>
                  <a:lnTo>
                    <a:pt x="339" y="30"/>
                  </a:lnTo>
                  <a:lnTo>
                    <a:pt x="323" y="47"/>
                  </a:lnTo>
                  <a:lnTo>
                    <a:pt x="313" y="60"/>
                  </a:lnTo>
                  <a:lnTo>
                    <a:pt x="303" y="69"/>
                  </a:lnTo>
                  <a:lnTo>
                    <a:pt x="293" y="75"/>
                  </a:lnTo>
                  <a:lnTo>
                    <a:pt x="280" y="75"/>
                  </a:lnTo>
                  <a:lnTo>
                    <a:pt x="268" y="78"/>
                  </a:lnTo>
                  <a:lnTo>
                    <a:pt x="245" y="78"/>
                  </a:lnTo>
                  <a:lnTo>
                    <a:pt x="234" y="70"/>
                  </a:lnTo>
                  <a:lnTo>
                    <a:pt x="218" y="68"/>
                  </a:lnTo>
                  <a:lnTo>
                    <a:pt x="201" y="68"/>
                  </a:lnTo>
                  <a:lnTo>
                    <a:pt x="178" y="69"/>
                  </a:lnTo>
                  <a:lnTo>
                    <a:pt x="164" y="72"/>
                  </a:lnTo>
                  <a:lnTo>
                    <a:pt x="156" y="68"/>
                  </a:lnTo>
                  <a:lnTo>
                    <a:pt x="148" y="68"/>
                  </a:lnTo>
                  <a:lnTo>
                    <a:pt x="145" y="69"/>
                  </a:lnTo>
                  <a:lnTo>
                    <a:pt x="135" y="67"/>
                  </a:lnTo>
                  <a:lnTo>
                    <a:pt x="130" y="68"/>
                  </a:lnTo>
                  <a:lnTo>
                    <a:pt x="121" y="72"/>
                  </a:lnTo>
                  <a:lnTo>
                    <a:pt x="109" y="72"/>
                  </a:lnTo>
                  <a:lnTo>
                    <a:pt x="98" y="69"/>
                  </a:lnTo>
                  <a:lnTo>
                    <a:pt x="87" y="69"/>
                  </a:lnTo>
                  <a:lnTo>
                    <a:pt x="77" y="80"/>
                  </a:lnTo>
                  <a:lnTo>
                    <a:pt x="70" y="94"/>
                  </a:lnTo>
                  <a:lnTo>
                    <a:pt x="67" y="107"/>
                  </a:lnTo>
                  <a:lnTo>
                    <a:pt x="67" y="137"/>
                  </a:lnTo>
                  <a:lnTo>
                    <a:pt x="75" y="144"/>
                  </a:lnTo>
                  <a:lnTo>
                    <a:pt x="86" y="148"/>
                  </a:lnTo>
                  <a:lnTo>
                    <a:pt x="100" y="171"/>
                  </a:lnTo>
                  <a:lnTo>
                    <a:pt x="121" y="170"/>
                  </a:lnTo>
                  <a:lnTo>
                    <a:pt x="124" y="164"/>
                  </a:lnTo>
                  <a:lnTo>
                    <a:pt x="132" y="156"/>
                  </a:lnTo>
                  <a:lnTo>
                    <a:pt x="140" y="146"/>
                  </a:lnTo>
                  <a:lnTo>
                    <a:pt x="151" y="143"/>
                  </a:lnTo>
                  <a:lnTo>
                    <a:pt x="159" y="145"/>
                  </a:lnTo>
                  <a:lnTo>
                    <a:pt x="163" y="145"/>
                  </a:lnTo>
                  <a:lnTo>
                    <a:pt x="172" y="148"/>
                  </a:lnTo>
                  <a:lnTo>
                    <a:pt x="177" y="140"/>
                  </a:lnTo>
                  <a:lnTo>
                    <a:pt x="193" y="138"/>
                  </a:lnTo>
                  <a:lnTo>
                    <a:pt x="215" y="138"/>
                  </a:lnTo>
                  <a:lnTo>
                    <a:pt x="217" y="129"/>
                  </a:lnTo>
                  <a:lnTo>
                    <a:pt x="233" y="124"/>
                  </a:lnTo>
                  <a:lnTo>
                    <a:pt x="244" y="124"/>
                  </a:lnTo>
                  <a:lnTo>
                    <a:pt x="250" y="133"/>
                  </a:lnTo>
                  <a:lnTo>
                    <a:pt x="249" y="144"/>
                  </a:lnTo>
                  <a:lnTo>
                    <a:pt x="243" y="150"/>
                  </a:lnTo>
                  <a:lnTo>
                    <a:pt x="231" y="144"/>
                  </a:lnTo>
                  <a:lnTo>
                    <a:pt x="218" y="146"/>
                  </a:lnTo>
                  <a:lnTo>
                    <a:pt x="198" y="172"/>
                  </a:lnTo>
                  <a:lnTo>
                    <a:pt x="189" y="180"/>
                  </a:lnTo>
                  <a:lnTo>
                    <a:pt x="173" y="187"/>
                  </a:lnTo>
                  <a:lnTo>
                    <a:pt x="166" y="189"/>
                  </a:lnTo>
                  <a:lnTo>
                    <a:pt x="155" y="196"/>
                  </a:lnTo>
                  <a:lnTo>
                    <a:pt x="150" y="197"/>
                  </a:lnTo>
                  <a:lnTo>
                    <a:pt x="137" y="193"/>
                  </a:lnTo>
                  <a:lnTo>
                    <a:pt x="139" y="203"/>
                  </a:lnTo>
                  <a:lnTo>
                    <a:pt x="152" y="212"/>
                  </a:lnTo>
                  <a:lnTo>
                    <a:pt x="180" y="251"/>
                  </a:lnTo>
                  <a:lnTo>
                    <a:pt x="185" y="252"/>
                  </a:lnTo>
                  <a:lnTo>
                    <a:pt x="190" y="263"/>
                  </a:lnTo>
                  <a:lnTo>
                    <a:pt x="196" y="271"/>
                  </a:lnTo>
                  <a:lnTo>
                    <a:pt x="193" y="277"/>
                  </a:lnTo>
                  <a:lnTo>
                    <a:pt x="185" y="279"/>
                  </a:lnTo>
                  <a:lnTo>
                    <a:pt x="184" y="286"/>
                  </a:lnTo>
                  <a:lnTo>
                    <a:pt x="185" y="293"/>
                  </a:lnTo>
                  <a:lnTo>
                    <a:pt x="198" y="301"/>
                  </a:lnTo>
                  <a:lnTo>
                    <a:pt x="202" y="309"/>
                  </a:lnTo>
                  <a:lnTo>
                    <a:pt x="202" y="317"/>
                  </a:lnTo>
                  <a:lnTo>
                    <a:pt x="209" y="321"/>
                  </a:lnTo>
                  <a:lnTo>
                    <a:pt x="216" y="320"/>
                  </a:lnTo>
                  <a:lnTo>
                    <a:pt x="218" y="328"/>
                  </a:lnTo>
                  <a:lnTo>
                    <a:pt x="215" y="332"/>
                  </a:lnTo>
                  <a:lnTo>
                    <a:pt x="211" y="337"/>
                  </a:lnTo>
                  <a:lnTo>
                    <a:pt x="196" y="337"/>
                  </a:lnTo>
                  <a:lnTo>
                    <a:pt x="182" y="341"/>
                  </a:lnTo>
                  <a:lnTo>
                    <a:pt x="175" y="354"/>
                  </a:lnTo>
                  <a:lnTo>
                    <a:pt x="166" y="360"/>
                  </a:lnTo>
                  <a:lnTo>
                    <a:pt x="150" y="359"/>
                  </a:lnTo>
                  <a:lnTo>
                    <a:pt x="146" y="348"/>
                  </a:lnTo>
                  <a:lnTo>
                    <a:pt x="145" y="333"/>
                  </a:lnTo>
                  <a:lnTo>
                    <a:pt x="148" y="321"/>
                  </a:lnTo>
                  <a:lnTo>
                    <a:pt x="143" y="314"/>
                  </a:lnTo>
                  <a:lnTo>
                    <a:pt x="131" y="305"/>
                  </a:lnTo>
                  <a:lnTo>
                    <a:pt x="120" y="294"/>
                  </a:lnTo>
                  <a:lnTo>
                    <a:pt x="113" y="280"/>
                  </a:lnTo>
                  <a:lnTo>
                    <a:pt x="121" y="264"/>
                  </a:lnTo>
                  <a:lnTo>
                    <a:pt x="121" y="253"/>
                  </a:lnTo>
                  <a:lnTo>
                    <a:pt x="119" y="245"/>
                  </a:lnTo>
                  <a:lnTo>
                    <a:pt x="116" y="239"/>
                  </a:lnTo>
                  <a:lnTo>
                    <a:pt x="105" y="237"/>
                  </a:lnTo>
                  <a:lnTo>
                    <a:pt x="92" y="245"/>
                  </a:lnTo>
                  <a:lnTo>
                    <a:pt x="81" y="253"/>
                  </a:lnTo>
                  <a:lnTo>
                    <a:pt x="76" y="267"/>
                  </a:lnTo>
                  <a:lnTo>
                    <a:pt x="83" y="280"/>
                  </a:lnTo>
                  <a:lnTo>
                    <a:pt x="83" y="294"/>
                  </a:lnTo>
                  <a:lnTo>
                    <a:pt x="82" y="344"/>
                  </a:lnTo>
                  <a:lnTo>
                    <a:pt x="86" y="354"/>
                  </a:lnTo>
                  <a:lnTo>
                    <a:pt x="80" y="368"/>
                  </a:lnTo>
                  <a:lnTo>
                    <a:pt x="81" y="384"/>
                  </a:lnTo>
                  <a:lnTo>
                    <a:pt x="85" y="397"/>
                  </a:lnTo>
                  <a:lnTo>
                    <a:pt x="82" y="400"/>
                  </a:lnTo>
                  <a:lnTo>
                    <a:pt x="67" y="401"/>
                  </a:lnTo>
                  <a:lnTo>
                    <a:pt x="55" y="404"/>
                  </a:lnTo>
                  <a:lnTo>
                    <a:pt x="42" y="403"/>
                  </a:lnTo>
                  <a:lnTo>
                    <a:pt x="33" y="398"/>
                  </a:lnTo>
                  <a:lnTo>
                    <a:pt x="27" y="384"/>
                  </a:lnTo>
                  <a:lnTo>
                    <a:pt x="34" y="363"/>
                  </a:lnTo>
                  <a:lnTo>
                    <a:pt x="35" y="350"/>
                  </a:lnTo>
                  <a:lnTo>
                    <a:pt x="43" y="316"/>
                  </a:lnTo>
                  <a:lnTo>
                    <a:pt x="39" y="310"/>
                  </a:lnTo>
                  <a:lnTo>
                    <a:pt x="34" y="284"/>
                  </a:lnTo>
                  <a:lnTo>
                    <a:pt x="22" y="284"/>
                  </a:lnTo>
                  <a:lnTo>
                    <a:pt x="11" y="285"/>
                  </a:lnTo>
                  <a:lnTo>
                    <a:pt x="2" y="273"/>
                  </a:lnTo>
                  <a:lnTo>
                    <a:pt x="0" y="259"/>
                  </a:lnTo>
                  <a:lnTo>
                    <a:pt x="1" y="240"/>
                  </a:lnTo>
                  <a:lnTo>
                    <a:pt x="12" y="226"/>
                  </a:lnTo>
                  <a:lnTo>
                    <a:pt x="18" y="210"/>
                  </a:lnTo>
                  <a:lnTo>
                    <a:pt x="26" y="196"/>
                  </a:lnTo>
                  <a:lnTo>
                    <a:pt x="24" y="166"/>
                  </a:lnTo>
                  <a:lnTo>
                    <a:pt x="37" y="144"/>
                  </a:lnTo>
                  <a:lnTo>
                    <a:pt x="44" y="137"/>
                  </a:lnTo>
                  <a:lnTo>
                    <a:pt x="49" y="128"/>
                  </a:lnTo>
                  <a:lnTo>
                    <a:pt x="51" y="138"/>
                  </a:lnTo>
                  <a:lnTo>
                    <a:pt x="54" y="126"/>
                  </a:lnTo>
                  <a:lnTo>
                    <a:pt x="53" y="105"/>
                  </a:lnTo>
                  <a:lnTo>
                    <a:pt x="45" y="97"/>
                  </a:lnTo>
                  <a:lnTo>
                    <a:pt x="48" y="97"/>
                  </a:lnTo>
                  <a:lnTo>
                    <a:pt x="55" y="86"/>
                  </a:lnTo>
                  <a:lnTo>
                    <a:pt x="55" y="80"/>
                  </a:lnTo>
                  <a:lnTo>
                    <a:pt x="57" y="69"/>
                  </a:lnTo>
                  <a:lnTo>
                    <a:pt x="62" y="58"/>
                  </a:lnTo>
                  <a:lnTo>
                    <a:pt x="73" y="46"/>
                  </a:lnTo>
                  <a:lnTo>
                    <a:pt x="78" y="46"/>
                  </a:lnTo>
                  <a:lnTo>
                    <a:pt x="86" y="52"/>
                  </a:lnTo>
                  <a:lnTo>
                    <a:pt x="93" y="51"/>
                  </a:lnTo>
                  <a:lnTo>
                    <a:pt x="102" y="40"/>
                  </a:lnTo>
                  <a:lnTo>
                    <a:pt x="104" y="27"/>
                  </a:lnTo>
                  <a:lnTo>
                    <a:pt x="110" y="24"/>
                  </a:lnTo>
                  <a:lnTo>
                    <a:pt x="120" y="2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4" name="Freeform 87"/>
            <p:cNvSpPr>
              <a:spLocks noChangeAspect="1"/>
            </p:cNvSpPr>
            <p:nvPr/>
          </p:nvSpPr>
          <p:spPr bwMode="gray">
            <a:xfrm>
              <a:off x="5101964" y="4170906"/>
              <a:ext cx="21132" cy="44905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6" y="6"/>
                </a:cxn>
                <a:cxn ang="0">
                  <a:pos x="31" y="14"/>
                </a:cxn>
                <a:cxn ang="0">
                  <a:pos x="27" y="17"/>
                </a:cxn>
                <a:cxn ang="0">
                  <a:pos x="26" y="21"/>
                </a:cxn>
                <a:cxn ang="0">
                  <a:pos x="31" y="25"/>
                </a:cxn>
                <a:cxn ang="0">
                  <a:pos x="34" y="36"/>
                </a:cxn>
                <a:cxn ang="0">
                  <a:pos x="36" y="45"/>
                </a:cxn>
                <a:cxn ang="0">
                  <a:pos x="34" y="53"/>
                </a:cxn>
                <a:cxn ang="0">
                  <a:pos x="22" y="65"/>
                </a:cxn>
                <a:cxn ang="0">
                  <a:pos x="15" y="72"/>
                </a:cxn>
                <a:cxn ang="0">
                  <a:pos x="15" y="74"/>
                </a:cxn>
                <a:cxn ang="0">
                  <a:pos x="22" y="75"/>
                </a:cxn>
                <a:cxn ang="0">
                  <a:pos x="28" y="69"/>
                </a:cxn>
                <a:cxn ang="0">
                  <a:pos x="37" y="63"/>
                </a:cxn>
                <a:cxn ang="0">
                  <a:pos x="47" y="45"/>
                </a:cxn>
                <a:cxn ang="0">
                  <a:pos x="57" y="40"/>
                </a:cxn>
                <a:cxn ang="0">
                  <a:pos x="68" y="38"/>
                </a:cxn>
                <a:cxn ang="0">
                  <a:pos x="70" y="41"/>
                </a:cxn>
                <a:cxn ang="0">
                  <a:pos x="74" y="49"/>
                </a:cxn>
                <a:cxn ang="0">
                  <a:pos x="74" y="63"/>
                </a:cxn>
                <a:cxn ang="0">
                  <a:pos x="52" y="78"/>
                </a:cxn>
                <a:cxn ang="0">
                  <a:pos x="52" y="81"/>
                </a:cxn>
                <a:cxn ang="0">
                  <a:pos x="69" y="92"/>
                </a:cxn>
                <a:cxn ang="0">
                  <a:pos x="70" y="99"/>
                </a:cxn>
                <a:cxn ang="0">
                  <a:pos x="74" y="103"/>
                </a:cxn>
                <a:cxn ang="0">
                  <a:pos x="80" y="107"/>
                </a:cxn>
                <a:cxn ang="0">
                  <a:pos x="70" y="108"/>
                </a:cxn>
                <a:cxn ang="0">
                  <a:pos x="62" y="102"/>
                </a:cxn>
                <a:cxn ang="0">
                  <a:pos x="47" y="100"/>
                </a:cxn>
                <a:cxn ang="0">
                  <a:pos x="36" y="96"/>
                </a:cxn>
                <a:cxn ang="0">
                  <a:pos x="31" y="102"/>
                </a:cxn>
                <a:cxn ang="0">
                  <a:pos x="30" y="118"/>
                </a:cxn>
                <a:cxn ang="0">
                  <a:pos x="32" y="137"/>
                </a:cxn>
                <a:cxn ang="0">
                  <a:pos x="37" y="146"/>
                </a:cxn>
                <a:cxn ang="0">
                  <a:pos x="43" y="158"/>
                </a:cxn>
                <a:cxn ang="0">
                  <a:pos x="54" y="170"/>
                </a:cxn>
                <a:cxn ang="0">
                  <a:pos x="49" y="170"/>
                </a:cxn>
                <a:cxn ang="0">
                  <a:pos x="39" y="160"/>
                </a:cxn>
                <a:cxn ang="0">
                  <a:pos x="21" y="137"/>
                </a:cxn>
                <a:cxn ang="0">
                  <a:pos x="17" y="106"/>
                </a:cxn>
                <a:cxn ang="0">
                  <a:pos x="12" y="92"/>
                </a:cxn>
                <a:cxn ang="0">
                  <a:pos x="12" y="80"/>
                </a:cxn>
                <a:cxn ang="0">
                  <a:pos x="10" y="72"/>
                </a:cxn>
                <a:cxn ang="0">
                  <a:pos x="5" y="68"/>
                </a:cxn>
                <a:cxn ang="0">
                  <a:pos x="0" y="59"/>
                </a:cxn>
                <a:cxn ang="0">
                  <a:pos x="1" y="49"/>
                </a:cxn>
                <a:cxn ang="0">
                  <a:pos x="3" y="48"/>
                </a:cxn>
                <a:cxn ang="0">
                  <a:pos x="10" y="25"/>
                </a:cxn>
                <a:cxn ang="0">
                  <a:pos x="15" y="15"/>
                </a:cxn>
                <a:cxn ang="0">
                  <a:pos x="31" y="0"/>
                </a:cxn>
              </a:cxnLst>
              <a:rect l="0" t="0" r="r" b="b"/>
              <a:pathLst>
                <a:path w="80" h="170">
                  <a:moveTo>
                    <a:pt x="31" y="0"/>
                  </a:moveTo>
                  <a:lnTo>
                    <a:pt x="32" y="0"/>
                  </a:lnTo>
                  <a:lnTo>
                    <a:pt x="34" y="2"/>
                  </a:lnTo>
                  <a:lnTo>
                    <a:pt x="36" y="6"/>
                  </a:lnTo>
                  <a:lnTo>
                    <a:pt x="31" y="14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31" y="25"/>
                  </a:lnTo>
                  <a:lnTo>
                    <a:pt x="34" y="36"/>
                  </a:lnTo>
                  <a:lnTo>
                    <a:pt x="36" y="45"/>
                  </a:lnTo>
                  <a:lnTo>
                    <a:pt x="34" y="53"/>
                  </a:lnTo>
                  <a:lnTo>
                    <a:pt x="22" y="65"/>
                  </a:lnTo>
                  <a:lnTo>
                    <a:pt x="15" y="72"/>
                  </a:lnTo>
                  <a:lnTo>
                    <a:pt x="15" y="74"/>
                  </a:lnTo>
                  <a:lnTo>
                    <a:pt x="22" y="75"/>
                  </a:lnTo>
                  <a:lnTo>
                    <a:pt x="28" y="69"/>
                  </a:lnTo>
                  <a:lnTo>
                    <a:pt x="37" y="63"/>
                  </a:lnTo>
                  <a:lnTo>
                    <a:pt x="47" y="45"/>
                  </a:lnTo>
                  <a:lnTo>
                    <a:pt x="57" y="40"/>
                  </a:lnTo>
                  <a:lnTo>
                    <a:pt x="68" y="38"/>
                  </a:lnTo>
                  <a:lnTo>
                    <a:pt x="70" y="41"/>
                  </a:lnTo>
                  <a:lnTo>
                    <a:pt x="74" y="49"/>
                  </a:lnTo>
                  <a:lnTo>
                    <a:pt x="74" y="63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69" y="92"/>
                  </a:lnTo>
                  <a:lnTo>
                    <a:pt x="70" y="99"/>
                  </a:lnTo>
                  <a:lnTo>
                    <a:pt x="74" y="103"/>
                  </a:lnTo>
                  <a:lnTo>
                    <a:pt x="80" y="107"/>
                  </a:lnTo>
                  <a:lnTo>
                    <a:pt x="70" y="108"/>
                  </a:lnTo>
                  <a:lnTo>
                    <a:pt x="62" y="102"/>
                  </a:lnTo>
                  <a:lnTo>
                    <a:pt x="47" y="100"/>
                  </a:lnTo>
                  <a:lnTo>
                    <a:pt x="36" y="96"/>
                  </a:lnTo>
                  <a:lnTo>
                    <a:pt x="31" y="102"/>
                  </a:lnTo>
                  <a:lnTo>
                    <a:pt x="30" y="118"/>
                  </a:lnTo>
                  <a:lnTo>
                    <a:pt x="32" y="137"/>
                  </a:lnTo>
                  <a:lnTo>
                    <a:pt x="37" y="146"/>
                  </a:lnTo>
                  <a:lnTo>
                    <a:pt x="43" y="158"/>
                  </a:lnTo>
                  <a:lnTo>
                    <a:pt x="54" y="170"/>
                  </a:lnTo>
                  <a:lnTo>
                    <a:pt x="49" y="170"/>
                  </a:lnTo>
                  <a:lnTo>
                    <a:pt x="39" y="160"/>
                  </a:lnTo>
                  <a:lnTo>
                    <a:pt x="21" y="137"/>
                  </a:lnTo>
                  <a:lnTo>
                    <a:pt x="17" y="106"/>
                  </a:lnTo>
                  <a:lnTo>
                    <a:pt x="12" y="92"/>
                  </a:lnTo>
                  <a:lnTo>
                    <a:pt x="12" y="80"/>
                  </a:lnTo>
                  <a:lnTo>
                    <a:pt x="10" y="72"/>
                  </a:lnTo>
                  <a:lnTo>
                    <a:pt x="5" y="68"/>
                  </a:lnTo>
                  <a:lnTo>
                    <a:pt x="0" y="59"/>
                  </a:lnTo>
                  <a:lnTo>
                    <a:pt x="1" y="49"/>
                  </a:lnTo>
                  <a:lnTo>
                    <a:pt x="3" y="48"/>
                  </a:lnTo>
                  <a:lnTo>
                    <a:pt x="10" y="25"/>
                  </a:lnTo>
                  <a:lnTo>
                    <a:pt x="15" y="1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2908D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5" name="Freeform 88"/>
            <p:cNvSpPr>
              <a:spLocks noChangeAspect="1"/>
            </p:cNvSpPr>
            <p:nvPr/>
          </p:nvSpPr>
          <p:spPr bwMode="gray">
            <a:xfrm>
              <a:off x="5153473" y="4209208"/>
              <a:ext cx="150564" cy="126791"/>
            </a:xfrm>
            <a:custGeom>
              <a:avLst/>
              <a:gdLst/>
              <a:ahLst/>
              <a:cxnLst>
                <a:cxn ang="0">
                  <a:pos x="549" y="469"/>
                </a:cxn>
                <a:cxn ang="0">
                  <a:pos x="503" y="428"/>
                </a:cxn>
                <a:cxn ang="0">
                  <a:pos x="474" y="427"/>
                </a:cxn>
                <a:cxn ang="0">
                  <a:pos x="441" y="433"/>
                </a:cxn>
                <a:cxn ang="0">
                  <a:pos x="426" y="433"/>
                </a:cxn>
                <a:cxn ang="0">
                  <a:pos x="378" y="431"/>
                </a:cxn>
                <a:cxn ang="0">
                  <a:pos x="419" y="383"/>
                </a:cxn>
                <a:cxn ang="0">
                  <a:pos x="444" y="385"/>
                </a:cxn>
                <a:cxn ang="0">
                  <a:pos x="431" y="368"/>
                </a:cxn>
                <a:cxn ang="0">
                  <a:pos x="421" y="335"/>
                </a:cxn>
                <a:cxn ang="0">
                  <a:pos x="406" y="293"/>
                </a:cxn>
                <a:cxn ang="0">
                  <a:pos x="378" y="269"/>
                </a:cxn>
                <a:cxn ang="0">
                  <a:pos x="342" y="250"/>
                </a:cxn>
                <a:cxn ang="0">
                  <a:pos x="290" y="235"/>
                </a:cxn>
                <a:cxn ang="0">
                  <a:pos x="229" y="223"/>
                </a:cxn>
                <a:cxn ang="0">
                  <a:pos x="210" y="206"/>
                </a:cxn>
                <a:cxn ang="0">
                  <a:pos x="188" y="203"/>
                </a:cxn>
                <a:cxn ang="0">
                  <a:pos x="168" y="183"/>
                </a:cxn>
                <a:cxn ang="0">
                  <a:pos x="161" y="149"/>
                </a:cxn>
                <a:cxn ang="0">
                  <a:pos x="152" y="167"/>
                </a:cxn>
                <a:cxn ang="0">
                  <a:pos x="132" y="203"/>
                </a:cxn>
                <a:cxn ang="0">
                  <a:pos x="105" y="190"/>
                </a:cxn>
                <a:cxn ang="0">
                  <a:pos x="95" y="163"/>
                </a:cxn>
                <a:cxn ang="0">
                  <a:pos x="56" y="141"/>
                </a:cxn>
                <a:cxn ang="0">
                  <a:pos x="95" y="130"/>
                </a:cxn>
                <a:cxn ang="0">
                  <a:pos x="147" y="120"/>
                </a:cxn>
                <a:cxn ang="0">
                  <a:pos x="162" y="93"/>
                </a:cxn>
                <a:cxn ang="0">
                  <a:pos x="94" y="106"/>
                </a:cxn>
                <a:cxn ang="0">
                  <a:pos x="55" y="83"/>
                </a:cxn>
                <a:cxn ang="0">
                  <a:pos x="27" y="63"/>
                </a:cxn>
                <a:cxn ang="0">
                  <a:pos x="2" y="51"/>
                </a:cxn>
                <a:cxn ang="0">
                  <a:pos x="29" y="23"/>
                </a:cxn>
                <a:cxn ang="0">
                  <a:pos x="78" y="0"/>
                </a:cxn>
                <a:cxn ang="0">
                  <a:pos x="126" y="18"/>
                </a:cxn>
                <a:cxn ang="0">
                  <a:pos x="178" y="49"/>
                </a:cxn>
                <a:cxn ang="0">
                  <a:pos x="179" y="114"/>
                </a:cxn>
                <a:cxn ang="0">
                  <a:pos x="205" y="122"/>
                </a:cxn>
                <a:cxn ang="0">
                  <a:pos x="234" y="164"/>
                </a:cxn>
                <a:cxn ang="0">
                  <a:pos x="269" y="148"/>
                </a:cxn>
                <a:cxn ang="0">
                  <a:pos x="302" y="103"/>
                </a:cxn>
                <a:cxn ang="0">
                  <a:pos x="345" y="90"/>
                </a:cxn>
                <a:cxn ang="0">
                  <a:pos x="380" y="57"/>
                </a:cxn>
                <a:cxn ang="0">
                  <a:pos x="421" y="77"/>
                </a:cxn>
                <a:cxn ang="0">
                  <a:pos x="471" y="100"/>
                </a:cxn>
                <a:cxn ang="0">
                  <a:pos x="506" y="104"/>
                </a:cxn>
                <a:cxn ang="0">
                  <a:pos x="534" y="114"/>
                </a:cxn>
                <a:cxn ang="0">
                  <a:pos x="543" y="121"/>
                </a:cxn>
                <a:cxn ang="0">
                  <a:pos x="555" y="129"/>
                </a:cxn>
                <a:cxn ang="0">
                  <a:pos x="555" y="351"/>
                </a:cxn>
                <a:cxn ang="0">
                  <a:pos x="568" y="480"/>
                </a:cxn>
              </a:cxnLst>
              <a:rect l="0" t="0" r="r" b="b"/>
              <a:pathLst>
                <a:path w="568" h="480">
                  <a:moveTo>
                    <a:pt x="568" y="480"/>
                  </a:moveTo>
                  <a:lnTo>
                    <a:pt x="568" y="479"/>
                  </a:lnTo>
                  <a:lnTo>
                    <a:pt x="556" y="475"/>
                  </a:lnTo>
                  <a:lnTo>
                    <a:pt x="549" y="469"/>
                  </a:lnTo>
                  <a:lnTo>
                    <a:pt x="532" y="455"/>
                  </a:lnTo>
                  <a:lnTo>
                    <a:pt x="523" y="444"/>
                  </a:lnTo>
                  <a:lnTo>
                    <a:pt x="513" y="433"/>
                  </a:lnTo>
                  <a:lnTo>
                    <a:pt x="503" y="428"/>
                  </a:lnTo>
                  <a:lnTo>
                    <a:pt x="501" y="425"/>
                  </a:lnTo>
                  <a:lnTo>
                    <a:pt x="497" y="421"/>
                  </a:lnTo>
                  <a:lnTo>
                    <a:pt x="484" y="423"/>
                  </a:lnTo>
                  <a:lnTo>
                    <a:pt x="474" y="427"/>
                  </a:lnTo>
                  <a:lnTo>
                    <a:pt x="455" y="423"/>
                  </a:lnTo>
                  <a:lnTo>
                    <a:pt x="447" y="431"/>
                  </a:lnTo>
                  <a:lnTo>
                    <a:pt x="442" y="426"/>
                  </a:lnTo>
                  <a:lnTo>
                    <a:pt x="441" y="433"/>
                  </a:lnTo>
                  <a:lnTo>
                    <a:pt x="441" y="436"/>
                  </a:lnTo>
                  <a:lnTo>
                    <a:pt x="438" y="437"/>
                  </a:lnTo>
                  <a:lnTo>
                    <a:pt x="431" y="437"/>
                  </a:lnTo>
                  <a:lnTo>
                    <a:pt x="426" y="433"/>
                  </a:lnTo>
                  <a:lnTo>
                    <a:pt x="405" y="439"/>
                  </a:lnTo>
                  <a:lnTo>
                    <a:pt x="385" y="440"/>
                  </a:lnTo>
                  <a:lnTo>
                    <a:pt x="378" y="440"/>
                  </a:lnTo>
                  <a:lnTo>
                    <a:pt x="378" y="431"/>
                  </a:lnTo>
                  <a:lnTo>
                    <a:pt x="384" y="421"/>
                  </a:lnTo>
                  <a:lnTo>
                    <a:pt x="390" y="405"/>
                  </a:lnTo>
                  <a:lnTo>
                    <a:pt x="406" y="386"/>
                  </a:lnTo>
                  <a:lnTo>
                    <a:pt x="419" y="383"/>
                  </a:lnTo>
                  <a:lnTo>
                    <a:pt x="427" y="384"/>
                  </a:lnTo>
                  <a:lnTo>
                    <a:pt x="437" y="390"/>
                  </a:lnTo>
                  <a:lnTo>
                    <a:pt x="444" y="393"/>
                  </a:lnTo>
                  <a:lnTo>
                    <a:pt x="444" y="385"/>
                  </a:lnTo>
                  <a:lnTo>
                    <a:pt x="433" y="377"/>
                  </a:lnTo>
                  <a:lnTo>
                    <a:pt x="435" y="373"/>
                  </a:lnTo>
                  <a:lnTo>
                    <a:pt x="442" y="372"/>
                  </a:lnTo>
                  <a:lnTo>
                    <a:pt x="431" y="368"/>
                  </a:lnTo>
                  <a:lnTo>
                    <a:pt x="420" y="359"/>
                  </a:lnTo>
                  <a:lnTo>
                    <a:pt x="426" y="357"/>
                  </a:lnTo>
                  <a:lnTo>
                    <a:pt x="430" y="341"/>
                  </a:lnTo>
                  <a:lnTo>
                    <a:pt x="421" y="335"/>
                  </a:lnTo>
                  <a:lnTo>
                    <a:pt x="414" y="321"/>
                  </a:lnTo>
                  <a:lnTo>
                    <a:pt x="410" y="300"/>
                  </a:lnTo>
                  <a:lnTo>
                    <a:pt x="410" y="297"/>
                  </a:lnTo>
                  <a:lnTo>
                    <a:pt x="406" y="293"/>
                  </a:lnTo>
                  <a:lnTo>
                    <a:pt x="395" y="277"/>
                  </a:lnTo>
                  <a:lnTo>
                    <a:pt x="389" y="277"/>
                  </a:lnTo>
                  <a:lnTo>
                    <a:pt x="383" y="275"/>
                  </a:lnTo>
                  <a:lnTo>
                    <a:pt x="378" y="269"/>
                  </a:lnTo>
                  <a:lnTo>
                    <a:pt x="377" y="269"/>
                  </a:lnTo>
                  <a:lnTo>
                    <a:pt x="372" y="262"/>
                  </a:lnTo>
                  <a:lnTo>
                    <a:pt x="361" y="260"/>
                  </a:lnTo>
                  <a:lnTo>
                    <a:pt x="342" y="250"/>
                  </a:lnTo>
                  <a:lnTo>
                    <a:pt x="334" y="251"/>
                  </a:lnTo>
                  <a:lnTo>
                    <a:pt x="313" y="240"/>
                  </a:lnTo>
                  <a:lnTo>
                    <a:pt x="299" y="237"/>
                  </a:lnTo>
                  <a:lnTo>
                    <a:pt x="290" y="235"/>
                  </a:lnTo>
                  <a:lnTo>
                    <a:pt x="270" y="228"/>
                  </a:lnTo>
                  <a:lnTo>
                    <a:pt x="260" y="227"/>
                  </a:lnTo>
                  <a:lnTo>
                    <a:pt x="243" y="224"/>
                  </a:lnTo>
                  <a:lnTo>
                    <a:pt x="229" y="223"/>
                  </a:lnTo>
                  <a:lnTo>
                    <a:pt x="228" y="219"/>
                  </a:lnTo>
                  <a:lnTo>
                    <a:pt x="224" y="218"/>
                  </a:lnTo>
                  <a:lnTo>
                    <a:pt x="215" y="213"/>
                  </a:lnTo>
                  <a:lnTo>
                    <a:pt x="210" y="206"/>
                  </a:lnTo>
                  <a:lnTo>
                    <a:pt x="207" y="199"/>
                  </a:lnTo>
                  <a:lnTo>
                    <a:pt x="199" y="199"/>
                  </a:lnTo>
                  <a:lnTo>
                    <a:pt x="189" y="197"/>
                  </a:lnTo>
                  <a:lnTo>
                    <a:pt x="188" y="203"/>
                  </a:lnTo>
                  <a:lnTo>
                    <a:pt x="184" y="197"/>
                  </a:lnTo>
                  <a:lnTo>
                    <a:pt x="175" y="191"/>
                  </a:lnTo>
                  <a:lnTo>
                    <a:pt x="170" y="189"/>
                  </a:lnTo>
                  <a:lnTo>
                    <a:pt x="168" y="183"/>
                  </a:lnTo>
                  <a:lnTo>
                    <a:pt x="158" y="179"/>
                  </a:lnTo>
                  <a:lnTo>
                    <a:pt x="156" y="171"/>
                  </a:lnTo>
                  <a:lnTo>
                    <a:pt x="157" y="162"/>
                  </a:lnTo>
                  <a:lnTo>
                    <a:pt x="161" y="149"/>
                  </a:lnTo>
                  <a:lnTo>
                    <a:pt x="159" y="142"/>
                  </a:lnTo>
                  <a:lnTo>
                    <a:pt x="157" y="148"/>
                  </a:lnTo>
                  <a:lnTo>
                    <a:pt x="156" y="159"/>
                  </a:lnTo>
                  <a:lnTo>
                    <a:pt x="152" y="167"/>
                  </a:lnTo>
                  <a:lnTo>
                    <a:pt x="145" y="181"/>
                  </a:lnTo>
                  <a:lnTo>
                    <a:pt x="142" y="189"/>
                  </a:lnTo>
                  <a:lnTo>
                    <a:pt x="138" y="196"/>
                  </a:lnTo>
                  <a:lnTo>
                    <a:pt x="132" y="203"/>
                  </a:lnTo>
                  <a:lnTo>
                    <a:pt x="113" y="206"/>
                  </a:lnTo>
                  <a:lnTo>
                    <a:pt x="108" y="203"/>
                  </a:lnTo>
                  <a:lnTo>
                    <a:pt x="105" y="200"/>
                  </a:lnTo>
                  <a:lnTo>
                    <a:pt x="105" y="190"/>
                  </a:lnTo>
                  <a:lnTo>
                    <a:pt x="102" y="179"/>
                  </a:lnTo>
                  <a:lnTo>
                    <a:pt x="103" y="174"/>
                  </a:lnTo>
                  <a:lnTo>
                    <a:pt x="103" y="163"/>
                  </a:lnTo>
                  <a:lnTo>
                    <a:pt x="95" y="163"/>
                  </a:lnTo>
                  <a:lnTo>
                    <a:pt x="88" y="149"/>
                  </a:lnTo>
                  <a:lnTo>
                    <a:pt x="78" y="143"/>
                  </a:lnTo>
                  <a:lnTo>
                    <a:pt x="65" y="143"/>
                  </a:lnTo>
                  <a:lnTo>
                    <a:pt x="56" y="141"/>
                  </a:lnTo>
                  <a:lnTo>
                    <a:pt x="57" y="132"/>
                  </a:lnTo>
                  <a:lnTo>
                    <a:pt x="67" y="127"/>
                  </a:lnTo>
                  <a:lnTo>
                    <a:pt x="81" y="127"/>
                  </a:lnTo>
                  <a:lnTo>
                    <a:pt x="95" y="130"/>
                  </a:lnTo>
                  <a:lnTo>
                    <a:pt x="115" y="119"/>
                  </a:lnTo>
                  <a:lnTo>
                    <a:pt x="125" y="115"/>
                  </a:lnTo>
                  <a:lnTo>
                    <a:pt x="135" y="119"/>
                  </a:lnTo>
                  <a:lnTo>
                    <a:pt x="147" y="120"/>
                  </a:lnTo>
                  <a:lnTo>
                    <a:pt x="156" y="116"/>
                  </a:lnTo>
                  <a:lnTo>
                    <a:pt x="157" y="105"/>
                  </a:lnTo>
                  <a:lnTo>
                    <a:pt x="161" y="99"/>
                  </a:lnTo>
                  <a:lnTo>
                    <a:pt x="162" y="93"/>
                  </a:lnTo>
                  <a:lnTo>
                    <a:pt x="152" y="97"/>
                  </a:lnTo>
                  <a:lnTo>
                    <a:pt x="132" y="101"/>
                  </a:lnTo>
                  <a:lnTo>
                    <a:pt x="110" y="106"/>
                  </a:lnTo>
                  <a:lnTo>
                    <a:pt x="94" y="106"/>
                  </a:lnTo>
                  <a:lnTo>
                    <a:pt x="86" y="104"/>
                  </a:lnTo>
                  <a:lnTo>
                    <a:pt x="77" y="106"/>
                  </a:lnTo>
                  <a:lnTo>
                    <a:pt x="62" y="99"/>
                  </a:lnTo>
                  <a:lnTo>
                    <a:pt x="55" y="83"/>
                  </a:lnTo>
                  <a:lnTo>
                    <a:pt x="52" y="72"/>
                  </a:lnTo>
                  <a:lnTo>
                    <a:pt x="46" y="67"/>
                  </a:lnTo>
                  <a:lnTo>
                    <a:pt x="36" y="62"/>
                  </a:lnTo>
                  <a:lnTo>
                    <a:pt x="27" y="63"/>
                  </a:lnTo>
                  <a:lnTo>
                    <a:pt x="19" y="60"/>
                  </a:lnTo>
                  <a:lnTo>
                    <a:pt x="17" y="66"/>
                  </a:lnTo>
                  <a:lnTo>
                    <a:pt x="0" y="58"/>
                  </a:lnTo>
                  <a:lnTo>
                    <a:pt x="2" y="51"/>
                  </a:lnTo>
                  <a:lnTo>
                    <a:pt x="7" y="45"/>
                  </a:lnTo>
                  <a:lnTo>
                    <a:pt x="16" y="28"/>
                  </a:lnTo>
                  <a:lnTo>
                    <a:pt x="19" y="25"/>
                  </a:lnTo>
                  <a:lnTo>
                    <a:pt x="29" y="23"/>
                  </a:lnTo>
                  <a:lnTo>
                    <a:pt x="38" y="23"/>
                  </a:lnTo>
                  <a:lnTo>
                    <a:pt x="48" y="19"/>
                  </a:lnTo>
                  <a:lnTo>
                    <a:pt x="66" y="3"/>
                  </a:lnTo>
                  <a:lnTo>
                    <a:pt x="78" y="0"/>
                  </a:lnTo>
                  <a:lnTo>
                    <a:pt x="93" y="0"/>
                  </a:lnTo>
                  <a:lnTo>
                    <a:pt x="107" y="2"/>
                  </a:lnTo>
                  <a:lnTo>
                    <a:pt x="119" y="11"/>
                  </a:lnTo>
                  <a:lnTo>
                    <a:pt x="126" y="18"/>
                  </a:lnTo>
                  <a:lnTo>
                    <a:pt x="135" y="23"/>
                  </a:lnTo>
                  <a:lnTo>
                    <a:pt x="168" y="23"/>
                  </a:lnTo>
                  <a:lnTo>
                    <a:pt x="172" y="39"/>
                  </a:lnTo>
                  <a:lnTo>
                    <a:pt x="178" y="49"/>
                  </a:lnTo>
                  <a:lnTo>
                    <a:pt x="179" y="65"/>
                  </a:lnTo>
                  <a:lnTo>
                    <a:pt x="175" y="77"/>
                  </a:lnTo>
                  <a:lnTo>
                    <a:pt x="174" y="90"/>
                  </a:lnTo>
                  <a:lnTo>
                    <a:pt x="179" y="114"/>
                  </a:lnTo>
                  <a:lnTo>
                    <a:pt x="193" y="132"/>
                  </a:lnTo>
                  <a:lnTo>
                    <a:pt x="194" y="127"/>
                  </a:lnTo>
                  <a:lnTo>
                    <a:pt x="195" y="119"/>
                  </a:lnTo>
                  <a:lnTo>
                    <a:pt x="205" y="122"/>
                  </a:lnTo>
                  <a:lnTo>
                    <a:pt x="210" y="138"/>
                  </a:lnTo>
                  <a:lnTo>
                    <a:pt x="213" y="142"/>
                  </a:lnTo>
                  <a:lnTo>
                    <a:pt x="218" y="153"/>
                  </a:lnTo>
                  <a:lnTo>
                    <a:pt x="234" y="164"/>
                  </a:lnTo>
                  <a:lnTo>
                    <a:pt x="242" y="164"/>
                  </a:lnTo>
                  <a:lnTo>
                    <a:pt x="255" y="163"/>
                  </a:lnTo>
                  <a:lnTo>
                    <a:pt x="261" y="151"/>
                  </a:lnTo>
                  <a:lnTo>
                    <a:pt x="269" y="148"/>
                  </a:lnTo>
                  <a:lnTo>
                    <a:pt x="275" y="143"/>
                  </a:lnTo>
                  <a:lnTo>
                    <a:pt x="276" y="135"/>
                  </a:lnTo>
                  <a:lnTo>
                    <a:pt x="296" y="120"/>
                  </a:lnTo>
                  <a:lnTo>
                    <a:pt x="302" y="103"/>
                  </a:lnTo>
                  <a:lnTo>
                    <a:pt x="310" y="100"/>
                  </a:lnTo>
                  <a:lnTo>
                    <a:pt x="318" y="100"/>
                  </a:lnTo>
                  <a:lnTo>
                    <a:pt x="336" y="97"/>
                  </a:lnTo>
                  <a:lnTo>
                    <a:pt x="345" y="90"/>
                  </a:lnTo>
                  <a:lnTo>
                    <a:pt x="344" y="81"/>
                  </a:lnTo>
                  <a:lnTo>
                    <a:pt x="349" y="77"/>
                  </a:lnTo>
                  <a:lnTo>
                    <a:pt x="361" y="67"/>
                  </a:lnTo>
                  <a:lnTo>
                    <a:pt x="380" y="57"/>
                  </a:lnTo>
                  <a:lnTo>
                    <a:pt x="387" y="60"/>
                  </a:lnTo>
                  <a:lnTo>
                    <a:pt x="390" y="65"/>
                  </a:lnTo>
                  <a:lnTo>
                    <a:pt x="410" y="72"/>
                  </a:lnTo>
                  <a:lnTo>
                    <a:pt x="421" y="77"/>
                  </a:lnTo>
                  <a:lnTo>
                    <a:pt x="427" y="78"/>
                  </a:lnTo>
                  <a:lnTo>
                    <a:pt x="432" y="83"/>
                  </a:lnTo>
                  <a:lnTo>
                    <a:pt x="455" y="90"/>
                  </a:lnTo>
                  <a:lnTo>
                    <a:pt x="471" y="100"/>
                  </a:lnTo>
                  <a:lnTo>
                    <a:pt x="479" y="104"/>
                  </a:lnTo>
                  <a:lnTo>
                    <a:pt x="491" y="108"/>
                  </a:lnTo>
                  <a:lnTo>
                    <a:pt x="501" y="106"/>
                  </a:lnTo>
                  <a:lnTo>
                    <a:pt x="506" y="104"/>
                  </a:lnTo>
                  <a:lnTo>
                    <a:pt x="514" y="108"/>
                  </a:lnTo>
                  <a:lnTo>
                    <a:pt x="519" y="106"/>
                  </a:lnTo>
                  <a:lnTo>
                    <a:pt x="523" y="108"/>
                  </a:lnTo>
                  <a:lnTo>
                    <a:pt x="534" y="114"/>
                  </a:lnTo>
                  <a:lnTo>
                    <a:pt x="539" y="114"/>
                  </a:lnTo>
                  <a:lnTo>
                    <a:pt x="541" y="116"/>
                  </a:lnTo>
                  <a:lnTo>
                    <a:pt x="541" y="119"/>
                  </a:lnTo>
                  <a:lnTo>
                    <a:pt x="543" y="121"/>
                  </a:lnTo>
                  <a:lnTo>
                    <a:pt x="549" y="121"/>
                  </a:lnTo>
                  <a:lnTo>
                    <a:pt x="551" y="120"/>
                  </a:lnTo>
                  <a:lnTo>
                    <a:pt x="556" y="120"/>
                  </a:lnTo>
                  <a:lnTo>
                    <a:pt x="555" y="129"/>
                  </a:lnTo>
                  <a:lnTo>
                    <a:pt x="560" y="254"/>
                  </a:lnTo>
                  <a:lnTo>
                    <a:pt x="560" y="326"/>
                  </a:lnTo>
                  <a:lnTo>
                    <a:pt x="556" y="347"/>
                  </a:lnTo>
                  <a:lnTo>
                    <a:pt x="555" y="351"/>
                  </a:lnTo>
                  <a:lnTo>
                    <a:pt x="562" y="368"/>
                  </a:lnTo>
                  <a:lnTo>
                    <a:pt x="562" y="409"/>
                  </a:lnTo>
                  <a:lnTo>
                    <a:pt x="565" y="466"/>
                  </a:lnTo>
                  <a:lnTo>
                    <a:pt x="568" y="48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6" name="Freeform 90"/>
            <p:cNvSpPr>
              <a:spLocks noChangeAspect="1"/>
            </p:cNvSpPr>
            <p:nvPr/>
          </p:nvSpPr>
          <p:spPr bwMode="gray">
            <a:xfrm>
              <a:off x="4736119" y="3860532"/>
              <a:ext cx="104338" cy="219243"/>
            </a:xfrm>
            <a:custGeom>
              <a:avLst/>
              <a:gdLst/>
              <a:ahLst/>
              <a:cxnLst>
                <a:cxn ang="0">
                  <a:pos x="237" y="758"/>
                </a:cxn>
                <a:cxn ang="0">
                  <a:pos x="250" y="749"/>
                </a:cxn>
                <a:cxn ang="0">
                  <a:pos x="270" y="727"/>
                </a:cxn>
                <a:cxn ang="0">
                  <a:pos x="321" y="713"/>
                </a:cxn>
                <a:cxn ang="0">
                  <a:pos x="376" y="679"/>
                </a:cxn>
                <a:cxn ang="0">
                  <a:pos x="387" y="654"/>
                </a:cxn>
                <a:cxn ang="0">
                  <a:pos x="388" y="643"/>
                </a:cxn>
                <a:cxn ang="0">
                  <a:pos x="388" y="607"/>
                </a:cxn>
                <a:cxn ang="0">
                  <a:pos x="395" y="596"/>
                </a:cxn>
                <a:cxn ang="0">
                  <a:pos x="389" y="557"/>
                </a:cxn>
                <a:cxn ang="0">
                  <a:pos x="382" y="507"/>
                </a:cxn>
                <a:cxn ang="0">
                  <a:pos x="336" y="409"/>
                </a:cxn>
                <a:cxn ang="0">
                  <a:pos x="323" y="401"/>
                </a:cxn>
                <a:cxn ang="0">
                  <a:pos x="281" y="372"/>
                </a:cxn>
                <a:cxn ang="0">
                  <a:pos x="255" y="344"/>
                </a:cxn>
                <a:cxn ang="0">
                  <a:pos x="228" y="297"/>
                </a:cxn>
                <a:cxn ang="0">
                  <a:pos x="194" y="245"/>
                </a:cxn>
                <a:cxn ang="0">
                  <a:pos x="239" y="171"/>
                </a:cxn>
                <a:cxn ang="0">
                  <a:pos x="258" y="140"/>
                </a:cxn>
                <a:cxn ang="0">
                  <a:pos x="307" y="105"/>
                </a:cxn>
                <a:cxn ang="0">
                  <a:pos x="312" y="97"/>
                </a:cxn>
                <a:cxn ang="0">
                  <a:pos x="255" y="77"/>
                </a:cxn>
                <a:cxn ang="0">
                  <a:pos x="244" y="26"/>
                </a:cxn>
                <a:cxn ang="0">
                  <a:pos x="184" y="5"/>
                </a:cxn>
                <a:cxn ang="0">
                  <a:pos x="142" y="19"/>
                </a:cxn>
                <a:cxn ang="0">
                  <a:pos x="104" y="33"/>
                </a:cxn>
                <a:cxn ang="0">
                  <a:pos x="71" y="31"/>
                </a:cxn>
                <a:cxn ang="0">
                  <a:pos x="36" y="33"/>
                </a:cxn>
                <a:cxn ang="0">
                  <a:pos x="13" y="37"/>
                </a:cxn>
                <a:cxn ang="0">
                  <a:pos x="12" y="60"/>
                </a:cxn>
                <a:cxn ang="0">
                  <a:pos x="41" y="112"/>
                </a:cxn>
                <a:cxn ang="0">
                  <a:pos x="97" y="134"/>
                </a:cxn>
                <a:cxn ang="0">
                  <a:pos x="129" y="162"/>
                </a:cxn>
                <a:cxn ang="0">
                  <a:pos x="146" y="192"/>
                </a:cxn>
                <a:cxn ang="0">
                  <a:pos x="107" y="208"/>
                </a:cxn>
                <a:cxn ang="0">
                  <a:pos x="107" y="231"/>
                </a:cxn>
                <a:cxn ang="0">
                  <a:pos x="165" y="280"/>
                </a:cxn>
                <a:cxn ang="0">
                  <a:pos x="213" y="332"/>
                </a:cxn>
                <a:cxn ang="0">
                  <a:pos x="238" y="371"/>
                </a:cxn>
                <a:cxn ang="0">
                  <a:pos x="265" y="396"/>
                </a:cxn>
                <a:cxn ang="0">
                  <a:pos x="292" y="457"/>
                </a:cxn>
                <a:cxn ang="0">
                  <a:pos x="299" y="558"/>
                </a:cxn>
                <a:cxn ang="0">
                  <a:pos x="281" y="625"/>
                </a:cxn>
                <a:cxn ang="0">
                  <a:pos x="238" y="646"/>
                </a:cxn>
                <a:cxn ang="0">
                  <a:pos x="206" y="674"/>
                </a:cxn>
                <a:cxn ang="0">
                  <a:pos x="194" y="697"/>
                </a:cxn>
                <a:cxn ang="0">
                  <a:pos x="158" y="705"/>
                </a:cxn>
                <a:cxn ang="0">
                  <a:pos x="134" y="726"/>
                </a:cxn>
                <a:cxn ang="0">
                  <a:pos x="161" y="752"/>
                </a:cxn>
                <a:cxn ang="0">
                  <a:pos x="148" y="797"/>
                </a:cxn>
                <a:cxn ang="0">
                  <a:pos x="153" y="832"/>
                </a:cxn>
                <a:cxn ang="0">
                  <a:pos x="195" y="797"/>
                </a:cxn>
                <a:cxn ang="0">
                  <a:pos x="228" y="773"/>
                </a:cxn>
              </a:cxnLst>
              <a:rect l="0" t="0" r="r" b="b"/>
              <a:pathLst>
                <a:path w="395" h="832">
                  <a:moveTo>
                    <a:pt x="228" y="773"/>
                  </a:moveTo>
                  <a:lnTo>
                    <a:pt x="238" y="776"/>
                  </a:lnTo>
                  <a:lnTo>
                    <a:pt x="242" y="768"/>
                  </a:lnTo>
                  <a:lnTo>
                    <a:pt x="237" y="758"/>
                  </a:lnTo>
                  <a:lnTo>
                    <a:pt x="239" y="753"/>
                  </a:lnTo>
                  <a:lnTo>
                    <a:pt x="245" y="754"/>
                  </a:lnTo>
                  <a:lnTo>
                    <a:pt x="247" y="748"/>
                  </a:lnTo>
                  <a:lnTo>
                    <a:pt x="250" y="749"/>
                  </a:lnTo>
                  <a:lnTo>
                    <a:pt x="249" y="741"/>
                  </a:lnTo>
                  <a:lnTo>
                    <a:pt x="253" y="737"/>
                  </a:lnTo>
                  <a:lnTo>
                    <a:pt x="255" y="731"/>
                  </a:lnTo>
                  <a:lnTo>
                    <a:pt x="270" y="727"/>
                  </a:lnTo>
                  <a:lnTo>
                    <a:pt x="276" y="731"/>
                  </a:lnTo>
                  <a:lnTo>
                    <a:pt x="283" y="731"/>
                  </a:lnTo>
                  <a:lnTo>
                    <a:pt x="308" y="716"/>
                  </a:lnTo>
                  <a:lnTo>
                    <a:pt x="321" y="713"/>
                  </a:lnTo>
                  <a:lnTo>
                    <a:pt x="330" y="701"/>
                  </a:lnTo>
                  <a:lnTo>
                    <a:pt x="361" y="687"/>
                  </a:lnTo>
                  <a:lnTo>
                    <a:pt x="367" y="681"/>
                  </a:lnTo>
                  <a:lnTo>
                    <a:pt x="376" y="679"/>
                  </a:lnTo>
                  <a:lnTo>
                    <a:pt x="378" y="673"/>
                  </a:lnTo>
                  <a:lnTo>
                    <a:pt x="379" y="665"/>
                  </a:lnTo>
                  <a:lnTo>
                    <a:pt x="385" y="660"/>
                  </a:lnTo>
                  <a:lnTo>
                    <a:pt x="387" y="654"/>
                  </a:lnTo>
                  <a:lnTo>
                    <a:pt x="383" y="650"/>
                  </a:lnTo>
                  <a:lnTo>
                    <a:pt x="385" y="646"/>
                  </a:lnTo>
                  <a:lnTo>
                    <a:pt x="388" y="647"/>
                  </a:lnTo>
                  <a:lnTo>
                    <a:pt x="388" y="643"/>
                  </a:lnTo>
                  <a:lnTo>
                    <a:pt x="383" y="619"/>
                  </a:lnTo>
                  <a:lnTo>
                    <a:pt x="384" y="615"/>
                  </a:lnTo>
                  <a:lnTo>
                    <a:pt x="388" y="618"/>
                  </a:lnTo>
                  <a:lnTo>
                    <a:pt x="388" y="607"/>
                  </a:lnTo>
                  <a:lnTo>
                    <a:pt x="392" y="602"/>
                  </a:lnTo>
                  <a:lnTo>
                    <a:pt x="395" y="603"/>
                  </a:lnTo>
                  <a:lnTo>
                    <a:pt x="395" y="607"/>
                  </a:lnTo>
                  <a:lnTo>
                    <a:pt x="395" y="596"/>
                  </a:lnTo>
                  <a:lnTo>
                    <a:pt x="394" y="587"/>
                  </a:lnTo>
                  <a:lnTo>
                    <a:pt x="390" y="585"/>
                  </a:lnTo>
                  <a:lnTo>
                    <a:pt x="389" y="569"/>
                  </a:lnTo>
                  <a:lnTo>
                    <a:pt x="389" y="557"/>
                  </a:lnTo>
                  <a:lnTo>
                    <a:pt x="388" y="549"/>
                  </a:lnTo>
                  <a:lnTo>
                    <a:pt x="388" y="539"/>
                  </a:lnTo>
                  <a:lnTo>
                    <a:pt x="385" y="536"/>
                  </a:lnTo>
                  <a:lnTo>
                    <a:pt x="382" y="507"/>
                  </a:lnTo>
                  <a:lnTo>
                    <a:pt x="366" y="456"/>
                  </a:lnTo>
                  <a:lnTo>
                    <a:pt x="344" y="434"/>
                  </a:lnTo>
                  <a:lnTo>
                    <a:pt x="337" y="424"/>
                  </a:lnTo>
                  <a:lnTo>
                    <a:pt x="336" y="409"/>
                  </a:lnTo>
                  <a:lnTo>
                    <a:pt x="335" y="413"/>
                  </a:lnTo>
                  <a:lnTo>
                    <a:pt x="329" y="414"/>
                  </a:lnTo>
                  <a:lnTo>
                    <a:pt x="329" y="409"/>
                  </a:lnTo>
                  <a:lnTo>
                    <a:pt x="323" y="401"/>
                  </a:lnTo>
                  <a:lnTo>
                    <a:pt x="306" y="398"/>
                  </a:lnTo>
                  <a:lnTo>
                    <a:pt x="298" y="387"/>
                  </a:lnTo>
                  <a:lnTo>
                    <a:pt x="290" y="378"/>
                  </a:lnTo>
                  <a:lnTo>
                    <a:pt x="281" y="372"/>
                  </a:lnTo>
                  <a:lnTo>
                    <a:pt x="274" y="362"/>
                  </a:lnTo>
                  <a:lnTo>
                    <a:pt x="270" y="359"/>
                  </a:lnTo>
                  <a:lnTo>
                    <a:pt x="265" y="351"/>
                  </a:lnTo>
                  <a:lnTo>
                    <a:pt x="255" y="344"/>
                  </a:lnTo>
                  <a:lnTo>
                    <a:pt x="248" y="334"/>
                  </a:lnTo>
                  <a:lnTo>
                    <a:pt x="236" y="324"/>
                  </a:lnTo>
                  <a:lnTo>
                    <a:pt x="234" y="312"/>
                  </a:lnTo>
                  <a:lnTo>
                    <a:pt x="228" y="297"/>
                  </a:lnTo>
                  <a:lnTo>
                    <a:pt x="217" y="290"/>
                  </a:lnTo>
                  <a:lnTo>
                    <a:pt x="197" y="270"/>
                  </a:lnTo>
                  <a:lnTo>
                    <a:pt x="191" y="258"/>
                  </a:lnTo>
                  <a:lnTo>
                    <a:pt x="194" y="245"/>
                  </a:lnTo>
                  <a:lnTo>
                    <a:pt x="197" y="235"/>
                  </a:lnTo>
                  <a:lnTo>
                    <a:pt x="199" y="222"/>
                  </a:lnTo>
                  <a:lnTo>
                    <a:pt x="211" y="195"/>
                  </a:lnTo>
                  <a:lnTo>
                    <a:pt x="239" y="171"/>
                  </a:lnTo>
                  <a:lnTo>
                    <a:pt x="243" y="166"/>
                  </a:lnTo>
                  <a:lnTo>
                    <a:pt x="247" y="152"/>
                  </a:lnTo>
                  <a:lnTo>
                    <a:pt x="253" y="145"/>
                  </a:lnTo>
                  <a:lnTo>
                    <a:pt x="258" y="140"/>
                  </a:lnTo>
                  <a:lnTo>
                    <a:pt x="276" y="132"/>
                  </a:lnTo>
                  <a:lnTo>
                    <a:pt x="286" y="124"/>
                  </a:lnTo>
                  <a:lnTo>
                    <a:pt x="287" y="116"/>
                  </a:lnTo>
                  <a:lnTo>
                    <a:pt x="307" y="105"/>
                  </a:lnTo>
                  <a:lnTo>
                    <a:pt x="315" y="108"/>
                  </a:lnTo>
                  <a:lnTo>
                    <a:pt x="318" y="106"/>
                  </a:lnTo>
                  <a:lnTo>
                    <a:pt x="319" y="102"/>
                  </a:lnTo>
                  <a:lnTo>
                    <a:pt x="312" y="97"/>
                  </a:lnTo>
                  <a:lnTo>
                    <a:pt x="293" y="98"/>
                  </a:lnTo>
                  <a:lnTo>
                    <a:pt x="283" y="96"/>
                  </a:lnTo>
                  <a:lnTo>
                    <a:pt x="278" y="91"/>
                  </a:lnTo>
                  <a:lnTo>
                    <a:pt x="255" y="77"/>
                  </a:lnTo>
                  <a:lnTo>
                    <a:pt x="248" y="65"/>
                  </a:lnTo>
                  <a:lnTo>
                    <a:pt x="243" y="50"/>
                  </a:lnTo>
                  <a:lnTo>
                    <a:pt x="248" y="35"/>
                  </a:lnTo>
                  <a:lnTo>
                    <a:pt x="244" y="26"/>
                  </a:lnTo>
                  <a:lnTo>
                    <a:pt x="224" y="25"/>
                  </a:lnTo>
                  <a:lnTo>
                    <a:pt x="211" y="21"/>
                  </a:lnTo>
                  <a:lnTo>
                    <a:pt x="196" y="15"/>
                  </a:lnTo>
                  <a:lnTo>
                    <a:pt x="184" y="5"/>
                  </a:lnTo>
                  <a:lnTo>
                    <a:pt x="169" y="0"/>
                  </a:lnTo>
                  <a:lnTo>
                    <a:pt x="162" y="1"/>
                  </a:lnTo>
                  <a:lnTo>
                    <a:pt x="152" y="12"/>
                  </a:lnTo>
                  <a:lnTo>
                    <a:pt x="142" y="19"/>
                  </a:lnTo>
                  <a:lnTo>
                    <a:pt x="127" y="27"/>
                  </a:lnTo>
                  <a:lnTo>
                    <a:pt x="121" y="28"/>
                  </a:lnTo>
                  <a:lnTo>
                    <a:pt x="113" y="26"/>
                  </a:lnTo>
                  <a:lnTo>
                    <a:pt x="104" y="33"/>
                  </a:lnTo>
                  <a:lnTo>
                    <a:pt x="94" y="38"/>
                  </a:lnTo>
                  <a:lnTo>
                    <a:pt x="91" y="32"/>
                  </a:lnTo>
                  <a:lnTo>
                    <a:pt x="77" y="36"/>
                  </a:lnTo>
                  <a:lnTo>
                    <a:pt x="71" y="31"/>
                  </a:lnTo>
                  <a:lnTo>
                    <a:pt x="65" y="32"/>
                  </a:lnTo>
                  <a:lnTo>
                    <a:pt x="50" y="42"/>
                  </a:lnTo>
                  <a:lnTo>
                    <a:pt x="44" y="41"/>
                  </a:lnTo>
                  <a:lnTo>
                    <a:pt x="36" y="33"/>
                  </a:lnTo>
                  <a:lnTo>
                    <a:pt x="23" y="31"/>
                  </a:lnTo>
                  <a:lnTo>
                    <a:pt x="21" y="28"/>
                  </a:lnTo>
                  <a:lnTo>
                    <a:pt x="17" y="31"/>
                  </a:lnTo>
                  <a:lnTo>
                    <a:pt x="13" y="37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0" y="44"/>
                  </a:lnTo>
                  <a:lnTo>
                    <a:pt x="12" y="60"/>
                  </a:lnTo>
                  <a:lnTo>
                    <a:pt x="29" y="80"/>
                  </a:lnTo>
                  <a:lnTo>
                    <a:pt x="39" y="90"/>
                  </a:lnTo>
                  <a:lnTo>
                    <a:pt x="44" y="100"/>
                  </a:lnTo>
                  <a:lnTo>
                    <a:pt x="41" y="112"/>
                  </a:lnTo>
                  <a:lnTo>
                    <a:pt x="43" y="120"/>
                  </a:lnTo>
                  <a:lnTo>
                    <a:pt x="57" y="135"/>
                  </a:lnTo>
                  <a:lnTo>
                    <a:pt x="77" y="139"/>
                  </a:lnTo>
                  <a:lnTo>
                    <a:pt x="97" y="134"/>
                  </a:lnTo>
                  <a:lnTo>
                    <a:pt x="113" y="135"/>
                  </a:lnTo>
                  <a:lnTo>
                    <a:pt x="122" y="146"/>
                  </a:lnTo>
                  <a:lnTo>
                    <a:pt x="127" y="155"/>
                  </a:lnTo>
                  <a:lnTo>
                    <a:pt x="129" y="162"/>
                  </a:lnTo>
                  <a:lnTo>
                    <a:pt x="137" y="168"/>
                  </a:lnTo>
                  <a:lnTo>
                    <a:pt x="141" y="177"/>
                  </a:lnTo>
                  <a:lnTo>
                    <a:pt x="147" y="183"/>
                  </a:lnTo>
                  <a:lnTo>
                    <a:pt x="146" y="192"/>
                  </a:lnTo>
                  <a:lnTo>
                    <a:pt x="130" y="208"/>
                  </a:lnTo>
                  <a:lnTo>
                    <a:pt x="125" y="208"/>
                  </a:lnTo>
                  <a:lnTo>
                    <a:pt x="114" y="205"/>
                  </a:lnTo>
                  <a:lnTo>
                    <a:pt x="107" y="208"/>
                  </a:lnTo>
                  <a:lnTo>
                    <a:pt x="103" y="213"/>
                  </a:lnTo>
                  <a:lnTo>
                    <a:pt x="99" y="222"/>
                  </a:lnTo>
                  <a:lnTo>
                    <a:pt x="100" y="229"/>
                  </a:lnTo>
                  <a:lnTo>
                    <a:pt x="107" y="231"/>
                  </a:lnTo>
                  <a:lnTo>
                    <a:pt x="115" y="237"/>
                  </a:lnTo>
                  <a:lnTo>
                    <a:pt x="134" y="247"/>
                  </a:lnTo>
                  <a:lnTo>
                    <a:pt x="161" y="267"/>
                  </a:lnTo>
                  <a:lnTo>
                    <a:pt x="165" y="280"/>
                  </a:lnTo>
                  <a:lnTo>
                    <a:pt x="188" y="301"/>
                  </a:lnTo>
                  <a:lnTo>
                    <a:pt x="191" y="311"/>
                  </a:lnTo>
                  <a:lnTo>
                    <a:pt x="208" y="331"/>
                  </a:lnTo>
                  <a:lnTo>
                    <a:pt x="213" y="332"/>
                  </a:lnTo>
                  <a:lnTo>
                    <a:pt x="231" y="344"/>
                  </a:lnTo>
                  <a:lnTo>
                    <a:pt x="236" y="358"/>
                  </a:lnTo>
                  <a:lnTo>
                    <a:pt x="239" y="370"/>
                  </a:lnTo>
                  <a:lnTo>
                    <a:pt x="238" y="371"/>
                  </a:lnTo>
                  <a:lnTo>
                    <a:pt x="239" y="372"/>
                  </a:lnTo>
                  <a:lnTo>
                    <a:pt x="243" y="386"/>
                  </a:lnTo>
                  <a:lnTo>
                    <a:pt x="251" y="386"/>
                  </a:lnTo>
                  <a:lnTo>
                    <a:pt x="265" y="396"/>
                  </a:lnTo>
                  <a:lnTo>
                    <a:pt x="274" y="404"/>
                  </a:lnTo>
                  <a:lnTo>
                    <a:pt x="278" y="421"/>
                  </a:lnTo>
                  <a:lnTo>
                    <a:pt x="291" y="450"/>
                  </a:lnTo>
                  <a:lnTo>
                    <a:pt x="292" y="457"/>
                  </a:lnTo>
                  <a:lnTo>
                    <a:pt x="292" y="490"/>
                  </a:lnTo>
                  <a:lnTo>
                    <a:pt x="290" y="527"/>
                  </a:lnTo>
                  <a:lnTo>
                    <a:pt x="292" y="543"/>
                  </a:lnTo>
                  <a:lnTo>
                    <a:pt x="299" y="558"/>
                  </a:lnTo>
                  <a:lnTo>
                    <a:pt x="298" y="607"/>
                  </a:lnTo>
                  <a:lnTo>
                    <a:pt x="296" y="619"/>
                  </a:lnTo>
                  <a:lnTo>
                    <a:pt x="290" y="628"/>
                  </a:lnTo>
                  <a:lnTo>
                    <a:pt x="281" y="625"/>
                  </a:lnTo>
                  <a:lnTo>
                    <a:pt x="271" y="634"/>
                  </a:lnTo>
                  <a:lnTo>
                    <a:pt x="264" y="638"/>
                  </a:lnTo>
                  <a:lnTo>
                    <a:pt x="256" y="638"/>
                  </a:lnTo>
                  <a:lnTo>
                    <a:pt x="238" y="646"/>
                  </a:lnTo>
                  <a:lnTo>
                    <a:pt x="237" y="656"/>
                  </a:lnTo>
                  <a:lnTo>
                    <a:pt x="218" y="657"/>
                  </a:lnTo>
                  <a:lnTo>
                    <a:pt x="208" y="661"/>
                  </a:lnTo>
                  <a:lnTo>
                    <a:pt x="206" y="674"/>
                  </a:lnTo>
                  <a:lnTo>
                    <a:pt x="207" y="683"/>
                  </a:lnTo>
                  <a:lnTo>
                    <a:pt x="208" y="692"/>
                  </a:lnTo>
                  <a:lnTo>
                    <a:pt x="202" y="694"/>
                  </a:lnTo>
                  <a:lnTo>
                    <a:pt x="194" y="697"/>
                  </a:lnTo>
                  <a:lnTo>
                    <a:pt x="183" y="704"/>
                  </a:lnTo>
                  <a:lnTo>
                    <a:pt x="173" y="708"/>
                  </a:lnTo>
                  <a:lnTo>
                    <a:pt x="165" y="705"/>
                  </a:lnTo>
                  <a:lnTo>
                    <a:pt x="158" y="705"/>
                  </a:lnTo>
                  <a:lnTo>
                    <a:pt x="157" y="715"/>
                  </a:lnTo>
                  <a:lnTo>
                    <a:pt x="152" y="720"/>
                  </a:lnTo>
                  <a:lnTo>
                    <a:pt x="145" y="724"/>
                  </a:lnTo>
                  <a:lnTo>
                    <a:pt x="134" y="726"/>
                  </a:lnTo>
                  <a:lnTo>
                    <a:pt x="129" y="727"/>
                  </a:lnTo>
                  <a:lnTo>
                    <a:pt x="136" y="738"/>
                  </a:lnTo>
                  <a:lnTo>
                    <a:pt x="154" y="746"/>
                  </a:lnTo>
                  <a:lnTo>
                    <a:pt x="161" y="752"/>
                  </a:lnTo>
                  <a:lnTo>
                    <a:pt x="157" y="760"/>
                  </a:lnTo>
                  <a:lnTo>
                    <a:pt x="150" y="770"/>
                  </a:lnTo>
                  <a:lnTo>
                    <a:pt x="148" y="786"/>
                  </a:lnTo>
                  <a:lnTo>
                    <a:pt x="148" y="797"/>
                  </a:lnTo>
                  <a:lnTo>
                    <a:pt x="151" y="810"/>
                  </a:lnTo>
                  <a:lnTo>
                    <a:pt x="156" y="822"/>
                  </a:lnTo>
                  <a:lnTo>
                    <a:pt x="151" y="827"/>
                  </a:lnTo>
                  <a:lnTo>
                    <a:pt x="153" y="832"/>
                  </a:lnTo>
                  <a:lnTo>
                    <a:pt x="162" y="830"/>
                  </a:lnTo>
                  <a:lnTo>
                    <a:pt x="175" y="821"/>
                  </a:lnTo>
                  <a:lnTo>
                    <a:pt x="186" y="807"/>
                  </a:lnTo>
                  <a:lnTo>
                    <a:pt x="195" y="797"/>
                  </a:lnTo>
                  <a:lnTo>
                    <a:pt x="216" y="789"/>
                  </a:lnTo>
                  <a:lnTo>
                    <a:pt x="220" y="785"/>
                  </a:lnTo>
                  <a:lnTo>
                    <a:pt x="220" y="778"/>
                  </a:lnTo>
                  <a:lnTo>
                    <a:pt x="228" y="77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7" name="Freeform 91"/>
            <p:cNvSpPr>
              <a:spLocks noChangeAspect="1"/>
            </p:cNvSpPr>
            <p:nvPr/>
          </p:nvSpPr>
          <p:spPr bwMode="gray">
            <a:xfrm>
              <a:off x="4844419" y="4103549"/>
              <a:ext cx="139998" cy="87169"/>
            </a:xfrm>
            <a:custGeom>
              <a:avLst/>
              <a:gdLst/>
              <a:ahLst/>
              <a:cxnLst>
                <a:cxn ang="0">
                  <a:pos x="249" y="133"/>
                </a:cxn>
                <a:cxn ang="0">
                  <a:pos x="268" y="155"/>
                </a:cxn>
                <a:cxn ang="0">
                  <a:pos x="281" y="158"/>
                </a:cxn>
                <a:cxn ang="0">
                  <a:pos x="288" y="121"/>
                </a:cxn>
                <a:cxn ang="0">
                  <a:pos x="301" y="122"/>
                </a:cxn>
                <a:cxn ang="0">
                  <a:pos x="312" y="139"/>
                </a:cxn>
                <a:cxn ang="0">
                  <a:pos x="319" y="128"/>
                </a:cxn>
                <a:cxn ang="0">
                  <a:pos x="309" y="111"/>
                </a:cxn>
                <a:cxn ang="0">
                  <a:pos x="328" y="96"/>
                </a:cxn>
                <a:cxn ang="0">
                  <a:pos x="324" y="81"/>
                </a:cxn>
                <a:cxn ang="0">
                  <a:pos x="351" y="64"/>
                </a:cxn>
                <a:cxn ang="0">
                  <a:pos x="383" y="20"/>
                </a:cxn>
                <a:cxn ang="0">
                  <a:pos x="392" y="0"/>
                </a:cxn>
                <a:cxn ang="0">
                  <a:pos x="395" y="14"/>
                </a:cxn>
                <a:cxn ang="0">
                  <a:pos x="404" y="9"/>
                </a:cxn>
                <a:cxn ang="0">
                  <a:pos x="417" y="4"/>
                </a:cxn>
                <a:cxn ang="0">
                  <a:pos x="433" y="20"/>
                </a:cxn>
                <a:cxn ang="0">
                  <a:pos x="442" y="43"/>
                </a:cxn>
                <a:cxn ang="0">
                  <a:pos x="448" y="57"/>
                </a:cxn>
                <a:cxn ang="0">
                  <a:pos x="463" y="54"/>
                </a:cxn>
                <a:cxn ang="0">
                  <a:pos x="462" y="68"/>
                </a:cxn>
                <a:cxn ang="0">
                  <a:pos x="474" y="65"/>
                </a:cxn>
                <a:cxn ang="0">
                  <a:pos x="502" y="80"/>
                </a:cxn>
                <a:cxn ang="0">
                  <a:pos x="530" y="95"/>
                </a:cxn>
                <a:cxn ang="0">
                  <a:pos x="512" y="108"/>
                </a:cxn>
                <a:cxn ang="0">
                  <a:pos x="482" y="110"/>
                </a:cxn>
                <a:cxn ang="0">
                  <a:pos x="476" y="126"/>
                </a:cxn>
                <a:cxn ang="0">
                  <a:pos x="492" y="137"/>
                </a:cxn>
                <a:cxn ang="0">
                  <a:pos x="463" y="149"/>
                </a:cxn>
                <a:cxn ang="0">
                  <a:pos x="446" y="143"/>
                </a:cxn>
                <a:cxn ang="0">
                  <a:pos x="439" y="151"/>
                </a:cxn>
                <a:cxn ang="0">
                  <a:pos x="412" y="142"/>
                </a:cxn>
                <a:cxn ang="0">
                  <a:pos x="336" y="150"/>
                </a:cxn>
                <a:cxn ang="0">
                  <a:pos x="323" y="201"/>
                </a:cxn>
                <a:cxn ang="0">
                  <a:pos x="282" y="275"/>
                </a:cxn>
                <a:cxn ang="0">
                  <a:pos x="265" y="299"/>
                </a:cxn>
                <a:cxn ang="0">
                  <a:pos x="231" y="307"/>
                </a:cxn>
                <a:cxn ang="0">
                  <a:pos x="189" y="306"/>
                </a:cxn>
                <a:cxn ang="0">
                  <a:pos x="178" y="296"/>
                </a:cxn>
                <a:cxn ang="0">
                  <a:pos x="139" y="305"/>
                </a:cxn>
                <a:cxn ang="0">
                  <a:pos x="105" y="326"/>
                </a:cxn>
                <a:cxn ang="0">
                  <a:pos x="77" y="323"/>
                </a:cxn>
                <a:cxn ang="0">
                  <a:pos x="40" y="325"/>
                </a:cxn>
                <a:cxn ang="0">
                  <a:pos x="0" y="269"/>
                </a:cxn>
                <a:cxn ang="0">
                  <a:pos x="7" y="264"/>
                </a:cxn>
                <a:cxn ang="0">
                  <a:pos x="28" y="283"/>
                </a:cxn>
                <a:cxn ang="0">
                  <a:pos x="53" y="284"/>
                </a:cxn>
                <a:cxn ang="0">
                  <a:pos x="84" y="293"/>
                </a:cxn>
                <a:cxn ang="0">
                  <a:pos x="91" y="269"/>
                </a:cxn>
                <a:cxn ang="0">
                  <a:pos x="96" y="250"/>
                </a:cxn>
                <a:cxn ang="0">
                  <a:pos x="103" y="239"/>
                </a:cxn>
                <a:cxn ang="0">
                  <a:pos x="116" y="221"/>
                </a:cxn>
                <a:cxn ang="0">
                  <a:pos x="137" y="218"/>
                </a:cxn>
                <a:cxn ang="0">
                  <a:pos x="161" y="215"/>
                </a:cxn>
                <a:cxn ang="0">
                  <a:pos x="190" y="201"/>
                </a:cxn>
                <a:cxn ang="0">
                  <a:pos x="215" y="167"/>
                </a:cxn>
                <a:cxn ang="0">
                  <a:pos x="240" y="131"/>
                </a:cxn>
              </a:cxnLst>
              <a:rect l="0" t="0" r="r" b="b"/>
              <a:pathLst>
                <a:path w="530" h="330">
                  <a:moveTo>
                    <a:pt x="242" y="129"/>
                  </a:moveTo>
                  <a:lnTo>
                    <a:pt x="245" y="131"/>
                  </a:lnTo>
                  <a:lnTo>
                    <a:pt x="249" y="133"/>
                  </a:lnTo>
                  <a:lnTo>
                    <a:pt x="259" y="144"/>
                  </a:lnTo>
                  <a:lnTo>
                    <a:pt x="263" y="150"/>
                  </a:lnTo>
                  <a:lnTo>
                    <a:pt x="268" y="155"/>
                  </a:lnTo>
                  <a:lnTo>
                    <a:pt x="271" y="159"/>
                  </a:lnTo>
                  <a:lnTo>
                    <a:pt x="276" y="160"/>
                  </a:lnTo>
                  <a:lnTo>
                    <a:pt x="281" y="158"/>
                  </a:lnTo>
                  <a:lnTo>
                    <a:pt x="283" y="150"/>
                  </a:lnTo>
                  <a:lnTo>
                    <a:pt x="285" y="126"/>
                  </a:lnTo>
                  <a:lnTo>
                    <a:pt x="288" y="121"/>
                  </a:lnTo>
                  <a:lnTo>
                    <a:pt x="293" y="118"/>
                  </a:lnTo>
                  <a:lnTo>
                    <a:pt x="298" y="118"/>
                  </a:lnTo>
                  <a:lnTo>
                    <a:pt x="301" y="122"/>
                  </a:lnTo>
                  <a:lnTo>
                    <a:pt x="303" y="129"/>
                  </a:lnTo>
                  <a:lnTo>
                    <a:pt x="307" y="137"/>
                  </a:lnTo>
                  <a:lnTo>
                    <a:pt x="312" y="139"/>
                  </a:lnTo>
                  <a:lnTo>
                    <a:pt x="318" y="139"/>
                  </a:lnTo>
                  <a:lnTo>
                    <a:pt x="319" y="134"/>
                  </a:lnTo>
                  <a:lnTo>
                    <a:pt x="319" y="128"/>
                  </a:lnTo>
                  <a:lnTo>
                    <a:pt x="318" y="123"/>
                  </a:lnTo>
                  <a:lnTo>
                    <a:pt x="314" y="116"/>
                  </a:lnTo>
                  <a:lnTo>
                    <a:pt x="309" y="111"/>
                  </a:lnTo>
                  <a:lnTo>
                    <a:pt x="315" y="110"/>
                  </a:lnTo>
                  <a:lnTo>
                    <a:pt x="320" y="106"/>
                  </a:lnTo>
                  <a:lnTo>
                    <a:pt x="328" y="96"/>
                  </a:lnTo>
                  <a:lnTo>
                    <a:pt x="322" y="94"/>
                  </a:lnTo>
                  <a:lnTo>
                    <a:pt x="319" y="88"/>
                  </a:lnTo>
                  <a:lnTo>
                    <a:pt x="324" y="81"/>
                  </a:lnTo>
                  <a:lnTo>
                    <a:pt x="329" y="79"/>
                  </a:lnTo>
                  <a:lnTo>
                    <a:pt x="339" y="79"/>
                  </a:lnTo>
                  <a:lnTo>
                    <a:pt x="351" y="64"/>
                  </a:lnTo>
                  <a:lnTo>
                    <a:pt x="357" y="53"/>
                  </a:lnTo>
                  <a:lnTo>
                    <a:pt x="357" y="47"/>
                  </a:lnTo>
                  <a:lnTo>
                    <a:pt x="383" y="20"/>
                  </a:lnTo>
                  <a:lnTo>
                    <a:pt x="387" y="13"/>
                  </a:lnTo>
                  <a:lnTo>
                    <a:pt x="388" y="6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5" y="3"/>
                  </a:lnTo>
                  <a:lnTo>
                    <a:pt x="395" y="14"/>
                  </a:lnTo>
                  <a:lnTo>
                    <a:pt x="393" y="20"/>
                  </a:lnTo>
                  <a:lnTo>
                    <a:pt x="393" y="22"/>
                  </a:lnTo>
                  <a:lnTo>
                    <a:pt x="404" y="9"/>
                  </a:lnTo>
                  <a:lnTo>
                    <a:pt x="408" y="2"/>
                  </a:lnTo>
                  <a:lnTo>
                    <a:pt x="415" y="2"/>
                  </a:lnTo>
                  <a:lnTo>
                    <a:pt x="417" y="4"/>
                  </a:lnTo>
                  <a:lnTo>
                    <a:pt x="422" y="19"/>
                  </a:lnTo>
                  <a:lnTo>
                    <a:pt x="428" y="22"/>
                  </a:lnTo>
                  <a:lnTo>
                    <a:pt x="433" y="20"/>
                  </a:lnTo>
                  <a:lnTo>
                    <a:pt x="443" y="29"/>
                  </a:lnTo>
                  <a:lnTo>
                    <a:pt x="446" y="40"/>
                  </a:lnTo>
                  <a:lnTo>
                    <a:pt x="442" y="43"/>
                  </a:lnTo>
                  <a:lnTo>
                    <a:pt x="443" y="57"/>
                  </a:lnTo>
                  <a:lnTo>
                    <a:pt x="444" y="58"/>
                  </a:lnTo>
                  <a:lnTo>
                    <a:pt x="448" y="57"/>
                  </a:lnTo>
                  <a:lnTo>
                    <a:pt x="452" y="57"/>
                  </a:lnTo>
                  <a:lnTo>
                    <a:pt x="458" y="54"/>
                  </a:lnTo>
                  <a:lnTo>
                    <a:pt x="463" y="54"/>
                  </a:lnTo>
                  <a:lnTo>
                    <a:pt x="467" y="59"/>
                  </a:lnTo>
                  <a:lnTo>
                    <a:pt x="465" y="64"/>
                  </a:lnTo>
                  <a:lnTo>
                    <a:pt x="462" y="68"/>
                  </a:lnTo>
                  <a:lnTo>
                    <a:pt x="463" y="70"/>
                  </a:lnTo>
                  <a:lnTo>
                    <a:pt x="469" y="70"/>
                  </a:lnTo>
                  <a:lnTo>
                    <a:pt x="474" y="65"/>
                  </a:lnTo>
                  <a:lnTo>
                    <a:pt x="480" y="65"/>
                  </a:lnTo>
                  <a:lnTo>
                    <a:pt x="486" y="69"/>
                  </a:lnTo>
                  <a:lnTo>
                    <a:pt x="502" y="80"/>
                  </a:lnTo>
                  <a:lnTo>
                    <a:pt x="523" y="86"/>
                  </a:lnTo>
                  <a:lnTo>
                    <a:pt x="529" y="91"/>
                  </a:lnTo>
                  <a:lnTo>
                    <a:pt x="530" y="95"/>
                  </a:lnTo>
                  <a:lnTo>
                    <a:pt x="528" y="100"/>
                  </a:lnTo>
                  <a:lnTo>
                    <a:pt x="518" y="104"/>
                  </a:lnTo>
                  <a:lnTo>
                    <a:pt x="512" y="108"/>
                  </a:lnTo>
                  <a:lnTo>
                    <a:pt x="501" y="112"/>
                  </a:lnTo>
                  <a:lnTo>
                    <a:pt x="491" y="115"/>
                  </a:lnTo>
                  <a:lnTo>
                    <a:pt x="482" y="110"/>
                  </a:lnTo>
                  <a:lnTo>
                    <a:pt x="475" y="113"/>
                  </a:lnTo>
                  <a:lnTo>
                    <a:pt x="474" y="121"/>
                  </a:lnTo>
                  <a:lnTo>
                    <a:pt x="476" y="126"/>
                  </a:lnTo>
                  <a:lnTo>
                    <a:pt x="482" y="132"/>
                  </a:lnTo>
                  <a:lnTo>
                    <a:pt x="487" y="133"/>
                  </a:lnTo>
                  <a:lnTo>
                    <a:pt x="492" y="137"/>
                  </a:lnTo>
                  <a:lnTo>
                    <a:pt x="494" y="140"/>
                  </a:lnTo>
                  <a:lnTo>
                    <a:pt x="480" y="143"/>
                  </a:lnTo>
                  <a:lnTo>
                    <a:pt x="463" y="149"/>
                  </a:lnTo>
                  <a:lnTo>
                    <a:pt x="457" y="149"/>
                  </a:lnTo>
                  <a:lnTo>
                    <a:pt x="452" y="147"/>
                  </a:lnTo>
                  <a:lnTo>
                    <a:pt x="446" y="143"/>
                  </a:lnTo>
                  <a:lnTo>
                    <a:pt x="444" y="143"/>
                  </a:lnTo>
                  <a:lnTo>
                    <a:pt x="443" y="148"/>
                  </a:lnTo>
                  <a:lnTo>
                    <a:pt x="439" y="151"/>
                  </a:lnTo>
                  <a:lnTo>
                    <a:pt x="435" y="151"/>
                  </a:lnTo>
                  <a:lnTo>
                    <a:pt x="421" y="147"/>
                  </a:lnTo>
                  <a:lnTo>
                    <a:pt x="412" y="142"/>
                  </a:lnTo>
                  <a:lnTo>
                    <a:pt x="361" y="140"/>
                  </a:lnTo>
                  <a:lnTo>
                    <a:pt x="342" y="142"/>
                  </a:lnTo>
                  <a:lnTo>
                    <a:pt x="336" y="150"/>
                  </a:lnTo>
                  <a:lnTo>
                    <a:pt x="330" y="167"/>
                  </a:lnTo>
                  <a:lnTo>
                    <a:pt x="328" y="189"/>
                  </a:lnTo>
                  <a:lnTo>
                    <a:pt x="323" y="201"/>
                  </a:lnTo>
                  <a:lnTo>
                    <a:pt x="297" y="230"/>
                  </a:lnTo>
                  <a:lnTo>
                    <a:pt x="291" y="257"/>
                  </a:lnTo>
                  <a:lnTo>
                    <a:pt x="282" y="275"/>
                  </a:lnTo>
                  <a:lnTo>
                    <a:pt x="275" y="287"/>
                  </a:lnTo>
                  <a:lnTo>
                    <a:pt x="271" y="294"/>
                  </a:lnTo>
                  <a:lnTo>
                    <a:pt x="265" y="299"/>
                  </a:lnTo>
                  <a:lnTo>
                    <a:pt x="252" y="303"/>
                  </a:lnTo>
                  <a:lnTo>
                    <a:pt x="240" y="305"/>
                  </a:lnTo>
                  <a:lnTo>
                    <a:pt x="231" y="307"/>
                  </a:lnTo>
                  <a:lnTo>
                    <a:pt x="220" y="314"/>
                  </a:lnTo>
                  <a:lnTo>
                    <a:pt x="210" y="314"/>
                  </a:lnTo>
                  <a:lnTo>
                    <a:pt x="189" y="306"/>
                  </a:lnTo>
                  <a:lnTo>
                    <a:pt x="184" y="306"/>
                  </a:lnTo>
                  <a:lnTo>
                    <a:pt x="183" y="299"/>
                  </a:lnTo>
                  <a:lnTo>
                    <a:pt x="178" y="296"/>
                  </a:lnTo>
                  <a:lnTo>
                    <a:pt x="151" y="295"/>
                  </a:lnTo>
                  <a:lnTo>
                    <a:pt x="146" y="296"/>
                  </a:lnTo>
                  <a:lnTo>
                    <a:pt x="139" y="305"/>
                  </a:lnTo>
                  <a:lnTo>
                    <a:pt x="123" y="323"/>
                  </a:lnTo>
                  <a:lnTo>
                    <a:pt x="115" y="327"/>
                  </a:lnTo>
                  <a:lnTo>
                    <a:pt x="105" y="326"/>
                  </a:lnTo>
                  <a:lnTo>
                    <a:pt x="96" y="326"/>
                  </a:lnTo>
                  <a:lnTo>
                    <a:pt x="87" y="330"/>
                  </a:lnTo>
                  <a:lnTo>
                    <a:pt x="77" y="323"/>
                  </a:lnTo>
                  <a:lnTo>
                    <a:pt x="66" y="325"/>
                  </a:lnTo>
                  <a:lnTo>
                    <a:pt x="54" y="328"/>
                  </a:lnTo>
                  <a:lnTo>
                    <a:pt x="40" y="325"/>
                  </a:lnTo>
                  <a:lnTo>
                    <a:pt x="27" y="314"/>
                  </a:lnTo>
                  <a:lnTo>
                    <a:pt x="0" y="274"/>
                  </a:lnTo>
                  <a:lnTo>
                    <a:pt x="0" y="269"/>
                  </a:lnTo>
                  <a:lnTo>
                    <a:pt x="2" y="268"/>
                  </a:lnTo>
                  <a:lnTo>
                    <a:pt x="5" y="266"/>
                  </a:lnTo>
                  <a:lnTo>
                    <a:pt x="7" y="264"/>
                  </a:lnTo>
                  <a:lnTo>
                    <a:pt x="10" y="273"/>
                  </a:lnTo>
                  <a:lnTo>
                    <a:pt x="13" y="278"/>
                  </a:lnTo>
                  <a:lnTo>
                    <a:pt x="28" y="283"/>
                  </a:lnTo>
                  <a:lnTo>
                    <a:pt x="34" y="284"/>
                  </a:lnTo>
                  <a:lnTo>
                    <a:pt x="48" y="283"/>
                  </a:lnTo>
                  <a:lnTo>
                    <a:pt x="53" y="284"/>
                  </a:lnTo>
                  <a:lnTo>
                    <a:pt x="59" y="288"/>
                  </a:lnTo>
                  <a:lnTo>
                    <a:pt x="67" y="290"/>
                  </a:lnTo>
                  <a:lnTo>
                    <a:pt x="84" y="293"/>
                  </a:lnTo>
                  <a:lnTo>
                    <a:pt x="86" y="285"/>
                  </a:lnTo>
                  <a:lnTo>
                    <a:pt x="89" y="279"/>
                  </a:lnTo>
                  <a:lnTo>
                    <a:pt x="91" y="269"/>
                  </a:lnTo>
                  <a:lnTo>
                    <a:pt x="93" y="263"/>
                  </a:lnTo>
                  <a:lnTo>
                    <a:pt x="91" y="253"/>
                  </a:lnTo>
                  <a:lnTo>
                    <a:pt x="96" y="250"/>
                  </a:lnTo>
                  <a:lnTo>
                    <a:pt x="102" y="251"/>
                  </a:lnTo>
                  <a:lnTo>
                    <a:pt x="103" y="253"/>
                  </a:lnTo>
                  <a:lnTo>
                    <a:pt x="103" y="239"/>
                  </a:lnTo>
                  <a:lnTo>
                    <a:pt x="105" y="235"/>
                  </a:lnTo>
                  <a:lnTo>
                    <a:pt x="113" y="225"/>
                  </a:lnTo>
                  <a:lnTo>
                    <a:pt x="116" y="221"/>
                  </a:lnTo>
                  <a:lnTo>
                    <a:pt x="134" y="220"/>
                  </a:lnTo>
                  <a:lnTo>
                    <a:pt x="137" y="219"/>
                  </a:lnTo>
                  <a:lnTo>
                    <a:pt x="137" y="218"/>
                  </a:lnTo>
                  <a:lnTo>
                    <a:pt x="142" y="217"/>
                  </a:lnTo>
                  <a:lnTo>
                    <a:pt x="152" y="217"/>
                  </a:lnTo>
                  <a:lnTo>
                    <a:pt x="161" y="215"/>
                  </a:lnTo>
                  <a:lnTo>
                    <a:pt x="174" y="214"/>
                  </a:lnTo>
                  <a:lnTo>
                    <a:pt x="179" y="212"/>
                  </a:lnTo>
                  <a:lnTo>
                    <a:pt x="190" y="201"/>
                  </a:lnTo>
                  <a:lnTo>
                    <a:pt x="205" y="183"/>
                  </a:lnTo>
                  <a:lnTo>
                    <a:pt x="207" y="177"/>
                  </a:lnTo>
                  <a:lnTo>
                    <a:pt x="215" y="167"/>
                  </a:lnTo>
                  <a:lnTo>
                    <a:pt x="231" y="154"/>
                  </a:lnTo>
                  <a:lnTo>
                    <a:pt x="238" y="143"/>
                  </a:lnTo>
                  <a:lnTo>
                    <a:pt x="240" y="131"/>
                  </a:lnTo>
                  <a:lnTo>
                    <a:pt x="242" y="12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8" name="Freeform 92"/>
            <p:cNvSpPr>
              <a:spLocks noChangeAspect="1"/>
            </p:cNvSpPr>
            <p:nvPr/>
          </p:nvSpPr>
          <p:spPr bwMode="gray">
            <a:xfrm>
              <a:off x="4708383" y="4106190"/>
              <a:ext cx="59434" cy="77924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" y="16"/>
                </a:cxn>
                <a:cxn ang="0">
                  <a:pos x="7" y="24"/>
                </a:cxn>
                <a:cxn ang="0">
                  <a:pos x="10" y="43"/>
                </a:cxn>
                <a:cxn ang="0">
                  <a:pos x="14" y="55"/>
                </a:cxn>
                <a:cxn ang="0">
                  <a:pos x="15" y="87"/>
                </a:cxn>
                <a:cxn ang="0">
                  <a:pos x="18" y="98"/>
                </a:cxn>
                <a:cxn ang="0">
                  <a:pos x="26" y="104"/>
                </a:cxn>
                <a:cxn ang="0">
                  <a:pos x="27" y="115"/>
                </a:cxn>
                <a:cxn ang="0">
                  <a:pos x="26" y="130"/>
                </a:cxn>
                <a:cxn ang="0">
                  <a:pos x="32" y="141"/>
                </a:cxn>
                <a:cxn ang="0">
                  <a:pos x="33" y="148"/>
                </a:cxn>
                <a:cxn ang="0">
                  <a:pos x="52" y="173"/>
                </a:cxn>
                <a:cxn ang="0">
                  <a:pos x="60" y="183"/>
                </a:cxn>
                <a:cxn ang="0">
                  <a:pos x="66" y="196"/>
                </a:cxn>
                <a:cxn ang="0">
                  <a:pos x="68" y="208"/>
                </a:cxn>
                <a:cxn ang="0">
                  <a:pos x="77" y="218"/>
                </a:cxn>
                <a:cxn ang="0">
                  <a:pos x="93" y="229"/>
                </a:cxn>
                <a:cxn ang="0">
                  <a:pos x="114" y="248"/>
                </a:cxn>
                <a:cxn ang="0">
                  <a:pos x="129" y="253"/>
                </a:cxn>
                <a:cxn ang="0">
                  <a:pos x="144" y="265"/>
                </a:cxn>
                <a:cxn ang="0">
                  <a:pos x="152" y="269"/>
                </a:cxn>
                <a:cxn ang="0">
                  <a:pos x="166" y="276"/>
                </a:cxn>
                <a:cxn ang="0">
                  <a:pos x="178" y="287"/>
                </a:cxn>
                <a:cxn ang="0">
                  <a:pos x="182" y="285"/>
                </a:cxn>
                <a:cxn ang="0">
                  <a:pos x="185" y="291"/>
                </a:cxn>
                <a:cxn ang="0">
                  <a:pos x="189" y="287"/>
                </a:cxn>
                <a:cxn ang="0">
                  <a:pos x="192" y="281"/>
                </a:cxn>
                <a:cxn ang="0">
                  <a:pos x="198" y="277"/>
                </a:cxn>
                <a:cxn ang="0">
                  <a:pos x="211" y="280"/>
                </a:cxn>
                <a:cxn ang="0">
                  <a:pos x="220" y="288"/>
                </a:cxn>
                <a:cxn ang="0">
                  <a:pos x="224" y="281"/>
                </a:cxn>
                <a:cxn ang="0">
                  <a:pos x="226" y="265"/>
                </a:cxn>
                <a:cxn ang="0">
                  <a:pos x="210" y="237"/>
                </a:cxn>
                <a:cxn ang="0">
                  <a:pos x="205" y="222"/>
                </a:cxn>
                <a:cxn ang="0">
                  <a:pos x="188" y="210"/>
                </a:cxn>
                <a:cxn ang="0">
                  <a:pos x="182" y="191"/>
                </a:cxn>
                <a:cxn ang="0">
                  <a:pos x="179" y="151"/>
                </a:cxn>
                <a:cxn ang="0">
                  <a:pos x="183" y="126"/>
                </a:cxn>
                <a:cxn ang="0">
                  <a:pos x="183" y="108"/>
                </a:cxn>
                <a:cxn ang="0">
                  <a:pos x="181" y="95"/>
                </a:cxn>
                <a:cxn ang="0">
                  <a:pos x="174" y="83"/>
                </a:cxn>
                <a:cxn ang="0">
                  <a:pos x="158" y="60"/>
                </a:cxn>
                <a:cxn ang="0">
                  <a:pos x="136" y="44"/>
                </a:cxn>
                <a:cxn ang="0">
                  <a:pos x="123" y="28"/>
                </a:cxn>
                <a:cxn ang="0">
                  <a:pos x="111" y="29"/>
                </a:cxn>
                <a:cxn ang="0">
                  <a:pos x="103" y="41"/>
                </a:cxn>
                <a:cxn ang="0">
                  <a:pos x="92" y="43"/>
                </a:cxn>
                <a:cxn ang="0">
                  <a:pos x="81" y="41"/>
                </a:cxn>
                <a:cxn ang="0">
                  <a:pos x="58" y="56"/>
                </a:cxn>
                <a:cxn ang="0">
                  <a:pos x="54" y="45"/>
                </a:cxn>
                <a:cxn ang="0">
                  <a:pos x="57" y="29"/>
                </a:cxn>
                <a:cxn ang="0">
                  <a:pos x="47" y="14"/>
                </a:cxn>
                <a:cxn ang="0">
                  <a:pos x="37" y="12"/>
                </a:cxn>
                <a:cxn ang="0">
                  <a:pos x="20" y="9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5" y="16"/>
                </a:cxn>
              </a:cxnLst>
              <a:rect l="0" t="0" r="r" b="b"/>
              <a:pathLst>
                <a:path w="226" h="291">
                  <a:moveTo>
                    <a:pt x="5" y="16"/>
                  </a:moveTo>
                  <a:lnTo>
                    <a:pt x="2" y="16"/>
                  </a:lnTo>
                  <a:lnTo>
                    <a:pt x="7" y="24"/>
                  </a:lnTo>
                  <a:lnTo>
                    <a:pt x="10" y="43"/>
                  </a:lnTo>
                  <a:lnTo>
                    <a:pt x="14" y="55"/>
                  </a:lnTo>
                  <a:lnTo>
                    <a:pt x="15" y="87"/>
                  </a:lnTo>
                  <a:lnTo>
                    <a:pt x="18" y="98"/>
                  </a:lnTo>
                  <a:lnTo>
                    <a:pt x="26" y="104"/>
                  </a:lnTo>
                  <a:lnTo>
                    <a:pt x="27" y="115"/>
                  </a:lnTo>
                  <a:lnTo>
                    <a:pt x="26" y="130"/>
                  </a:lnTo>
                  <a:lnTo>
                    <a:pt x="32" y="141"/>
                  </a:lnTo>
                  <a:lnTo>
                    <a:pt x="33" y="148"/>
                  </a:lnTo>
                  <a:lnTo>
                    <a:pt x="52" y="173"/>
                  </a:lnTo>
                  <a:lnTo>
                    <a:pt x="60" y="183"/>
                  </a:lnTo>
                  <a:lnTo>
                    <a:pt x="66" y="196"/>
                  </a:lnTo>
                  <a:lnTo>
                    <a:pt x="68" y="208"/>
                  </a:lnTo>
                  <a:lnTo>
                    <a:pt x="77" y="218"/>
                  </a:lnTo>
                  <a:lnTo>
                    <a:pt x="93" y="229"/>
                  </a:lnTo>
                  <a:lnTo>
                    <a:pt x="114" y="248"/>
                  </a:lnTo>
                  <a:lnTo>
                    <a:pt x="129" y="253"/>
                  </a:lnTo>
                  <a:lnTo>
                    <a:pt x="144" y="265"/>
                  </a:lnTo>
                  <a:lnTo>
                    <a:pt x="152" y="269"/>
                  </a:lnTo>
                  <a:lnTo>
                    <a:pt x="166" y="276"/>
                  </a:lnTo>
                  <a:lnTo>
                    <a:pt x="178" y="287"/>
                  </a:lnTo>
                  <a:lnTo>
                    <a:pt x="182" y="285"/>
                  </a:lnTo>
                  <a:lnTo>
                    <a:pt x="185" y="291"/>
                  </a:lnTo>
                  <a:lnTo>
                    <a:pt x="189" y="287"/>
                  </a:lnTo>
                  <a:lnTo>
                    <a:pt x="192" y="281"/>
                  </a:lnTo>
                  <a:lnTo>
                    <a:pt x="198" y="277"/>
                  </a:lnTo>
                  <a:lnTo>
                    <a:pt x="211" y="280"/>
                  </a:lnTo>
                  <a:lnTo>
                    <a:pt x="220" y="288"/>
                  </a:lnTo>
                  <a:lnTo>
                    <a:pt x="224" y="281"/>
                  </a:lnTo>
                  <a:lnTo>
                    <a:pt x="226" y="265"/>
                  </a:lnTo>
                  <a:lnTo>
                    <a:pt x="210" y="237"/>
                  </a:lnTo>
                  <a:lnTo>
                    <a:pt x="205" y="222"/>
                  </a:lnTo>
                  <a:lnTo>
                    <a:pt x="188" y="210"/>
                  </a:lnTo>
                  <a:lnTo>
                    <a:pt x="182" y="191"/>
                  </a:lnTo>
                  <a:lnTo>
                    <a:pt x="179" y="151"/>
                  </a:lnTo>
                  <a:lnTo>
                    <a:pt x="183" y="126"/>
                  </a:lnTo>
                  <a:lnTo>
                    <a:pt x="183" y="108"/>
                  </a:lnTo>
                  <a:lnTo>
                    <a:pt x="181" y="95"/>
                  </a:lnTo>
                  <a:lnTo>
                    <a:pt x="174" y="83"/>
                  </a:lnTo>
                  <a:lnTo>
                    <a:pt x="158" y="60"/>
                  </a:lnTo>
                  <a:lnTo>
                    <a:pt x="136" y="44"/>
                  </a:lnTo>
                  <a:lnTo>
                    <a:pt x="123" y="28"/>
                  </a:lnTo>
                  <a:lnTo>
                    <a:pt x="111" y="29"/>
                  </a:lnTo>
                  <a:lnTo>
                    <a:pt x="103" y="41"/>
                  </a:lnTo>
                  <a:lnTo>
                    <a:pt x="92" y="43"/>
                  </a:lnTo>
                  <a:lnTo>
                    <a:pt x="81" y="41"/>
                  </a:lnTo>
                  <a:lnTo>
                    <a:pt x="58" y="56"/>
                  </a:lnTo>
                  <a:lnTo>
                    <a:pt x="54" y="45"/>
                  </a:lnTo>
                  <a:lnTo>
                    <a:pt x="57" y="29"/>
                  </a:lnTo>
                  <a:lnTo>
                    <a:pt x="47" y="14"/>
                  </a:lnTo>
                  <a:lnTo>
                    <a:pt x="37" y="12"/>
                  </a:lnTo>
                  <a:lnTo>
                    <a:pt x="20" y="9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99" name="Freeform 93"/>
            <p:cNvSpPr>
              <a:spLocks noChangeAspect="1"/>
            </p:cNvSpPr>
            <p:nvPr/>
          </p:nvSpPr>
          <p:spPr bwMode="gray">
            <a:xfrm>
              <a:off x="4671402" y="3898834"/>
              <a:ext cx="113584" cy="223206"/>
            </a:xfrm>
            <a:custGeom>
              <a:avLst/>
              <a:gdLst/>
              <a:ahLst/>
              <a:cxnLst>
                <a:cxn ang="0">
                  <a:pos x="125" y="24"/>
                </a:cxn>
                <a:cxn ang="0">
                  <a:pos x="77" y="49"/>
                </a:cxn>
                <a:cxn ang="0">
                  <a:pos x="23" y="67"/>
                </a:cxn>
                <a:cxn ang="0">
                  <a:pos x="0" y="135"/>
                </a:cxn>
                <a:cxn ang="0">
                  <a:pos x="40" y="199"/>
                </a:cxn>
                <a:cxn ang="0">
                  <a:pos x="52" y="252"/>
                </a:cxn>
                <a:cxn ang="0">
                  <a:pos x="53" y="283"/>
                </a:cxn>
                <a:cxn ang="0">
                  <a:pos x="38" y="315"/>
                </a:cxn>
                <a:cxn ang="0">
                  <a:pos x="58" y="366"/>
                </a:cxn>
                <a:cxn ang="0">
                  <a:pos x="82" y="434"/>
                </a:cxn>
                <a:cxn ang="0">
                  <a:pos x="111" y="503"/>
                </a:cxn>
                <a:cxn ang="0">
                  <a:pos x="72" y="559"/>
                </a:cxn>
                <a:cxn ang="0">
                  <a:pos x="59" y="597"/>
                </a:cxn>
                <a:cxn ang="0">
                  <a:pos x="37" y="681"/>
                </a:cxn>
                <a:cxn ang="0">
                  <a:pos x="80" y="725"/>
                </a:cxn>
                <a:cxn ang="0">
                  <a:pos x="118" y="774"/>
                </a:cxn>
                <a:cxn ang="0">
                  <a:pos x="160" y="797"/>
                </a:cxn>
                <a:cxn ang="0">
                  <a:pos x="194" y="833"/>
                </a:cxn>
                <a:cxn ang="0">
                  <a:pos x="243" y="829"/>
                </a:cxn>
                <a:cxn ang="0">
                  <a:pos x="215" y="778"/>
                </a:cxn>
                <a:cxn ang="0">
                  <a:pos x="157" y="745"/>
                </a:cxn>
                <a:cxn ang="0">
                  <a:pos x="131" y="676"/>
                </a:cxn>
                <a:cxn ang="0">
                  <a:pos x="102" y="651"/>
                </a:cxn>
                <a:cxn ang="0">
                  <a:pos x="85" y="607"/>
                </a:cxn>
                <a:cxn ang="0">
                  <a:pos x="93" y="568"/>
                </a:cxn>
                <a:cxn ang="0">
                  <a:pos x="112" y="515"/>
                </a:cxn>
                <a:cxn ang="0">
                  <a:pos x="133" y="439"/>
                </a:cxn>
                <a:cxn ang="0">
                  <a:pos x="161" y="409"/>
                </a:cxn>
                <a:cxn ang="0">
                  <a:pos x="179" y="455"/>
                </a:cxn>
                <a:cxn ang="0">
                  <a:pos x="189" y="458"/>
                </a:cxn>
                <a:cxn ang="0">
                  <a:pos x="251" y="476"/>
                </a:cxn>
                <a:cxn ang="0">
                  <a:pos x="271" y="489"/>
                </a:cxn>
                <a:cxn ang="0">
                  <a:pos x="292" y="510"/>
                </a:cxn>
                <a:cxn ang="0">
                  <a:pos x="265" y="462"/>
                </a:cxn>
                <a:cxn ang="0">
                  <a:pos x="265" y="407"/>
                </a:cxn>
                <a:cxn ang="0">
                  <a:pos x="298" y="366"/>
                </a:cxn>
                <a:cxn ang="0">
                  <a:pos x="368" y="365"/>
                </a:cxn>
                <a:cxn ang="0">
                  <a:pos x="416" y="365"/>
                </a:cxn>
                <a:cxn ang="0">
                  <a:pos x="431" y="302"/>
                </a:cxn>
                <a:cxn ang="0">
                  <a:pos x="416" y="275"/>
                </a:cxn>
                <a:cxn ang="0">
                  <a:pos x="389" y="252"/>
                </a:cxn>
                <a:cxn ang="0">
                  <a:pos x="382" y="191"/>
                </a:cxn>
                <a:cxn ang="0">
                  <a:pos x="360" y="165"/>
                </a:cxn>
                <a:cxn ang="0">
                  <a:pos x="323" y="134"/>
                </a:cxn>
                <a:cxn ang="0">
                  <a:pos x="292" y="153"/>
                </a:cxn>
                <a:cxn ang="0">
                  <a:pos x="255" y="156"/>
                </a:cxn>
                <a:cxn ang="0">
                  <a:pos x="220" y="151"/>
                </a:cxn>
                <a:cxn ang="0">
                  <a:pos x="183" y="182"/>
                </a:cxn>
                <a:cxn ang="0">
                  <a:pos x="188" y="126"/>
                </a:cxn>
                <a:cxn ang="0">
                  <a:pos x="190" y="81"/>
                </a:cxn>
                <a:cxn ang="0">
                  <a:pos x="163" y="59"/>
                </a:cxn>
                <a:cxn ang="0">
                  <a:pos x="152" y="16"/>
                </a:cxn>
                <a:cxn ang="0">
                  <a:pos x="141" y="0"/>
                </a:cxn>
              </a:cxnLst>
              <a:rect l="0" t="0" r="r" b="b"/>
              <a:pathLst>
                <a:path w="431" h="844">
                  <a:moveTo>
                    <a:pt x="144" y="0"/>
                  </a:moveTo>
                  <a:lnTo>
                    <a:pt x="138" y="3"/>
                  </a:lnTo>
                  <a:lnTo>
                    <a:pt x="131" y="11"/>
                  </a:lnTo>
                  <a:lnTo>
                    <a:pt x="125" y="24"/>
                  </a:lnTo>
                  <a:lnTo>
                    <a:pt x="112" y="27"/>
                  </a:lnTo>
                  <a:lnTo>
                    <a:pt x="103" y="32"/>
                  </a:lnTo>
                  <a:lnTo>
                    <a:pt x="88" y="43"/>
                  </a:lnTo>
                  <a:lnTo>
                    <a:pt x="77" y="49"/>
                  </a:lnTo>
                  <a:lnTo>
                    <a:pt x="66" y="60"/>
                  </a:lnTo>
                  <a:lnTo>
                    <a:pt x="55" y="64"/>
                  </a:lnTo>
                  <a:lnTo>
                    <a:pt x="37" y="65"/>
                  </a:lnTo>
                  <a:lnTo>
                    <a:pt x="23" y="67"/>
                  </a:lnTo>
                  <a:lnTo>
                    <a:pt x="9" y="106"/>
                  </a:lnTo>
                  <a:lnTo>
                    <a:pt x="7" y="118"/>
                  </a:lnTo>
                  <a:lnTo>
                    <a:pt x="9" y="128"/>
                  </a:lnTo>
                  <a:lnTo>
                    <a:pt x="0" y="135"/>
                  </a:lnTo>
                  <a:lnTo>
                    <a:pt x="1" y="142"/>
                  </a:lnTo>
                  <a:lnTo>
                    <a:pt x="7" y="159"/>
                  </a:lnTo>
                  <a:lnTo>
                    <a:pt x="17" y="182"/>
                  </a:lnTo>
                  <a:lnTo>
                    <a:pt x="40" y="199"/>
                  </a:lnTo>
                  <a:lnTo>
                    <a:pt x="48" y="209"/>
                  </a:lnTo>
                  <a:lnTo>
                    <a:pt x="50" y="225"/>
                  </a:lnTo>
                  <a:lnTo>
                    <a:pt x="49" y="240"/>
                  </a:lnTo>
                  <a:lnTo>
                    <a:pt x="52" y="252"/>
                  </a:lnTo>
                  <a:lnTo>
                    <a:pt x="61" y="253"/>
                  </a:lnTo>
                  <a:lnTo>
                    <a:pt x="65" y="263"/>
                  </a:lnTo>
                  <a:lnTo>
                    <a:pt x="59" y="269"/>
                  </a:lnTo>
                  <a:lnTo>
                    <a:pt x="53" y="283"/>
                  </a:lnTo>
                  <a:lnTo>
                    <a:pt x="50" y="291"/>
                  </a:lnTo>
                  <a:lnTo>
                    <a:pt x="50" y="304"/>
                  </a:lnTo>
                  <a:lnTo>
                    <a:pt x="47" y="307"/>
                  </a:lnTo>
                  <a:lnTo>
                    <a:pt x="38" y="315"/>
                  </a:lnTo>
                  <a:lnTo>
                    <a:pt x="34" y="323"/>
                  </a:lnTo>
                  <a:lnTo>
                    <a:pt x="33" y="337"/>
                  </a:lnTo>
                  <a:lnTo>
                    <a:pt x="39" y="354"/>
                  </a:lnTo>
                  <a:lnTo>
                    <a:pt x="58" y="366"/>
                  </a:lnTo>
                  <a:lnTo>
                    <a:pt x="76" y="386"/>
                  </a:lnTo>
                  <a:lnTo>
                    <a:pt x="79" y="392"/>
                  </a:lnTo>
                  <a:lnTo>
                    <a:pt x="81" y="401"/>
                  </a:lnTo>
                  <a:lnTo>
                    <a:pt x="82" y="434"/>
                  </a:lnTo>
                  <a:lnTo>
                    <a:pt x="88" y="452"/>
                  </a:lnTo>
                  <a:lnTo>
                    <a:pt x="91" y="454"/>
                  </a:lnTo>
                  <a:lnTo>
                    <a:pt x="96" y="469"/>
                  </a:lnTo>
                  <a:lnTo>
                    <a:pt x="111" y="503"/>
                  </a:lnTo>
                  <a:lnTo>
                    <a:pt x="109" y="510"/>
                  </a:lnTo>
                  <a:lnTo>
                    <a:pt x="91" y="540"/>
                  </a:lnTo>
                  <a:lnTo>
                    <a:pt x="80" y="547"/>
                  </a:lnTo>
                  <a:lnTo>
                    <a:pt x="72" y="559"/>
                  </a:lnTo>
                  <a:lnTo>
                    <a:pt x="70" y="574"/>
                  </a:lnTo>
                  <a:lnTo>
                    <a:pt x="65" y="586"/>
                  </a:lnTo>
                  <a:lnTo>
                    <a:pt x="60" y="594"/>
                  </a:lnTo>
                  <a:lnTo>
                    <a:pt x="59" y="597"/>
                  </a:lnTo>
                  <a:lnTo>
                    <a:pt x="54" y="610"/>
                  </a:lnTo>
                  <a:lnTo>
                    <a:pt x="53" y="618"/>
                  </a:lnTo>
                  <a:lnTo>
                    <a:pt x="39" y="664"/>
                  </a:lnTo>
                  <a:lnTo>
                    <a:pt x="37" y="681"/>
                  </a:lnTo>
                  <a:lnTo>
                    <a:pt x="37" y="696"/>
                  </a:lnTo>
                  <a:lnTo>
                    <a:pt x="40" y="705"/>
                  </a:lnTo>
                  <a:lnTo>
                    <a:pt x="60" y="703"/>
                  </a:lnTo>
                  <a:lnTo>
                    <a:pt x="80" y="725"/>
                  </a:lnTo>
                  <a:lnTo>
                    <a:pt x="86" y="729"/>
                  </a:lnTo>
                  <a:lnTo>
                    <a:pt x="101" y="750"/>
                  </a:lnTo>
                  <a:lnTo>
                    <a:pt x="112" y="759"/>
                  </a:lnTo>
                  <a:lnTo>
                    <a:pt x="118" y="774"/>
                  </a:lnTo>
                  <a:lnTo>
                    <a:pt x="145" y="804"/>
                  </a:lnTo>
                  <a:lnTo>
                    <a:pt x="140" y="788"/>
                  </a:lnTo>
                  <a:lnTo>
                    <a:pt x="152" y="788"/>
                  </a:lnTo>
                  <a:lnTo>
                    <a:pt x="160" y="797"/>
                  </a:lnTo>
                  <a:lnTo>
                    <a:pt x="177" y="800"/>
                  </a:lnTo>
                  <a:lnTo>
                    <a:pt x="187" y="802"/>
                  </a:lnTo>
                  <a:lnTo>
                    <a:pt x="197" y="817"/>
                  </a:lnTo>
                  <a:lnTo>
                    <a:pt x="194" y="833"/>
                  </a:lnTo>
                  <a:lnTo>
                    <a:pt x="198" y="844"/>
                  </a:lnTo>
                  <a:lnTo>
                    <a:pt x="221" y="829"/>
                  </a:lnTo>
                  <a:lnTo>
                    <a:pt x="232" y="831"/>
                  </a:lnTo>
                  <a:lnTo>
                    <a:pt x="243" y="829"/>
                  </a:lnTo>
                  <a:lnTo>
                    <a:pt x="251" y="817"/>
                  </a:lnTo>
                  <a:lnTo>
                    <a:pt x="242" y="804"/>
                  </a:lnTo>
                  <a:lnTo>
                    <a:pt x="230" y="790"/>
                  </a:lnTo>
                  <a:lnTo>
                    <a:pt x="215" y="778"/>
                  </a:lnTo>
                  <a:lnTo>
                    <a:pt x="181" y="773"/>
                  </a:lnTo>
                  <a:lnTo>
                    <a:pt x="168" y="758"/>
                  </a:lnTo>
                  <a:lnTo>
                    <a:pt x="162" y="754"/>
                  </a:lnTo>
                  <a:lnTo>
                    <a:pt x="157" y="745"/>
                  </a:lnTo>
                  <a:lnTo>
                    <a:pt x="151" y="709"/>
                  </a:lnTo>
                  <a:lnTo>
                    <a:pt x="145" y="699"/>
                  </a:lnTo>
                  <a:lnTo>
                    <a:pt x="136" y="691"/>
                  </a:lnTo>
                  <a:lnTo>
                    <a:pt x="131" y="676"/>
                  </a:lnTo>
                  <a:lnTo>
                    <a:pt x="129" y="660"/>
                  </a:lnTo>
                  <a:lnTo>
                    <a:pt x="124" y="649"/>
                  </a:lnTo>
                  <a:lnTo>
                    <a:pt x="114" y="646"/>
                  </a:lnTo>
                  <a:lnTo>
                    <a:pt x="102" y="651"/>
                  </a:lnTo>
                  <a:lnTo>
                    <a:pt x="92" y="649"/>
                  </a:lnTo>
                  <a:lnTo>
                    <a:pt x="88" y="640"/>
                  </a:lnTo>
                  <a:lnTo>
                    <a:pt x="86" y="623"/>
                  </a:lnTo>
                  <a:lnTo>
                    <a:pt x="85" y="607"/>
                  </a:lnTo>
                  <a:lnTo>
                    <a:pt x="85" y="592"/>
                  </a:lnTo>
                  <a:lnTo>
                    <a:pt x="86" y="586"/>
                  </a:lnTo>
                  <a:lnTo>
                    <a:pt x="92" y="578"/>
                  </a:lnTo>
                  <a:lnTo>
                    <a:pt x="93" y="568"/>
                  </a:lnTo>
                  <a:lnTo>
                    <a:pt x="98" y="563"/>
                  </a:lnTo>
                  <a:lnTo>
                    <a:pt x="103" y="553"/>
                  </a:lnTo>
                  <a:lnTo>
                    <a:pt x="103" y="542"/>
                  </a:lnTo>
                  <a:lnTo>
                    <a:pt x="112" y="515"/>
                  </a:lnTo>
                  <a:lnTo>
                    <a:pt x="119" y="501"/>
                  </a:lnTo>
                  <a:lnTo>
                    <a:pt x="126" y="487"/>
                  </a:lnTo>
                  <a:lnTo>
                    <a:pt x="128" y="471"/>
                  </a:lnTo>
                  <a:lnTo>
                    <a:pt x="133" y="439"/>
                  </a:lnTo>
                  <a:lnTo>
                    <a:pt x="129" y="415"/>
                  </a:lnTo>
                  <a:lnTo>
                    <a:pt x="142" y="411"/>
                  </a:lnTo>
                  <a:lnTo>
                    <a:pt x="157" y="409"/>
                  </a:lnTo>
                  <a:lnTo>
                    <a:pt x="161" y="409"/>
                  </a:lnTo>
                  <a:lnTo>
                    <a:pt x="168" y="411"/>
                  </a:lnTo>
                  <a:lnTo>
                    <a:pt x="179" y="414"/>
                  </a:lnTo>
                  <a:lnTo>
                    <a:pt x="182" y="419"/>
                  </a:lnTo>
                  <a:lnTo>
                    <a:pt x="179" y="455"/>
                  </a:lnTo>
                  <a:lnTo>
                    <a:pt x="183" y="462"/>
                  </a:lnTo>
                  <a:lnTo>
                    <a:pt x="187" y="462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212" y="460"/>
                  </a:lnTo>
                  <a:lnTo>
                    <a:pt x="222" y="458"/>
                  </a:lnTo>
                  <a:lnTo>
                    <a:pt x="233" y="461"/>
                  </a:lnTo>
                  <a:lnTo>
                    <a:pt x="251" y="476"/>
                  </a:lnTo>
                  <a:lnTo>
                    <a:pt x="257" y="484"/>
                  </a:lnTo>
                  <a:lnTo>
                    <a:pt x="264" y="488"/>
                  </a:lnTo>
                  <a:lnTo>
                    <a:pt x="270" y="492"/>
                  </a:lnTo>
                  <a:lnTo>
                    <a:pt x="271" y="489"/>
                  </a:lnTo>
                  <a:lnTo>
                    <a:pt x="276" y="493"/>
                  </a:lnTo>
                  <a:lnTo>
                    <a:pt x="285" y="511"/>
                  </a:lnTo>
                  <a:lnTo>
                    <a:pt x="291" y="516"/>
                  </a:lnTo>
                  <a:lnTo>
                    <a:pt x="292" y="510"/>
                  </a:lnTo>
                  <a:lnTo>
                    <a:pt x="292" y="501"/>
                  </a:lnTo>
                  <a:lnTo>
                    <a:pt x="286" y="487"/>
                  </a:lnTo>
                  <a:lnTo>
                    <a:pt x="280" y="473"/>
                  </a:lnTo>
                  <a:lnTo>
                    <a:pt x="265" y="462"/>
                  </a:lnTo>
                  <a:lnTo>
                    <a:pt x="258" y="440"/>
                  </a:lnTo>
                  <a:lnTo>
                    <a:pt x="255" y="429"/>
                  </a:lnTo>
                  <a:lnTo>
                    <a:pt x="258" y="411"/>
                  </a:lnTo>
                  <a:lnTo>
                    <a:pt x="265" y="407"/>
                  </a:lnTo>
                  <a:lnTo>
                    <a:pt x="270" y="396"/>
                  </a:lnTo>
                  <a:lnTo>
                    <a:pt x="278" y="392"/>
                  </a:lnTo>
                  <a:lnTo>
                    <a:pt x="292" y="372"/>
                  </a:lnTo>
                  <a:lnTo>
                    <a:pt x="298" y="366"/>
                  </a:lnTo>
                  <a:lnTo>
                    <a:pt x="307" y="363"/>
                  </a:lnTo>
                  <a:lnTo>
                    <a:pt x="334" y="365"/>
                  </a:lnTo>
                  <a:lnTo>
                    <a:pt x="350" y="368"/>
                  </a:lnTo>
                  <a:lnTo>
                    <a:pt x="368" y="365"/>
                  </a:lnTo>
                  <a:lnTo>
                    <a:pt x="396" y="364"/>
                  </a:lnTo>
                  <a:lnTo>
                    <a:pt x="405" y="374"/>
                  </a:lnTo>
                  <a:lnTo>
                    <a:pt x="416" y="369"/>
                  </a:lnTo>
                  <a:lnTo>
                    <a:pt x="416" y="365"/>
                  </a:lnTo>
                  <a:lnTo>
                    <a:pt x="420" y="365"/>
                  </a:lnTo>
                  <a:lnTo>
                    <a:pt x="427" y="354"/>
                  </a:lnTo>
                  <a:lnTo>
                    <a:pt x="427" y="312"/>
                  </a:lnTo>
                  <a:lnTo>
                    <a:pt x="431" y="302"/>
                  </a:lnTo>
                  <a:lnTo>
                    <a:pt x="430" y="293"/>
                  </a:lnTo>
                  <a:lnTo>
                    <a:pt x="429" y="286"/>
                  </a:lnTo>
                  <a:lnTo>
                    <a:pt x="424" y="280"/>
                  </a:lnTo>
                  <a:lnTo>
                    <a:pt x="416" y="275"/>
                  </a:lnTo>
                  <a:lnTo>
                    <a:pt x="414" y="268"/>
                  </a:lnTo>
                  <a:lnTo>
                    <a:pt x="404" y="267"/>
                  </a:lnTo>
                  <a:lnTo>
                    <a:pt x="397" y="262"/>
                  </a:lnTo>
                  <a:lnTo>
                    <a:pt x="389" y="252"/>
                  </a:lnTo>
                  <a:lnTo>
                    <a:pt x="386" y="241"/>
                  </a:lnTo>
                  <a:lnTo>
                    <a:pt x="387" y="216"/>
                  </a:lnTo>
                  <a:lnTo>
                    <a:pt x="386" y="203"/>
                  </a:lnTo>
                  <a:lnTo>
                    <a:pt x="382" y="191"/>
                  </a:lnTo>
                  <a:lnTo>
                    <a:pt x="377" y="181"/>
                  </a:lnTo>
                  <a:lnTo>
                    <a:pt x="370" y="176"/>
                  </a:lnTo>
                  <a:lnTo>
                    <a:pt x="368" y="169"/>
                  </a:lnTo>
                  <a:lnTo>
                    <a:pt x="360" y="165"/>
                  </a:lnTo>
                  <a:lnTo>
                    <a:pt x="353" y="158"/>
                  </a:lnTo>
                  <a:lnTo>
                    <a:pt x="348" y="150"/>
                  </a:lnTo>
                  <a:lnTo>
                    <a:pt x="335" y="135"/>
                  </a:lnTo>
                  <a:lnTo>
                    <a:pt x="323" y="134"/>
                  </a:lnTo>
                  <a:lnTo>
                    <a:pt x="312" y="135"/>
                  </a:lnTo>
                  <a:lnTo>
                    <a:pt x="301" y="138"/>
                  </a:lnTo>
                  <a:lnTo>
                    <a:pt x="297" y="149"/>
                  </a:lnTo>
                  <a:lnTo>
                    <a:pt x="292" y="153"/>
                  </a:lnTo>
                  <a:lnTo>
                    <a:pt x="285" y="156"/>
                  </a:lnTo>
                  <a:lnTo>
                    <a:pt x="273" y="162"/>
                  </a:lnTo>
                  <a:lnTo>
                    <a:pt x="264" y="162"/>
                  </a:lnTo>
                  <a:lnTo>
                    <a:pt x="255" y="156"/>
                  </a:lnTo>
                  <a:lnTo>
                    <a:pt x="249" y="146"/>
                  </a:lnTo>
                  <a:lnTo>
                    <a:pt x="242" y="144"/>
                  </a:lnTo>
                  <a:lnTo>
                    <a:pt x="233" y="146"/>
                  </a:lnTo>
                  <a:lnTo>
                    <a:pt x="220" y="151"/>
                  </a:lnTo>
                  <a:lnTo>
                    <a:pt x="208" y="164"/>
                  </a:lnTo>
                  <a:lnTo>
                    <a:pt x="195" y="169"/>
                  </a:lnTo>
                  <a:lnTo>
                    <a:pt x="188" y="178"/>
                  </a:lnTo>
                  <a:lnTo>
                    <a:pt x="183" y="182"/>
                  </a:lnTo>
                  <a:lnTo>
                    <a:pt x="184" y="177"/>
                  </a:lnTo>
                  <a:lnTo>
                    <a:pt x="181" y="164"/>
                  </a:lnTo>
                  <a:lnTo>
                    <a:pt x="185" y="150"/>
                  </a:lnTo>
                  <a:lnTo>
                    <a:pt x="188" y="126"/>
                  </a:lnTo>
                  <a:lnTo>
                    <a:pt x="193" y="115"/>
                  </a:lnTo>
                  <a:lnTo>
                    <a:pt x="193" y="106"/>
                  </a:lnTo>
                  <a:lnTo>
                    <a:pt x="194" y="97"/>
                  </a:lnTo>
                  <a:lnTo>
                    <a:pt x="190" y="81"/>
                  </a:lnTo>
                  <a:lnTo>
                    <a:pt x="194" y="64"/>
                  </a:lnTo>
                  <a:lnTo>
                    <a:pt x="190" y="60"/>
                  </a:lnTo>
                  <a:lnTo>
                    <a:pt x="169" y="60"/>
                  </a:lnTo>
                  <a:lnTo>
                    <a:pt x="163" y="59"/>
                  </a:lnTo>
                  <a:lnTo>
                    <a:pt x="161" y="58"/>
                  </a:lnTo>
                  <a:lnTo>
                    <a:pt x="161" y="40"/>
                  </a:lnTo>
                  <a:lnTo>
                    <a:pt x="158" y="25"/>
                  </a:lnTo>
                  <a:lnTo>
                    <a:pt x="152" y="16"/>
                  </a:lnTo>
                  <a:lnTo>
                    <a:pt x="149" y="11"/>
                  </a:lnTo>
                  <a:lnTo>
                    <a:pt x="142" y="14"/>
                  </a:lnTo>
                  <a:lnTo>
                    <a:pt x="140" y="8"/>
                  </a:lnTo>
                  <a:lnTo>
                    <a:pt x="141" y="0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0" name="Freeform 94"/>
            <p:cNvSpPr>
              <a:spLocks noChangeAspect="1"/>
            </p:cNvSpPr>
            <p:nvPr/>
          </p:nvSpPr>
          <p:spPr bwMode="gray">
            <a:xfrm>
              <a:off x="4593479" y="3778646"/>
              <a:ext cx="128112" cy="277356"/>
            </a:xfrm>
            <a:custGeom>
              <a:avLst/>
              <a:gdLst/>
              <a:ahLst/>
              <a:cxnLst>
                <a:cxn ang="0">
                  <a:pos x="125" y="657"/>
                </a:cxn>
                <a:cxn ang="0">
                  <a:pos x="116" y="592"/>
                </a:cxn>
                <a:cxn ang="0">
                  <a:pos x="89" y="559"/>
                </a:cxn>
                <a:cxn ang="0">
                  <a:pos x="85" y="536"/>
                </a:cxn>
                <a:cxn ang="0">
                  <a:pos x="78" y="512"/>
                </a:cxn>
                <a:cxn ang="0">
                  <a:pos x="22" y="470"/>
                </a:cxn>
                <a:cxn ang="0">
                  <a:pos x="0" y="443"/>
                </a:cxn>
                <a:cxn ang="0">
                  <a:pos x="19" y="416"/>
                </a:cxn>
                <a:cxn ang="0">
                  <a:pos x="27" y="376"/>
                </a:cxn>
                <a:cxn ang="0">
                  <a:pos x="47" y="365"/>
                </a:cxn>
                <a:cxn ang="0">
                  <a:pos x="42" y="326"/>
                </a:cxn>
                <a:cxn ang="0">
                  <a:pos x="59" y="276"/>
                </a:cxn>
                <a:cxn ang="0">
                  <a:pos x="101" y="268"/>
                </a:cxn>
                <a:cxn ang="0">
                  <a:pos x="134" y="197"/>
                </a:cxn>
                <a:cxn ang="0">
                  <a:pos x="160" y="155"/>
                </a:cxn>
                <a:cxn ang="0">
                  <a:pos x="194" y="92"/>
                </a:cxn>
                <a:cxn ang="0">
                  <a:pos x="242" y="63"/>
                </a:cxn>
                <a:cxn ang="0">
                  <a:pos x="264" y="33"/>
                </a:cxn>
                <a:cxn ang="0">
                  <a:pos x="290" y="5"/>
                </a:cxn>
                <a:cxn ang="0">
                  <a:pos x="322" y="20"/>
                </a:cxn>
                <a:cxn ang="0">
                  <a:pos x="354" y="79"/>
                </a:cxn>
                <a:cxn ang="0">
                  <a:pos x="342" y="163"/>
                </a:cxn>
                <a:cxn ang="0">
                  <a:pos x="311" y="198"/>
                </a:cxn>
                <a:cxn ang="0">
                  <a:pos x="304" y="256"/>
                </a:cxn>
                <a:cxn ang="0">
                  <a:pos x="323" y="258"/>
                </a:cxn>
                <a:cxn ang="0">
                  <a:pos x="366" y="281"/>
                </a:cxn>
                <a:cxn ang="0">
                  <a:pos x="391" y="346"/>
                </a:cxn>
                <a:cxn ang="0">
                  <a:pos x="423" y="387"/>
                </a:cxn>
                <a:cxn ang="0">
                  <a:pos x="488" y="391"/>
                </a:cxn>
                <a:cxn ang="0">
                  <a:pos x="456" y="427"/>
                </a:cxn>
                <a:cxn ang="0">
                  <a:pos x="445" y="443"/>
                </a:cxn>
                <a:cxn ang="0">
                  <a:pos x="426" y="464"/>
                </a:cxn>
                <a:cxn ang="0">
                  <a:pos x="383" y="496"/>
                </a:cxn>
                <a:cxn ang="0">
                  <a:pos x="332" y="518"/>
                </a:cxn>
                <a:cxn ang="0">
                  <a:pos x="304" y="581"/>
                </a:cxn>
                <a:cxn ang="0">
                  <a:pos x="312" y="635"/>
                </a:cxn>
                <a:cxn ang="0">
                  <a:pos x="344" y="693"/>
                </a:cxn>
                <a:cxn ang="0">
                  <a:pos x="354" y="722"/>
                </a:cxn>
                <a:cxn ang="0">
                  <a:pos x="342" y="760"/>
                </a:cxn>
                <a:cxn ang="0">
                  <a:pos x="334" y="807"/>
                </a:cxn>
                <a:cxn ang="0">
                  <a:pos x="376" y="854"/>
                </a:cxn>
                <a:cxn ang="0">
                  <a:pos x="391" y="922"/>
                </a:cxn>
                <a:cxn ang="0">
                  <a:pos x="375" y="1000"/>
                </a:cxn>
                <a:cxn ang="0">
                  <a:pos x="355" y="1047"/>
                </a:cxn>
                <a:cxn ang="0">
                  <a:pos x="349" y="1017"/>
                </a:cxn>
                <a:cxn ang="0">
                  <a:pos x="351" y="958"/>
                </a:cxn>
                <a:cxn ang="0">
                  <a:pos x="351" y="937"/>
                </a:cxn>
                <a:cxn ang="0">
                  <a:pos x="333" y="851"/>
                </a:cxn>
                <a:cxn ang="0">
                  <a:pos x="317" y="821"/>
                </a:cxn>
                <a:cxn ang="0">
                  <a:pos x="297" y="721"/>
                </a:cxn>
                <a:cxn ang="0">
                  <a:pos x="279" y="688"/>
                </a:cxn>
                <a:cxn ang="0">
                  <a:pos x="251" y="653"/>
                </a:cxn>
                <a:cxn ang="0">
                  <a:pos x="226" y="693"/>
                </a:cxn>
                <a:cxn ang="0">
                  <a:pos x="179" y="726"/>
                </a:cxn>
                <a:cxn ang="0">
                  <a:pos x="154" y="728"/>
                </a:cxn>
                <a:cxn ang="0">
                  <a:pos x="122" y="726"/>
                </a:cxn>
                <a:cxn ang="0">
                  <a:pos x="112" y="704"/>
                </a:cxn>
              </a:cxnLst>
              <a:rect l="0" t="0" r="r" b="b"/>
              <a:pathLst>
                <a:path w="489" h="1050">
                  <a:moveTo>
                    <a:pt x="112" y="704"/>
                  </a:moveTo>
                  <a:lnTo>
                    <a:pt x="117" y="690"/>
                  </a:lnTo>
                  <a:lnTo>
                    <a:pt x="119" y="673"/>
                  </a:lnTo>
                  <a:lnTo>
                    <a:pt x="125" y="657"/>
                  </a:lnTo>
                  <a:lnTo>
                    <a:pt x="125" y="638"/>
                  </a:lnTo>
                  <a:lnTo>
                    <a:pt x="121" y="607"/>
                  </a:lnTo>
                  <a:lnTo>
                    <a:pt x="117" y="599"/>
                  </a:lnTo>
                  <a:lnTo>
                    <a:pt x="116" y="592"/>
                  </a:lnTo>
                  <a:lnTo>
                    <a:pt x="109" y="580"/>
                  </a:lnTo>
                  <a:lnTo>
                    <a:pt x="95" y="556"/>
                  </a:lnTo>
                  <a:lnTo>
                    <a:pt x="92" y="545"/>
                  </a:lnTo>
                  <a:lnTo>
                    <a:pt x="89" y="559"/>
                  </a:lnTo>
                  <a:lnTo>
                    <a:pt x="78" y="553"/>
                  </a:lnTo>
                  <a:lnTo>
                    <a:pt x="71" y="539"/>
                  </a:lnTo>
                  <a:lnTo>
                    <a:pt x="74" y="531"/>
                  </a:lnTo>
                  <a:lnTo>
                    <a:pt x="85" y="536"/>
                  </a:lnTo>
                  <a:lnTo>
                    <a:pt x="84" y="531"/>
                  </a:lnTo>
                  <a:lnTo>
                    <a:pt x="76" y="525"/>
                  </a:lnTo>
                  <a:lnTo>
                    <a:pt x="79" y="518"/>
                  </a:lnTo>
                  <a:lnTo>
                    <a:pt x="78" y="512"/>
                  </a:lnTo>
                  <a:lnTo>
                    <a:pt x="38" y="493"/>
                  </a:lnTo>
                  <a:lnTo>
                    <a:pt x="37" y="482"/>
                  </a:lnTo>
                  <a:lnTo>
                    <a:pt x="28" y="479"/>
                  </a:lnTo>
                  <a:lnTo>
                    <a:pt x="22" y="470"/>
                  </a:lnTo>
                  <a:lnTo>
                    <a:pt x="21" y="474"/>
                  </a:lnTo>
                  <a:lnTo>
                    <a:pt x="14" y="468"/>
                  </a:lnTo>
                  <a:lnTo>
                    <a:pt x="10" y="458"/>
                  </a:lnTo>
                  <a:lnTo>
                    <a:pt x="0" y="443"/>
                  </a:lnTo>
                  <a:lnTo>
                    <a:pt x="1" y="425"/>
                  </a:lnTo>
                  <a:lnTo>
                    <a:pt x="3" y="418"/>
                  </a:lnTo>
                  <a:lnTo>
                    <a:pt x="7" y="413"/>
                  </a:lnTo>
                  <a:lnTo>
                    <a:pt x="19" y="416"/>
                  </a:lnTo>
                  <a:lnTo>
                    <a:pt x="17" y="387"/>
                  </a:lnTo>
                  <a:lnTo>
                    <a:pt x="19" y="384"/>
                  </a:lnTo>
                  <a:lnTo>
                    <a:pt x="22" y="381"/>
                  </a:lnTo>
                  <a:lnTo>
                    <a:pt x="27" y="376"/>
                  </a:lnTo>
                  <a:lnTo>
                    <a:pt x="36" y="378"/>
                  </a:lnTo>
                  <a:lnTo>
                    <a:pt x="41" y="377"/>
                  </a:lnTo>
                  <a:lnTo>
                    <a:pt x="46" y="371"/>
                  </a:lnTo>
                  <a:lnTo>
                    <a:pt x="47" y="365"/>
                  </a:lnTo>
                  <a:lnTo>
                    <a:pt x="44" y="365"/>
                  </a:lnTo>
                  <a:lnTo>
                    <a:pt x="41" y="355"/>
                  </a:lnTo>
                  <a:lnTo>
                    <a:pt x="41" y="339"/>
                  </a:lnTo>
                  <a:lnTo>
                    <a:pt x="42" y="326"/>
                  </a:lnTo>
                  <a:lnTo>
                    <a:pt x="53" y="327"/>
                  </a:lnTo>
                  <a:lnTo>
                    <a:pt x="57" y="322"/>
                  </a:lnTo>
                  <a:lnTo>
                    <a:pt x="60" y="302"/>
                  </a:lnTo>
                  <a:lnTo>
                    <a:pt x="59" y="276"/>
                  </a:lnTo>
                  <a:lnTo>
                    <a:pt x="66" y="269"/>
                  </a:lnTo>
                  <a:lnTo>
                    <a:pt x="80" y="265"/>
                  </a:lnTo>
                  <a:lnTo>
                    <a:pt x="93" y="268"/>
                  </a:lnTo>
                  <a:lnTo>
                    <a:pt x="101" y="268"/>
                  </a:lnTo>
                  <a:lnTo>
                    <a:pt x="106" y="263"/>
                  </a:lnTo>
                  <a:lnTo>
                    <a:pt x="112" y="243"/>
                  </a:lnTo>
                  <a:lnTo>
                    <a:pt x="130" y="208"/>
                  </a:lnTo>
                  <a:lnTo>
                    <a:pt x="134" y="197"/>
                  </a:lnTo>
                  <a:lnTo>
                    <a:pt x="132" y="187"/>
                  </a:lnTo>
                  <a:lnTo>
                    <a:pt x="138" y="178"/>
                  </a:lnTo>
                  <a:lnTo>
                    <a:pt x="154" y="167"/>
                  </a:lnTo>
                  <a:lnTo>
                    <a:pt x="160" y="155"/>
                  </a:lnTo>
                  <a:lnTo>
                    <a:pt x="159" y="127"/>
                  </a:lnTo>
                  <a:lnTo>
                    <a:pt x="166" y="111"/>
                  </a:lnTo>
                  <a:lnTo>
                    <a:pt x="179" y="100"/>
                  </a:lnTo>
                  <a:lnTo>
                    <a:pt x="194" y="92"/>
                  </a:lnTo>
                  <a:lnTo>
                    <a:pt x="204" y="84"/>
                  </a:lnTo>
                  <a:lnTo>
                    <a:pt x="211" y="70"/>
                  </a:lnTo>
                  <a:lnTo>
                    <a:pt x="231" y="66"/>
                  </a:lnTo>
                  <a:lnTo>
                    <a:pt x="242" y="63"/>
                  </a:lnTo>
                  <a:lnTo>
                    <a:pt x="258" y="68"/>
                  </a:lnTo>
                  <a:lnTo>
                    <a:pt x="263" y="63"/>
                  </a:lnTo>
                  <a:lnTo>
                    <a:pt x="259" y="47"/>
                  </a:lnTo>
                  <a:lnTo>
                    <a:pt x="264" y="33"/>
                  </a:lnTo>
                  <a:lnTo>
                    <a:pt x="275" y="28"/>
                  </a:lnTo>
                  <a:lnTo>
                    <a:pt x="281" y="21"/>
                  </a:lnTo>
                  <a:lnTo>
                    <a:pt x="281" y="9"/>
                  </a:lnTo>
                  <a:lnTo>
                    <a:pt x="290" y="5"/>
                  </a:lnTo>
                  <a:lnTo>
                    <a:pt x="294" y="0"/>
                  </a:lnTo>
                  <a:lnTo>
                    <a:pt x="297" y="0"/>
                  </a:lnTo>
                  <a:lnTo>
                    <a:pt x="310" y="6"/>
                  </a:lnTo>
                  <a:lnTo>
                    <a:pt x="322" y="20"/>
                  </a:lnTo>
                  <a:lnTo>
                    <a:pt x="326" y="37"/>
                  </a:lnTo>
                  <a:lnTo>
                    <a:pt x="331" y="45"/>
                  </a:lnTo>
                  <a:lnTo>
                    <a:pt x="347" y="47"/>
                  </a:lnTo>
                  <a:lnTo>
                    <a:pt x="354" y="79"/>
                  </a:lnTo>
                  <a:lnTo>
                    <a:pt x="355" y="100"/>
                  </a:lnTo>
                  <a:lnTo>
                    <a:pt x="351" y="128"/>
                  </a:lnTo>
                  <a:lnTo>
                    <a:pt x="351" y="136"/>
                  </a:lnTo>
                  <a:lnTo>
                    <a:pt x="342" y="163"/>
                  </a:lnTo>
                  <a:lnTo>
                    <a:pt x="333" y="174"/>
                  </a:lnTo>
                  <a:lnTo>
                    <a:pt x="326" y="177"/>
                  </a:lnTo>
                  <a:lnTo>
                    <a:pt x="322" y="187"/>
                  </a:lnTo>
                  <a:lnTo>
                    <a:pt x="311" y="198"/>
                  </a:lnTo>
                  <a:lnTo>
                    <a:pt x="307" y="217"/>
                  </a:lnTo>
                  <a:lnTo>
                    <a:pt x="301" y="231"/>
                  </a:lnTo>
                  <a:lnTo>
                    <a:pt x="305" y="247"/>
                  </a:lnTo>
                  <a:lnTo>
                    <a:pt x="304" y="256"/>
                  </a:lnTo>
                  <a:lnTo>
                    <a:pt x="294" y="273"/>
                  </a:lnTo>
                  <a:lnTo>
                    <a:pt x="299" y="278"/>
                  </a:lnTo>
                  <a:lnTo>
                    <a:pt x="312" y="264"/>
                  </a:lnTo>
                  <a:lnTo>
                    <a:pt x="323" y="258"/>
                  </a:lnTo>
                  <a:lnTo>
                    <a:pt x="342" y="257"/>
                  </a:lnTo>
                  <a:lnTo>
                    <a:pt x="361" y="256"/>
                  </a:lnTo>
                  <a:lnTo>
                    <a:pt x="361" y="267"/>
                  </a:lnTo>
                  <a:lnTo>
                    <a:pt x="366" y="281"/>
                  </a:lnTo>
                  <a:lnTo>
                    <a:pt x="367" y="301"/>
                  </a:lnTo>
                  <a:lnTo>
                    <a:pt x="381" y="311"/>
                  </a:lnTo>
                  <a:lnTo>
                    <a:pt x="397" y="319"/>
                  </a:lnTo>
                  <a:lnTo>
                    <a:pt x="391" y="346"/>
                  </a:lnTo>
                  <a:lnTo>
                    <a:pt x="387" y="366"/>
                  </a:lnTo>
                  <a:lnTo>
                    <a:pt x="402" y="369"/>
                  </a:lnTo>
                  <a:lnTo>
                    <a:pt x="420" y="375"/>
                  </a:lnTo>
                  <a:lnTo>
                    <a:pt x="423" y="387"/>
                  </a:lnTo>
                  <a:lnTo>
                    <a:pt x="441" y="404"/>
                  </a:lnTo>
                  <a:lnTo>
                    <a:pt x="461" y="402"/>
                  </a:lnTo>
                  <a:lnTo>
                    <a:pt x="476" y="389"/>
                  </a:lnTo>
                  <a:lnTo>
                    <a:pt x="488" y="391"/>
                  </a:lnTo>
                  <a:lnTo>
                    <a:pt x="489" y="397"/>
                  </a:lnTo>
                  <a:lnTo>
                    <a:pt x="488" y="402"/>
                  </a:lnTo>
                  <a:lnTo>
                    <a:pt x="483" y="409"/>
                  </a:lnTo>
                  <a:lnTo>
                    <a:pt x="456" y="427"/>
                  </a:lnTo>
                  <a:lnTo>
                    <a:pt x="456" y="432"/>
                  </a:lnTo>
                  <a:lnTo>
                    <a:pt x="458" y="440"/>
                  </a:lnTo>
                  <a:lnTo>
                    <a:pt x="452" y="441"/>
                  </a:lnTo>
                  <a:lnTo>
                    <a:pt x="445" y="443"/>
                  </a:lnTo>
                  <a:lnTo>
                    <a:pt x="440" y="447"/>
                  </a:lnTo>
                  <a:lnTo>
                    <a:pt x="439" y="453"/>
                  </a:lnTo>
                  <a:lnTo>
                    <a:pt x="433" y="456"/>
                  </a:lnTo>
                  <a:lnTo>
                    <a:pt x="426" y="464"/>
                  </a:lnTo>
                  <a:lnTo>
                    <a:pt x="420" y="477"/>
                  </a:lnTo>
                  <a:lnTo>
                    <a:pt x="407" y="480"/>
                  </a:lnTo>
                  <a:lnTo>
                    <a:pt x="398" y="485"/>
                  </a:lnTo>
                  <a:lnTo>
                    <a:pt x="383" y="496"/>
                  </a:lnTo>
                  <a:lnTo>
                    <a:pt x="372" y="502"/>
                  </a:lnTo>
                  <a:lnTo>
                    <a:pt x="361" y="513"/>
                  </a:lnTo>
                  <a:lnTo>
                    <a:pt x="350" y="517"/>
                  </a:lnTo>
                  <a:lnTo>
                    <a:pt x="332" y="518"/>
                  </a:lnTo>
                  <a:lnTo>
                    <a:pt x="318" y="520"/>
                  </a:lnTo>
                  <a:lnTo>
                    <a:pt x="304" y="559"/>
                  </a:lnTo>
                  <a:lnTo>
                    <a:pt x="302" y="571"/>
                  </a:lnTo>
                  <a:lnTo>
                    <a:pt x="304" y="581"/>
                  </a:lnTo>
                  <a:lnTo>
                    <a:pt x="295" y="588"/>
                  </a:lnTo>
                  <a:lnTo>
                    <a:pt x="296" y="595"/>
                  </a:lnTo>
                  <a:lnTo>
                    <a:pt x="302" y="612"/>
                  </a:lnTo>
                  <a:lnTo>
                    <a:pt x="312" y="635"/>
                  </a:lnTo>
                  <a:lnTo>
                    <a:pt x="335" y="652"/>
                  </a:lnTo>
                  <a:lnTo>
                    <a:pt x="343" y="662"/>
                  </a:lnTo>
                  <a:lnTo>
                    <a:pt x="345" y="678"/>
                  </a:lnTo>
                  <a:lnTo>
                    <a:pt x="344" y="693"/>
                  </a:lnTo>
                  <a:lnTo>
                    <a:pt x="347" y="705"/>
                  </a:lnTo>
                  <a:lnTo>
                    <a:pt x="356" y="706"/>
                  </a:lnTo>
                  <a:lnTo>
                    <a:pt x="360" y="716"/>
                  </a:lnTo>
                  <a:lnTo>
                    <a:pt x="354" y="722"/>
                  </a:lnTo>
                  <a:lnTo>
                    <a:pt x="348" y="736"/>
                  </a:lnTo>
                  <a:lnTo>
                    <a:pt x="345" y="744"/>
                  </a:lnTo>
                  <a:lnTo>
                    <a:pt x="345" y="757"/>
                  </a:lnTo>
                  <a:lnTo>
                    <a:pt x="342" y="760"/>
                  </a:lnTo>
                  <a:lnTo>
                    <a:pt x="333" y="768"/>
                  </a:lnTo>
                  <a:lnTo>
                    <a:pt x="329" y="776"/>
                  </a:lnTo>
                  <a:lnTo>
                    <a:pt x="328" y="790"/>
                  </a:lnTo>
                  <a:lnTo>
                    <a:pt x="334" y="807"/>
                  </a:lnTo>
                  <a:lnTo>
                    <a:pt x="353" y="819"/>
                  </a:lnTo>
                  <a:lnTo>
                    <a:pt x="371" y="839"/>
                  </a:lnTo>
                  <a:lnTo>
                    <a:pt x="374" y="845"/>
                  </a:lnTo>
                  <a:lnTo>
                    <a:pt x="376" y="854"/>
                  </a:lnTo>
                  <a:lnTo>
                    <a:pt x="377" y="887"/>
                  </a:lnTo>
                  <a:lnTo>
                    <a:pt x="383" y="905"/>
                  </a:lnTo>
                  <a:lnTo>
                    <a:pt x="386" y="907"/>
                  </a:lnTo>
                  <a:lnTo>
                    <a:pt x="391" y="922"/>
                  </a:lnTo>
                  <a:lnTo>
                    <a:pt x="406" y="956"/>
                  </a:lnTo>
                  <a:lnTo>
                    <a:pt x="404" y="963"/>
                  </a:lnTo>
                  <a:lnTo>
                    <a:pt x="386" y="993"/>
                  </a:lnTo>
                  <a:lnTo>
                    <a:pt x="375" y="1000"/>
                  </a:lnTo>
                  <a:lnTo>
                    <a:pt x="367" y="1012"/>
                  </a:lnTo>
                  <a:lnTo>
                    <a:pt x="365" y="1027"/>
                  </a:lnTo>
                  <a:lnTo>
                    <a:pt x="360" y="1039"/>
                  </a:lnTo>
                  <a:lnTo>
                    <a:pt x="355" y="1047"/>
                  </a:lnTo>
                  <a:lnTo>
                    <a:pt x="354" y="1050"/>
                  </a:lnTo>
                  <a:lnTo>
                    <a:pt x="344" y="1043"/>
                  </a:lnTo>
                  <a:lnTo>
                    <a:pt x="345" y="1031"/>
                  </a:lnTo>
                  <a:lnTo>
                    <a:pt x="349" y="1017"/>
                  </a:lnTo>
                  <a:lnTo>
                    <a:pt x="359" y="993"/>
                  </a:lnTo>
                  <a:lnTo>
                    <a:pt x="359" y="981"/>
                  </a:lnTo>
                  <a:lnTo>
                    <a:pt x="361" y="964"/>
                  </a:lnTo>
                  <a:lnTo>
                    <a:pt x="351" y="958"/>
                  </a:lnTo>
                  <a:lnTo>
                    <a:pt x="344" y="953"/>
                  </a:lnTo>
                  <a:lnTo>
                    <a:pt x="345" y="946"/>
                  </a:lnTo>
                  <a:lnTo>
                    <a:pt x="354" y="947"/>
                  </a:lnTo>
                  <a:lnTo>
                    <a:pt x="351" y="937"/>
                  </a:lnTo>
                  <a:lnTo>
                    <a:pt x="354" y="924"/>
                  </a:lnTo>
                  <a:lnTo>
                    <a:pt x="349" y="897"/>
                  </a:lnTo>
                  <a:lnTo>
                    <a:pt x="338" y="870"/>
                  </a:lnTo>
                  <a:lnTo>
                    <a:pt x="333" y="851"/>
                  </a:lnTo>
                  <a:lnTo>
                    <a:pt x="329" y="855"/>
                  </a:lnTo>
                  <a:lnTo>
                    <a:pt x="327" y="860"/>
                  </a:lnTo>
                  <a:lnTo>
                    <a:pt x="322" y="844"/>
                  </a:lnTo>
                  <a:lnTo>
                    <a:pt x="317" y="821"/>
                  </a:lnTo>
                  <a:lnTo>
                    <a:pt x="311" y="805"/>
                  </a:lnTo>
                  <a:lnTo>
                    <a:pt x="306" y="784"/>
                  </a:lnTo>
                  <a:lnTo>
                    <a:pt x="301" y="759"/>
                  </a:lnTo>
                  <a:lnTo>
                    <a:pt x="297" y="721"/>
                  </a:lnTo>
                  <a:lnTo>
                    <a:pt x="299" y="695"/>
                  </a:lnTo>
                  <a:lnTo>
                    <a:pt x="295" y="695"/>
                  </a:lnTo>
                  <a:lnTo>
                    <a:pt x="291" y="694"/>
                  </a:lnTo>
                  <a:lnTo>
                    <a:pt x="279" y="688"/>
                  </a:lnTo>
                  <a:lnTo>
                    <a:pt x="269" y="679"/>
                  </a:lnTo>
                  <a:lnTo>
                    <a:pt x="262" y="671"/>
                  </a:lnTo>
                  <a:lnTo>
                    <a:pt x="254" y="673"/>
                  </a:lnTo>
                  <a:lnTo>
                    <a:pt x="251" y="653"/>
                  </a:lnTo>
                  <a:lnTo>
                    <a:pt x="246" y="642"/>
                  </a:lnTo>
                  <a:lnTo>
                    <a:pt x="246" y="662"/>
                  </a:lnTo>
                  <a:lnTo>
                    <a:pt x="241" y="685"/>
                  </a:lnTo>
                  <a:lnTo>
                    <a:pt x="226" y="693"/>
                  </a:lnTo>
                  <a:lnTo>
                    <a:pt x="211" y="700"/>
                  </a:lnTo>
                  <a:lnTo>
                    <a:pt x="200" y="710"/>
                  </a:lnTo>
                  <a:lnTo>
                    <a:pt x="189" y="717"/>
                  </a:lnTo>
                  <a:lnTo>
                    <a:pt x="179" y="726"/>
                  </a:lnTo>
                  <a:lnTo>
                    <a:pt x="170" y="738"/>
                  </a:lnTo>
                  <a:lnTo>
                    <a:pt x="165" y="733"/>
                  </a:lnTo>
                  <a:lnTo>
                    <a:pt x="159" y="735"/>
                  </a:lnTo>
                  <a:lnTo>
                    <a:pt x="154" y="728"/>
                  </a:lnTo>
                  <a:lnTo>
                    <a:pt x="146" y="738"/>
                  </a:lnTo>
                  <a:lnTo>
                    <a:pt x="136" y="733"/>
                  </a:lnTo>
                  <a:lnTo>
                    <a:pt x="127" y="730"/>
                  </a:lnTo>
                  <a:lnTo>
                    <a:pt x="122" y="726"/>
                  </a:lnTo>
                  <a:lnTo>
                    <a:pt x="125" y="717"/>
                  </a:lnTo>
                  <a:lnTo>
                    <a:pt x="116" y="725"/>
                  </a:lnTo>
                  <a:lnTo>
                    <a:pt x="109" y="721"/>
                  </a:lnTo>
                  <a:lnTo>
                    <a:pt x="112" y="70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1" name="Freeform 95"/>
            <p:cNvSpPr>
              <a:spLocks noChangeAspect="1"/>
            </p:cNvSpPr>
            <p:nvPr/>
          </p:nvSpPr>
          <p:spPr bwMode="gray">
            <a:xfrm>
              <a:off x="4738760" y="3989965"/>
              <a:ext cx="76603" cy="62075"/>
            </a:xfrm>
            <a:custGeom>
              <a:avLst/>
              <a:gdLst/>
              <a:ahLst/>
              <a:cxnLst>
                <a:cxn ang="0">
                  <a:pos x="115" y="236"/>
                </a:cxn>
                <a:cxn ang="0">
                  <a:pos x="106" y="230"/>
                </a:cxn>
                <a:cxn ang="0">
                  <a:pos x="82" y="232"/>
                </a:cxn>
                <a:cxn ang="0">
                  <a:pos x="72" y="221"/>
                </a:cxn>
                <a:cxn ang="0">
                  <a:pos x="75" y="204"/>
                </a:cxn>
                <a:cxn ang="0">
                  <a:pos x="64" y="203"/>
                </a:cxn>
                <a:cxn ang="0">
                  <a:pos x="50" y="214"/>
                </a:cxn>
                <a:cxn ang="0">
                  <a:pos x="41" y="186"/>
                </a:cxn>
                <a:cxn ang="0">
                  <a:pos x="45" y="184"/>
                </a:cxn>
                <a:cxn ang="0">
                  <a:pos x="36" y="172"/>
                </a:cxn>
                <a:cxn ang="0">
                  <a:pos x="37" y="157"/>
                </a:cxn>
                <a:cxn ang="0">
                  <a:pos x="25" y="129"/>
                </a:cxn>
                <a:cxn ang="0">
                  <a:pos x="3" y="96"/>
                </a:cxn>
                <a:cxn ang="0">
                  <a:pos x="3" y="67"/>
                </a:cxn>
                <a:cxn ang="0">
                  <a:pos x="15" y="52"/>
                </a:cxn>
                <a:cxn ang="0">
                  <a:pos x="37" y="28"/>
                </a:cxn>
                <a:cxn ang="0">
                  <a:pos x="52" y="19"/>
                </a:cxn>
                <a:cxn ang="0">
                  <a:pos x="95" y="24"/>
                </a:cxn>
                <a:cxn ang="0">
                  <a:pos x="141" y="20"/>
                </a:cxn>
                <a:cxn ang="0">
                  <a:pos x="161" y="25"/>
                </a:cxn>
                <a:cxn ang="0">
                  <a:pos x="187" y="37"/>
                </a:cxn>
                <a:cxn ang="0">
                  <a:pos x="207" y="38"/>
                </a:cxn>
                <a:cxn ang="0">
                  <a:pos x="223" y="15"/>
                </a:cxn>
                <a:cxn ang="0">
                  <a:pos x="242" y="11"/>
                </a:cxn>
                <a:cxn ang="0">
                  <a:pos x="258" y="20"/>
                </a:cxn>
                <a:cxn ang="0">
                  <a:pos x="279" y="6"/>
                </a:cxn>
                <a:cxn ang="0">
                  <a:pos x="281" y="37"/>
                </a:cxn>
                <a:cxn ang="0">
                  <a:pos x="290" y="68"/>
                </a:cxn>
                <a:cxn ang="0">
                  <a:pos x="287" y="129"/>
                </a:cxn>
                <a:cxn ang="0">
                  <a:pos x="272" y="135"/>
                </a:cxn>
                <a:cxn ang="0">
                  <a:pos x="255" y="148"/>
                </a:cxn>
                <a:cxn ang="0">
                  <a:pos x="229" y="156"/>
                </a:cxn>
                <a:cxn ang="0">
                  <a:pos x="209" y="167"/>
                </a:cxn>
                <a:cxn ang="0">
                  <a:pos x="197" y="184"/>
                </a:cxn>
                <a:cxn ang="0">
                  <a:pos x="199" y="202"/>
                </a:cxn>
                <a:cxn ang="0">
                  <a:pos x="185" y="207"/>
                </a:cxn>
                <a:cxn ang="0">
                  <a:pos x="164" y="218"/>
                </a:cxn>
                <a:cxn ang="0">
                  <a:pos x="149" y="215"/>
                </a:cxn>
                <a:cxn ang="0">
                  <a:pos x="143" y="230"/>
                </a:cxn>
                <a:cxn ang="0">
                  <a:pos x="125" y="236"/>
                </a:cxn>
              </a:cxnLst>
              <a:rect l="0" t="0" r="r" b="b"/>
              <a:pathLst>
                <a:path w="290" h="237">
                  <a:moveTo>
                    <a:pt x="120" y="237"/>
                  </a:moveTo>
                  <a:lnTo>
                    <a:pt x="115" y="236"/>
                  </a:lnTo>
                  <a:lnTo>
                    <a:pt x="112" y="234"/>
                  </a:lnTo>
                  <a:lnTo>
                    <a:pt x="106" y="230"/>
                  </a:lnTo>
                  <a:lnTo>
                    <a:pt x="89" y="229"/>
                  </a:lnTo>
                  <a:lnTo>
                    <a:pt x="82" y="232"/>
                  </a:lnTo>
                  <a:lnTo>
                    <a:pt x="72" y="232"/>
                  </a:lnTo>
                  <a:lnTo>
                    <a:pt x="72" y="221"/>
                  </a:lnTo>
                  <a:lnTo>
                    <a:pt x="77" y="214"/>
                  </a:lnTo>
                  <a:lnTo>
                    <a:pt x="75" y="204"/>
                  </a:lnTo>
                  <a:lnTo>
                    <a:pt x="69" y="202"/>
                  </a:lnTo>
                  <a:lnTo>
                    <a:pt x="64" y="203"/>
                  </a:lnTo>
                  <a:lnTo>
                    <a:pt x="59" y="211"/>
                  </a:lnTo>
                  <a:lnTo>
                    <a:pt x="50" y="214"/>
                  </a:lnTo>
                  <a:lnTo>
                    <a:pt x="41" y="188"/>
                  </a:lnTo>
                  <a:lnTo>
                    <a:pt x="41" y="186"/>
                  </a:lnTo>
                  <a:lnTo>
                    <a:pt x="45" y="189"/>
                  </a:lnTo>
                  <a:lnTo>
                    <a:pt x="45" y="184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7" y="166"/>
                  </a:lnTo>
                  <a:lnTo>
                    <a:pt x="37" y="157"/>
                  </a:lnTo>
                  <a:lnTo>
                    <a:pt x="31" y="143"/>
                  </a:lnTo>
                  <a:lnTo>
                    <a:pt x="25" y="129"/>
                  </a:lnTo>
                  <a:lnTo>
                    <a:pt x="10" y="118"/>
                  </a:lnTo>
                  <a:lnTo>
                    <a:pt x="3" y="96"/>
                  </a:lnTo>
                  <a:lnTo>
                    <a:pt x="0" y="85"/>
                  </a:lnTo>
                  <a:lnTo>
                    <a:pt x="3" y="67"/>
                  </a:lnTo>
                  <a:lnTo>
                    <a:pt x="10" y="63"/>
                  </a:lnTo>
                  <a:lnTo>
                    <a:pt x="15" y="52"/>
                  </a:lnTo>
                  <a:lnTo>
                    <a:pt x="23" y="48"/>
                  </a:lnTo>
                  <a:lnTo>
                    <a:pt x="37" y="28"/>
                  </a:lnTo>
                  <a:lnTo>
                    <a:pt x="43" y="22"/>
                  </a:lnTo>
                  <a:lnTo>
                    <a:pt x="52" y="19"/>
                  </a:lnTo>
                  <a:lnTo>
                    <a:pt x="79" y="21"/>
                  </a:lnTo>
                  <a:lnTo>
                    <a:pt x="95" y="24"/>
                  </a:lnTo>
                  <a:lnTo>
                    <a:pt x="113" y="21"/>
                  </a:lnTo>
                  <a:lnTo>
                    <a:pt x="141" y="20"/>
                  </a:lnTo>
                  <a:lnTo>
                    <a:pt x="150" y="30"/>
                  </a:lnTo>
                  <a:lnTo>
                    <a:pt x="161" y="25"/>
                  </a:lnTo>
                  <a:lnTo>
                    <a:pt x="169" y="33"/>
                  </a:lnTo>
                  <a:lnTo>
                    <a:pt x="187" y="37"/>
                  </a:lnTo>
                  <a:lnTo>
                    <a:pt x="198" y="41"/>
                  </a:lnTo>
                  <a:lnTo>
                    <a:pt x="207" y="38"/>
                  </a:lnTo>
                  <a:lnTo>
                    <a:pt x="207" y="24"/>
                  </a:lnTo>
                  <a:lnTo>
                    <a:pt x="223" y="15"/>
                  </a:lnTo>
                  <a:lnTo>
                    <a:pt x="234" y="11"/>
                  </a:lnTo>
                  <a:lnTo>
                    <a:pt x="242" y="11"/>
                  </a:lnTo>
                  <a:lnTo>
                    <a:pt x="251" y="20"/>
                  </a:lnTo>
                  <a:lnTo>
                    <a:pt x="258" y="20"/>
                  </a:lnTo>
                  <a:lnTo>
                    <a:pt x="268" y="15"/>
                  </a:lnTo>
                  <a:lnTo>
                    <a:pt x="279" y="6"/>
                  </a:lnTo>
                  <a:lnTo>
                    <a:pt x="283" y="0"/>
                  </a:lnTo>
                  <a:lnTo>
                    <a:pt x="281" y="37"/>
                  </a:lnTo>
                  <a:lnTo>
                    <a:pt x="283" y="53"/>
                  </a:lnTo>
                  <a:lnTo>
                    <a:pt x="290" y="68"/>
                  </a:lnTo>
                  <a:lnTo>
                    <a:pt x="289" y="117"/>
                  </a:lnTo>
                  <a:lnTo>
                    <a:pt x="287" y="129"/>
                  </a:lnTo>
                  <a:lnTo>
                    <a:pt x="281" y="138"/>
                  </a:lnTo>
                  <a:lnTo>
                    <a:pt x="272" y="135"/>
                  </a:lnTo>
                  <a:lnTo>
                    <a:pt x="262" y="144"/>
                  </a:lnTo>
                  <a:lnTo>
                    <a:pt x="255" y="148"/>
                  </a:lnTo>
                  <a:lnTo>
                    <a:pt x="247" y="148"/>
                  </a:lnTo>
                  <a:lnTo>
                    <a:pt x="229" y="156"/>
                  </a:lnTo>
                  <a:lnTo>
                    <a:pt x="228" y="166"/>
                  </a:lnTo>
                  <a:lnTo>
                    <a:pt x="209" y="167"/>
                  </a:lnTo>
                  <a:lnTo>
                    <a:pt x="199" y="171"/>
                  </a:lnTo>
                  <a:lnTo>
                    <a:pt x="197" y="184"/>
                  </a:lnTo>
                  <a:lnTo>
                    <a:pt x="198" y="193"/>
                  </a:lnTo>
                  <a:lnTo>
                    <a:pt x="199" y="202"/>
                  </a:lnTo>
                  <a:lnTo>
                    <a:pt x="193" y="204"/>
                  </a:lnTo>
                  <a:lnTo>
                    <a:pt x="185" y="207"/>
                  </a:lnTo>
                  <a:lnTo>
                    <a:pt x="174" y="214"/>
                  </a:lnTo>
                  <a:lnTo>
                    <a:pt x="164" y="218"/>
                  </a:lnTo>
                  <a:lnTo>
                    <a:pt x="156" y="215"/>
                  </a:lnTo>
                  <a:lnTo>
                    <a:pt x="149" y="215"/>
                  </a:lnTo>
                  <a:lnTo>
                    <a:pt x="148" y="225"/>
                  </a:lnTo>
                  <a:lnTo>
                    <a:pt x="143" y="230"/>
                  </a:lnTo>
                  <a:lnTo>
                    <a:pt x="136" y="234"/>
                  </a:lnTo>
                  <a:lnTo>
                    <a:pt x="125" y="236"/>
                  </a:lnTo>
                  <a:lnTo>
                    <a:pt x="120" y="23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2" name="Freeform 96"/>
            <p:cNvSpPr>
              <a:spLocks noChangeAspect="1"/>
            </p:cNvSpPr>
            <p:nvPr/>
          </p:nvSpPr>
          <p:spPr bwMode="gray">
            <a:xfrm>
              <a:off x="4708383" y="3871098"/>
              <a:ext cx="104338" cy="129433"/>
            </a:xfrm>
            <a:custGeom>
              <a:avLst/>
              <a:gdLst/>
              <a:ahLst/>
              <a:cxnLst>
                <a:cxn ang="0">
                  <a:pos x="135" y="39"/>
                </a:cxn>
                <a:cxn ang="0">
                  <a:pos x="147" y="71"/>
                </a:cxn>
                <a:cxn ang="0">
                  <a:pos x="183" y="98"/>
                </a:cxn>
                <a:cxn ang="0">
                  <a:pos x="228" y="105"/>
                </a:cxn>
                <a:cxn ang="0">
                  <a:pos x="243" y="127"/>
                </a:cxn>
                <a:cxn ang="0">
                  <a:pos x="252" y="151"/>
                </a:cxn>
                <a:cxn ang="0">
                  <a:pos x="220" y="164"/>
                </a:cxn>
                <a:cxn ang="0">
                  <a:pos x="205" y="181"/>
                </a:cxn>
                <a:cxn ang="0">
                  <a:pos x="221" y="196"/>
                </a:cxn>
                <a:cxn ang="0">
                  <a:pos x="271" y="239"/>
                </a:cxn>
                <a:cxn ang="0">
                  <a:pos x="314" y="290"/>
                </a:cxn>
                <a:cxn ang="0">
                  <a:pos x="342" y="317"/>
                </a:cxn>
                <a:cxn ang="0">
                  <a:pos x="345" y="331"/>
                </a:cxn>
                <a:cxn ang="0">
                  <a:pos x="371" y="355"/>
                </a:cxn>
                <a:cxn ang="0">
                  <a:pos x="397" y="409"/>
                </a:cxn>
                <a:cxn ang="0">
                  <a:pos x="394" y="455"/>
                </a:cxn>
                <a:cxn ang="0">
                  <a:pos x="366" y="469"/>
                </a:cxn>
                <a:cxn ang="0">
                  <a:pos x="338" y="464"/>
                </a:cxn>
                <a:cxn ang="0">
                  <a:pos x="313" y="490"/>
                </a:cxn>
                <a:cxn ang="0">
                  <a:pos x="276" y="474"/>
                </a:cxn>
                <a:cxn ang="0">
                  <a:pos x="287" y="459"/>
                </a:cxn>
                <a:cxn ang="0">
                  <a:pos x="290" y="398"/>
                </a:cxn>
                <a:cxn ang="0">
                  <a:pos x="276" y="380"/>
                </a:cxn>
                <a:cxn ang="0">
                  <a:pos x="257" y="367"/>
                </a:cxn>
                <a:cxn ang="0">
                  <a:pos x="247" y="321"/>
                </a:cxn>
                <a:cxn ang="0">
                  <a:pos x="237" y="286"/>
                </a:cxn>
                <a:cxn ang="0">
                  <a:pos x="220" y="270"/>
                </a:cxn>
                <a:cxn ang="0">
                  <a:pos x="195" y="240"/>
                </a:cxn>
                <a:cxn ang="0">
                  <a:pos x="161" y="243"/>
                </a:cxn>
                <a:cxn ang="0">
                  <a:pos x="145" y="261"/>
                </a:cxn>
                <a:cxn ang="0">
                  <a:pos x="115" y="261"/>
                </a:cxn>
                <a:cxn ang="0">
                  <a:pos x="93" y="251"/>
                </a:cxn>
                <a:cxn ang="0">
                  <a:pos x="55" y="274"/>
                </a:cxn>
                <a:cxn ang="0">
                  <a:pos x="44" y="282"/>
                </a:cxn>
                <a:cxn ang="0">
                  <a:pos x="48" y="231"/>
                </a:cxn>
                <a:cxn ang="0">
                  <a:pos x="54" y="202"/>
                </a:cxn>
                <a:cxn ang="0">
                  <a:pos x="50" y="165"/>
                </a:cxn>
                <a:cxn ang="0">
                  <a:pos x="21" y="163"/>
                </a:cxn>
                <a:cxn ang="0">
                  <a:pos x="12" y="121"/>
                </a:cxn>
                <a:cxn ang="0">
                  <a:pos x="0" y="113"/>
                </a:cxn>
                <a:cxn ang="0">
                  <a:pos x="5" y="99"/>
                </a:cxn>
                <a:cxn ang="0">
                  <a:pos x="23" y="92"/>
                </a:cxn>
                <a:cxn ang="0">
                  <a:pos x="48" y="61"/>
                </a:cxn>
                <a:cxn ang="0">
                  <a:pos x="59" y="76"/>
                </a:cxn>
                <a:cxn ang="0">
                  <a:pos x="85" y="52"/>
                </a:cxn>
                <a:cxn ang="0">
                  <a:pos x="77" y="7"/>
                </a:cxn>
                <a:cxn ang="0">
                  <a:pos x="106" y="3"/>
                </a:cxn>
              </a:cxnLst>
              <a:rect l="0" t="0" r="r" b="b"/>
              <a:pathLst>
                <a:path w="398" h="490">
                  <a:moveTo>
                    <a:pt x="106" y="3"/>
                  </a:moveTo>
                  <a:lnTo>
                    <a:pt x="118" y="19"/>
                  </a:lnTo>
                  <a:lnTo>
                    <a:pt x="135" y="39"/>
                  </a:lnTo>
                  <a:lnTo>
                    <a:pt x="145" y="49"/>
                  </a:lnTo>
                  <a:lnTo>
                    <a:pt x="150" y="59"/>
                  </a:lnTo>
                  <a:lnTo>
                    <a:pt x="147" y="71"/>
                  </a:lnTo>
                  <a:lnTo>
                    <a:pt x="149" y="79"/>
                  </a:lnTo>
                  <a:lnTo>
                    <a:pt x="163" y="94"/>
                  </a:lnTo>
                  <a:lnTo>
                    <a:pt x="183" y="98"/>
                  </a:lnTo>
                  <a:lnTo>
                    <a:pt x="203" y="93"/>
                  </a:lnTo>
                  <a:lnTo>
                    <a:pt x="219" y="94"/>
                  </a:lnTo>
                  <a:lnTo>
                    <a:pt x="228" y="105"/>
                  </a:lnTo>
                  <a:lnTo>
                    <a:pt x="233" y="114"/>
                  </a:lnTo>
                  <a:lnTo>
                    <a:pt x="235" y="121"/>
                  </a:lnTo>
                  <a:lnTo>
                    <a:pt x="243" y="127"/>
                  </a:lnTo>
                  <a:lnTo>
                    <a:pt x="247" y="136"/>
                  </a:lnTo>
                  <a:lnTo>
                    <a:pt x="253" y="142"/>
                  </a:lnTo>
                  <a:lnTo>
                    <a:pt x="252" y="151"/>
                  </a:lnTo>
                  <a:lnTo>
                    <a:pt x="236" y="167"/>
                  </a:lnTo>
                  <a:lnTo>
                    <a:pt x="231" y="167"/>
                  </a:lnTo>
                  <a:lnTo>
                    <a:pt x="220" y="164"/>
                  </a:lnTo>
                  <a:lnTo>
                    <a:pt x="213" y="167"/>
                  </a:lnTo>
                  <a:lnTo>
                    <a:pt x="209" y="172"/>
                  </a:lnTo>
                  <a:lnTo>
                    <a:pt x="205" y="181"/>
                  </a:lnTo>
                  <a:lnTo>
                    <a:pt x="206" y="188"/>
                  </a:lnTo>
                  <a:lnTo>
                    <a:pt x="213" y="190"/>
                  </a:lnTo>
                  <a:lnTo>
                    <a:pt x="221" y="196"/>
                  </a:lnTo>
                  <a:lnTo>
                    <a:pt x="240" y="206"/>
                  </a:lnTo>
                  <a:lnTo>
                    <a:pt x="267" y="226"/>
                  </a:lnTo>
                  <a:lnTo>
                    <a:pt x="271" y="239"/>
                  </a:lnTo>
                  <a:lnTo>
                    <a:pt x="294" y="260"/>
                  </a:lnTo>
                  <a:lnTo>
                    <a:pt x="297" y="270"/>
                  </a:lnTo>
                  <a:lnTo>
                    <a:pt x="314" y="290"/>
                  </a:lnTo>
                  <a:lnTo>
                    <a:pt x="319" y="291"/>
                  </a:lnTo>
                  <a:lnTo>
                    <a:pt x="337" y="303"/>
                  </a:lnTo>
                  <a:lnTo>
                    <a:pt x="342" y="317"/>
                  </a:lnTo>
                  <a:lnTo>
                    <a:pt x="345" y="329"/>
                  </a:lnTo>
                  <a:lnTo>
                    <a:pt x="344" y="330"/>
                  </a:lnTo>
                  <a:lnTo>
                    <a:pt x="345" y="331"/>
                  </a:lnTo>
                  <a:lnTo>
                    <a:pt x="349" y="345"/>
                  </a:lnTo>
                  <a:lnTo>
                    <a:pt x="357" y="345"/>
                  </a:lnTo>
                  <a:lnTo>
                    <a:pt x="371" y="355"/>
                  </a:lnTo>
                  <a:lnTo>
                    <a:pt x="380" y="363"/>
                  </a:lnTo>
                  <a:lnTo>
                    <a:pt x="384" y="380"/>
                  </a:lnTo>
                  <a:lnTo>
                    <a:pt x="397" y="409"/>
                  </a:lnTo>
                  <a:lnTo>
                    <a:pt x="398" y="416"/>
                  </a:lnTo>
                  <a:lnTo>
                    <a:pt x="398" y="449"/>
                  </a:lnTo>
                  <a:lnTo>
                    <a:pt x="394" y="455"/>
                  </a:lnTo>
                  <a:lnTo>
                    <a:pt x="383" y="464"/>
                  </a:lnTo>
                  <a:lnTo>
                    <a:pt x="373" y="469"/>
                  </a:lnTo>
                  <a:lnTo>
                    <a:pt x="366" y="469"/>
                  </a:lnTo>
                  <a:lnTo>
                    <a:pt x="357" y="460"/>
                  </a:lnTo>
                  <a:lnTo>
                    <a:pt x="349" y="460"/>
                  </a:lnTo>
                  <a:lnTo>
                    <a:pt x="338" y="464"/>
                  </a:lnTo>
                  <a:lnTo>
                    <a:pt x="322" y="473"/>
                  </a:lnTo>
                  <a:lnTo>
                    <a:pt x="322" y="487"/>
                  </a:lnTo>
                  <a:lnTo>
                    <a:pt x="313" y="490"/>
                  </a:lnTo>
                  <a:lnTo>
                    <a:pt x="302" y="486"/>
                  </a:lnTo>
                  <a:lnTo>
                    <a:pt x="284" y="482"/>
                  </a:lnTo>
                  <a:lnTo>
                    <a:pt x="276" y="474"/>
                  </a:lnTo>
                  <a:lnTo>
                    <a:pt x="276" y="470"/>
                  </a:lnTo>
                  <a:lnTo>
                    <a:pt x="280" y="470"/>
                  </a:lnTo>
                  <a:lnTo>
                    <a:pt x="287" y="459"/>
                  </a:lnTo>
                  <a:lnTo>
                    <a:pt x="287" y="417"/>
                  </a:lnTo>
                  <a:lnTo>
                    <a:pt x="291" y="407"/>
                  </a:lnTo>
                  <a:lnTo>
                    <a:pt x="290" y="398"/>
                  </a:lnTo>
                  <a:lnTo>
                    <a:pt x="289" y="391"/>
                  </a:lnTo>
                  <a:lnTo>
                    <a:pt x="284" y="385"/>
                  </a:lnTo>
                  <a:lnTo>
                    <a:pt x="276" y="380"/>
                  </a:lnTo>
                  <a:lnTo>
                    <a:pt x="274" y="373"/>
                  </a:lnTo>
                  <a:lnTo>
                    <a:pt x="264" y="372"/>
                  </a:lnTo>
                  <a:lnTo>
                    <a:pt x="257" y="367"/>
                  </a:lnTo>
                  <a:lnTo>
                    <a:pt x="249" y="357"/>
                  </a:lnTo>
                  <a:lnTo>
                    <a:pt x="246" y="346"/>
                  </a:lnTo>
                  <a:lnTo>
                    <a:pt x="247" y="321"/>
                  </a:lnTo>
                  <a:lnTo>
                    <a:pt x="246" y="308"/>
                  </a:lnTo>
                  <a:lnTo>
                    <a:pt x="242" y="296"/>
                  </a:lnTo>
                  <a:lnTo>
                    <a:pt x="237" y="286"/>
                  </a:lnTo>
                  <a:lnTo>
                    <a:pt x="230" y="281"/>
                  </a:lnTo>
                  <a:lnTo>
                    <a:pt x="228" y="274"/>
                  </a:lnTo>
                  <a:lnTo>
                    <a:pt x="220" y="270"/>
                  </a:lnTo>
                  <a:lnTo>
                    <a:pt x="213" y="263"/>
                  </a:lnTo>
                  <a:lnTo>
                    <a:pt x="208" y="255"/>
                  </a:lnTo>
                  <a:lnTo>
                    <a:pt x="195" y="240"/>
                  </a:lnTo>
                  <a:lnTo>
                    <a:pt x="183" y="239"/>
                  </a:lnTo>
                  <a:lnTo>
                    <a:pt x="172" y="240"/>
                  </a:lnTo>
                  <a:lnTo>
                    <a:pt x="161" y="243"/>
                  </a:lnTo>
                  <a:lnTo>
                    <a:pt x="157" y="254"/>
                  </a:lnTo>
                  <a:lnTo>
                    <a:pt x="152" y="258"/>
                  </a:lnTo>
                  <a:lnTo>
                    <a:pt x="145" y="261"/>
                  </a:lnTo>
                  <a:lnTo>
                    <a:pt x="133" y="267"/>
                  </a:lnTo>
                  <a:lnTo>
                    <a:pt x="124" y="267"/>
                  </a:lnTo>
                  <a:lnTo>
                    <a:pt x="115" y="261"/>
                  </a:lnTo>
                  <a:lnTo>
                    <a:pt x="109" y="251"/>
                  </a:lnTo>
                  <a:lnTo>
                    <a:pt x="102" y="249"/>
                  </a:lnTo>
                  <a:lnTo>
                    <a:pt x="93" y="251"/>
                  </a:lnTo>
                  <a:lnTo>
                    <a:pt x="80" y="256"/>
                  </a:lnTo>
                  <a:lnTo>
                    <a:pt x="68" y="269"/>
                  </a:lnTo>
                  <a:lnTo>
                    <a:pt x="55" y="274"/>
                  </a:lnTo>
                  <a:lnTo>
                    <a:pt x="48" y="283"/>
                  </a:lnTo>
                  <a:lnTo>
                    <a:pt x="43" y="287"/>
                  </a:lnTo>
                  <a:lnTo>
                    <a:pt x="44" y="282"/>
                  </a:lnTo>
                  <a:lnTo>
                    <a:pt x="41" y="269"/>
                  </a:lnTo>
                  <a:lnTo>
                    <a:pt x="45" y="255"/>
                  </a:lnTo>
                  <a:lnTo>
                    <a:pt x="48" y="231"/>
                  </a:lnTo>
                  <a:lnTo>
                    <a:pt x="53" y="220"/>
                  </a:lnTo>
                  <a:lnTo>
                    <a:pt x="53" y="211"/>
                  </a:lnTo>
                  <a:lnTo>
                    <a:pt x="54" y="202"/>
                  </a:lnTo>
                  <a:lnTo>
                    <a:pt x="50" y="186"/>
                  </a:lnTo>
                  <a:lnTo>
                    <a:pt x="54" y="169"/>
                  </a:lnTo>
                  <a:lnTo>
                    <a:pt x="50" y="165"/>
                  </a:lnTo>
                  <a:lnTo>
                    <a:pt x="29" y="165"/>
                  </a:lnTo>
                  <a:lnTo>
                    <a:pt x="23" y="164"/>
                  </a:lnTo>
                  <a:lnTo>
                    <a:pt x="21" y="163"/>
                  </a:lnTo>
                  <a:lnTo>
                    <a:pt x="21" y="145"/>
                  </a:lnTo>
                  <a:lnTo>
                    <a:pt x="18" y="130"/>
                  </a:lnTo>
                  <a:lnTo>
                    <a:pt x="12" y="121"/>
                  </a:lnTo>
                  <a:lnTo>
                    <a:pt x="9" y="116"/>
                  </a:lnTo>
                  <a:lnTo>
                    <a:pt x="2" y="119"/>
                  </a:lnTo>
                  <a:lnTo>
                    <a:pt x="0" y="113"/>
                  </a:lnTo>
                  <a:lnTo>
                    <a:pt x="1" y="105"/>
                  </a:lnTo>
                  <a:lnTo>
                    <a:pt x="4" y="105"/>
                  </a:lnTo>
                  <a:lnTo>
                    <a:pt x="5" y="99"/>
                  </a:lnTo>
                  <a:lnTo>
                    <a:pt x="10" y="95"/>
                  </a:lnTo>
                  <a:lnTo>
                    <a:pt x="17" y="93"/>
                  </a:lnTo>
                  <a:lnTo>
                    <a:pt x="23" y="92"/>
                  </a:lnTo>
                  <a:lnTo>
                    <a:pt x="21" y="84"/>
                  </a:lnTo>
                  <a:lnTo>
                    <a:pt x="21" y="79"/>
                  </a:lnTo>
                  <a:lnTo>
                    <a:pt x="48" y="61"/>
                  </a:lnTo>
                  <a:lnTo>
                    <a:pt x="53" y="54"/>
                  </a:lnTo>
                  <a:lnTo>
                    <a:pt x="54" y="49"/>
                  </a:lnTo>
                  <a:lnTo>
                    <a:pt x="59" y="76"/>
                  </a:lnTo>
                  <a:lnTo>
                    <a:pt x="80" y="71"/>
                  </a:lnTo>
                  <a:lnTo>
                    <a:pt x="84" y="67"/>
                  </a:lnTo>
                  <a:lnTo>
                    <a:pt x="85" y="52"/>
                  </a:lnTo>
                  <a:lnTo>
                    <a:pt x="79" y="36"/>
                  </a:lnTo>
                  <a:lnTo>
                    <a:pt x="76" y="19"/>
                  </a:lnTo>
                  <a:lnTo>
                    <a:pt x="77" y="7"/>
                  </a:lnTo>
                  <a:lnTo>
                    <a:pt x="86" y="0"/>
                  </a:lnTo>
                  <a:lnTo>
                    <a:pt x="106" y="1"/>
                  </a:lnTo>
                  <a:lnTo>
                    <a:pt x="106" y="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03" name="Group 97"/>
            <p:cNvGrpSpPr>
              <a:grpSpLocks noChangeAspect="1"/>
            </p:cNvGrpSpPr>
            <p:nvPr/>
          </p:nvGrpSpPr>
          <p:grpSpPr bwMode="gray">
            <a:xfrm>
              <a:off x="4137823" y="3629402"/>
              <a:ext cx="529618" cy="488674"/>
              <a:chOff x="3183" y="2052"/>
              <a:chExt cx="401" cy="370"/>
            </a:xfrm>
            <a:solidFill>
              <a:srgbClr val="C9C7C3"/>
            </a:solidFill>
          </p:grpSpPr>
          <p:sp>
            <p:nvSpPr>
              <p:cNvPr id="354" name="Freeform 98"/>
              <p:cNvSpPr>
                <a:spLocks noChangeAspect="1"/>
              </p:cNvSpPr>
              <p:nvPr/>
            </p:nvSpPr>
            <p:spPr bwMode="gray">
              <a:xfrm>
                <a:off x="3509" y="2232"/>
                <a:ext cx="3" cy="5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26"/>
                  </a:cxn>
                  <a:cxn ang="0">
                    <a:pos x="9" y="27"/>
                  </a:cxn>
                  <a:cxn ang="0">
                    <a:pos x="14" y="21"/>
                  </a:cxn>
                  <a:cxn ang="0">
                    <a:pos x="14" y="12"/>
                  </a:cxn>
                  <a:cxn ang="0">
                    <a:pos x="9" y="3"/>
                  </a:cxn>
                  <a:cxn ang="0">
                    <a:pos x="5" y="0"/>
                  </a:cxn>
                  <a:cxn ang="0">
                    <a:pos x="0" y="4"/>
                  </a:cxn>
                </a:cxnLst>
                <a:rect l="0" t="0" r="r" b="b"/>
                <a:pathLst>
                  <a:path w="14" h="27">
                    <a:moveTo>
                      <a:pt x="0" y="4"/>
                    </a:moveTo>
                    <a:lnTo>
                      <a:pt x="1" y="26"/>
                    </a:lnTo>
                    <a:lnTo>
                      <a:pt x="9" y="27"/>
                    </a:lnTo>
                    <a:lnTo>
                      <a:pt x="14" y="21"/>
                    </a:lnTo>
                    <a:lnTo>
                      <a:pt x="14" y="12"/>
                    </a:lnTo>
                    <a:lnTo>
                      <a:pt x="9" y="3"/>
                    </a:lnTo>
                    <a:lnTo>
                      <a:pt x="5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5" name="Freeform 99"/>
              <p:cNvSpPr>
                <a:spLocks noChangeAspect="1"/>
              </p:cNvSpPr>
              <p:nvPr/>
            </p:nvSpPr>
            <p:spPr bwMode="gray">
              <a:xfrm>
                <a:off x="3262" y="2066"/>
                <a:ext cx="322" cy="332"/>
              </a:xfrm>
              <a:custGeom>
                <a:avLst/>
                <a:gdLst/>
                <a:ahLst/>
                <a:cxnLst>
                  <a:cxn ang="0">
                    <a:pos x="351" y="1334"/>
                  </a:cxn>
                  <a:cxn ang="0">
                    <a:pos x="468" y="1614"/>
                  </a:cxn>
                  <a:cxn ang="0">
                    <a:pos x="594" y="1598"/>
                  </a:cxn>
                  <a:cxn ang="0">
                    <a:pos x="655" y="1431"/>
                  </a:cxn>
                  <a:cxn ang="0">
                    <a:pos x="659" y="1302"/>
                  </a:cxn>
                  <a:cxn ang="0">
                    <a:pos x="733" y="1205"/>
                  </a:cxn>
                  <a:cxn ang="0">
                    <a:pos x="880" y="1087"/>
                  </a:cxn>
                  <a:cxn ang="0">
                    <a:pos x="1036" y="913"/>
                  </a:cxn>
                  <a:cxn ang="0">
                    <a:pos x="1107" y="902"/>
                  </a:cxn>
                  <a:cxn ang="0">
                    <a:pos x="1134" y="854"/>
                  </a:cxn>
                  <a:cxn ang="0">
                    <a:pos x="1120" y="738"/>
                  </a:cxn>
                  <a:cxn ang="0">
                    <a:pos x="1122" y="669"/>
                  </a:cxn>
                  <a:cxn ang="0">
                    <a:pos x="1143" y="613"/>
                  </a:cxn>
                  <a:cxn ang="0">
                    <a:pos x="1264" y="679"/>
                  </a:cxn>
                  <a:cxn ang="0">
                    <a:pos x="1268" y="798"/>
                  </a:cxn>
                  <a:cxn ang="0">
                    <a:pos x="1346" y="881"/>
                  </a:cxn>
                  <a:cxn ang="0">
                    <a:pos x="1387" y="799"/>
                  </a:cxn>
                  <a:cxn ang="0">
                    <a:pos x="1487" y="652"/>
                  </a:cxn>
                  <a:cxn ang="0">
                    <a:pos x="1602" y="525"/>
                  </a:cxn>
                  <a:cxn ang="0">
                    <a:pos x="1532" y="422"/>
                  </a:cxn>
                  <a:cxn ang="0">
                    <a:pos x="1379" y="492"/>
                  </a:cxn>
                  <a:cxn ang="0">
                    <a:pos x="1319" y="570"/>
                  </a:cxn>
                  <a:cxn ang="0">
                    <a:pos x="1160" y="592"/>
                  </a:cxn>
                  <a:cxn ang="0">
                    <a:pos x="1133" y="551"/>
                  </a:cxn>
                  <a:cxn ang="0">
                    <a:pos x="1090" y="541"/>
                  </a:cxn>
                  <a:cxn ang="0">
                    <a:pos x="1046" y="615"/>
                  </a:cxn>
                  <a:cxn ang="0">
                    <a:pos x="873" y="555"/>
                  </a:cxn>
                  <a:cxn ang="0">
                    <a:pos x="772" y="530"/>
                  </a:cxn>
                  <a:cxn ang="0">
                    <a:pos x="676" y="480"/>
                  </a:cxn>
                  <a:cxn ang="0">
                    <a:pos x="675" y="409"/>
                  </a:cxn>
                  <a:cxn ang="0">
                    <a:pos x="690" y="367"/>
                  </a:cxn>
                  <a:cxn ang="0">
                    <a:pos x="631" y="332"/>
                  </a:cxn>
                  <a:cxn ang="0">
                    <a:pos x="589" y="304"/>
                  </a:cxn>
                  <a:cxn ang="0">
                    <a:pos x="581" y="224"/>
                  </a:cxn>
                  <a:cxn ang="0">
                    <a:pos x="617" y="223"/>
                  </a:cxn>
                  <a:cxn ang="0">
                    <a:pos x="597" y="174"/>
                  </a:cxn>
                  <a:cxn ang="0">
                    <a:pos x="628" y="126"/>
                  </a:cxn>
                  <a:cxn ang="0">
                    <a:pos x="666" y="52"/>
                  </a:cxn>
                  <a:cxn ang="0">
                    <a:pos x="642" y="22"/>
                  </a:cxn>
                  <a:cxn ang="0">
                    <a:pos x="599" y="6"/>
                  </a:cxn>
                  <a:cxn ang="0">
                    <a:pos x="489" y="68"/>
                  </a:cxn>
                  <a:cxn ang="0">
                    <a:pos x="427" y="92"/>
                  </a:cxn>
                  <a:cxn ang="0">
                    <a:pos x="333" y="79"/>
                  </a:cxn>
                  <a:cxn ang="0">
                    <a:pos x="320" y="126"/>
                  </a:cxn>
                  <a:cxn ang="0">
                    <a:pos x="321" y="181"/>
                  </a:cxn>
                  <a:cxn ang="0">
                    <a:pos x="384" y="232"/>
                  </a:cxn>
                  <a:cxn ang="0">
                    <a:pos x="362" y="267"/>
                  </a:cxn>
                  <a:cxn ang="0">
                    <a:pos x="371" y="324"/>
                  </a:cxn>
                  <a:cxn ang="0">
                    <a:pos x="314" y="388"/>
                  </a:cxn>
                  <a:cxn ang="0">
                    <a:pos x="212" y="504"/>
                  </a:cxn>
                  <a:cxn ang="0">
                    <a:pos x="132" y="513"/>
                  </a:cxn>
                  <a:cxn ang="0">
                    <a:pos x="111" y="603"/>
                  </a:cxn>
                  <a:cxn ang="0">
                    <a:pos x="142" y="669"/>
                  </a:cxn>
                  <a:cxn ang="0">
                    <a:pos x="166" y="733"/>
                  </a:cxn>
                  <a:cxn ang="0">
                    <a:pos x="127" y="734"/>
                  </a:cxn>
                  <a:cxn ang="0">
                    <a:pos x="47" y="740"/>
                  </a:cxn>
                  <a:cxn ang="0">
                    <a:pos x="0" y="773"/>
                  </a:cxn>
                  <a:cxn ang="0">
                    <a:pos x="124" y="814"/>
                  </a:cxn>
                  <a:cxn ang="0">
                    <a:pos x="131" y="945"/>
                  </a:cxn>
                  <a:cxn ang="0">
                    <a:pos x="229" y="857"/>
                  </a:cxn>
                  <a:cxn ang="0">
                    <a:pos x="246" y="924"/>
                  </a:cxn>
                  <a:cxn ang="0">
                    <a:pos x="261" y="1041"/>
                  </a:cxn>
                  <a:cxn ang="0">
                    <a:pos x="276" y="1157"/>
                  </a:cxn>
                </a:cxnLst>
                <a:rect l="0" t="0" r="r" b="b"/>
                <a:pathLst>
                  <a:path w="1608" h="1661">
                    <a:moveTo>
                      <a:pt x="304" y="1236"/>
                    </a:moveTo>
                    <a:lnTo>
                      <a:pt x="306" y="1238"/>
                    </a:lnTo>
                    <a:lnTo>
                      <a:pt x="310" y="1250"/>
                    </a:lnTo>
                    <a:lnTo>
                      <a:pt x="312" y="1252"/>
                    </a:lnTo>
                    <a:lnTo>
                      <a:pt x="315" y="1249"/>
                    </a:lnTo>
                    <a:lnTo>
                      <a:pt x="320" y="1250"/>
                    </a:lnTo>
                    <a:lnTo>
                      <a:pt x="316" y="1255"/>
                    </a:lnTo>
                    <a:lnTo>
                      <a:pt x="316" y="1260"/>
                    </a:lnTo>
                    <a:lnTo>
                      <a:pt x="322" y="1281"/>
                    </a:lnTo>
                    <a:lnTo>
                      <a:pt x="331" y="1293"/>
                    </a:lnTo>
                    <a:lnTo>
                      <a:pt x="338" y="1297"/>
                    </a:lnTo>
                    <a:lnTo>
                      <a:pt x="348" y="1319"/>
                    </a:lnTo>
                    <a:lnTo>
                      <a:pt x="351" y="1334"/>
                    </a:lnTo>
                    <a:lnTo>
                      <a:pt x="358" y="1343"/>
                    </a:lnTo>
                    <a:lnTo>
                      <a:pt x="364" y="1358"/>
                    </a:lnTo>
                    <a:lnTo>
                      <a:pt x="370" y="1388"/>
                    </a:lnTo>
                    <a:lnTo>
                      <a:pt x="382" y="1426"/>
                    </a:lnTo>
                    <a:lnTo>
                      <a:pt x="382" y="1429"/>
                    </a:lnTo>
                    <a:lnTo>
                      <a:pt x="391" y="1444"/>
                    </a:lnTo>
                    <a:lnTo>
                      <a:pt x="401" y="1453"/>
                    </a:lnTo>
                    <a:lnTo>
                      <a:pt x="418" y="1475"/>
                    </a:lnTo>
                    <a:lnTo>
                      <a:pt x="425" y="1494"/>
                    </a:lnTo>
                    <a:lnTo>
                      <a:pt x="432" y="1519"/>
                    </a:lnTo>
                    <a:lnTo>
                      <a:pt x="454" y="1572"/>
                    </a:lnTo>
                    <a:lnTo>
                      <a:pt x="461" y="1600"/>
                    </a:lnTo>
                    <a:lnTo>
                      <a:pt x="468" y="1614"/>
                    </a:lnTo>
                    <a:lnTo>
                      <a:pt x="481" y="1633"/>
                    </a:lnTo>
                    <a:lnTo>
                      <a:pt x="495" y="1650"/>
                    </a:lnTo>
                    <a:lnTo>
                      <a:pt x="508" y="1661"/>
                    </a:lnTo>
                    <a:lnTo>
                      <a:pt x="525" y="1661"/>
                    </a:lnTo>
                    <a:lnTo>
                      <a:pt x="534" y="1653"/>
                    </a:lnTo>
                    <a:lnTo>
                      <a:pt x="534" y="1650"/>
                    </a:lnTo>
                    <a:lnTo>
                      <a:pt x="540" y="1647"/>
                    </a:lnTo>
                    <a:lnTo>
                      <a:pt x="546" y="1642"/>
                    </a:lnTo>
                    <a:lnTo>
                      <a:pt x="548" y="1636"/>
                    </a:lnTo>
                    <a:lnTo>
                      <a:pt x="547" y="1632"/>
                    </a:lnTo>
                    <a:lnTo>
                      <a:pt x="554" y="1611"/>
                    </a:lnTo>
                    <a:lnTo>
                      <a:pt x="577" y="1600"/>
                    </a:lnTo>
                    <a:lnTo>
                      <a:pt x="594" y="1598"/>
                    </a:lnTo>
                    <a:lnTo>
                      <a:pt x="593" y="1588"/>
                    </a:lnTo>
                    <a:lnTo>
                      <a:pt x="594" y="1578"/>
                    </a:lnTo>
                    <a:lnTo>
                      <a:pt x="607" y="1560"/>
                    </a:lnTo>
                    <a:lnTo>
                      <a:pt x="610" y="1552"/>
                    </a:lnTo>
                    <a:lnTo>
                      <a:pt x="615" y="1541"/>
                    </a:lnTo>
                    <a:lnTo>
                      <a:pt x="628" y="1539"/>
                    </a:lnTo>
                    <a:lnTo>
                      <a:pt x="632" y="1542"/>
                    </a:lnTo>
                    <a:lnTo>
                      <a:pt x="643" y="1542"/>
                    </a:lnTo>
                    <a:lnTo>
                      <a:pt x="643" y="1525"/>
                    </a:lnTo>
                    <a:lnTo>
                      <a:pt x="640" y="1496"/>
                    </a:lnTo>
                    <a:lnTo>
                      <a:pt x="640" y="1467"/>
                    </a:lnTo>
                    <a:lnTo>
                      <a:pt x="643" y="1456"/>
                    </a:lnTo>
                    <a:lnTo>
                      <a:pt x="655" y="1431"/>
                    </a:lnTo>
                    <a:lnTo>
                      <a:pt x="660" y="1417"/>
                    </a:lnTo>
                    <a:lnTo>
                      <a:pt x="667" y="1390"/>
                    </a:lnTo>
                    <a:lnTo>
                      <a:pt x="669" y="1381"/>
                    </a:lnTo>
                    <a:lnTo>
                      <a:pt x="667" y="1368"/>
                    </a:lnTo>
                    <a:lnTo>
                      <a:pt x="661" y="1363"/>
                    </a:lnTo>
                    <a:lnTo>
                      <a:pt x="660" y="1358"/>
                    </a:lnTo>
                    <a:lnTo>
                      <a:pt x="658" y="1356"/>
                    </a:lnTo>
                    <a:lnTo>
                      <a:pt x="660" y="1352"/>
                    </a:lnTo>
                    <a:lnTo>
                      <a:pt x="664" y="1356"/>
                    </a:lnTo>
                    <a:lnTo>
                      <a:pt x="656" y="1324"/>
                    </a:lnTo>
                    <a:lnTo>
                      <a:pt x="659" y="1314"/>
                    </a:lnTo>
                    <a:lnTo>
                      <a:pt x="659" y="1304"/>
                    </a:lnTo>
                    <a:lnTo>
                      <a:pt x="659" y="1302"/>
                    </a:lnTo>
                    <a:lnTo>
                      <a:pt x="655" y="1297"/>
                    </a:lnTo>
                    <a:lnTo>
                      <a:pt x="654" y="1284"/>
                    </a:lnTo>
                    <a:lnTo>
                      <a:pt x="654" y="1262"/>
                    </a:lnTo>
                    <a:lnTo>
                      <a:pt x="661" y="1251"/>
                    </a:lnTo>
                    <a:lnTo>
                      <a:pt x="670" y="1238"/>
                    </a:lnTo>
                    <a:lnTo>
                      <a:pt x="680" y="1233"/>
                    </a:lnTo>
                    <a:lnTo>
                      <a:pt x="688" y="1232"/>
                    </a:lnTo>
                    <a:lnTo>
                      <a:pt x="698" y="1238"/>
                    </a:lnTo>
                    <a:lnTo>
                      <a:pt x="706" y="1234"/>
                    </a:lnTo>
                    <a:lnTo>
                      <a:pt x="713" y="1222"/>
                    </a:lnTo>
                    <a:lnTo>
                      <a:pt x="718" y="1208"/>
                    </a:lnTo>
                    <a:lnTo>
                      <a:pt x="720" y="1208"/>
                    </a:lnTo>
                    <a:lnTo>
                      <a:pt x="733" y="1205"/>
                    </a:lnTo>
                    <a:lnTo>
                      <a:pt x="746" y="1202"/>
                    </a:lnTo>
                    <a:lnTo>
                      <a:pt x="769" y="1193"/>
                    </a:lnTo>
                    <a:lnTo>
                      <a:pt x="776" y="1185"/>
                    </a:lnTo>
                    <a:lnTo>
                      <a:pt x="776" y="1174"/>
                    </a:lnTo>
                    <a:lnTo>
                      <a:pt x="782" y="1164"/>
                    </a:lnTo>
                    <a:lnTo>
                      <a:pt x="795" y="1155"/>
                    </a:lnTo>
                    <a:lnTo>
                      <a:pt x="820" y="1136"/>
                    </a:lnTo>
                    <a:lnTo>
                      <a:pt x="837" y="1123"/>
                    </a:lnTo>
                    <a:lnTo>
                      <a:pt x="849" y="1109"/>
                    </a:lnTo>
                    <a:lnTo>
                      <a:pt x="864" y="1098"/>
                    </a:lnTo>
                    <a:lnTo>
                      <a:pt x="875" y="1092"/>
                    </a:lnTo>
                    <a:lnTo>
                      <a:pt x="878" y="1088"/>
                    </a:lnTo>
                    <a:lnTo>
                      <a:pt x="880" y="1087"/>
                    </a:lnTo>
                    <a:lnTo>
                      <a:pt x="890" y="1077"/>
                    </a:lnTo>
                    <a:lnTo>
                      <a:pt x="925" y="1034"/>
                    </a:lnTo>
                    <a:lnTo>
                      <a:pt x="938" y="1024"/>
                    </a:lnTo>
                    <a:lnTo>
                      <a:pt x="968" y="1007"/>
                    </a:lnTo>
                    <a:lnTo>
                      <a:pt x="986" y="1001"/>
                    </a:lnTo>
                    <a:lnTo>
                      <a:pt x="995" y="996"/>
                    </a:lnTo>
                    <a:lnTo>
                      <a:pt x="998" y="996"/>
                    </a:lnTo>
                    <a:lnTo>
                      <a:pt x="1015" y="981"/>
                    </a:lnTo>
                    <a:lnTo>
                      <a:pt x="1024" y="970"/>
                    </a:lnTo>
                    <a:lnTo>
                      <a:pt x="1026" y="964"/>
                    </a:lnTo>
                    <a:lnTo>
                      <a:pt x="1036" y="953"/>
                    </a:lnTo>
                    <a:lnTo>
                      <a:pt x="1030" y="929"/>
                    </a:lnTo>
                    <a:lnTo>
                      <a:pt x="1036" y="913"/>
                    </a:lnTo>
                    <a:lnTo>
                      <a:pt x="1068" y="897"/>
                    </a:lnTo>
                    <a:lnTo>
                      <a:pt x="1078" y="894"/>
                    </a:lnTo>
                    <a:lnTo>
                      <a:pt x="1084" y="889"/>
                    </a:lnTo>
                    <a:lnTo>
                      <a:pt x="1089" y="880"/>
                    </a:lnTo>
                    <a:lnTo>
                      <a:pt x="1091" y="874"/>
                    </a:lnTo>
                    <a:lnTo>
                      <a:pt x="1096" y="868"/>
                    </a:lnTo>
                    <a:lnTo>
                      <a:pt x="1100" y="868"/>
                    </a:lnTo>
                    <a:lnTo>
                      <a:pt x="1097" y="880"/>
                    </a:lnTo>
                    <a:lnTo>
                      <a:pt x="1097" y="893"/>
                    </a:lnTo>
                    <a:lnTo>
                      <a:pt x="1099" y="894"/>
                    </a:lnTo>
                    <a:lnTo>
                      <a:pt x="1101" y="894"/>
                    </a:lnTo>
                    <a:lnTo>
                      <a:pt x="1104" y="895"/>
                    </a:lnTo>
                    <a:lnTo>
                      <a:pt x="1107" y="902"/>
                    </a:lnTo>
                    <a:lnTo>
                      <a:pt x="1116" y="901"/>
                    </a:lnTo>
                    <a:lnTo>
                      <a:pt x="1121" y="897"/>
                    </a:lnTo>
                    <a:lnTo>
                      <a:pt x="1124" y="899"/>
                    </a:lnTo>
                    <a:lnTo>
                      <a:pt x="1126" y="890"/>
                    </a:lnTo>
                    <a:lnTo>
                      <a:pt x="1128" y="886"/>
                    </a:lnTo>
                    <a:lnTo>
                      <a:pt x="1131" y="896"/>
                    </a:lnTo>
                    <a:lnTo>
                      <a:pt x="1134" y="900"/>
                    </a:lnTo>
                    <a:lnTo>
                      <a:pt x="1142" y="897"/>
                    </a:lnTo>
                    <a:lnTo>
                      <a:pt x="1135" y="884"/>
                    </a:lnTo>
                    <a:lnTo>
                      <a:pt x="1137" y="878"/>
                    </a:lnTo>
                    <a:lnTo>
                      <a:pt x="1135" y="874"/>
                    </a:lnTo>
                    <a:lnTo>
                      <a:pt x="1133" y="863"/>
                    </a:lnTo>
                    <a:lnTo>
                      <a:pt x="1134" y="854"/>
                    </a:lnTo>
                    <a:lnTo>
                      <a:pt x="1132" y="846"/>
                    </a:lnTo>
                    <a:lnTo>
                      <a:pt x="1127" y="841"/>
                    </a:lnTo>
                    <a:lnTo>
                      <a:pt x="1124" y="832"/>
                    </a:lnTo>
                    <a:lnTo>
                      <a:pt x="1124" y="823"/>
                    </a:lnTo>
                    <a:lnTo>
                      <a:pt x="1126" y="820"/>
                    </a:lnTo>
                    <a:lnTo>
                      <a:pt x="1127" y="804"/>
                    </a:lnTo>
                    <a:lnTo>
                      <a:pt x="1126" y="800"/>
                    </a:lnTo>
                    <a:lnTo>
                      <a:pt x="1122" y="799"/>
                    </a:lnTo>
                    <a:lnTo>
                      <a:pt x="1122" y="784"/>
                    </a:lnTo>
                    <a:lnTo>
                      <a:pt x="1116" y="778"/>
                    </a:lnTo>
                    <a:lnTo>
                      <a:pt x="1116" y="770"/>
                    </a:lnTo>
                    <a:lnTo>
                      <a:pt x="1118" y="759"/>
                    </a:lnTo>
                    <a:lnTo>
                      <a:pt x="1120" y="738"/>
                    </a:lnTo>
                    <a:lnTo>
                      <a:pt x="1111" y="728"/>
                    </a:lnTo>
                    <a:lnTo>
                      <a:pt x="1105" y="723"/>
                    </a:lnTo>
                    <a:lnTo>
                      <a:pt x="1094" y="718"/>
                    </a:lnTo>
                    <a:lnTo>
                      <a:pt x="1085" y="714"/>
                    </a:lnTo>
                    <a:lnTo>
                      <a:pt x="1084" y="708"/>
                    </a:lnTo>
                    <a:lnTo>
                      <a:pt x="1085" y="703"/>
                    </a:lnTo>
                    <a:lnTo>
                      <a:pt x="1090" y="695"/>
                    </a:lnTo>
                    <a:lnTo>
                      <a:pt x="1097" y="694"/>
                    </a:lnTo>
                    <a:lnTo>
                      <a:pt x="1104" y="690"/>
                    </a:lnTo>
                    <a:lnTo>
                      <a:pt x="1106" y="683"/>
                    </a:lnTo>
                    <a:lnTo>
                      <a:pt x="1126" y="681"/>
                    </a:lnTo>
                    <a:lnTo>
                      <a:pt x="1126" y="673"/>
                    </a:lnTo>
                    <a:lnTo>
                      <a:pt x="1122" y="669"/>
                    </a:lnTo>
                    <a:lnTo>
                      <a:pt x="1123" y="665"/>
                    </a:lnTo>
                    <a:lnTo>
                      <a:pt x="1108" y="667"/>
                    </a:lnTo>
                    <a:lnTo>
                      <a:pt x="1101" y="662"/>
                    </a:lnTo>
                    <a:lnTo>
                      <a:pt x="1099" y="648"/>
                    </a:lnTo>
                    <a:lnTo>
                      <a:pt x="1095" y="644"/>
                    </a:lnTo>
                    <a:lnTo>
                      <a:pt x="1110" y="620"/>
                    </a:lnTo>
                    <a:lnTo>
                      <a:pt x="1112" y="608"/>
                    </a:lnTo>
                    <a:lnTo>
                      <a:pt x="1117" y="605"/>
                    </a:lnTo>
                    <a:lnTo>
                      <a:pt x="1126" y="622"/>
                    </a:lnTo>
                    <a:lnTo>
                      <a:pt x="1132" y="630"/>
                    </a:lnTo>
                    <a:lnTo>
                      <a:pt x="1133" y="622"/>
                    </a:lnTo>
                    <a:lnTo>
                      <a:pt x="1137" y="610"/>
                    </a:lnTo>
                    <a:lnTo>
                      <a:pt x="1143" y="613"/>
                    </a:lnTo>
                    <a:lnTo>
                      <a:pt x="1145" y="627"/>
                    </a:lnTo>
                    <a:lnTo>
                      <a:pt x="1153" y="636"/>
                    </a:lnTo>
                    <a:lnTo>
                      <a:pt x="1159" y="632"/>
                    </a:lnTo>
                    <a:lnTo>
                      <a:pt x="1166" y="638"/>
                    </a:lnTo>
                    <a:lnTo>
                      <a:pt x="1175" y="624"/>
                    </a:lnTo>
                    <a:lnTo>
                      <a:pt x="1177" y="628"/>
                    </a:lnTo>
                    <a:lnTo>
                      <a:pt x="1180" y="648"/>
                    </a:lnTo>
                    <a:lnTo>
                      <a:pt x="1185" y="667"/>
                    </a:lnTo>
                    <a:lnTo>
                      <a:pt x="1192" y="675"/>
                    </a:lnTo>
                    <a:lnTo>
                      <a:pt x="1203" y="680"/>
                    </a:lnTo>
                    <a:lnTo>
                      <a:pt x="1246" y="684"/>
                    </a:lnTo>
                    <a:lnTo>
                      <a:pt x="1250" y="681"/>
                    </a:lnTo>
                    <a:lnTo>
                      <a:pt x="1264" y="679"/>
                    </a:lnTo>
                    <a:lnTo>
                      <a:pt x="1288" y="681"/>
                    </a:lnTo>
                    <a:lnTo>
                      <a:pt x="1311" y="685"/>
                    </a:lnTo>
                    <a:lnTo>
                      <a:pt x="1326" y="691"/>
                    </a:lnTo>
                    <a:lnTo>
                      <a:pt x="1325" y="696"/>
                    </a:lnTo>
                    <a:lnTo>
                      <a:pt x="1315" y="701"/>
                    </a:lnTo>
                    <a:lnTo>
                      <a:pt x="1310" y="714"/>
                    </a:lnTo>
                    <a:lnTo>
                      <a:pt x="1298" y="729"/>
                    </a:lnTo>
                    <a:lnTo>
                      <a:pt x="1288" y="739"/>
                    </a:lnTo>
                    <a:lnTo>
                      <a:pt x="1276" y="744"/>
                    </a:lnTo>
                    <a:lnTo>
                      <a:pt x="1262" y="754"/>
                    </a:lnTo>
                    <a:lnTo>
                      <a:pt x="1260" y="762"/>
                    </a:lnTo>
                    <a:lnTo>
                      <a:pt x="1261" y="778"/>
                    </a:lnTo>
                    <a:lnTo>
                      <a:pt x="1268" y="798"/>
                    </a:lnTo>
                    <a:lnTo>
                      <a:pt x="1278" y="799"/>
                    </a:lnTo>
                    <a:lnTo>
                      <a:pt x="1284" y="809"/>
                    </a:lnTo>
                    <a:lnTo>
                      <a:pt x="1292" y="814"/>
                    </a:lnTo>
                    <a:lnTo>
                      <a:pt x="1295" y="807"/>
                    </a:lnTo>
                    <a:lnTo>
                      <a:pt x="1301" y="786"/>
                    </a:lnTo>
                    <a:lnTo>
                      <a:pt x="1312" y="771"/>
                    </a:lnTo>
                    <a:lnTo>
                      <a:pt x="1319" y="772"/>
                    </a:lnTo>
                    <a:lnTo>
                      <a:pt x="1326" y="786"/>
                    </a:lnTo>
                    <a:lnTo>
                      <a:pt x="1331" y="803"/>
                    </a:lnTo>
                    <a:lnTo>
                      <a:pt x="1333" y="811"/>
                    </a:lnTo>
                    <a:lnTo>
                      <a:pt x="1336" y="819"/>
                    </a:lnTo>
                    <a:lnTo>
                      <a:pt x="1342" y="847"/>
                    </a:lnTo>
                    <a:lnTo>
                      <a:pt x="1346" y="881"/>
                    </a:lnTo>
                    <a:lnTo>
                      <a:pt x="1349" y="878"/>
                    </a:lnTo>
                    <a:lnTo>
                      <a:pt x="1354" y="873"/>
                    </a:lnTo>
                    <a:lnTo>
                      <a:pt x="1363" y="875"/>
                    </a:lnTo>
                    <a:lnTo>
                      <a:pt x="1368" y="874"/>
                    </a:lnTo>
                    <a:lnTo>
                      <a:pt x="1373" y="868"/>
                    </a:lnTo>
                    <a:lnTo>
                      <a:pt x="1374" y="862"/>
                    </a:lnTo>
                    <a:lnTo>
                      <a:pt x="1371" y="862"/>
                    </a:lnTo>
                    <a:lnTo>
                      <a:pt x="1368" y="852"/>
                    </a:lnTo>
                    <a:lnTo>
                      <a:pt x="1368" y="836"/>
                    </a:lnTo>
                    <a:lnTo>
                      <a:pt x="1369" y="823"/>
                    </a:lnTo>
                    <a:lnTo>
                      <a:pt x="1380" y="824"/>
                    </a:lnTo>
                    <a:lnTo>
                      <a:pt x="1384" y="819"/>
                    </a:lnTo>
                    <a:lnTo>
                      <a:pt x="1387" y="799"/>
                    </a:lnTo>
                    <a:lnTo>
                      <a:pt x="1386" y="773"/>
                    </a:lnTo>
                    <a:lnTo>
                      <a:pt x="1393" y="766"/>
                    </a:lnTo>
                    <a:lnTo>
                      <a:pt x="1407" y="762"/>
                    </a:lnTo>
                    <a:lnTo>
                      <a:pt x="1420" y="765"/>
                    </a:lnTo>
                    <a:lnTo>
                      <a:pt x="1428" y="765"/>
                    </a:lnTo>
                    <a:lnTo>
                      <a:pt x="1433" y="760"/>
                    </a:lnTo>
                    <a:lnTo>
                      <a:pt x="1439" y="740"/>
                    </a:lnTo>
                    <a:lnTo>
                      <a:pt x="1457" y="705"/>
                    </a:lnTo>
                    <a:lnTo>
                      <a:pt x="1461" y="694"/>
                    </a:lnTo>
                    <a:lnTo>
                      <a:pt x="1459" y="684"/>
                    </a:lnTo>
                    <a:lnTo>
                      <a:pt x="1465" y="675"/>
                    </a:lnTo>
                    <a:lnTo>
                      <a:pt x="1481" y="664"/>
                    </a:lnTo>
                    <a:lnTo>
                      <a:pt x="1487" y="652"/>
                    </a:lnTo>
                    <a:lnTo>
                      <a:pt x="1486" y="624"/>
                    </a:lnTo>
                    <a:lnTo>
                      <a:pt x="1493" y="608"/>
                    </a:lnTo>
                    <a:lnTo>
                      <a:pt x="1506" y="597"/>
                    </a:lnTo>
                    <a:lnTo>
                      <a:pt x="1521" y="589"/>
                    </a:lnTo>
                    <a:lnTo>
                      <a:pt x="1531" y="581"/>
                    </a:lnTo>
                    <a:lnTo>
                      <a:pt x="1538" y="567"/>
                    </a:lnTo>
                    <a:lnTo>
                      <a:pt x="1558" y="563"/>
                    </a:lnTo>
                    <a:lnTo>
                      <a:pt x="1569" y="560"/>
                    </a:lnTo>
                    <a:lnTo>
                      <a:pt x="1585" y="565"/>
                    </a:lnTo>
                    <a:lnTo>
                      <a:pt x="1590" y="560"/>
                    </a:lnTo>
                    <a:lnTo>
                      <a:pt x="1586" y="544"/>
                    </a:lnTo>
                    <a:lnTo>
                      <a:pt x="1591" y="530"/>
                    </a:lnTo>
                    <a:lnTo>
                      <a:pt x="1602" y="525"/>
                    </a:lnTo>
                    <a:lnTo>
                      <a:pt x="1608" y="518"/>
                    </a:lnTo>
                    <a:lnTo>
                      <a:pt x="1608" y="506"/>
                    </a:lnTo>
                    <a:lnTo>
                      <a:pt x="1604" y="493"/>
                    </a:lnTo>
                    <a:lnTo>
                      <a:pt x="1594" y="490"/>
                    </a:lnTo>
                    <a:lnTo>
                      <a:pt x="1580" y="490"/>
                    </a:lnTo>
                    <a:lnTo>
                      <a:pt x="1570" y="486"/>
                    </a:lnTo>
                    <a:lnTo>
                      <a:pt x="1552" y="486"/>
                    </a:lnTo>
                    <a:lnTo>
                      <a:pt x="1554" y="470"/>
                    </a:lnTo>
                    <a:lnTo>
                      <a:pt x="1556" y="455"/>
                    </a:lnTo>
                    <a:lnTo>
                      <a:pt x="1543" y="453"/>
                    </a:lnTo>
                    <a:lnTo>
                      <a:pt x="1541" y="442"/>
                    </a:lnTo>
                    <a:lnTo>
                      <a:pt x="1543" y="434"/>
                    </a:lnTo>
                    <a:lnTo>
                      <a:pt x="1532" y="422"/>
                    </a:lnTo>
                    <a:lnTo>
                      <a:pt x="1520" y="426"/>
                    </a:lnTo>
                    <a:lnTo>
                      <a:pt x="1505" y="436"/>
                    </a:lnTo>
                    <a:lnTo>
                      <a:pt x="1492" y="439"/>
                    </a:lnTo>
                    <a:lnTo>
                      <a:pt x="1472" y="441"/>
                    </a:lnTo>
                    <a:lnTo>
                      <a:pt x="1463" y="439"/>
                    </a:lnTo>
                    <a:lnTo>
                      <a:pt x="1457" y="434"/>
                    </a:lnTo>
                    <a:lnTo>
                      <a:pt x="1452" y="433"/>
                    </a:lnTo>
                    <a:lnTo>
                      <a:pt x="1443" y="438"/>
                    </a:lnTo>
                    <a:lnTo>
                      <a:pt x="1434" y="444"/>
                    </a:lnTo>
                    <a:lnTo>
                      <a:pt x="1428" y="455"/>
                    </a:lnTo>
                    <a:lnTo>
                      <a:pt x="1408" y="472"/>
                    </a:lnTo>
                    <a:lnTo>
                      <a:pt x="1393" y="476"/>
                    </a:lnTo>
                    <a:lnTo>
                      <a:pt x="1379" y="492"/>
                    </a:lnTo>
                    <a:lnTo>
                      <a:pt x="1369" y="499"/>
                    </a:lnTo>
                    <a:lnTo>
                      <a:pt x="1354" y="507"/>
                    </a:lnTo>
                    <a:lnTo>
                      <a:pt x="1342" y="515"/>
                    </a:lnTo>
                    <a:lnTo>
                      <a:pt x="1314" y="522"/>
                    </a:lnTo>
                    <a:lnTo>
                      <a:pt x="1296" y="527"/>
                    </a:lnTo>
                    <a:lnTo>
                      <a:pt x="1298" y="529"/>
                    </a:lnTo>
                    <a:lnTo>
                      <a:pt x="1298" y="531"/>
                    </a:lnTo>
                    <a:lnTo>
                      <a:pt x="1295" y="538"/>
                    </a:lnTo>
                    <a:lnTo>
                      <a:pt x="1295" y="540"/>
                    </a:lnTo>
                    <a:lnTo>
                      <a:pt x="1296" y="542"/>
                    </a:lnTo>
                    <a:lnTo>
                      <a:pt x="1315" y="550"/>
                    </a:lnTo>
                    <a:lnTo>
                      <a:pt x="1321" y="556"/>
                    </a:lnTo>
                    <a:lnTo>
                      <a:pt x="1319" y="570"/>
                    </a:lnTo>
                    <a:lnTo>
                      <a:pt x="1320" y="574"/>
                    </a:lnTo>
                    <a:lnTo>
                      <a:pt x="1320" y="577"/>
                    </a:lnTo>
                    <a:lnTo>
                      <a:pt x="1312" y="581"/>
                    </a:lnTo>
                    <a:lnTo>
                      <a:pt x="1292" y="584"/>
                    </a:lnTo>
                    <a:lnTo>
                      <a:pt x="1278" y="585"/>
                    </a:lnTo>
                    <a:lnTo>
                      <a:pt x="1257" y="589"/>
                    </a:lnTo>
                    <a:lnTo>
                      <a:pt x="1249" y="590"/>
                    </a:lnTo>
                    <a:lnTo>
                      <a:pt x="1240" y="590"/>
                    </a:lnTo>
                    <a:lnTo>
                      <a:pt x="1230" y="587"/>
                    </a:lnTo>
                    <a:lnTo>
                      <a:pt x="1225" y="587"/>
                    </a:lnTo>
                    <a:lnTo>
                      <a:pt x="1202" y="595"/>
                    </a:lnTo>
                    <a:lnTo>
                      <a:pt x="1183" y="595"/>
                    </a:lnTo>
                    <a:lnTo>
                      <a:pt x="1160" y="592"/>
                    </a:lnTo>
                    <a:lnTo>
                      <a:pt x="1149" y="588"/>
                    </a:lnTo>
                    <a:lnTo>
                      <a:pt x="1145" y="585"/>
                    </a:lnTo>
                    <a:lnTo>
                      <a:pt x="1142" y="585"/>
                    </a:lnTo>
                    <a:lnTo>
                      <a:pt x="1140" y="584"/>
                    </a:lnTo>
                    <a:lnTo>
                      <a:pt x="1140" y="577"/>
                    </a:lnTo>
                    <a:lnTo>
                      <a:pt x="1139" y="574"/>
                    </a:lnTo>
                    <a:lnTo>
                      <a:pt x="1134" y="573"/>
                    </a:lnTo>
                    <a:lnTo>
                      <a:pt x="1134" y="568"/>
                    </a:lnTo>
                    <a:lnTo>
                      <a:pt x="1143" y="560"/>
                    </a:lnTo>
                    <a:lnTo>
                      <a:pt x="1144" y="556"/>
                    </a:lnTo>
                    <a:lnTo>
                      <a:pt x="1139" y="556"/>
                    </a:lnTo>
                    <a:lnTo>
                      <a:pt x="1135" y="554"/>
                    </a:lnTo>
                    <a:lnTo>
                      <a:pt x="1133" y="551"/>
                    </a:lnTo>
                    <a:lnTo>
                      <a:pt x="1133" y="544"/>
                    </a:lnTo>
                    <a:lnTo>
                      <a:pt x="1137" y="531"/>
                    </a:lnTo>
                    <a:lnTo>
                      <a:pt x="1137" y="525"/>
                    </a:lnTo>
                    <a:lnTo>
                      <a:pt x="1134" y="515"/>
                    </a:lnTo>
                    <a:lnTo>
                      <a:pt x="1133" y="512"/>
                    </a:lnTo>
                    <a:lnTo>
                      <a:pt x="1128" y="509"/>
                    </a:lnTo>
                    <a:lnTo>
                      <a:pt x="1123" y="511"/>
                    </a:lnTo>
                    <a:lnTo>
                      <a:pt x="1115" y="517"/>
                    </a:lnTo>
                    <a:lnTo>
                      <a:pt x="1107" y="517"/>
                    </a:lnTo>
                    <a:lnTo>
                      <a:pt x="1099" y="520"/>
                    </a:lnTo>
                    <a:lnTo>
                      <a:pt x="1097" y="522"/>
                    </a:lnTo>
                    <a:lnTo>
                      <a:pt x="1094" y="529"/>
                    </a:lnTo>
                    <a:lnTo>
                      <a:pt x="1090" y="541"/>
                    </a:lnTo>
                    <a:lnTo>
                      <a:pt x="1091" y="556"/>
                    </a:lnTo>
                    <a:lnTo>
                      <a:pt x="1090" y="570"/>
                    </a:lnTo>
                    <a:lnTo>
                      <a:pt x="1086" y="574"/>
                    </a:lnTo>
                    <a:lnTo>
                      <a:pt x="1086" y="578"/>
                    </a:lnTo>
                    <a:lnTo>
                      <a:pt x="1094" y="582"/>
                    </a:lnTo>
                    <a:lnTo>
                      <a:pt x="1099" y="592"/>
                    </a:lnTo>
                    <a:lnTo>
                      <a:pt x="1099" y="599"/>
                    </a:lnTo>
                    <a:lnTo>
                      <a:pt x="1092" y="610"/>
                    </a:lnTo>
                    <a:lnTo>
                      <a:pt x="1092" y="613"/>
                    </a:lnTo>
                    <a:lnTo>
                      <a:pt x="1080" y="611"/>
                    </a:lnTo>
                    <a:lnTo>
                      <a:pt x="1069" y="614"/>
                    </a:lnTo>
                    <a:lnTo>
                      <a:pt x="1054" y="613"/>
                    </a:lnTo>
                    <a:lnTo>
                      <a:pt x="1046" y="615"/>
                    </a:lnTo>
                    <a:lnTo>
                      <a:pt x="1036" y="610"/>
                    </a:lnTo>
                    <a:lnTo>
                      <a:pt x="1026" y="609"/>
                    </a:lnTo>
                    <a:lnTo>
                      <a:pt x="1020" y="609"/>
                    </a:lnTo>
                    <a:lnTo>
                      <a:pt x="973" y="601"/>
                    </a:lnTo>
                    <a:lnTo>
                      <a:pt x="967" y="595"/>
                    </a:lnTo>
                    <a:lnTo>
                      <a:pt x="959" y="592"/>
                    </a:lnTo>
                    <a:lnTo>
                      <a:pt x="945" y="593"/>
                    </a:lnTo>
                    <a:lnTo>
                      <a:pt x="925" y="589"/>
                    </a:lnTo>
                    <a:lnTo>
                      <a:pt x="913" y="581"/>
                    </a:lnTo>
                    <a:lnTo>
                      <a:pt x="907" y="576"/>
                    </a:lnTo>
                    <a:lnTo>
                      <a:pt x="897" y="562"/>
                    </a:lnTo>
                    <a:lnTo>
                      <a:pt x="891" y="558"/>
                    </a:lnTo>
                    <a:lnTo>
                      <a:pt x="873" y="555"/>
                    </a:lnTo>
                    <a:lnTo>
                      <a:pt x="869" y="555"/>
                    </a:lnTo>
                    <a:lnTo>
                      <a:pt x="866" y="558"/>
                    </a:lnTo>
                    <a:lnTo>
                      <a:pt x="860" y="557"/>
                    </a:lnTo>
                    <a:lnTo>
                      <a:pt x="852" y="554"/>
                    </a:lnTo>
                    <a:lnTo>
                      <a:pt x="841" y="554"/>
                    </a:lnTo>
                    <a:lnTo>
                      <a:pt x="832" y="558"/>
                    </a:lnTo>
                    <a:lnTo>
                      <a:pt x="827" y="558"/>
                    </a:lnTo>
                    <a:lnTo>
                      <a:pt x="806" y="554"/>
                    </a:lnTo>
                    <a:lnTo>
                      <a:pt x="796" y="541"/>
                    </a:lnTo>
                    <a:lnTo>
                      <a:pt x="794" y="539"/>
                    </a:lnTo>
                    <a:lnTo>
                      <a:pt x="785" y="538"/>
                    </a:lnTo>
                    <a:lnTo>
                      <a:pt x="782" y="538"/>
                    </a:lnTo>
                    <a:lnTo>
                      <a:pt x="772" y="530"/>
                    </a:lnTo>
                    <a:lnTo>
                      <a:pt x="761" y="525"/>
                    </a:lnTo>
                    <a:lnTo>
                      <a:pt x="751" y="524"/>
                    </a:lnTo>
                    <a:lnTo>
                      <a:pt x="741" y="519"/>
                    </a:lnTo>
                    <a:lnTo>
                      <a:pt x="736" y="515"/>
                    </a:lnTo>
                    <a:lnTo>
                      <a:pt x="724" y="501"/>
                    </a:lnTo>
                    <a:lnTo>
                      <a:pt x="715" y="495"/>
                    </a:lnTo>
                    <a:lnTo>
                      <a:pt x="707" y="491"/>
                    </a:lnTo>
                    <a:lnTo>
                      <a:pt x="703" y="487"/>
                    </a:lnTo>
                    <a:lnTo>
                      <a:pt x="690" y="480"/>
                    </a:lnTo>
                    <a:lnTo>
                      <a:pt x="687" y="480"/>
                    </a:lnTo>
                    <a:lnTo>
                      <a:pt x="686" y="484"/>
                    </a:lnTo>
                    <a:lnTo>
                      <a:pt x="681" y="484"/>
                    </a:lnTo>
                    <a:lnTo>
                      <a:pt x="676" y="480"/>
                    </a:lnTo>
                    <a:lnTo>
                      <a:pt x="675" y="474"/>
                    </a:lnTo>
                    <a:lnTo>
                      <a:pt x="670" y="469"/>
                    </a:lnTo>
                    <a:lnTo>
                      <a:pt x="659" y="468"/>
                    </a:lnTo>
                    <a:lnTo>
                      <a:pt x="658" y="465"/>
                    </a:lnTo>
                    <a:lnTo>
                      <a:pt x="659" y="458"/>
                    </a:lnTo>
                    <a:lnTo>
                      <a:pt x="664" y="450"/>
                    </a:lnTo>
                    <a:lnTo>
                      <a:pt x="667" y="449"/>
                    </a:lnTo>
                    <a:lnTo>
                      <a:pt x="669" y="442"/>
                    </a:lnTo>
                    <a:lnTo>
                      <a:pt x="672" y="438"/>
                    </a:lnTo>
                    <a:lnTo>
                      <a:pt x="669" y="429"/>
                    </a:lnTo>
                    <a:lnTo>
                      <a:pt x="672" y="422"/>
                    </a:lnTo>
                    <a:lnTo>
                      <a:pt x="677" y="416"/>
                    </a:lnTo>
                    <a:lnTo>
                      <a:pt x="675" y="409"/>
                    </a:lnTo>
                    <a:lnTo>
                      <a:pt x="675" y="405"/>
                    </a:lnTo>
                    <a:lnTo>
                      <a:pt x="679" y="400"/>
                    </a:lnTo>
                    <a:lnTo>
                      <a:pt x="685" y="400"/>
                    </a:lnTo>
                    <a:lnTo>
                      <a:pt x="688" y="393"/>
                    </a:lnTo>
                    <a:lnTo>
                      <a:pt x="696" y="388"/>
                    </a:lnTo>
                    <a:lnTo>
                      <a:pt x="699" y="382"/>
                    </a:lnTo>
                    <a:lnTo>
                      <a:pt x="701" y="377"/>
                    </a:lnTo>
                    <a:lnTo>
                      <a:pt x="703" y="375"/>
                    </a:lnTo>
                    <a:lnTo>
                      <a:pt x="706" y="377"/>
                    </a:lnTo>
                    <a:lnTo>
                      <a:pt x="712" y="375"/>
                    </a:lnTo>
                    <a:lnTo>
                      <a:pt x="709" y="374"/>
                    </a:lnTo>
                    <a:lnTo>
                      <a:pt x="692" y="369"/>
                    </a:lnTo>
                    <a:lnTo>
                      <a:pt x="690" y="367"/>
                    </a:lnTo>
                    <a:lnTo>
                      <a:pt x="686" y="361"/>
                    </a:lnTo>
                    <a:lnTo>
                      <a:pt x="681" y="359"/>
                    </a:lnTo>
                    <a:lnTo>
                      <a:pt x="669" y="350"/>
                    </a:lnTo>
                    <a:lnTo>
                      <a:pt x="663" y="350"/>
                    </a:lnTo>
                    <a:lnTo>
                      <a:pt x="656" y="346"/>
                    </a:lnTo>
                    <a:lnTo>
                      <a:pt x="654" y="342"/>
                    </a:lnTo>
                    <a:lnTo>
                      <a:pt x="654" y="339"/>
                    </a:lnTo>
                    <a:lnTo>
                      <a:pt x="651" y="335"/>
                    </a:lnTo>
                    <a:lnTo>
                      <a:pt x="647" y="335"/>
                    </a:lnTo>
                    <a:lnTo>
                      <a:pt x="645" y="332"/>
                    </a:lnTo>
                    <a:lnTo>
                      <a:pt x="640" y="330"/>
                    </a:lnTo>
                    <a:lnTo>
                      <a:pt x="632" y="334"/>
                    </a:lnTo>
                    <a:lnTo>
                      <a:pt x="631" y="332"/>
                    </a:lnTo>
                    <a:lnTo>
                      <a:pt x="629" y="326"/>
                    </a:lnTo>
                    <a:lnTo>
                      <a:pt x="628" y="325"/>
                    </a:lnTo>
                    <a:lnTo>
                      <a:pt x="624" y="324"/>
                    </a:lnTo>
                    <a:lnTo>
                      <a:pt x="621" y="325"/>
                    </a:lnTo>
                    <a:lnTo>
                      <a:pt x="612" y="324"/>
                    </a:lnTo>
                    <a:lnTo>
                      <a:pt x="608" y="325"/>
                    </a:lnTo>
                    <a:lnTo>
                      <a:pt x="602" y="329"/>
                    </a:lnTo>
                    <a:lnTo>
                      <a:pt x="599" y="329"/>
                    </a:lnTo>
                    <a:lnTo>
                      <a:pt x="596" y="326"/>
                    </a:lnTo>
                    <a:lnTo>
                      <a:pt x="597" y="316"/>
                    </a:lnTo>
                    <a:lnTo>
                      <a:pt x="593" y="313"/>
                    </a:lnTo>
                    <a:lnTo>
                      <a:pt x="589" y="307"/>
                    </a:lnTo>
                    <a:lnTo>
                      <a:pt x="589" y="304"/>
                    </a:lnTo>
                    <a:lnTo>
                      <a:pt x="584" y="299"/>
                    </a:lnTo>
                    <a:lnTo>
                      <a:pt x="584" y="294"/>
                    </a:lnTo>
                    <a:lnTo>
                      <a:pt x="586" y="287"/>
                    </a:lnTo>
                    <a:lnTo>
                      <a:pt x="583" y="281"/>
                    </a:lnTo>
                    <a:lnTo>
                      <a:pt x="583" y="277"/>
                    </a:lnTo>
                    <a:lnTo>
                      <a:pt x="584" y="270"/>
                    </a:lnTo>
                    <a:lnTo>
                      <a:pt x="586" y="264"/>
                    </a:lnTo>
                    <a:lnTo>
                      <a:pt x="579" y="254"/>
                    </a:lnTo>
                    <a:lnTo>
                      <a:pt x="572" y="246"/>
                    </a:lnTo>
                    <a:lnTo>
                      <a:pt x="572" y="237"/>
                    </a:lnTo>
                    <a:lnTo>
                      <a:pt x="569" y="229"/>
                    </a:lnTo>
                    <a:lnTo>
                      <a:pt x="570" y="226"/>
                    </a:lnTo>
                    <a:lnTo>
                      <a:pt x="581" y="224"/>
                    </a:lnTo>
                    <a:lnTo>
                      <a:pt x="584" y="221"/>
                    </a:lnTo>
                    <a:lnTo>
                      <a:pt x="585" y="222"/>
                    </a:lnTo>
                    <a:lnTo>
                      <a:pt x="586" y="229"/>
                    </a:lnTo>
                    <a:lnTo>
                      <a:pt x="589" y="234"/>
                    </a:lnTo>
                    <a:lnTo>
                      <a:pt x="591" y="237"/>
                    </a:lnTo>
                    <a:lnTo>
                      <a:pt x="599" y="239"/>
                    </a:lnTo>
                    <a:lnTo>
                      <a:pt x="601" y="238"/>
                    </a:lnTo>
                    <a:lnTo>
                      <a:pt x="604" y="237"/>
                    </a:lnTo>
                    <a:lnTo>
                      <a:pt x="607" y="238"/>
                    </a:lnTo>
                    <a:lnTo>
                      <a:pt x="608" y="232"/>
                    </a:lnTo>
                    <a:lnTo>
                      <a:pt x="612" y="229"/>
                    </a:lnTo>
                    <a:lnTo>
                      <a:pt x="616" y="223"/>
                    </a:lnTo>
                    <a:lnTo>
                      <a:pt x="617" y="223"/>
                    </a:lnTo>
                    <a:lnTo>
                      <a:pt x="621" y="228"/>
                    </a:lnTo>
                    <a:lnTo>
                      <a:pt x="623" y="228"/>
                    </a:lnTo>
                    <a:lnTo>
                      <a:pt x="632" y="217"/>
                    </a:lnTo>
                    <a:lnTo>
                      <a:pt x="632" y="215"/>
                    </a:lnTo>
                    <a:lnTo>
                      <a:pt x="628" y="208"/>
                    </a:lnTo>
                    <a:lnTo>
                      <a:pt x="622" y="200"/>
                    </a:lnTo>
                    <a:lnTo>
                      <a:pt x="621" y="195"/>
                    </a:lnTo>
                    <a:lnTo>
                      <a:pt x="622" y="192"/>
                    </a:lnTo>
                    <a:lnTo>
                      <a:pt x="622" y="189"/>
                    </a:lnTo>
                    <a:lnTo>
                      <a:pt x="612" y="184"/>
                    </a:lnTo>
                    <a:lnTo>
                      <a:pt x="607" y="185"/>
                    </a:lnTo>
                    <a:lnTo>
                      <a:pt x="606" y="181"/>
                    </a:lnTo>
                    <a:lnTo>
                      <a:pt x="597" y="174"/>
                    </a:lnTo>
                    <a:lnTo>
                      <a:pt x="597" y="159"/>
                    </a:lnTo>
                    <a:lnTo>
                      <a:pt x="602" y="158"/>
                    </a:lnTo>
                    <a:lnTo>
                      <a:pt x="600" y="152"/>
                    </a:lnTo>
                    <a:lnTo>
                      <a:pt x="601" y="149"/>
                    </a:lnTo>
                    <a:lnTo>
                      <a:pt x="602" y="148"/>
                    </a:lnTo>
                    <a:lnTo>
                      <a:pt x="595" y="141"/>
                    </a:lnTo>
                    <a:lnTo>
                      <a:pt x="596" y="135"/>
                    </a:lnTo>
                    <a:lnTo>
                      <a:pt x="596" y="133"/>
                    </a:lnTo>
                    <a:lnTo>
                      <a:pt x="606" y="133"/>
                    </a:lnTo>
                    <a:lnTo>
                      <a:pt x="610" y="130"/>
                    </a:lnTo>
                    <a:lnTo>
                      <a:pt x="621" y="133"/>
                    </a:lnTo>
                    <a:lnTo>
                      <a:pt x="623" y="131"/>
                    </a:lnTo>
                    <a:lnTo>
                      <a:pt x="628" y="126"/>
                    </a:lnTo>
                    <a:lnTo>
                      <a:pt x="633" y="116"/>
                    </a:lnTo>
                    <a:lnTo>
                      <a:pt x="633" y="105"/>
                    </a:lnTo>
                    <a:lnTo>
                      <a:pt x="643" y="104"/>
                    </a:lnTo>
                    <a:lnTo>
                      <a:pt x="644" y="103"/>
                    </a:lnTo>
                    <a:lnTo>
                      <a:pt x="642" y="100"/>
                    </a:lnTo>
                    <a:lnTo>
                      <a:pt x="643" y="97"/>
                    </a:lnTo>
                    <a:lnTo>
                      <a:pt x="647" y="94"/>
                    </a:lnTo>
                    <a:lnTo>
                      <a:pt x="648" y="92"/>
                    </a:lnTo>
                    <a:lnTo>
                      <a:pt x="651" y="88"/>
                    </a:lnTo>
                    <a:lnTo>
                      <a:pt x="658" y="83"/>
                    </a:lnTo>
                    <a:lnTo>
                      <a:pt x="658" y="77"/>
                    </a:lnTo>
                    <a:lnTo>
                      <a:pt x="664" y="71"/>
                    </a:lnTo>
                    <a:lnTo>
                      <a:pt x="666" y="52"/>
                    </a:lnTo>
                    <a:lnTo>
                      <a:pt x="669" y="50"/>
                    </a:lnTo>
                    <a:lnTo>
                      <a:pt x="669" y="43"/>
                    </a:lnTo>
                    <a:lnTo>
                      <a:pt x="675" y="35"/>
                    </a:lnTo>
                    <a:lnTo>
                      <a:pt x="675" y="32"/>
                    </a:lnTo>
                    <a:lnTo>
                      <a:pt x="671" y="29"/>
                    </a:lnTo>
                    <a:lnTo>
                      <a:pt x="667" y="29"/>
                    </a:lnTo>
                    <a:lnTo>
                      <a:pt x="660" y="38"/>
                    </a:lnTo>
                    <a:lnTo>
                      <a:pt x="658" y="38"/>
                    </a:lnTo>
                    <a:lnTo>
                      <a:pt x="655" y="34"/>
                    </a:lnTo>
                    <a:lnTo>
                      <a:pt x="653" y="23"/>
                    </a:lnTo>
                    <a:lnTo>
                      <a:pt x="648" y="27"/>
                    </a:lnTo>
                    <a:lnTo>
                      <a:pt x="644" y="27"/>
                    </a:lnTo>
                    <a:lnTo>
                      <a:pt x="642" y="22"/>
                    </a:lnTo>
                    <a:lnTo>
                      <a:pt x="639" y="22"/>
                    </a:lnTo>
                    <a:lnTo>
                      <a:pt x="637" y="20"/>
                    </a:lnTo>
                    <a:lnTo>
                      <a:pt x="636" y="11"/>
                    </a:lnTo>
                    <a:lnTo>
                      <a:pt x="632" y="9"/>
                    </a:lnTo>
                    <a:lnTo>
                      <a:pt x="631" y="7"/>
                    </a:lnTo>
                    <a:lnTo>
                      <a:pt x="628" y="6"/>
                    </a:lnTo>
                    <a:lnTo>
                      <a:pt x="624" y="6"/>
                    </a:lnTo>
                    <a:lnTo>
                      <a:pt x="621" y="1"/>
                    </a:lnTo>
                    <a:lnTo>
                      <a:pt x="618" y="0"/>
                    </a:lnTo>
                    <a:lnTo>
                      <a:pt x="615" y="0"/>
                    </a:lnTo>
                    <a:lnTo>
                      <a:pt x="610" y="2"/>
                    </a:lnTo>
                    <a:lnTo>
                      <a:pt x="604" y="2"/>
                    </a:lnTo>
                    <a:lnTo>
                      <a:pt x="599" y="6"/>
                    </a:lnTo>
                    <a:lnTo>
                      <a:pt x="585" y="6"/>
                    </a:lnTo>
                    <a:lnTo>
                      <a:pt x="575" y="13"/>
                    </a:lnTo>
                    <a:lnTo>
                      <a:pt x="564" y="19"/>
                    </a:lnTo>
                    <a:lnTo>
                      <a:pt x="557" y="24"/>
                    </a:lnTo>
                    <a:lnTo>
                      <a:pt x="552" y="29"/>
                    </a:lnTo>
                    <a:lnTo>
                      <a:pt x="547" y="30"/>
                    </a:lnTo>
                    <a:lnTo>
                      <a:pt x="543" y="35"/>
                    </a:lnTo>
                    <a:lnTo>
                      <a:pt x="536" y="32"/>
                    </a:lnTo>
                    <a:lnTo>
                      <a:pt x="531" y="35"/>
                    </a:lnTo>
                    <a:lnTo>
                      <a:pt x="526" y="35"/>
                    </a:lnTo>
                    <a:lnTo>
                      <a:pt x="492" y="60"/>
                    </a:lnTo>
                    <a:lnTo>
                      <a:pt x="488" y="66"/>
                    </a:lnTo>
                    <a:lnTo>
                      <a:pt x="489" y="68"/>
                    </a:lnTo>
                    <a:lnTo>
                      <a:pt x="489" y="71"/>
                    </a:lnTo>
                    <a:lnTo>
                      <a:pt x="486" y="79"/>
                    </a:lnTo>
                    <a:lnTo>
                      <a:pt x="482" y="83"/>
                    </a:lnTo>
                    <a:lnTo>
                      <a:pt x="478" y="82"/>
                    </a:lnTo>
                    <a:lnTo>
                      <a:pt x="475" y="78"/>
                    </a:lnTo>
                    <a:lnTo>
                      <a:pt x="456" y="79"/>
                    </a:lnTo>
                    <a:lnTo>
                      <a:pt x="454" y="81"/>
                    </a:lnTo>
                    <a:lnTo>
                      <a:pt x="449" y="87"/>
                    </a:lnTo>
                    <a:lnTo>
                      <a:pt x="446" y="88"/>
                    </a:lnTo>
                    <a:lnTo>
                      <a:pt x="440" y="88"/>
                    </a:lnTo>
                    <a:lnTo>
                      <a:pt x="433" y="86"/>
                    </a:lnTo>
                    <a:lnTo>
                      <a:pt x="429" y="88"/>
                    </a:lnTo>
                    <a:lnTo>
                      <a:pt x="427" y="92"/>
                    </a:lnTo>
                    <a:lnTo>
                      <a:pt x="423" y="94"/>
                    </a:lnTo>
                    <a:lnTo>
                      <a:pt x="421" y="95"/>
                    </a:lnTo>
                    <a:lnTo>
                      <a:pt x="414" y="94"/>
                    </a:lnTo>
                    <a:lnTo>
                      <a:pt x="411" y="95"/>
                    </a:lnTo>
                    <a:lnTo>
                      <a:pt x="407" y="93"/>
                    </a:lnTo>
                    <a:lnTo>
                      <a:pt x="395" y="93"/>
                    </a:lnTo>
                    <a:lnTo>
                      <a:pt x="390" y="92"/>
                    </a:lnTo>
                    <a:lnTo>
                      <a:pt x="385" y="92"/>
                    </a:lnTo>
                    <a:lnTo>
                      <a:pt x="370" y="83"/>
                    </a:lnTo>
                    <a:lnTo>
                      <a:pt x="360" y="81"/>
                    </a:lnTo>
                    <a:lnTo>
                      <a:pt x="342" y="73"/>
                    </a:lnTo>
                    <a:lnTo>
                      <a:pt x="337" y="76"/>
                    </a:lnTo>
                    <a:lnTo>
                      <a:pt x="333" y="79"/>
                    </a:lnTo>
                    <a:lnTo>
                      <a:pt x="326" y="78"/>
                    </a:lnTo>
                    <a:lnTo>
                      <a:pt x="322" y="79"/>
                    </a:lnTo>
                    <a:lnTo>
                      <a:pt x="321" y="82"/>
                    </a:lnTo>
                    <a:lnTo>
                      <a:pt x="320" y="90"/>
                    </a:lnTo>
                    <a:lnTo>
                      <a:pt x="312" y="104"/>
                    </a:lnTo>
                    <a:lnTo>
                      <a:pt x="312" y="106"/>
                    </a:lnTo>
                    <a:lnTo>
                      <a:pt x="321" y="106"/>
                    </a:lnTo>
                    <a:lnTo>
                      <a:pt x="323" y="111"/>
                    </a:lnTo>
                    <a:lnTo>
                      <a:pt x="323" y="115"/>
                    </a:lnTo>
                    <a:lnTo>
                      <a:pt x="319" y="117"/>
                    </a:lnTo>
                    <a:lnTo>
                      <a:pt x="317" y="119"/>
                    </a:lnTo>
                    <a:lnTo>
                      <a:pt x="317" y="122"/>
                    </a:lnTo>
                    <a:lnTo>
                      <a:pt x="320" y="126"/>
                    </a:lnTo>
                    <a:lnTo>
                      <a:pt x="322" y="127"/>
                    </a:lnTo>
                    <a:lnTo>
                      <a:pt x="333" y="126"/>
                    </a:lnTo>
                    <a:lnTo>
                      <a:pt x="336" y="129"/>
                    </a:lnTo>
                    <a:lnTo>
                      <a:pt x="337" y="132"/>
                    </a:lnTo>
                    <a:lnTo>
                      <a:pt x="337" y="133"/>
                    </a:lnTo>
                    <a:lnTo>
                      <a:pt x="332" y="138"/>
                    </a:lnTo>
                    <a:lnTo>
                      <a:pt x="326" y="141"/>
                    </a:lnTo>
                    <a:lnTo>
                      <a:pt x="325" y="147"/>
                    </a:lnTo>
                    <a:lnTo>
                      <a:pt x="337" y="158"/>
                    </a:lnTo>
                    <a:lnTo>
                      <a:pt x="337" y="164"/>
                    </a:lnTo>
                    <a:lnTo>
                      <a:pt x="336" y="169"/>
                    </a:lnTo>
                    <a:lnTo>
                      <a:pt x="322" y="178"/>
                    </a:lnTo>
                    <a:lnTo>
                      <a:pt x="321" y="181"/>
                    </a:lnTo>
                    <a:lnTo>
                      <a:pt x="330" y="185"/>
                    </a:lnTo>
                    <a:lnTo>
                      <a:pt x="333" y="194"/>
                    </a:lnTo>
                    <a:lnTo>
                      <a:pt x="343" y="200"/>
                    </a:lnTo>
                    <a:lnTo>
                      <a:pt x="342" y="207"/>
                    </a:lnTo>
                    <a:lnTo>
                      <a:pt x="349" y="208"/>
                    </a:lnTo>
                    <a:lnTo>
                      <a:pt x="352" y="212"/>
                    </a:lnTo>
                    <a:lnTo>
                      <a:pt x="358" y="210"/>
                    </a:lnTo>
                    <a:lnTo>
                      <a:pt x="363" y="211"/>
                    </a:lnTo>
                    <a:lnTo>
                      <a:pt x="363" y="216"/>
                    </a:lnTo>
                    <a:lnTo>
                      <a:pt x="362" y="222"/>
                    </a:lnTo>
                    <a:lnTo>
                      <a:pt x="365" y="229"/>
                    </a:lnTo>
                    <a:lnTo>
                      <a:pt x="366" y="230"/>
                    </a:lnTo>
                    <a:lnTo>
                      <a:pt x="384" y="232"/>
                    </a:lnTo>
                    <a:lnTo>
                      <a:pt x="389" y="235"/>
                    </a:lnTo>
                    <a:lnTo>
                      <a:pt x="394" y="234"/>
                    </a:lnTo>
                    <a:lnTo>
                      <a:pt x="400" y="242"/>
                    </a:lnTo>
                    <a:lnTo>
                      <a:pt x="398" y="246"/>
                    </a:lnTo>
                    <a:lnTo>
                      <a:pt x="401" y="250"/>
                    </a:lnTo>
                    <a:lnTo>
                      <a:pt x="396" y="255"/>
                    </a:lnTo>
                    <a:lnTo>
                      <a:pt x="394" y="259"/>
                    </a:lnTo>
                    <a:lnTo>
                      <a:pt x="386" y="260"/>
                    </a:lnTo>
                    <a:lnTo>
                      <a:pt x="382" y="260"/>
                    </a:lnTo>
                    <a:lnTo>
                      <a:pt x="380" y="259"/>
                    </a:lnTo>
                    <a:lnTo>
                      <a:pt x="375" y="260"/>
                    </a:lnTo>
                    <a:lnTo>
                      <a:pt x="373" y="262"/>
                    </a:lnTo>
                    <a:lnTo>
                      <a:pt x="362" y="267"/>
                    </a:lnTo>
                    <a:lnTo>
                      <a:pt x="358" y="275"/>
                    </a:lnTo>
                    <a:lnTo>
                      <a:pt x="357" y="286"/>
                    </a:lnTo>
                    <a:lnTo>
                      <a:pt x="362" y="292"/>
                    </a:lnTo>
                    <a:lnTo>
                      <a:pt x="360" y="297"/>
                    </a:lnTo>
                    <a:lnTo>
                      <a:pt x="363" y="298"/>
                    </a:lnTo>
                    <a:lnTo>
                      <a:pt x="364" y="301"/>
                    </a:lnTo>
                    <a:lnTo>
                      <a:pt x="363" y="304"/>
                    </a:lnTo>
                    <a:lnTo>
                      <a:pt x="358" y="308"/>
                    </a:lnTo>
                    <a:lnTo>
                      <a:pt x="357" y="314"/>
                    </a:lnTo>
                    <a:lnTo>
                      <a:pt x="357" y="316"/>
                    </a:lnTo>
                    <a:lnTo>
                      <a:pt x="359" y="318"/>
                    </a:lnTo>
                    <a:lnTo>
                      <a:pt x="369" y="318"/>
                    </a:lnTo>
                    <a:lnTo>
                      <a:pt x="371" y="324"/>
                    </a:lnTo>
                    <a:lnTo>
                      <a:pt x="369" y="326"/>
                    </a:lnTo>
                    <a:lnTo>
                      <a:pt x="365" y="328"/>
                    </a:lnTo>
                    <a:lnTo>
                      <a:pt x="362" y="326"/>
                    </a:lnTo>
                    <a:lnTo>
                      <a:pt x="359" y="324"/>
                    </a:lnTo>
                    <a:lnTo>
                      <a:pt x="357" y="331"/>
                    </a:lnTo>
                    <a:lnTo>
                      <a:pt x="343" y="336"/>
                    </a:lnTo>
                    <a:lnTo>
                      <a:pt x="331" y="352"/>
                    </a:lnTo>
                    <a:lnTo>
                      <a:pt x="326" y="355"/>
                    </a:lnTo>
                    <a:lnTo>
                      <a:pt x="321" y="361"/>
                    </a:lnTo>
                    <a:lnTo>
                      <a:pt x="317" y="366"/>
                    </a:lnTo>
                    <a:lnTo>
                      <a:pt x="316" y="372"/>
                    </a:lnTo>
                    <a:lnTo>
                      <a:pt x="317" y="380"/>
                    </a:lnTo>
                    <a:lnTo>
                      <a:pt x="314" y="388"/>
                    </a:lnTo>
                    <a:lnTo>
                      <a:pt x="305" y="393"/>
                    </a:lnTo>
                    <a:lnTo>
                      <a:pt x="298" y="393"/>
                    </a:lnTo>
                    <a:lnTo>
                      <a:pt x="292" y="398"/>
                    </a:lnTo>
                    <a:lnTo>
                      <a:pt x="287" y="406"/>
                    </a:lnTo>
                    <a:lnTo>
                      <a:pt x="283" y="417"/>
                    </a:lnTo>
                    <a:lnTo>
                      <a:pt x="277" y="428"/>
                    </a:lnTo>
                    <a:lnTo>
                      <a:pt x="262" y="450"/>
                    </a:lnTo>
                    <a:lnTo>
                      <a:pt x="256" y="457"/>
                    </a:lnTo>
                    <a:lnTo>
                      <a:pt x="244" y="464"/>
                    </a:lnTo>
                    <a:lnTo>
                      <a:pt x="233" y="474"/>
                    </a:lnTo>
                    <a:lnTo>
                      <a:pt x="229" y="479"/>
                    </a:lnTo>
                    <a:lnTo>
                      <a:pt x="219" y="495"/>
                    </a:lnTo>
                    <a:lnTo>
                      <a:pt x="212" y="504"/>
                    </a:lnTo>
                    <a:lnTo>
                      <a:pt x="204" y="519"/>
                    </a:lnTo>
                    <a:lnTo>
                      <a:pt x="199" y="522"/>
                    </a:lnTo>
                    <a:lnTo>
                      <a:pt x="195" y="523"/>
                    </a:lnTo>
                    <a:lnTo>
                      <a:pt x="172" y="523"/>
                    </a:lnTo>
                    <a:lnTo>
                      <a:pt x="169" y="524"/>
                    </a:lnTo>
                    <a:lnTo>
                      <a:pt x="161" y="527"/>
                    </a:lnTo>
                    <a:lnTo>
                      <a:pt x="156" y="533"/>
                    </a:lnTo>
                    <a:lnTo>
                      <a:pt x="152" y="534"/>
                    </a:lnTo>
                    <a:lnTo>
                      <a:pt x="149" y="533"/>
                    </a:lnTo>
                    <a:lnTo>
                      <a:pt x="147" y="528"/>
                    </a:lnTo>
                    <a:lnTo>
                      <a:pt x="139" y="514"/>
                    </a:lnTo>
                    <a:lnTo>
                      <a:pt x="136" y="512"/>
                    </a:lnTo>
                    <a:lnTo>
                      <a:pt x="132" y="513"/>
                    </a:lnTo>
                    <a:lnTo>
                      <a:pt x="122" y="522"/>
                    </a:lnTo>
                    <a:lnTo>
                      <a:pt x="118" y="528"/>
                    </a:lnTo>
                    <a:lnTo>
                      <a:pt x="107" y="538"/>
                    </a:lnTo>
                    <a:lnTo>
                      <a:pt x="93" y="556"/>
                    </a:lnTo>
                    <a:lnTo>
                      <a:pt x="85" y="563"/>
                    </a:lnTo>
                    <a:lnTo>
                      <a:pt x="83" y="570"/>
                    </a:lnTo>
                    <a:lnTo>
                      <a:pt x="79" y="588"/>
                    </a:lnTo>
                    <a:lnTo>
                      <a:pt x="79" y="593"/>
                    </a:lnTo>
                    <a:lnTo>
                      <a:pt x="81" y="598"/>
                    </a:lnTo>
                    <a:lnTo>
                      <a:pt x="88" y="601"/>
                    </a:lnTo>
                    <a:lnTo>
                      <a:pt x="94" y="600"/>
                    </a:lnTo>
                    <a:lnTo>
                      <a:pt x="101" y="603"/>
                    </a:lnTo>
                    <a:lnTo>
                      <a:pt x="111" y="603"/>
                    </a:lnTo>
                    <a:lnTo>
                      <a:pt x="113" y="604"/>
                    </a:lnTo>
                    <a:lnTo>
                      <a:pt x="117" y="608"/>
                    </a:lnTo>
                    <a:lnTo>
                      <a:pt x="118" y="611"/>
                    </a:lnTo>
                    <a:lnTo>
                      <a:pt x="118" y="616"/>
                    </a:lnTo>
                    <a:lnTo>
                      <a:pt x="112" y="636"/>
                    </a:lnTo>
                    <a:lnTo>
                      <a:pt x="112" y="641"/>
                    </a:lnTo>
                    <a:lnTo>
                      <a:pt x="113" y="646"/>
                    </a:lnTo>
                    <a:lnTo>
                      <a:pt x="123" y="657"/>
                    </a:lnTo>
                    <a:lnTo>
                      <a:pt x="127" y="658"/>
                    </a:lnTo>
                    <a:lnTo>
                      <a:pt x="137" y="654"/>
                    </a:lnTo>
                    <a:lnTo>
                      <a:pt x="139" y="655"/>
                    </a:lnTo>
                    <a:lnTo>
                      <a:pt x="142" y="658"/>
                    </a:lnTo>
                    <a:lnTo>
                      <a:pt x="142" y="669"/>
                    </a:lnTo>
                    <a:lnTo>
                      <a:pt x="143" y="678"/>
                    </a:lnTo>
                    <a:lnTo>
                      <a:pt x="148" y="685"/>
                    </a:lnTo>
                    <a:lnTo>
                      <a:pt x="150" y="692"/>
                    </a:lnTo>
                    <a:lnTo>
                      <a:pt x="155" y="698"/>
                    </a:lnTo>
                    <a:lnTo>
                      <a:pt x="160" y="703"/>
                    </a:lnTo>
                    <a:lnTo>
                      <a:pt x="160" y="706"/>
                    </a:lnTo>
                    <a:lnTo>
                      <a:pt x="164" y="711"/>
                    </a:lnTo>
                    <a:lnTo>
                      <a:pt x="165" y="714"/>
                    </a:lnTo>
                    <a:lnTo>
                      <a:pt x="160" y="716"/>
                    </a:lnTo>
                    <a:lnTo>
                      <a:pt x="160" y="718"/>
                    </a:lnTo>
                    <a:lnTo>
                      <a:pt x="160" y="728"/>
                    </a:lnTo>
                    <a:lnTo>
                      <a:pt x="159" y="732"/>
                    </a:lnTo>
                    <a:lnTo>
                      <a:pt x="166" y="733"/>
                    </a:lnTo>
                    <a:lnTo>
                      <a:pt x="166" y="735"/>
                    </a:lnTo>
                    <a:lnTo>
                      <a:pt x="159" y="735"/>
                    </a:lnTo>
                    <a:lnTo>
                      <a:pt x="154" y="739"/>
                    </a:lnTo>
                    <a:lnTo>
                      <a:pt x="154" y="741"/>
                    </a:lnTo>
                    <a:lnTo>
                      <a:pt x="150" y="743"/>
                    </a:lnTo>
                    <a:lnTo>
                      <a:pt x="147" y="743"/>
                    </a:lnTo>
                    <a:lnTo>
                      <a:pt x="140" y="743"/>
                    </a:lnTo>
                    <a:lnTo>
                      <a:pt x="139" y="740"/>
                    </a:lnTo>
                    <a:lnTo>
                      <a:pt x="138" y="739"/>
                    </a:lnTo>
                    <a:lnTo>
                      <a:pt x="139" y="733"/>
                    </a:lnTo>
                    <a:lnTo>
                      <a:pt x="139" y="732"/>
                    </a:lnTo>
                    <a:lnTo>
                      <a:pt x="132" y="730"/>
                    </a:lnTo>
                    <a:lnTo>
                      <a:pt x="127" y="734"/>
                    </a:lnTo>
                    <a:lnTo>
                      <a:pt x="115" y="738"/>
                    </a:lnTo>
                    <a:lnTo>
                      <a:pt x="111" y="745"/>
                    </a:lnTo>
                    <a:lnTo>
                      <a:pt x="110" y="746"/>
                    </a:lnTo>
                    <a:lnTo>
                      <a:pt x="107" y="746"/>
                    </a:lnTo>
                    <a:lnTo>
                      <a:pt x="93" y="746"/>
                    </a:lnTo>
                    <a:lnTo>
                      <a:pt x="84" y="739"/>
                    </a:lnTo>
                    <a:lnTo>
                      <a:pt x="78" y="741"/>
                    </a:lnTo>
                    <a:lnTo>
                      <a:pt x="74" y="739"/>
                    </a:lnTo>
                    <a:lnTo>
                      <a:pt x="62" y="740"/>
                    </a:lnTo>
                    <a:lnTo>
                      <a:pt x="58" y="739"/>
                    </a:lnTo>
                    <a:lnTo>
                      <a:pt x="52" y="740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40"/>
                    </a:lnTo>
                    <a:lnTo>
                      <a:pt x="43" y="735"/>
                    </a:lnTo>
                    <a:lnTo>
                      <a:pt x="41" y="735"/>
                    </a:lnTo>
                    <a:lnTo>
                      <a:pt x="40" y="740"/>
                    </a:lnTo>
                    <a:lnTo>
                      <a:pt x="40" y="757"/>
                    </a:lnTo>
                    <a:lnTo>
                      <a:pt x="20" y="757"/>
                    </a:lnTo>
                    <a:lnTo>
                      <a:pt x="16" y="759"/>
                    </a:lnTo>
                    <a:lnTo>
                      <a:pt x="11" y="757"/>
                    </a:lnTo>
                    <a:lnTo>
                      <a:pt x="9" y="762"/>
                    </a:lnTo>
                    <a:lnTo>
                      <a:pt x="7" y="764"/>
                    </a:lnTo>
                    <a:lnTo>
                      <a:pt x="5" y="767"/>
                    </a:lnTo>
                    <a:lnTo>
                      <a:pt x="0" y="771"/>
                    </a:lnTo>
                    <a:lnTo>
                      <a:pt x="0" y="773"/>
                    </a:lnTo>
                    <a:lnTo>
                      <a:pt x="2" y="782"/>
                    </a:lnTo>
                    <a:lnTo>
                      <a:pt x="9" y="782"/>
                    </a:lnTo>
                    <a:lnTo>
                      <a:pt x="13" y="791"/>
                    </a:lnTo>
                    <a:lnTo>
                      <a:pt x="27" y="809"/>
                    </a:lnTo>
                    <a:lnTo>
                      <a:pt x="37" y="820"/>
                    </a:lnTo>
                    <a:lnTo>
                      <a:pt x="47" y="825"/>
                    </a:lnTo>
                    <a:lnTo>
                      <a:pt x="67" y="827"/>
                    </a:lnTo>
                    <a:lnTo>
                      <a:pt x="89" y="825"/>
                    </a:lnTo>
                    <a:lnTo>
                      <a:pt x="105" y="821"/>
                    </a:lnTo>
                    <a:lnTo>
                      <a:pt x="113" y="818"/>
                    </a:lnTo>
                    <a:lnTo>
                      <a:pt x="117" y="810"/>
                    </a:lnTo>
                    <a:lnTo>
                      <a:pt x="122" y="808"/>
                    </a:lnTo>
                    <a:lnTo>
                      <a:pt x="124" y="814"/>
                    </a:lnTo>
                    <a:lnTo>
                      <a:pt x="117" y="834"/>
                    </a:lnTo>
                    <a:lnTo>
                      <a:pt x="106" y="843"/>
                    </a:lnTo>
                    <a:lnTo>
                      <a:pt x="96" y="850"/>
                    </a:lnTo>
                    <a:lnTo>
                      <a:pt x="84" y="852"/>
                    </a:lnTo>
                    <a:lnTo>
                      <a:pt x="70" y="854"/>
                    </a:lnTo>
                    <a:lnTo>
                      <a:pt x="59" y="857"/>
                    </a:lnTo>
                    <a:lnTo>
                      <a:pt x="51" y="850"/>
                    </a:lnTo>
                    <a:lnTo>
                      <a:pt x="47" y="854"/>
                    </a:lnTo>
                    <a:lnTo>
                      <a:pt x="50" y="870"/>
                    </a:lnTo>
                    <a:lnTo>
                      <a:pt x="90" y="911"/>
                    </a:lnTo>
                    <a:lnTo>
                      <a:pt x="104" y="926"/>
                    </a:lnTo>
                    <a:lnTo>
                      <a:pt x="124" y="944"/>
                    </a:lnTo>
                    <a:lnTo>
                      <a:pt x="131" y="945"/>
                    </a:lnTo>
                    <a:lnTo>
                      <a:pt x="156" y="947"/>
                    </a:lnTo>
                    <a:lnTo>
                      <a:pt x="167" y="944"/>
                    </a:lnTo>
                    <a:lnTo>
                      <a:pt x="174" y="943"/>
                    </a:lnTo>
                    <a:lnTo>
                      <a:pt x="183" y="936"/>
                    </a:lnTo>
                    <a:lnTo>
                      <a:pt x="190" y="936"/>
                    </a:lnTo>
                    <a:lnTo>
                      <a:pt x="207" y="924"/>
                    </a:lnTo>
                    <a:lnTo>
                      <a:pt x="213" y="916"/>
                    </a:lnTo>
                    <a:lnTo>
                      <a:pt x="218" y="906"/>
                    </a:lnTo>
                    <a:lnTo>
                      <a:pt x="219" y="879"/>
                    </a:lnTo>
                    <a:lnTo>
                      <a:pt x="222" y="867"/>
                    </a:lnTo>
                    <a:lnTo>
                      <a:pt x="224" y="852"/>
                    </a:lnTo>
                    <a:lnTo>
                      <a:pt x="226" y="856"/>
                    </a:lnTo>
                    <a:lnTo>
                      <a:pt x="229" y="857"/>
                    </a:lnTo>
                    <a:lnTo>
                      <a:pt x="258" y="858"/>
                    </a:lnTo>
                    <a:lnTo>
                      <a:pt x="260" y="859"/>
                    </a:lnTo>
                    <a:lnTo>
                      <a:pt x="253" y="866"/>
                    </a:lnTo>
                    <a:lnTo>
                      <a:pt x="242" y="866"/>
                    </a:lnTo>
                    <a:lnTo>
                      <a:pt x="239" y="879"/>
                    </a:lnTo>
                    <a:lnTo>
                      <a:pt x="241" y="880"/>
                    </a:lnTo>
                    <a:lnTo>
                      <a:pt x="240" y="891"/>
                    </a:lnTo>
                    <a:lnTo>
                      <a:pt x="242" y="894"/>
                    </a:lnTo>
                    <a:lnTo>
                      <a:pt x="249" y="897"/>
                    </a:lnTo>
                    <a:lnTo>
                      <a:pt x="242" y="911"/>
                    </a:lnTo>
                    <a:lnTo>
                      <a:pt x="242" y="922"/>
                    </a:lnTo>
                    <a:lnTo>
                      <a:pt x="242" y="924"/>
                    </a:lnTo>
                    <a:lnTo>
                      <a:pt x="246" y="924"/>
                    </a:lnTo>
                    <a:lnTo>
                      <a:pt x="249" y="928"/>
                    </a:lnTo>
                    <a:lnTo>
                      <a:pt x="249" y="934"/>
                    </a:lnTo>
                    <a:lnTo>
                      <a:pt x="255" y="952"/>
                    </a:lnTo>
                    <a:lnTo>
                      <a:pt x="256" y="963"/>
                    </a:lnTo>
                    <a:lnTo>
                      <a:pt x="256" y="971"/>
                    </a:lnTo>
                    <a:lnTo>
                      <a:pt x="250" y="987"/>
                    </a:lnTo>
                    <a:lnTo>
                      <a:pt x="247" y="998"/>
                    </a:lnTo>
                    <a:lnTo>
                      <a:pt x="247" y="1009"/>
                    </a:lnTo>
                    <a:lnTo>
                      <a:pt x="251" y="1028"/>
                    </a:lnTo>
                    <a:lnTo>
                      <a:pt x="253" y="1031"/>
                    </a:lnTo>
                    <a:lnTo>
                      <a:pt x="253" y="1047"/>
                    </a:lnTo>
                    <a:lnTo>
                      <a:pt x="257" y="1044"/>
                    </a:lnTo>
                    <a:lnTo>
                      <a:pt x="261" y="1041"/>
                    </a:lnTo>
                    <a:lnTo>
                      <a:pt x="262" y="1045"/>
                    </a:lnTo>
                    <a:lnTo>
                      <a:pt x="263" y="1052"/>
                    </a:lnTo>
                    <a:lnTo>
                      <a:pt x="261" y="1056"/>
                    </a:lnTo>
                    <a:lnTo>
                      <a:pt x="261" y="1060"/>
                    </a:lnTo>
                    <a:lnTo>
                      <a:pt x="260" y="1065"/>
                    </a:lnTo>
                    <a:lnTo>
                      <a:pt x="257" y="1084"/>
                    </a:lnTo>
                    <a:lnTo>
                      <a:pt x="263" y="1093"/>
                    </a:lnTo>
                    <a:lnTo>
                      <a:pt x="262" y="1096"/>
                    </a:lnTo>
                    <a:lnTo>
                      <a:pt x="265" y="1114"/>
                    </a:lnTo>
                    <a:lnTo>
                      <a:pt x="266" y="1114"/>
                    </a:lnTo>
                    <a:lnTo>
                      <a:pt x="273" y="1139"/>
                    </a:lnTo>
                    <a:lnTo>
                      <a:pt x="276" y="1147"/>
                    </a:lnTo>
                    <a:lnTo>
                      <a:pt x="276" y="1157"/>
                    </a:lnTo>
                    <a:lnTo>
                      <a:pt x="278" y="1163"/>
                    </a:lnTo>
                    <a:lnTo>
                      <a:pt x="282" y="1192"/>
                    </a:lnTo>
                    <a:lnTo>
                      <a:pt x="284" y="1201"/>
                    </a:lnTo>
                    <a:lnTo>
                      <a:pt x="289" y="1212"/>
                    </a:lnTo>
                    <a:lnTo>
                      <a:pt x="293" y="1214"/>
                    </a:lnTo>
                    <a:lnTo>
                      <a:pt x="295" y="1225"/>
                    </a:lnTo>
                    <a:lnTo>
                      <a:pt x="304" y="123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6" name="Freeform 100"/>
              <p:cNvSpPr>
                <a:spLocks noChangeAspect="1"/>
              </p:cNvSpPr>
              <p:nvPr/>
            </p:nvSpPr>
            <p:spPr bwMode="gray">
              <a:xfrm>
                <a:off x="3183" y="2052"/>
                <a:ext cx="184" cy="168"/>
              </a:xfrm>
              <a:custGeom>
                <a:avLst/>
                <a:gdLst/>
                <a:ahLst/>
                <a:cxnLst>
                  <a:cxn ang="0">
                    <a:pos x="106" y="668"/>
                  </a:cxn>
                  <a:cxn ang="0">
                    <a:pos x="108" y="599"/>
                  </a:cxn>
                  <a:cxn ang="0">
                    <a:pos x="0" y="475"/>
                  </a:cxn>
                  <a:cxn ang="0">
                    <a:pos x="109" y="492"/>
                  </a:cxn>
                  <a:cxn ang="0">
                    <a:pos x="187" y="487"/>
                  </a:cxn>
                  <a:cxn ang="0">
                    <a:pos x="302" y="458"/>
                  </a:cxn>
                  <a:cxn ang="0">
                    <a:pos x="325" y="378"/>
                  </a:cxn>
                  <a:cxn ang="0">
                    <a:pos x="379" y="373"/>
                  </a:cxn>
                  <a:cxn ang="0">
                    <a:pos x="405" y="346"/>
                  </a:cxn>
                  <a:cxn ang="0">
                    <a:pos x="435" y="356"/>
                  </a:cxn>
                  <a:cxn ang="0">
                    <a:pos x="464" y="297"/>
                  </a:cxn>
                  <a:cxn ang="0">
                    <a:pos x="490" y="258"/>
                  </a:cxn>
                  <a:cxn ang="0">
                    <a:pos x="506" y="218"/>
                  </a:cxn>
                  <a:cxn ang="0">
                    <a:pos x="549" y="202"/>
                  </a:cxn>
                  <a:cxn ang="0">
                    <a:pos x="561" y="163"/>
                  </a:cxn>
                  <a:cxn ang="0">
                    <a:pos x="588" y="114"/>
                  </a:cxn>
                  <a:cxn ang="0">
                    <a:pos x="570" y="60"/>
                  </a:cxn>
                  <a:cxn ang="0">
                    <a:pos x="604" y="34"/>
                  </a:cxn>
                  <a:cxn ang="0">
                    <a:pos x="645" y="12"/>
                  </a:cxn>
                  <a:cxn ang="0">
                    <a:pos x="731" y="11"/>
                  </a:cxn>
                  <a:cxn ang="0">
                    <a:pos x="780" y="2"/>
                  </a:cxn>
                  <a:cxn ang="0">
                    <a:pos x="811" y="16"/>
                  </a:cxn>
                  <a:cxn ang="0">
                    <a:pos x="830" y="59"/>
                  </a:cxn>
                  <a:cxn ang="0">
                    <a:pos x="852" y="78"/>
                  </a:cxn>
                  <a:cxn ang="0">
                    <a:pos x="903" y="99"/>
                  </a:cxn>
                  <a:cxn ang="0">
                    <a:pos x="877" y="153"/>
                  </a:cxn>
                  <a:cxn ang="0">
                    <a:pos x="828" y="156"/>
                  </a:cxn>
                  <a:cxn ang="0">
                    <a:pos x="790" y="163"/>
                  </a:cxn>
                  <a:cxn ang="0">
                    <a:pos x="721" y="148"/>
                  </a:cxn>
                  <a:cxn ang="0">
                    <a:pos x="718" y="185"/>
                  </a:cxn>
                  <a:cxn ang="0">
                    <a:pos x="732" y="202"/>
                  </a:cxn>
                  <a:cxn ang="0">
                    <a:pos x="717" y="248"/>
                  </a:cxn>
                  <a:cxn ang="0">
                    <a:pos x="753" y="280"/>
                  </a:cxn>
                  <a:cxn ang="0">
                    <a:pos x="789" y="304"/>
                  </a:cxn>
                  <a:cxn ang="0">
                    <a:pos x="775" y="329"/>
                  </a:cxn>
                  <a:cxn ang="0">
                    <a:pos x="758" y="368"/>
                  </a:cxn>
                  <a:cxn ang="0">
                    <a:pos x="766" y="394"/>
                  </a:cxn>
                  <a:cxn ang="0">
                    <a:pos x="721" y="425"/>
                  </a:cxn>
                  <a:cxn ang="0">
                    <a:pos x="687" y="468"/>
                  </a:cxn>
                  <a:cxn ang="0">
                    <a:pos x="624" y="549"/>
                  </a:cxn>
                  <a:cxn ang="0">
                    <a:pos x="556" y="597"/>
                  </a:cxn>
                  <a:cxn ang="0">
                    <a:pos x="517" y="592"/>
                  </a:cxn>
                  <a:cxn ang="0">
                    <a:pos x="476" y="668"/>
                  </a:cxn>
                  <a:cxn ang="0">
                    <a:pos x="513" y="686"/>
                  </a:cxn>
                  <a:cxn ang="0">
                    <a:pos x="537" y="728"/>
                  </a:cxn>
                  <a:cxn ang="0">
                    <a:pos x="559" y="781"/>
                  </a:cxn>
                  <a:cxn ang="0">
                    <a:pos x="554" y="805"/>
                  </a:cxn>
                  <a:cxn ang="0">
                    <a:pos x="534" y="803"/>
                  </a:cxn>
                  <a:cxn ang="0">
                    <a:pos x="488" y="816"/>
                  </a:cxn>
                  <a:cxn ang="0">
                    <a:pos x="442" y="810"/>
                  </a:cxn>
                  <a:cxn ang="0">
                    <a:pos x="406" y="827"/>
                  </a:cxn>
                  <a:cxn ang="0">
                    <a:pos x="363" y="834"/>
                  </a:cxn>
                  <a:cxn ang="0">
                    <a:pos x="329" y="781"/>
                  </a:cxn>
                  <a:cxn ang="0">
                    <a:pos x="250" y="744"/>
                  </a:cxn>
                  <a:cxn ang="0">
                    <a:pos x="164" y="746"/>
                  </a:cxn>
                  <a:cxn ang="0">
                    <a:pos x="61" y="761"/>
                  </a:cxn>
                </a:cxnLst>
                <a:rect l="0" t="0" r="r" b="b"/>
                <a:pathLst>
                  <a:path w="921" h="842">
                    <a:moveTo>
                      <a:pt x="42" y="757"/>
                    </a:moveTo>
                    <a:lnTo>
                      <a:pt x="42" y="743"/>
                    </a:lnTo>
                    <a:lnTo>
                      <a:pt x="44" y="730"/>
                    </a:lnTo>
                    <a:lnTo>
                      <a:pt x="55" y="701"/>
                    </a:lnTo>
                    <a:lnTo>
                      <a:pt x="64" y="689"/>
                    </a:lnTo>
                    <a:lnTo>
                      <a:pt x="77" y="679"/>
                    </a:lnTo>
                    <a:lnTo>
                      <a:pt x="91" y="674"/>
                    </a:lnTo>
                    <a:lnTo>
                      <a:pt x="106" y="668"/>
                    </a:lnTo>
                    <a:lnTo>
                      <a:pt x="118" y="665"/>
                    </a:lnTo>
                    <a:lnTo>
                      <a:pt x="131" y="653"/>
                    </a:lnTo>
                    <a:lnTo>
                      <a:pt x="134" y="647"/>
                    </a:lnTo>
                    <a:lnTo>
                      <a:pt x="133" y="637"/>
                    </a:lnTo>
                    <a:lnTo>
                      <a:pt x="128" y="632"/>
                    </a:lnTo>
                    <a:lnTo>
                      <a:pt x="108" y="628"/>
                    </a:lnTo>
                    <a:lnTo>
                      <a:pt x="109" y="614"/>
                    </a:lnTo>
                    <a:lnTo>
                      <a:pt x="108" y="599"/>
                    </a:lnTo>
                    <a:lnTo>
                      <a:pt x="103" y="573"/>
                    </a:lnTo>
                    <a:lnTo>
                      <a:pt x="98" y="567"/>
                    </a:lnTo>
                    <a:lnTo>
                      <a:pt x="71" y="558"/>
                    </a:lnTo>
                    <a:lnTo>
                      <a:pt x="55" y="550"/>
                    </a:lnTo>
                    <a:lnTo>
                      <a:pt x="43" y="540"/>
                    </a:lnTo>
                    <a:lnTo>
                      <a:pt x="22" y="497"/>
                    </a:lnTo>
                    <a:lnTo>
                      <a:pt x="8" y="485"/>
                    </a:lnTo>
                    <a:lnTo>
                      <a:pt x="0" y="475"/>
                    </a:lnTo>
                    <a:lnTo>
                      <a:pt x="4" y="470"/>
                    </a:lnTo>
                    <a:lnTo>
                      <a:pt x="63" y="486"/>
                    </a:lnTo>
                    <a:lnTo>
                      <a:pt x="81" y="496"/>
                    </a:lnTo>
                    <a:lnTo>
                      <a:pt x="88" y="497"/>
                    </a:lnTo>
                    <a:lnTo>
                      <a:pt x="92" y="496"/>
                    </a:lnTo>
                    <a:lnTo>
                      <a:pt x="96" y="493"/>
                    </a:lnTo>
                    <a:lnTo>
                      <a:pt x="99" y="492"/>
                    </a:lnTo>
                    <a:lnTo>
                      <a:pt x="109" y="492"/>
                    </a:lnTo>
                    <a:lnTo>
                      <a:pt x="118" y="491"/>
                    </a:lnTo>
                    <a:lnTo>
                      <a:pt x="130" y="491"/>
                    </a:lnTo>
                    <a:lnTo>
                      <a:pt x="144" y="490"/>
                    </a:lnTo>
                    <a:lnTo>
                      <a:pt x="161" y="490"/>
                    </a:lnTo>
                    <a:lnTo>
                      <a:pt x="177" y="497"/>
                    </a:lnTo>
                    <a:lnTo>
                      <a:pt x="180" y="495"/>
                    </a:lnTo>
                    <a:lnTo>
                      <a:pt x="184" y="490"/>
                    </a:lnTo>
                    <a:lnTo>
                      <a:pt x="187" y="487"/>
                    </a:lnTo>
                    <a:lnTo>
                      <a:pt x="194" y="485"/>
                    </a:lnTo>
                    <a:lnTo>
                      <a:pt x="206" y="485"/>
                    </a:lnTo>
                    <a:lnTo>
                      <a:pt x="232" y="486"/>
                    </a:lnTo>
                    <a:lnTo>
                      <a:pt x="248" y="482"/>
                    </a:lnTo>
                    <a:lnTo>
                      <a:pt x="268" y="475"/>
                    </a:lnTo>
                    <a:lnTo>
                      <a:pt x="293" y="470"/>
                    </a:lnTo>
                    <a:lnTo>
                      <a:pt x="302" y="464"/>
                    </a:lnTo>
                    <a:lnTo>
                      <a:pt x="302" y="458"/>
                    </a:lnTo>
                    <a:lnTo>
                      <a:pt x="298" y="454"/>
                    </a:lnTo>
                    <a:lnTo>
                      <a:pt x="298" y="450"/>
                    </a:lnTo>
                    <a:lnTo>
                      <a:pt x="302" y="431"/>
                    </a:lnTo>
                    <a:lnTo>
                      <a:pt x="301" y="418"/>
                    </a:lnTo>
                    <a:lnTo>
                      <a:pt x="305" y="404"/>
                    </a:lnTo>
                    <a:lnTo>
                      <a:pt x="308" y="398"/>
                    </a:lnTo>
                    <a:lnTo>
                      <a:pt x="319" y="389"/>
                    </a:lnTo>
                    <a:lnTo>
                      <a:pt x="325" y="378"/>
                    </a:lnTo>
                    <a:lnTo>
                      <a:pt x="333" y="374"/>
                    </a:lnTo>
                    <a:lnTo>
                      <a:pt x="336" y="377"/>
                    </a:lnTo>
                    <a:lnTo>
                      <a:pt x="336" y="380"/>
                    </a:lnTo>
                    <a:lnTo>
                      <a:pt x="348" y="382"/>
                    </a:lnTo>
                    <a:lnTo>
                      <a:pt x="359" y="379"/>
                    </a:lnTo>
                    <a:lnTo>
                      <a:pt x="370" y="377"/>
                    </a:lnTo>
                    <a:lnTo>
                      <a:pt x="377" y="375"/>
                    </a:lnTo>
                    <a:lnTo>
                      <a:pt x="379" y="373"/>
                    </a:lnTo>
                    <a:lnTo>
                      <a:pt x="379" y="371"/>
                    </a:lnTo>
                    <a:lnTo>
                      <a:pt x="372" y="368"/>
                    </a:lnTo>
                    <a:lnTo>
                      <a:pt x="371" y="366"/>
                    </a:lnTo>
                    <a:lnTo>
                      <a:pt x="375" y="362"/>
                    </a:lnTo>
                    <a:lnTo>
                      <a:pt x="392" y="353"/>
                    </a:lnTo>
                    <a:lnTo>
                      <a:pt x="394" y="348"/>
                    </a:lnTo>
                    <a:lnTo>
                      <a:pt x="399" y="346"/>
                    </a:lnTo>
                    <a:lnTo>
                      <a:pt x="405" y="346"/>
                    </a:lnTo>
                    <a:lnTo>
                      <a:pt x="421" y="351"/>
                    </a:lnTo>
                    <a:lnTo>
                      <a:pt x="421" y="348"/>
                    </a:lnTo>
                    <a:lnTo>
                      <a:pt x="418" y="347"/>
                    </a:lnTo>
                    <a:lnTo>
                      <a:pt x="420" y="343"/>
                    </a:lnTo>
                    <a:lnTo>
                      <a:pt x="424" y="343"/>
                    </a:lnTo>
                    <a:lnTo>
                      <a:pt x="431" y="348"/>
                    </a:lnTo>
                    <a:lnTo>
                      <a:pt x="432" y="352"/>
                    </a:lnTo>
                    <a:lnTo>
                      <a:pt x="435" y="356"/>
                    </a:lnTo>
                    <a:lnTo>
                      <a:pt x="441" y="358"/>
                    </a:lnTo>
                    <a:lnTo>
                      <a:pt x="443" y="358"/>
                    </a:lnTo>
                    <a:lnTo>
                      <a:pt x="463" y="337"/>
                    </a:lnTo>
                    <a:lnTo>
                      <a:pt x="463" y="334"/>
                    </a:lnTo>
                    <a:lnTo>
                      <a:pt x="461" y="323"/>
                    </a:lnTo>
                    <a:lnTo>
                      <a:pt x="459" y="305"/>
                    </a:lnTo>
                    <a:lnTo>
                      <a:pt x="461" y="302"/>
                    </a:lnTo>
                    <a:lnTo>
                      <a:pt x="464" y="297"/>
                    </a:lnTo>
                    <a:lnTo>
                      <a:pt x="467" y="292"/>
                    </a:lnTo>
                    <a:lnTo>
                      <a:pt x="469" y="292"/>
                    </a:lnTo>
                    <a:lnTo>
                      <a:pt x="470" y="288"/>
                    </a:lnTo>
                    <a:lnTo>
                      <a:pt x="469" y="282"/>
                    </a:lnTo>
                    <a:lnTo>
                      <a:pt x="470" y="277"/>
                    </a:lnTo>
                    <a:lnTo>
                      <a:pt x="476" y="275"/>
                    </a:lnTo>
                    <a:lnTo>
                      <a:pt x="478" y="261"/>
                    </a:lnTo>
                    <a:lnTo>
                      <a:pt x="490" y="258"/>
                    </a:lnTo>
                    <a:lnTo>
                      <a:pt x="497" y="259"/>
                    </a:lnTo>
                    <a:lnTo>
                      <a:pt x="507" y="251"/>
                    </a:lnTo>
                    <a:lnTo>
                      <a:pt x="515" y="249"/>
                    </a:lnTo>
                    <a:lnTo>
                      <a:pt x="519" y="243"/>
                    </a:lnTo>
                    <a:lnTo>
                      <a:pt x="519" y="239"/>
                    </a:lnTo>
                    <a:lnTo>
                      <a:pt x="515" y="234"/>
                    </a:lnTo>
                    <a:lnTo>
                      <a:pt x="510" y="218"/>
                    </a:lnTo>
                    <a:lnTo>
                      <a:pt x="506" y="218"/>
                    </a:lnTo>
                    <a:lnTo>
                      <a:pt x="500" y="208"/>
                    </a:lnTo>
                    <a:lnTo>
                      <a:pt x="499" y="205"/>
                    </a:lnTo>
                    <a:lnTo>
                      <a:pt x="500" y="200"/>
                    </a:lnTo>
                    <a:lnTo>
                      <a:pt x="504" y="197"/>
                    </a:lnTo>
                    <a:lnTo>
                      <a:pt x="508" y="199"/>
                    </a:lnTo>
                    <a:lnTo>
                      <a:pt x="527" y="203"/>
                    </a:lnTo>
                    <a:lnTo>
                      <a:pt x="538" y="205"/>
                    </a:lnTo>
                    <a:lnTo>
                      <a:pt x="549" y="202"/>
                    </a:lnTo>
                    <a:lnTo>
                      <a:pt x="555" y="199"/>
                    </a:lnTo>
                    <a:lnTo>
                      <a:pt x="562" y="189"/>
                    </a:lnTo>
                    <a:lnTo>
                      <a:pt x="562" y="181"/>
                    </a:lnTo>
                    <a:lnTo>
                      <a:pt x="566" y="178"/>
                    </a:lnTo>
                    <a:lnTo>
                      <a:pt x="562" y="175"/>
                    </a:lnTo>
                    <a:lnTo>
                      <a:pt x="558" y="173"/>
                    </a:lnTo>
                    <a:lnTo>
                      <a:pt x="558" y="167"/>
                    </a:lnTo>
                    <a:lnTo>
                      <a:pt x="561" y="163"/>
                    </a:lnTo>
                    <a:lnTo>
                      <a:pt x="565" y="156"/>
                    </a:lnTo>
                    <a:lnTo>
                      <a:pt x="572" y="147"/>
                    </a:lnTo>
                    <a:lnTo>
                      <a:pt x="581" y="141"/>
                    </a:lnTo>
                    <a:lnTo>
                      <a:pt x="587" y="133"/>
                    </a:lnTo>
                    <a:lnTo>
                      <a:pt x="591" y="126"/>
                    </a:lnTo>
                    <a:lnTo>
                      <a:pt x="591" y="120"/>
                    </a:lnTo>
                    <a:lnTo>
                      <a:pt x="588" y="116"/>
                    </a:lnTo>
                    <a:lnTo>
                      <a:pt x="588" y="114"/>
                    </a:lnTo>
                    <a:lnTo>
                      <a:pt x="593" y="105"/>
                    </a:lnTo>
                    <a:lnTo>
                      <a:pt x="593" y="104"/>
                    </a:lnTo>
                    <a:lnTo>
                      <a:pt x="588" y="94"/>
                    </a:lnTo>
                    <a:lnTo>
                      <a:pt x="585" y="81"/>
                    </a:lnTo>
                    <a:lnTo>
                      <a:pt x="578" y="73"/>
                    </a:lnTo>
                    <a:lnTo>
                      <a:pt x="570" y="67"/>
                    </a:lnTo>
                    <a:lnTo>
                      <a:pt x="569" y="66"/>
                    </a:lnTo>
                    <a:lnTo>
                      <a:pt x="570" y="60"/>
                    </a:lnTo>
                    <a:lnTo>
                      <a:pt x="574" y="56"/>
                    </a:lnTo>
                    <a:lnTo>
                      <a:pt x="591" y="43"/>
                    </a:lnTo>
                    <a:lnTo>
                      <a:pt x="591" y="38"/>
                    </a:lnTo>
                    <a:lnTo>
                      <a:pt x="592" y="36"/>
                    </a:lnTo>
                    <a:lnTo>
                      <a:pt x="597" y="36"/>
                    </a:lnTo>
                    <a:lnTo>
                      <a:pt x="602" y="39"/>
                    </a:lnTo>
                    <a:lnTo>
                      <a:pt x="605" y="38"/>
                    </a:lnTo>
                    <a:lnTo>
                      <a:pt x="604" y="34"/>
                    </a:lnTo>
                    <a:lnTo>
                      <a:pt x="605" y="32"/>
                    </a:lnTo>
                    <a:lnTo>
                      <a:pt x="615" y="29"/>
                    </a:lnTo>
                    <a:lnTo>
                      <a:pt x="619" y="25"/>
                    </a:lnTo>
                    <a:lnTo>
                      <a:pt x="619" y="23"/>
                    </a:lnTo>
                    <a:lnTo>
                      <a:pt x="624" y="22"/>
                    </a:lnTo>
                    <a:lnTo>
                      <a:pt x="628" y="19"/>
                    </a:lnTo>
                    <a:lnTo>
                      <a:pt x="636" y="18"/>
                    </a:lnTo>
                    <a:lnTo>
                      <a:pt x="645" y="12"/>
                    </a:lnTo>
                    <a:lnTo>
                      <a:pt x="652" y="12"/>
                    </a:lnTo>
                    <a:lnTo>
                      <a:pt x="662" y="7"/>
                    </a:lnTo>
                    <a:lnTo>
                      <a:pt x="666" y="8"/>
                    </a:lnTo>
                    <a:lnTo>
                      <a:pt x="701" y="6"/>
                    </a:lnTo>
                    <a:lnTo>
                      <a:pt x="705" y="7"/>
                    </a:lnTo>
                    <a:lnTo>
                      <a:pt x="712" y="6"/>
                    </a:lnTo>
                    <a:lnTo>
                      <a:pt x="726" y="11"/>
                    </a:lnTo>
                    <a:lnTo>
                      <a:pt x="731" y="11"/>
                    </a:lnTo>
                    <a:lnTo>
                      <a:pt x="737" y="6"/>
                    </a:lnTo>
                    <a:lnTo>
                      <a:pt x="741" y="6"/>
                    </a:lnTo>
                    <a:lnTo>
                      <a:pt x="746" y="2"/>
                    </a:lnTo>
                    <a:lnTo>
                      <a:pt x="755" y="4"/>
                    </a:lnTo>
                    <a:lnTo>
                      <a:pt x="757" y="0"/>
                    </a:lnTo>
                    <a:lnTo>
                      <a:pt x="755" y="1"/>
                    </a:lnTo>
                    <a:lnTo>
                      <a:pt x="766" y="4"/>
                    </a:lnTo>
                    <a:lnTo>
                      <a:pt x="780" y="2"/>
                    </a:lnTo>
                    <a:lnTo>
                      <a:pt x="784" y="3"/>
                    </a:lnTo>
                    <a:lnTo>
                      <a:pt x="789" y="6"/>
                    </a:lnTo>
                    <a:lnTo>
                      <a:pt x="796" y="4"/>
                    </a:lnTo>
                    <a:lnTo>
                      <a:pt x="798" y="7"/>
                    </a:lnTo>
                    <a:lnTo>
                      <a:pt x="798" y="19"/>
                    </a:lnTo>
                    <a:lnTo>
                      <a:pt x="800" y="20"/>
                    </a:lnTo>
                    <a:lnTo>
                      <a:pt x="806" y="16"/>
                    </a:lnTo>
                    <a:lnTo>
                      <a:pt x="811" y="16"/>
                    </a:lnTo>
                    <a:lnTo>
                      <a:pt x="822" y="23"/>
                    </a:lnTo>
                    <a:lnTo>
                      <a:pt x="828" y="29"/>
                    </a:lnTo>
                    <a:lnTo>
                      <a:pt x="830" y="35"/>
                    </a:lnTo>
                    <a:lnTo>
                      <a:pt x="830" y="41"/>
                    </a:lnTo>
                    <a:lnTo>
                      <a:pt x="828" y="47"/>
                    </a:lnTo>
                    <a:lnTo>
                      <a:pt x="830" y="50"/>
                    </a:lnTo>
                    <a:lnTo>
                      <a:pt x="832" y="55"/>
                    </a:lnTo>
                    <a:lnTo>
                      <a:pt x="830" y="59"/>
                    </a:lnTo>
                    <a:lnTo>
                      <a:pt x="825" y="60"/>
                    </a:lnTo>
                    <a:lnTo>
                      <a:pt x="825" y="62"/>
                    </a:lnTo>
                    <a:lnTo>
                      <a:pt x="827" y="66"/>
                    </a:lnTo>
                    <a:lnTo>
                      <a:pt x="834" y="67"/>
                    </a:lnTo>
                    <a:lnTo>
                      <a:pt x="840" y="78"/>
                    </a:lnTo>
                    <a:lnTo>
                      <a:pt x="844" y="79"/>
                    </a:lnTo>
                    <a:lnTo>
                      <a:pt x="849" y="78"/>
                    </a:lnTo>
                    <a:lnTo>
                      <a:pt x="852" y="78"/>
                    </a:lnTo>
                    <a:lnTo>
                      <a:pt x="857" y="74"/>
                    </a:lnTo>
                    <a:lnTo>
                      <a:pt x="861" y="73"/>
                    </a:lnTo>
                    <a:lnTo>
                      <a:pt x="862" y="77"/>
                    </a:lnTo>
                    <a:lnTo>
                      <a:pt x="862" y="83"/>
                    </a:lnTo>
                    <a:lnTo>
                      <a:pt x="872" y="89"/>
                    </a:lnTo>
                    <a:lnTo>
                      <a:pt x="889" y="95"/>
                    </a:lnTo>
                    <a:lnTo>
                      <a:pt x="897" y="100"/>
                    </a:lnTo>
                    <a:lnTo>
                      <a:pt x="903" y="99"/>
                    </a:lnTo>
                    <a:lnTo>
                      <a:pt x="910" y="104"/>
                    </a:lnTo>
                    <a:lnTo>
                      <a:pt x="921" y="105"/>
                    </a:lnTo>
                    <a:lnTo>
                      <a:pt x="887" y="130"/>
                    </a:lnTo>
                    <a:lnTo>
                      <a:pt x="883" y="136"/>
                    </a:lnTo>
                    <a:lnTo>
                      <a:pt x="884" y="138"/>
                    </a:lnTo>
                    <a:lnTo>
                      <a:pt x="884" y="141"/>
                    </a:lnTo>
                    <a:lnTo>
                      <a:pt x="881" y="149"/>
                    </a:lnTo>
                    <a:lnTo>
                      <a:pt x="877" y="153"/>
                    </a:lnTo>
                    <a:lnTo>
                      <a:pt x="873" y="152"/>
                    </a:lnTo>
                    <a:lnTo>
                      <a:pt x="870" y="148"/>
                    </a:lnTo>
                    <a:lnTo>
                      <a:pt x="851" y="149"/>
                    </a:lnTo>
                    <a:lnTo>
                      <a:pt x="849" y="151"/>
                    </a:lnTo>
                    <a:lnTo>
                      <a:pt x="844" y="157"/>
                    </a:lnTo>
                    <a:lnTo>
                      <a:pt x="841" y="158"/>
                    </a:lnTo>
                    <a:lnTo>
                      <a:pt x="835" y="158"/>
                    </a:lnTo>
                    <a:lnTo>
                      <a:pt x="828" y="156"/>
                    </a:lnTo>
                    <a:lnTo>
                      <a:pt x="824" y="158"/>
                    </a:lnTo>
                    <a:lnTo>
                      <a:pt x="822" y="162"/>
                    </a:lnTo>
                    <a:lnTo>
                      <a:pt x="818" y="164"/>
                    </a:lnTo>
                    <a:lnTo>
                      <a:pt x="816" y="165"/>
                    </a:lnTo>
                    <a:lnTo>
                      <a:pt x="809" y="164"/>
                    </a:lnTo>
                    <a:lnTo>
                      <a:pt x="806" y="165"/>
                    </a:lnTo>
                    <a:lnTo>
                      <a:pt x="802" y="163"/>
                    </a:lnTo>
                    <a:lnTo>
                      <a:pt x="790" y="163"/>
                    </a:lnTo>
                    <a:lnTo>
                      <a:pt x="785" y="162"/>
                    </a:lnTo>
                    <a:lnTo>
                      <a:pt x="780" y="162"/>
                    </a:lnTo>
                    <a:lnTo>
                      <a:pt x="765" y="153"/>
                    </a:lnTo>
                    <a:lnTo>
                      <a:pt x="755" y="151"/>
                    </a:lnTo>
                    <a:lnTo>
                      <a:pt x="737" y="143"/>
                    </a:lnTo>
                    <a:lnTo>
                      <a:pt x="732" y="146"/>
                    </a:lnTo>
                    <a:lnTo>
                      <a:pt x="728" y="149"/>
                    </a:lnTo>
                    <a:lnTo>
                      <a:pt x="721" y="148"/>
                    </a:lnTo>
                    <a:lnTo>
                      <a:pt x="717" y="149"/>
                    </a:lnTo>
                    <a:lnTo>
                      <a:pt x="716" y="152"/>
                    </a:lnTo>
                    <a:lnTo>
                      <a:pt x="715" y="160"/>
                    </a:lnTo>
                    <a:lnTo>
                      <a:pt x="707" y="174"/>
                    </a:lnTo>
                    <a:lnTo>
                      <a:pt x="707" y="176"/>
                    </a:lnTo>
                    <a:lnTo>
                      <a:pt x="716" y="176"/>
                    </a:lnTo>
                    <a:lnTo>
                      <a:pt x="718" y="181"/>
                    </a:lnTo>
                    <a:lnTo>
                      <a:pt x="718" y="185"/>
                    </a:lnTo>
                    <a:lnTo>
                      <a:pt x="714" y="187"/>
                    </a:lnTo>
                    <a:lnTo>
                      <a:pt x="712" y="189"/>
                    </a:lnTo>
                    <a:lnTo>
                      <a:pt x="712" y="192"/>
                    </a:lnTo>
                    <a:lnTo>
                      <a:pt x="715" y="196"/>
                    </a:lnTo>
                    <a:lnTo>
                      <a:pt x="717" y="197"/>
                    </a:lnTo>
                    <a:lnTo>
                      <a:pt x="728" y="196"/>
                    </a:lnTo>
                    <a:lnTo>
                      <a:pt x="731" y="199"/>
                    </a:lnTo>
                    <a:lnTo>
                      <a:pt x="732" y="202"/>
                    </a:lnTo>
                    <a:lnTo>
                      <a:pt x="732" y="203"/>
                    </a:lnTo>
                    <a:lnTo>
                      <a:pt x="727" y="208"/>
                    </a:lnTo>
                    <a:lnTo>
                      <a:pt x="721" y="211"/>
                    </a:lnTo>
                    <a:lnTo>
                      <a:pt x="720" y="217"/>
                    </a:lnTo>
                    <a:lnTo>
                      <a:pt x="732" y="228"/>
                    </a:lnTo>
                    <a:lnTo>
                      <a:pt x="732" y="234"/>
                    </a:lnTo>
                    <a:lnTo>
                      <a:pt x="731" y="239"/>
                    </a:lnTo>
                    <a:lnTo>
                      <a:pt x="717" y="248"/>
                    </a:lnTo>
                    <a:lnTo>
                      <a:pt x="716" y="251"/>
                    </a:lnTo>
                    <a:lnTo>
                      <a:pt x="725" y="255"/>
                    </a:lnTo>
                    <a:lnTo>
                      <a:pt x="728" y="264"/>
                    </a:lnTo>
                    <a:lnTo>
                      <a:pt x="738" y="270"/>
                    </a:lnTo>
                    <a:lnTo>
                      <a:pt x="737" y="277"/>
                    </a:lnTo>
                    <a:lnTo>
                      <a:pt x="744" y="278"/>
                    </a:lnTo>
                    <a:lnTo>
                      <a:pt x="747" y="282"/>
                    </a:lnTo>
                    <a:lnTo>
                      <a:pt x="753" y="280"/>
                    </a:lnTo>
                    <a:lnTo>
                      <a:pt x="758" y="281"/>
                    </a:lnTo>
                    <a:lnTo>
                      <a:pt x="758" y="286"/>
                    </a:lnTo>
                    <a:lnTo>
                      <a:pt x="757" y="292"/>
                    </a:lnTo>
                    <a:lnTo>
                      <a:pt x="760" y="299"/>
                    </a:lnTo>
                    <a:lnTo>
                      <a:pt x="761" y="300"/>
                    </a:lnTo>
                    <a:lnTo>
                      <a:pt x="779" y="302"/>
                    </a:lnTo>
                    <a:lnTo>
                      <a:pt x="784" y="305"/>
                    </a:lnTo>
                    <a:lnTo>
                      <a:pt x="789" y="304"/>
                    </a:lnTo>
                    <a:lnTo>
                      <a:pt x="795" y="312"/>
                    </a:lnTo>
                    <a:lnTo>
                      <a:pt x="793" y="316"/>
                    </a:lnTo>
                    <a:lnTo>
                      <a:pt x="796" y="320"/>
                    </a:lnTo>
                    <a:lnTo>
                      <a:pt x="791" y="325"/>
                    </a:lnTo>
                    <a:lnTo>
                      <a:pt x="789" y="329"/>
                    </a:lnTo>
                    <a:lnTo>
                      <a:pt x="781" y="330"/>
                    </a:lnTo>
                    <a:lnTo>
                      <a:pt x="777" y="330"/>
                    </a:lnTo>
                    <a:lnTo>
                      <a:pt x="775" y="329"/>
                    </a:lnTo>
                    <a:lnTo>
                      <a:pt x="770" y="330"/>
                    </a:lnTo>
                    <a:lnTo>
                      <a:pt x="768" y="332"/>
                    </a:lnTo>
                    <a:lnTo>
                      <a:pt x="757" y="337"/>
                    </a:lnTo>
                    <a:lnTo>
                      <a:pt x="753" y="345"/>
                    </a:lnTo>
                    <a:lnTo>
                      <a:pt x="752" y="356"/>
                    </a:lnTo>
                    <a:lnTo>
                      <a:pt x="757" y="362"/>
                    </a:lnTo>
                    <a:lnTo>
                      <a:pt x="755" y="367"/>
                    </a:lnTo>
                    <a:lnTo>
                      <a:pt x="758" y="368"/>
                    </a:lnTo>
                    <a:lnTo>
                      <a:pt x="759" y="371"/>
                    </a:lnTo>
                    <a:lnTo>
                      <a:pt x="758" y="374"/>
                    </a:lnTo>
                    <a:lnTo>
                      <a:pt x="753" y="378"/>
                    </a:lnTo>
                    <a:lnTo>
                      <a:pt x="752" y="384"/>
                    </a:lnTo>
                    <a:lnTo>
                      <a:pt x="752" y="386"/>
                    </a:lnTo>
                    <a:lnTo>
                      <a:pt x="754" y="388"/>
                    </a:lnTo>
                    <a:lnTo>
                      <a:pt x="764" y="388"/>
                    </a:lnTo>
                    <a:lnTo>
                      <a:pt x="766" y="394"/>
                    </a:lnTo>
                    <a:lnTo>
                      <a:pt x="764" y="396"/>
                    </a:lnTo>
                    <a:lnTo>
                      <a:pt x="760" y="398"/>
                    </a:lnTo>
                    <a:lnTo>
                      <a:pt x="757" y="396"/>
                    </a:lnTo>
                    <a:lnTo>
                      <a:pt x="754" y="394"/>
                    </a:lnTo>
                    <a:lnTo>
                      <a:pt x="752" y="401"/>
                    </a:lnTo>
                    <a:lnTo>
                      <a:pt x="738" y="406"/>
                    </a:lnTo>
                    <a:lnTo>
                      <a:pt x="726" y="422"/>
                    </a:lnTo>
                    <a:lnTo>
                      <a:pt x="721" y="425"/>
                    </a:lnTo>
                    <a:lnTo>
                      <a:pt x="716" y="431"/>
                    </a:lnTo>
                    <a:lnTo>
                      <a:pt x="712" y="436"/>
                    </a:lnTo>
                    <a:lnTo>
                      <a:pt x="711" y="442"/>
                    </a:lnTo>
                    <a:lnTo>
                      <a:pt x="712" y="450"/>
                    </a:lnTo>
                    <a:lnTo>
                      <a:pt x="709" y="458"/>
                    </a:lnTo>
                    <a:lnTo>
                      <a:pt x="700" y="463"/>
                    </a:lnTo>
                    <a:lnTo>
                      <a:pt x="693" y="463"/>
                    </a:lnTo>
                    <a:lnTo>
                      <a:pt x="687" y="468"/>
                    </a:lnTo>
                    <a:lnTo>
                      <a:pt x="682" y="476"/>
                    </a:lnTo>
                    <a:lnTo>
                      <a:pt x="678" y="487"/>
                    </a:lnTo>
                    <a:lnTo>
                      <a:pt x="672" y="498"/>
                    </a:lnTo>
                    <a:lnTo>
                      <a:pt x="657" y="520"/>
                    </a:lnTo>
                    <a:lnTo>
                      <a:pt x="651" y="527"/>
                    </a:lnTo>
                    <a:lnTo>
                      <a:pt x="639" y="534"/>
                    </a:lnTo>
                    <a:lnTo>
                      <a:pt x="628" y="544"/>
                    </a:lnTo>
                    <a:lnTo>
                      <a:pt x="624" y="549"/>
                    </a:lnTo>
                    <a:lnTo>
                      <a:pt x="614" y="565"/>
                    </a:lnTo>
                    <a:lnTo>
                      <a:pt x="607" y="574"/>
                    </a:lnTo>
                    <a:lnTo>
                      <a:pt x="599" y="589"/>
                    </a:lnTo>
                    <a:lnTo>
                      <a:pt x="594" y="592"/>
                    </a:lnTo>
                    <a:lnTo>
                      <a:pt x="590" y="593"/>
                    </a:lnTo>
                    <a:lnTo>
                      <a:pt x="567" y="593"/>
                    </a:lnTo>
                    <a:lnTo>
                      <a:pt x="564" y="594"/>
                    </a:lnTo>
                    <a:lnTo>
                      <a:pt x="556" y="597"/>
                    </a:lnTo>
                    <a:lnTo>
                      <a:pt x="551" y="603"/>
                    </a:lnTo>
                    <a:lnTo>
                      <a:pt x="547" y="604"/>
                    </a:lnTo>
                    <a:lnTo>
                      <a:pt x="544" y="603"/>
                    </a:lnTo>
                    <a:lnTo>
                      <a:pt x="542" y="598"/>
                    </a:lnTo>
                    <a:lnTo>
                      <a:pt x="534" y="584"/>
                    </a:lnTo>
                    <a:lnTo>
                      <a:pt x="531" y="582"/>
                    </a:lnTo>
                    <a:lnTo>
                      <a:pt x="527" y="583"/>
                    </a:lnTo>
                    <a:lnTo>
                      <a:pt x="517" y="592"/>
                    </a:lnTo>
                    <a:lnTo>
                      <a:pt x="513" y="598"/>
                    </a:lnTo>
                    <a:lnTo>
                      <a:pt x="502" y="608"/>
                    </a:lnTo>
                    <a:lnTo>
                      <a:pt x="488" y="626"/>
                    </a:lnTo>
                    <a:lnTo>
                      <a:pt x="480" y="633"/>
                    </a:lnTo>
                    <a:lnTo>
                      <a:pt x="478" y="640"/>
                    </a:lnTo>
                    <a:lnTo>
                      <a:pt x="474" y="658"/>
                    </a:lnTo>
                    <a:lnTo>
                      <a:pt x="474" y="663"/>
                    </a:lnTo>
                    <a:lnTo>
                      <a:pt x="476" y="668"/>
                    </a:lnTo>
                    <a:lnTo>
                      <a:pt x="483" y="671"/>
                    </a:lnTo>
                    <a:lnTo>
                      <a:pt x="489" y="670"/>
                    </a:lnTo>
                    <a:lnTo>
                      <a:pt x="496" y="673"/>
                    </a:lnTo>
                    <a:lnTo>
                      <a:pt x="506" y="673"/>
                    </a:lnTo>
                    <a:lnTo>
                      <a:pt x="508" y="674"/>
                    </a:lnTo>
                    <a:lnTo>
                      <a:pt x="512" y="678"/>
                    </a:lnTo>
                    <a:lnTo>
                      <a:pt x="513" y="681"/>
                    </a:lnTo>
                    <a:lnTo>
                      <a:pt x="513" y="686"/>
                    </a:lnTo>
                    <a:lnTo>
                      <a:pt x="507" y="706"/>
                    </a:lnTo>
                    <a:lnTo>
                      <a:pt x="507" y="711"/>
                    </a:lnTo>
                    <a:lnTo>
                      <a:pt x="508" y="716"/>
                    </a:lnTo>
                    <a:lnTo>
                      <a:pt x="518" y="727"/>
                    </a:lnTo>
                    <a:lnTo>
                      <a:pt x="522" y="728"/>
                    </a:lnTo>
                    <a:lnTo>
                      <a:pt x="532" y="724"/>
                    </a:lnTo>
                    <a:lnTo>
                      <a:pt x="534" y="725"/>
                    </a:lnTo>
                    <a:lnTo>
                      <a:pt x="537" y="728"/>
                    </a:lnTo>
                    <a:lnTo>
                      <a:pt x="537" y="739"/>
                    </a:lnTo>
                    <a:lnTo>
                      <a:pt x="538" y="748"/>
                    </a:lnTo>
                    <a:lnTo>
                      <a:pt x="543" y="755"/>
                    </a:lnTo>
                    <a:lnTo>
                      <a:pt x="545" y="762"/>
                    </a:lnTo>
                    <a:lnTo>
                      <a:pt x="550" y="768"/>
                    </a:lnTo>
                    <a:lnTo>
                      <a:pt x="555" y="773"/>
                    </a:lnTo>
                    <a:lnTo>
                      <a:pt x="555" y="776"/>
                    </a:lnTo>
                    <a:lnTo>
                      <a:pt x="559" y="781"/>
                    </a:lnTo>
                    <a:lnTo>
                      <a:pt x="560" y="784"/>
                    </a:lnTo>
                    <a:lnTo>
                      <a:pt x="555" y="786"/>
                    </a:lnTo>
                    <a:lnTo>
                      <a:pt x="555" y="788"/>
                    </a:lnTo>
                    <a:lnTo>
                      <a:pt x="555" y="798"/>
                    </a:lnTo>
                    <a:lnTo>
                      <a:pt x="554" y="802"/>
                    </a:lnTo>
                    <a:lnTo>
                      <a:pt x="561" y="803"/>
                    </a:lnTo>
                    <a:lnTo>
                      <a:pt x="561" y="805"/>
                    </a:lnTo>
                    <a:lnTo>
                      <a:pt x="554" y="805"/>
                    </a:lnTo>
                    <a:lnTo>
                      <a:pt x="549" y="809"/>
                    </a:lnTo>
                    <a:lnTo>
                      <a:pt x="549" y="811"/>
                    </a:lnTo>
                    <a:lnTo>
                      <a:pt x="545" y="813"/>
                    </a:lnTo>
                    <a:lnTo>
                      <a:pt x="542" y="813"/>
                    </a:lnTo>
                    <a:lnTo>
                      <a:pt x="535" y="813"/>
                    </a:lnTo>
                    <a:lnTo>
                      <a:pt x="534" y="810"/>
                    </a:lnTo>
                    <a:lnTo>
                      <a:pt x="533" y="809"/>
                    </a:lnTo>
                    <a:lnTo>
                      <a:pt x="534" y="803"/>
                    </a:lnTo>
                    <a:lnTo>
                      <a:pt x="534" y="802"/>
                    </a:lnTo>
                    <a:lnTo>
                      <a:pt x="527" y="800"/>
                    </a:lnTo>
                    <a:lnTo>
                      <a:pt x="522" y="804"/>
                    </a:lnTo>
                    <a:lnTo>
                      <a:pt x="510" y="808"/>
                    </a:lnTo>
                    <a:lnTo>
                      <a:pt x="506" y="815"/>
                    </a:lnTo>
                    <a:lnTo>
                      <a:pt x="505" y="816"/>
                    </a:lnTo>
                    <a:lnTo>
                      <a:pt x="502" y="816"/>
                    </a:lnTo>
                    <a:lnTo>
                      <a:pt x="488" y="816"/>
                    </a:lnTo>
                    <a:lnTo>
                      <a:pt x="479" y="809"/>
                    </a:lnTo>
                    <a:lnTo>
                      <a:pt x="473" y="811"/>
                    </a:lnTo>
                    <a:lnTo>
                      <a:pt x="469" y="809"/>
                    </a:lnTo>
                    <a:lnTo>
                      <a:pt x="457" y="810"/>
                    </a:lnTo>
                    <a:lnTo>
                      <a:pt x="453" y="809"/>
                    </a:lnTo>
                    <a:lnTo>
                      <a:pt x="447" y="810"/>
                    </a:lnTo>
                    <a:lnTo>
                      <a:pt x="443" y="809"/>
                    </a:lnTo>
                    <a:lnTo>
                      <a:pt x="442" y="810"/>
                    </a:lnTo>
                    <a:lnTo>
                      <a:pt x="441" y="810"/>
                    </a:lnTo>
                    <a:lnTo>
                      <a:pt x="438" y="805"/>
                    </a:lnTo>
                    <a:lnTo>
                      <a:pt x="436" y="805"/>
                    </a:lnTo>
                    <a:lnTo>
                      <a:pt x="435" y="810"/>
                    </a:lnTo>
                    <a:lnTo>
                      <a:pt x="435" y="827"/>
                    </a:lnTo>
                    <a:lnTo>
                      <a:pt x="415" y="827"/>
                    </a:lnTo>
                    <a:lnTo>
                      <a:pt x="411" y="829"/>
                    </a:lnTo>
                    <a:lnTo>
                      <a:pt x="406" y="827"/>
                    </a:lnTo>
                    <a:lnTo>
                      <a:pt x="404" y="832"/>
                    </a:lnTo>
                    <a:lnTo>
                      <a:pt x="402" y="834"/>
                    </a:lnTo>
                    <a:lnTo>
                      <a:pt x="400" y="837"/>
                    </a:lnTo>
                    <a:lnTo>
                      <a:pt x="395" y="841"/>
                    </a:lnTo>
                    <a:lnTo>
                      <a:pt x="391" y="842"/>
                    </a:lnTo>
                    <a:lnTo>
                      <a:pt x="378" y="837"/>
                    </a:lnTo>
                    <a:lnTo>
                      <a:pt x="367" y="836"/>
                    </a:lnTo>
                    <a:lnTo>
                      <a:pt x="363" y="834"/>
                    </a:lnTo>
                    <a:lnTo>
                      <a:pt x="362" y="827"/>
                    </a:lnTo>
                    <a:lnTo>
                      <a:pt x="360" y="824"/>
                    </a:lnTo>
                    <a:lnTo>
                      <a:pt x="355" y="820"/>
                    </a:lnTo>
                    <a:lnTo>
                      <a:pt x="350" y="808"/>
                    </a:lnTo>
                    <a:lnTo>
                      <a:pt x="344" y="791"/>
                    </a:lnTo>
                    <a:lnTo>
                      <a:pt x="344" y="784"/>
                    </a:lnTo>
                    <a:lnTo>
                      <a:pt x="340" y="784"/>
                    </a:lnTo>
                    <a:lnTo>
                      <a:pt x="329" y="781"/>
                    </a:lnTo>
                    <a:lnTo>
                      <a:pt x="322" y="776"/>
                    </a:lnTo>
                    <a:lnTo>
                      <a:pt x="318" y="756"/>
                    </a:lnTo>
                    <a:lnTo>
                      <a:pt x="316" y="751"/>
                    </a:lnTo>
                    <a:lnTo>
                      <a:pt x="308" y="745"/>
                    </a:lnTo>
                    <a:lnTo>
                      <a:pt x="302" y="741"/>
                    </a:lnTo>
                    <a:lnTo>
                      <a:pt x="292" y="740"/>
                    </a:lnTo>
                    <a:lnTo>
                      <a:pt x="271" y="744"/>
                    </a:lnTo>
                    <a:lnTo>
                      <a:pt x="250" y="744"/>
                    </a:lnTo>
                    <a:lnTo>
                      <a:pt x="236" y="750"/>
                    </a:lnTo>
                    <a:lnTo>
                      <a:pt x="227" y="748"/>
                    </a:lnTo>
                    <a:lnTo>
                      <a:pt x="212" y="746"/>
                    </a:lnTo>
                    <a:lnTo>
                      <a:pt x="205" y="759"/>
                    </a:lnTo>
                    <a:lnTo>
                      <a:pt x="200" y="753"/>
                    </a:lnTo>
                    <a:lnTo>
                      <a:pt x="188" y="753"/>
                    </a:lnTo>
                    <a:lnTo>
                      <a:pt x="178" y="745"/>
                    </a:lnTo>
                    <a:lnTo>
                      <a:pt x="164" y="746"/>
                    </a:lnTo>
                    <a:lnTo>
                      <a:pt x="151" y="745"/>
                    </a:lnTo>
                    <a:lnTo>
                      <a:pt x="144" y="753"/>
                    </a:lnTo>
                    <a:lnTo>
                      <a:pt x="130" y="755"/>
                    </a:lnTo>
                    <a:lnTo>
                      <a:pt x="102" y="751"/>
                    </a:lnTo>
                    <a:lnTo>
                      <a:pt x="91" y="751"/>
                    </a:lnTo>
                    <a:lnTo>
                      <a:pt x="76" y="759"/>
                    </a:lnTo>
                    <a:lnTo>
                      <a:pt x="69" y="755"/>
                    </a:lnTo>
                    <a:lnTo>
                      <a:pt x="61" y="761"/>
                    </a:lnTo>
                    <a:lnTo>
                      <a:pt x="53" y="761"/>
                    </a:lnTo>
                    <a:lnTo>
                      <a:pt x="48" y="765"/>
                    </a:lnTo>
                    <a:lnTo>
                      <a:pt x="45" y="759"/>
                    </a:lnTo>
                    <a:lnTo>
                      <a:pt x="42" y="75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7" name="Freeform 101"/>
              <p:cNvSpPr>
                <a:spLocks noChangeAspect="1"/>
              </p:cNvSpPr>
              <p:nvPr/>
            </p:nvSpPr>
            <p:spPr bwMode="gray">
              <a:xfrm>
                <a:off x="3489" y="2165"/>
                <a:ext cx="37" cy="20"/>
              </a:xfrm>
              <a:custGeom>
                <a:avLst/>
                <a:gdLst/>
                <a:ahLst/>
                <a:cxnLst>
                  <a:cxn ang="0">
                    <a:pos x="164" y="32"/>
                  </a:cxn>
                  <a:cxn ang="0">
                    <a:pos x="164" y="30"/>
                  </a:cxn>
                  <a:cxn ang="0">
                    <a:pos x="150" y="22"/>
                  </a:cxn>
                  <a:cxn ang="0">
                    <a:pos x="148" y="18"/>
                  </a:cxn>
                  <a:cxn ang="0">
                    <a:pos x="145" y="17"/>
                  </a:cxn>
                  <a:cxn ang="0">
                    <a:pos x="130" y="21"/>
                  </a:cxn>
                  <a:cxn ang="0">
                    <a:pos x="126" y="21"/>
                  </a:cxn>
                  <a:cxn ang="0">
                    <a:pos x="112" y="16"/>
                  </a:cxn>
                  <a:cxn ang="0">
                    <a:pos x="96" y="15"/>
                  </a:cxn>
                  <a:cxn ang="0">
                    <a:pos x="89" y="10"/>
                  </a:cxn>
                  <a:cxn ang="0">
                    <a:pos x="89" y="7"/>
                  </a:cxn>
                  <a:cxn ang="0">
                    <a:pos x="85" y="1"/>
                  </a:cxn>
                  <a:cxn ang="0">
                    <a:pos x="79" y="0"/>
                  </a:cxn>
                  <a:cxn ang="0">
                    <a:pos x="65" y="1"/>
                  </a:cxn>
                  <a:cxn ang="0">
                    <a:pos x="53" y="6"/>
                  </a:cxn>
                  <a:cxn ang="0">
                    <a:pos x="42" y="17"/>
                  </a:cxn>
                  <a:cxn ang="0">
                    <a:pos x="32" y="33"/>
                  </a:cxn>
                  <a:cxn ang="0">
                    <a:pos x="11" y="53"/>
                  </a:cxn>
                  <a:cxn ang="0">
                    <a:pos x="10" y="59"/>
                  </a:cxn>
                  <a:cxn ang="0">
                    <a:pos x="9" y="63"/>
                  </a:cxn>
                  <a:cxn ang="0">
                    <a:pos x="0" y="71"/>
                  </a:cxn>
                  <a:cxn ang="0">
                    <a:pos x="0" y="76"/>
                  </a:cxn>
                  <a:cxn ang="0">
                    <a:pos x="5" y="77"/>
                  </a:cxn>
                  <a:cxn ang="0">
                    <a:pos x="6" y="80"/>
                  </a:cxn>
                  <a:cxn ang="0">
                    <a:pos x="6" y="87"/>
                  </a:cxn>
                  <a:cxn ang="0">
                    <a:pos x="8" y="88"/>
                  </a:cxn>
                  <a:cxn ang="0">
                    <a:pos x="11" y="88"/>
                  </a:cxn>
                  <a:cxn ang="0">
                    <a:pos x="15" y="91"/>
                  </a:cxn>
                  <a:cxn ang="0">
                    <a:pos x="26" y="95"/>
                  </a:cxn>
                  <a:cxn ang="0">
                    <a:pos x="49" y="98"/>
                  </a:cxn>
                  <a:cxn ang="0">
                    <a:pos x="68" y="98"/>
                  </a:cxn>
                  <a:cxn ang="0">
                    <a:pos x="91" y="90"/>
                  </a:cxn>
                  <a:cxn ang="0">
                    <a:pos x="96" y="90"/>
                  </a:cxn>
                  <a:cxn ang="0">
                    <a:pos x="106" y="93"/>
                  </a:cxn>
                  <a:cxn ang="0">
                    <a:pos x="115" y="93"/>
                  </a:cxn>
                  <a:cxn ang="0">
                    <a:pos x="123" y="92"/>
                  </a:cxn>
                  <a:cxn ang="0">
                    <a:pos x="144" y="88"/>
                  </a:cxn>
                  <a:cxn ang="0">
                    <a:pos x="158" y="87"/>
                  </a:cxn>
                  <a:cxn ang="0">
                    <a:pos x="178" y="84"/>
                  </a:cxn>
                  <a:cxn ang="0">
                    <a:pos x="186" y="80"/>
                  </a:cxn>
                  <a:cxn ang="0">
                    <a:pos x="186" y="77"/>
                  </a:cxn>
                  <a:cxn ang="0">
                    <a:pos x="185" y="73"/>
                  </a:cxn>
                  <a:cxn ang="0">
                    <a:pos x="187" y="59"/>
                  </a:cxn>
                  <a:cxn ang="0">
                    <a:pos x="181" y="53"/>
                  </a:cxn>
                  <a:cxn ang="0">
                    <a:pos x="162" y="45"/>
                  </a:cxn>
                  <a:cxn ang="0">
                    <a:pos x="161" y="43"/>
                  </a:cxn>
                  <a:cxn ang="0">
                    <a:pos x="161" y="41"/>
                  </a:cxn>
                  <a:cxn ang="0">
                    <a:pos x="164" y="34"/>
                  </a:cxn>
                  <a:cxn ang="0">
                    <a:pos x="164" y="32"/>
                  </a:cxn>
                </a:cxnLst>
                <a:rect l="0" t="0" r="r" b="b"/>
                <a:pathLst>
                  <a:path w="187" h="98">
                    <a:moveTo>
                      <a:pt x="164" y="32"/>
                    </a:moveTo>
                    <a:lnTo>
                      <a:pt x="164" y="30"/>
                    </a:lnTo>
                    <a:lnTo>
                      <a:pt x="150" y="22"/>
                    </a:lnTo>
                    <a:lnTo>
                      <a:pt x="148" y="18"/>
                    </a:lnTo>
                    <a:lnTo>
                      <a:pt x="145" y="17"/>
                    </a:lnTo>
                    <a:lnTo>
                      <a:pt x="130" y="21"/>
                    </a:lnTo>
                    <a:lnTo>
                      <a:pt x="126" y="21"/>
                    </a:lnTo>
                    <a:lnTo>
                      <a:pt x="112" y="16"/>
                    </a:lnTo>
                    <a:lnTo>
                      <a:pt x="96" y="15"/>
                    </a:lnTo>
                    <a:lnTo>
                      <a:pt x="89" y="10"/>
                    </a:lnTo>
                    <a:lnTo>
                      <a:pt x="89" y="7"/>
                    </a:lnTo>
                    <a:lnTo>
                      <a:pt x="85" y="1"/>
                    </a:lnTo>
                    <a:lnTo>
                      <a:pt x="79" y="0"/>
                    </a:lnTo>
                    <a:lnTo>
                      <a:pt x="65" y="1"/>
                    </a:lnTo>
                    <a:lnTo>
                      <a:pt x="53" y="6"/>
                    </a:lnTo>
                    <a:lnTo>
                      <a:pt x="42" y="17"/>
                    </a:lnTo>
                    <a:lnTo>
                      <a:pt x="32" y="33"/>
                    </a:lnTo>
                    <a:lnTo>
                      <a:pt x="11" y="53"/>
                    </a:lnTo>
                    <a:lnTo>
                      <a:pt x="10" y="59"/>
                    </a:lnTo>
                    <a:lnTo>
                      <a:pt x="9" y="63"/>
                    </a:lnTo>
                    <a:lnTo>
                      <a:pt x="0" y="71"/>
                    </a:lnTo>
                    <a:lnTo>
                      <a:pt x="0" y="76"/>
                    </a:lnTo>
                    <a:lnTo>
                      <a:pt x="5" y="77"/>
                    </a:lnTo>
                    <a:lnTo>
                      <a:pt x="6" y="80"/>
                    </a:lnTo>
                    <a:lnTo>
                      <a:pt x="6" y="87"/>
                    </a:lnTo>
                    <a:lnTo>
                      <a:pt x="8" y="88"/>
                    </a:lnTo>
                    <a:lnTo>
                      <a:pt x="11" y="88"/>
                    </a:lnTo>
                    <a:lnTo>
                      <a:pt x="15" y="91"/>
                    </a:lnTo>
                    <a:lnTo>
                      <a:pt x="26" y="95"/>
                    </a:lnTo>
                    <a:lnTo>
                      <a:pt x="49" y="98"/>
                    </a:lnTo>
                    <a:lnTo>
                      <a:pt x="68" y="98"/>
                    </a:lnTo>
                    <a:lnTo>
                      <a:pt x="91" y="90"/>
                    </a:lnTo>
                    <a:lnTo>
                      <a:pt x="96" y="90"/>
                    </a:lnTo>
                    <a:lnTo>
                      <a:pt x="106" y="93"/>
                    </a:lnTo>
                    <a:lnTo>
                      <a:pt x="115" y="93"/>
                    </a:lnTo>
                    <a:lnTo>
                      <a:pt x="123" y="92"/>
                    </a:lnTo>
                    <a:lnTo>
                      <a:pt x="144" y="88"/>
                    </a:lnTo>
                    <a:lnTo>
                      <a:pt x="158" y="87"/>
                    </a:lnTo>
                    <a:lnTo>
                      <a:pt x="178" y="84"/>
                    </a:lnTo>
                    <a:lnTo>
                      <a:pt x="186" y="80"/>
                    </a:lnTo>
                    <a:lnTo>
                      <a:pt x="186" y="77"/>
                    </a:lnTo>
                    <a:lnTo>
                      <a:pt x="185" y="73"/>
                    </a:lnTo>
                    <a:lnTo>
                      <a:pt x="187" y="59"/>
                    </a:lnTo>
                    <a:lnTo>
                      <a:pt x="181" y="53"/>
                    </a:lnTo>
                    <a:lnTo>
                      <a:pt x="162" y="45"/>
                    </a:lnTo>
                    <a:lnTo>
                      <a:pt x="161" y="43"/>
                    </a:lnTo>
                    <a:lnTo>
                      <a:pt x="161" y="41"/>
                    </a:lnTo>
                    <a:lnTo>
                      <a:pt x="164" y="34"/>
                    </a:lnTo>
                    <a:lnTo>
                      <a:pt x="16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8" name="Freeform 102"/>
              <p:cNvSpPr>
                <a:spLocks noChangeAspect="1"/>
              </p:cNvSpPr>
              <p:nvPr/>
            </p:nvSpPr>
            <p:spPr bwMode="gray">
              <a:xfrm>
                <a:off x="3394" y="2140"/>
                <a:ext cx="88" cy="49"/>
              </a:xfrm>
              <a:custGeom>
                <a:avLst/>
                <a:gdLst/>
                <a:ahLst/>
                <a:cxnLst>
                  <a:cxn ang="0">
                    <a:pos x="432" y="170"/>
                  </a:cxn>
                  <a:cxn ang="0">
                    <a:pos x="428" y="203"/>
                  </a:cxn>
                  <a:cxn ang="0">
                    <a:pos x="441" y="221"/>
                  </a:cxn>
                  <a:cxn ang="0">
                    <a:pos x="434" y="242"/>
                  </a:cxn>
                  <a:cxn ang="0">
                    <a:pos x="396" y="242"/>
                  </a:cxn>
                  <a:cxn ang="0">
                    <a:pos x="368" y="238"/>
                  </a:cxn>
                  <a:cxn ang="0">
                    <a:pos x="308" y="224"/>
                  </a:cxn>
                  <a:cxn ang="0">
                    <a:pos x="267" y="218"/>
                  </a:cxn>
                  <a:cxn ang="0">
                    <a:pos x="239" y="191"/>
                  </a:cxn>
                  <a:cxn ang="0">
                    <a:pos x="211" y="184"/>
                  </a:cxn>
                  <a:cxn ang="0">
                    <a:pos x="192" y="184"/>
                  </a:cxn>
                  <a:cxn ang="0">
                    <a:pos x="168" y="187"/>
                  </a:cxn>
                  <a:cxn ang="0">
                    <a:pos x="136" y="168"/>
                  </a:cxn>
                  <a:cxn ang="0">
                    <a:pos x="114" y="159"/>
                  </a:cxn>
                  <a:cxn ang="0">
                    <a:pos x="83" y="148"/>
                  </a:cxn>
                  <a:cxn ang="0">
                    <a:pos x="57" y="124"/>
                  </a:cxn>
                  <a:cxn ang="0">
                    <a:pos x="32" y="109"/>
                  </a:cxn>
                  <a:cxn ang="0">
                    <a:pos x="23" y="113"/>
                  </a:cxn>
                  <a:cxn ang="0">
                    <a:pos x="12" y="98"/>
                  </a:cxn>
                  <a:cxn ang="0">
                    <a:pos x="1" y="87"/>
                  </a:cxn>
                  <a:cxn ang="0">
                    <a:pos x="11" y="71"/>
                  </a:cxn>
                  <a:cxn ang="0">
                    <a:pos x="14" y="51"/>
                  </a:cxn>
                  <a:cxn ang="0">
                    <a:pos x="17" y="34"/>
                  </a:cxn>
                  <a:cxn ang="0">
                    <a:pos x="30" y="22"/>
                  </a:cxn>
                  <a:cxn ang="0">
                    <a:pos x="43" y="6"/>
                  </a:cxn>
                  <a:cxn ang="0">
                    <a:pos x="54" y="4"/>
                  </a:cxn>
                  <a:cxn ang="0">
                    <a:pos x="67" y="18"/>
                  </a:cxn>
                  <a:cxn ang="0">
                    <a:pos x="71" y="8"/>
                  </a:cxn>
                  <a:cxn ang="0">
                    <a:pos x="73" y="0"/>
                  </a:cxn>
                  <a:cxn ang="0">
                    <a:pos x="110" y="7"/>
                  </a:cxn>
                  <a:cxn ang="0">
                    <a:pos x="141" y="24"/>
                  </a:cxn>
                  <a:cxn ang="0">
                    <a:pos x="174" y="46"/>
                  </a:cxn>
                  <a:cxn ang="0">
                    <a:pos x="186" y="77"/>
                  </a:cxn>
                  <a:cxn ang="0">
                    <a:pos x="200" y="74"/>
                  </a:cxn>
                  <a:cxn ang="0">
                    <a:pos x="207" y="67"/>
                  </a:cxn>
                  <a:cxn ang="0">
                    <a:pos x="221" y="63"/>
                  </a:cxn>
                  <a:cxn ang="0">
                    <a:pos x="226" y="73"/>
                  </a:cxn>
                  <a:cxn ang="0">
                    <a:pos x="226" y="95"/>
                  </a:cxn>
                  <a:cxn ang="0">
                    <a:pos x="235" y="101"/>
                  </a:cxn>
                  <a:cxn ang="0">
                    <a:pos x="251" y="104"/>
                  </a:cxn>
                  <a:cxn ang="0">
                    <a:pos x="272" y="106"/>
                  </a:cxn>
                  <a:cxn ang="0">
                    <a:pos x="277" y="117"/>
                  </a:cxn>
                  <a:cxn ang="0">
                    <a:pos x="301" y="131"/>
                  </a:cxn>
                  <a:cxn ang="0">
                    <a:pos x="315" y="142"/>
                  </a:cxn>
                  <a:cxn ang="0">
                    <a:pos x="329" y="149"/>
                  </a:cxn>
                  <a:cxn ang="0">
                    <a:pos x="344" y="149"/>
                  </a:cxn>
                  <a:cxn ang="0">
                    <a:pos x="356" y="144"/>
                  </a:cxn>
                  <a:cxn ang="0">
                    <a:pos x="377" y="151"/>
                  </a:cxn>
                  <a:cxn ang="0">
                    <a:pos x="398" y="158"/>
                  </a:cxn>
                  <a:cxn ang="0">
                    <a:pos x="422" y="159"/>
                  </a:cxn>
                  <a:cxn ang="0">
                    <a:pos x="439" y="151"/>
                  </a:cxn>
                </a:cxnLst>
                <a:rect l="0" t="0" r="r" b="b"/>
                <a:pathLst>
                  <a:path w="441" h="244">
                    <a:moveTo>
                      <a:pt x="439" y="151"/>
                    </a:moveTo>
                    <a:lnTo>
                      <a:pt x="436" y="158"/>
                    </a:lnTo>
                    <a:lnTo>
                      <a:pt x="432" y="170"/>
                    </a:lnTo>
                    <a:lnTo>
                      <a:pt x="433" y="185"/>
                    </a:lnTo>
                    <a:lnTo>
                      <a:pt x="432" y="199"/>
                    </a:lnTo>
                    <a:lnTo>
                      <a:pt x="428" y="203"/>
                    </a:lnTo>
                    <a:lnTo>
                      <a:pt x="428" y="207"/>
                    </a:lnTo>
                    <a:lnTo>
                      <a:pt x="436" y="211"/>
                    </a:lnTo>
                    <a:lnTo>
                      <a:pt x="441" y="221"/>
                    </a:lnTo>
                    <a:lnTo>
                      <a:pt x="441" y="228"/>
                    </a:lnTo>
                    <a:lnTo>
                      <a:pt x="434" y="239"/>
                    </a:lnTo>
                    <a:lnTo>
                      <a:pt x="434" y="242"/>
                    </a:lnTo>
                    <a:lnTo>
                      <a:pt x="422" y="240"/>
                    </a:lnTo>
                    <a:lnTo>
                      <a:pt x="411" y="243"/>
                    </a:lnTo>
                    <a:lnTo>
                      <a:pt x="396" y="242"/>
                    </a:lnTo>
                    <a:lnTo>
                      <a:pt x="388" y="244"/>
                    </a:lnTo>
                    <a:lnTo>
                      <a:pt x="378" y="239"/>
                    </a:lnTo>
                    <a:lnTo>
                      <a:pt x="368" y="238"/>
                    </a:lnTo>
                    <a:lnTo>
                      <a:pt x="362" y="238"/>
                    </a:lnTo>
                    <a:lnTo>
                      <a:pt x="315" y="230"/>
                    </a:lnTo>
                    <a:lnTo>
                      <a:pt x="308" y="224"/>
                    </a:lnTo>
                    <a:lnTo>
                      <a:pt x="299" y="221"/>
                    </a:lnTo>
                    <a:lnTo>
                      <a:pt x="287" y="222"/>
                    </a:lnTo>
                    <a:lnTo>
                      <a:pt x="267" y="218"/>
                    </a:lnTo>
                    <a:lnTo>
                      <a:pt x="255" y="210"/>
                    </a:lnTo>
                    <a:lnTo>
                      <a:pt x="249" y="205"/>
                    </a:lnTo>
                    <a:lnTo>
                      <a:pt x="239" y="191"/>
                    </a:lnTo>
                    <a:lnTo>
                      <a:pt x="232" y="187"/>
                    </a:lnTo>
                    <a:lnTo>
                      <a:pt x="213" y="184"/>
                    </a:lnTo>
                    <a:lnTo>
                      <a:pt x="211" y="184"/>
                    </a:lnTo>
                    <a:lnTo>
                      <a:pt x="208" y="187"/>
                    </a:lnTo>
                    <a:lnTo>
                      <a:pt x="202" y="186"/>
                    </a:lnTo>
                    <a:lnTo>
                      <a:pt x="192" y="184"/>
                    </a:lnTo>
                    <a:lnTo>
                      <a:pt x="183" y="183"/>
                    </a:lnTo>
                    <a:lnTo>
                      <a:pt x="173" y="187"/>
                    </a:lnTo>
                    <a:lnTo>
                      <a:pt x="168" y="187"/>
                    </a:lnTo>
                    <a:lnTo>
                      <a:pt x="148" y="183"/>
                    </a:lnTo>
                    <a:lnTo>
                      <a:pt x="138" y="170"/>
                    </a:lnTo>
                    <a:lnTo>
                      <a:pt x="136" y="168"/>
                    </a:lnTo>
                    <a:lnTo>
                      <a:pt x="127" y="167"/>
                    </a:lnTo>
                    <a:lnTo>
                      <a:pt x="124" y="167"/>
                    </a:lnTo>
                    <a:lnTo>
                      <a:pt x="114" y="159"/>
                    </a:lnTo>
                    <a:lnTo>
                      <a:pt x="103" y="154"/>
                    </a:lnTo>
                    <a:lnTo>
                      <a:pt x="93" y="153"/>
                    </a:lnTo>
                    <a:lnTo>
                      <a:pt x="83" y="148"/>
                    </a:lnTo>
                    <a:lnTo>
                      <a:pt x="78" y="144"/>
                    </a:lnTo>
                    <a:lnTo>
                      <a:pt x="66" y="130"/>
                    </a:lnTo>
                    <a:lnTo>
                      <a:pt x="57" y="124"/>
                    </a:lnTo>
                    <a:lnTo>
                      <a:pt x="49" y="120"/>
                    </a:lnTo>
                    <a:lnTo>
                      <a:pt x="45" y="116"/>
                    </a:lnTo>
                    <a:lnTo>
                      <a:pt x="32" y="109"/>
                    </a:lnTo>
                    <a:lnTo>
                      <a:pt x="28" y="109"/>
                    </a:lnTo>
                    <a:lnTo>
                      <a:pt x="28" y="113"/>
                    </a:lnTo>
                    <a:lnTo>
                      <a:pt x="23" y="113"/>
                    </a:lnTo>
                    <a:lnTo>
                      <a:pt x="18" y="109"/>
                    </a:lnTo>
                    <a:lnTo>
                      <a:pt x="17" y="103"/>
                    </a:lnTo>
                    <a:lnTo>
                      <a:pt x="12" y="98"/>
                    </a:lnTo>
                    <a:lnTo>
                      <a:pt x="1" y="97"/>
                    </a:lnTo>
                    <a:lnTo>
                      <a:pt x="0" y="94"/>
                    </a:lnTo>
                    <a:lnTo>
                      <a:pt x="1" y="87"/>
                    </a:lnTo>
                    <a:lnTo>
                      <a:pt x="6" y="79"/>
                    </a:lnTo>
                    <a:lnTo>
                      <a:pt x="9" y="78"/>
                    </a:lnTo>
                    <a:lnTo>
                      <a:pt x="11" y="71"/>
                    </a:lnTo>
                    <a:lnTo>
                      <a:pt x="14" y="67"/>
                    </a:lnTo>
                    <a:lnTo>
                      <a:pt x="11" y="58"/>
                    </a:lnTo>
                    <a:lnTo>
                      <a:pt x="14" y="51"/>
                    </a:lnTo>
                    <a:lnTo>
                      <a:pt x="19" y="45"/>
                    </a:lnTo>
                    <a:lnTo>
                      <a:pt x="17" y="38"/>
                    </a:lnTo>
                    <a:lnTo>
                      <a:pt x="17" y="34"/>
                    </a:lnTo>
                    <a:lnTo>
                      <a:pt x="21" y="29"/>
                    </a:lnTo>
                    <a:lnTo>
                      <a:pt x="27" y="29"/>
                    </a:lnTo>
                    <a:lnTo>
                      <a:pt x="30" y="22"/>
                    </a:lnTo>
                    <a:lnTo>
                      <a:pt x="38" y="17"/>
                    </a:lnTo>
                    <a:lnTo>
                      <a:pt x="41" y="11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8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9" y="11"/>
                    </a:lnTo>
                    <a:lnTo>
                      <a:pt x="67" y="18"/>
                    </a:lnTo>
                    <a:lnTo>
                      <a:pt x="68" y="14"/>
                    </a:lnTo>
                    <a:lnTo>
                      <a:pt x="67" y="12"/>
                    </a:lnTo>
                    <a:lnTo>
                      <a:pt x="71" y="8"/>
                    </a:lnTo>
                    <a:lnTo>
                      <a:pt x="71" y="2"/>
                    </a:lnTo>
                    <a:lnTo>
                      <a:pt x="71" y="1"/>
                    </a:lnTo>
                    <a:lnTo>
                      <a:pt x="73" y="0"/>
                    </a:lnTo>
                    <a:lnTo>
                      <a:pt x="89" y="2"/>
                    </a:lnTo>
                    <a:lnTo>
                      <a:pt x="92" y="3"/>
                    </a:lnTo>
                    <a:lnTo>
                      <a:pt x="110" y="7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1" y="24"/>
                    </a:lnTo>
                    <a:lnTo>
                      <a:pt x="151" y="33"/>
                    </a:lnTo>
                    <a:lnTo>
                      <a:pt x="163" y="36"/>
                    </a:lnTo>
                    <a:lnTo>
                      <a:pt x="174" y="46"/>
                    </a:lnTo>
                    <a:lnTo>
                      <a:pt x="181" y="55"/>
                    </a:lnTo>
                    <a:lnTo>
                      <a:pt x="184" y="72"/>
                    </a:lnTo>
                    <a:lnTo>
                      <a:pt x="186" y="77"/>
                    </a:lnTo>
                    <a:lnTo>
                      <a:pt x="192" y="79"/>
                    </a:lnTo>
                    <a:lnTo>
                      <a:pt x="196" y="79"/>
                    </a:lnTo>
                    <a:lnTo>
                      <a:pt x="200" y="74"/>
                    </a:lnTo>
                    <a:lnTo>
                      <a:pt x="204" y="73"/>
                    </a:lnTo>
                    <a:lnTo>
                      <a:pt x="207" y="70"/>
                    </a:lnTo>
                    <a:lnTo>
                      <a:pt x="207" y="67"/>
                    </a:lnTo>
                    <a:lnTo>
                      <a:pt x="211" y="63"/>
                    </a:lnTo>
                    <a:lnTo>
                      <a:pt x="215" y="65"/>
                    </a:lnTo>
                    <a:lnTo>
                      <a:pt x="221" y="63"/>
                    </a:lnTo>
                    <a:lnTo>
                      <a:pt x="227" y="65"/>
                    </a:lnTo>
                    <a:lnTo>
                      <a:pt x="229" y="67"/>
                    </a:lnTo>
                    <a:lnTo>
                      <a:pt x="226" y="73"/>
                    </a:lnTo>
                    <a:lnTo>
                      <a:pt x="227" y="79"/>
                    </a:lnTo>
                    <a:lnTo>
                      <a:pt x="224" y="92"/>
                    </a:lnTo>
                    <a:lnTo>
                      <a:pt x="226" y="95"/>
                    </a:lnTo>
                    <a:lnTo>
                      <a:pt x="231" y="93"/>
                    </a:lnTo>
                    <a:lnTo>
                      <a:pt x="233" y="98"/>
                    </a:lnTo>
                    <a:lnTo>
                      <a:pt x="235" y="101"/>
                    </a:lnTo>
                    <a:lnTo>
                      <a:pt x="240" y="101"/>
                    </a:lnTo>
                    <a:lnTo>
                      <a:pt x="245" y="105"/>
                    </a:lnTo>
                    <a:lnTo>
                      <a:pt x="251" y="104"/>
                    </a:lnTo>
                    <a:lnTo>
                      <a:pt x="259" y="106"/>
                    </a:lnTo>
                    <a:lnTo>
                      <a:pt x="267" y="108"/>
                    </a:lnTo>
                    <a:lnTo>
                      <a:pt x="272" y="106"/>
                    </a:lnTo>
                    <a:lnTo>
                      <a:pt x="277" y="103"/>
                    </a:lnTo>
                    <a:lnTo>
                      <a:pt x="280" y="104"/>
                    </a:lnTo>
                    <a:lnTo>
                      <a:pt x="277" y="117"/>
                    </a:lnTo>
                    <a:lnTo>
                      <a:pt x="278" y="124"/>
                    </a:lnTo>
                    <a:lnTo>
                      <a:pt x="293" y="133"/>
                    </a:lnTo>
                    <a:lnTo>
                      <a:pt x="301" y="131"/>
                    </a:lnTo>
                    <a:lnTo>
                      <a:pt x="308" y="132"/>
                    </a:lnTo>
                    <a:lnTo>
                      <a:pt x="314" y="138"/>
                    </a:lnTo>
                    <a:lnTo>
                      <a:pt x="315" y="142"/>
                    </a:lnTo>
                    <a:lnTo>
                      <a:pt x="319" y="148"/>
                    </a:lnTo>
                    <a:lnTo>
                      <a:pt x="323" y="151"/>
                    </a:lnTo>
                    <a:lnTo>
                      <a:pt x="329" y="149"/>
                    </a:lnTo>
                    <a:lnTo>
                      <a:pt x="333" y="147"/>
                    </a:lnTo>
                    <a:lnTo>
                      <a:pt x="339" y="151"/>
                    </a:lnTo>
                    <a:lnTo>
                      <a:pt x="344" y="149"/>
                    </a:lnTo>
                    <a:lnTo>
                      <a:pt x="350" y="152"/>
                    </a:lnTo>
                    <a:lnTo>
                      <a:pt x="352" y="151"/>
                    </a:lnTo>
                    <a:lnTo>
                      <a:pt x="356" y="144"/>
                    </a:lnTo>
                    <a:lnTo>
                      <a:pt x="361" y="143"/>
                    </a:lnTo>
                    <a:lnTo>
                      <a:pt x="369" y="144"/>
                    </a:lnTo>
                    <a:lnTo>
                      <a:pt x="377" y="151"/>
                    </a:lnTo>
                    <a:lnTo>
                      <a:pt x="387" y="153"/>
                    </a:lnTo>
                    <a:lnTo>
                      <a:pt x="394" y="157"/>
                    </a:lnTo>
                    <a:lnTo>
                      <a:pt x="398" y="158"/>
                    </a:lnTo>
                    <a:lnTo>
                      <a:pt x="405" y="156"/>
                    </a:lnTo>
                    <a:lnTo>
                      <a:pt x="419" y="159"/>
                    </a:lnTo>
                    <a:lnTo>
                      <a:pt x="422" y="159"/>
                    </a:lnTo>
                    <a:lnTo>
                      <a:pt x="428" y="151"/>
                    </a:lnTo>
                    <a:lnTo>
                      <a:pt x="436" y="149"/>
                    </a:lnTo>
                    <a:lnTo>
                      <a:pt x="439" y="15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9" name="Freeform 103"/>
              <p:cNvSpPr>
                <a:spLocks noChangeAspect="1"/>
              </p:cNvSpPr>
              <p:nvPr/>
            </p:nvSpPr>
            <p:spPr bwMode="gray">
              <a:xfrm>
                <a:off x="3479" y="2187"/>
                <a:ext cx="52" cy="67"/>
              </a:xfrm>
              <a:custGeom>
                <a:avLst/>
                <a:gdLst/>
                <a:ahLst/>
                <a:cxnLst>
                  <a:cxn ang="0">
                    <a:pos x="241" y="337"/>
                  </a:cxn>
                  <a:cxn ang="0">
                    <a:pos x="226" y="291"/>
                  </a:cxn>
                  <a:cxn ang="0">
                    <a:pos x="221" y="257"/>
                  </a:cxn>
                  <a:cxn ang="0">
                    <a:pos x="198" y="225"/>
                  </a:cxn>
                  <a:cxn ang="0">
                    <a:pos x="174" y="230"/>
                  </a:cxn>
                  <a:cxn ang="0">
                    <a:pos x="161" y="215"/>
                  </a:cxn>
                  <a:cxn ang="0">
                    <a:pos x="153" y="227"/>
                  </a:cxn>
                  <a:cxn ang="0">
                    <a:pos x="149" y="246"/>
                  </a:cxn>
                  <a:cxn ang="0">
                    <a:pos x="129" y="283"/>
                  </a:cxn>
                  <a:cxn ang="0">
                    <a:pos x="115" y="267"/>
                  </a:cxn>
                  <a:cxn ang="0">
                    <a:pos x="108" y="279"/>
                  </a:cxn>
                  <a:cxn ang="0">
                    <a:pos x="96" y="280"/>
                  </a:cxn>
                  <a:cxn ang="0">
                    <a:pos x="80" y="284"/>
                  </a:cxn>
                  <a:cxn ang="0">
                    <a:pos x="75" y="286"/>
                  </a:cxn>
                  <a:cxn ang="0">
                    <a:pos x="69" y="291"/>
                  </a:cxn>
                  <a:cxn ang="0">
                    <a:pos x="58" y="292"/>
                  </a:cxn>
                  <a:cxn ang="0">
                    <a:pos x="53" y="273"/>
                  </a:cxn>
                  <a:cxn ang="0">
                    <a:pos x="49" y="258"/>
                  </a:cxn>
                  <a:cxn ang="0">
                    <a:pos x="48" y="241"/>
                  </a:cxn>
                  <a:cxn ang="0">
                    <a:pos x="40" y="227"/>
                  </a:cxn>
                  <a:cxn ang="0">
                    <a:pos x="42" y="215"/>
                  </a:cxn>
                  <a:cxn ang="0">
                    <a:pos x="42" y="195"/>
                  </a:cxn>
                  <a:cxn ang="0">
                    <a:pos x="38" y="179"/>
                  </a:cxn>
                  <a:cxn ang="0">
                    <a:pos x="32" y="165"/>
                  </a:cxn>
                  <a:cxn ang="0">
                    <a:pos x="36" y="133"/>
                  </a:cxn>
                  <a:cxn ang="0">
                    <a:pos x="21" y="118"/>
                  </a:cxn>
                  <a:cxn ang="0">
                    <a:pos x="1" y="109"/>
                  </a:cxn>
                  <a:cxn ang="0">
                    <a:pos x="1" y="98"/>
                  </a:cxn>
                  <a:cxn ang="0">
                    <a:pos x="13" y="89"/>
                  </a:cxn>
                  <a:cxn ang="0">
                    <a:pos x="22" y="78"/>
                  </a:cxn>
                  <a:cxn ang="0">
                    <a:pos x="42" y="68"/>
                  </a:cxn>
                  <a:cxn ang="0">
                    <a:pos x="39" y="60"/>
                  </a:cxn>
                  <a:cxn ang="0">
                    <a:pos x="17" y="57"/>
                  </a:cxn>
                  <a:cxn ang="0">
                    <a:pos x="11" y="39"/>
                  </a:cxn>
                  <a:cxn ang="0">
                    <a:pos x="28" y="3"/>
                  </a:cxn>
                  <a:cxn ang="0">
                    <a:pos x="42" y="17"/>
                  </a:cxn>
                  <a:cxn ang="0">
                    <a:pos x="49" y="17"/>
                  </a:cxn>
                  <a:cxn ang="0">
                    <a:pos x="59" y="8"/>
                  </a:cxn>
                  <a:cxn ang="0">
                    <a:pos x="69" y="31"/>
                  </a:cxn>
                  <a:cxn ang="0">
                    <a:pos x="82" y="33"/>
                  </a:cxn>
                  <a:cxn ang="0">
                    <a:pos x="93" y="23"/>
                  </a:cxn>
                  <a:cxn ang="0">
                    <a:pos x="101" y="62"/>
                  </a:cxn>
                  <a:cxn ang="0">
                    <a:pos x="118" y="75"/>
                  </a:cxn>
                  <a:cxn ang="0">
                    <a:pos x="166" y="76"/>
                  </a:cxn>
                  <a:cxn ang="0">
                    <a:pos x="203" y="76"/>
                  </a:cxn>
                  <a:cxn ang="0">
                    <a:pos x="242" y="86"/>
                  </a:cxn>
                  <a:cxn ang="0">
                    <a:pos x="231" y="96"/>
                  </a:cxn>
                  <a:cxn ang="0">
                    <a:pos x="214" y="124"/>
                  </a:cxn>
                  <a:cxn ang="0">
                    <a:pos x="192" y="140"/>
                  </a:cxn>
                  <a:cxn ang="0">
                    <a:pos x="176" y="157"/>
                  </a:cxn>
                  <a:cxn ang="0">
                    <a:pos x="184" y="193"/>
                  </a:cxn>
                  <a:cxn ang="0">
                    <a:pos x="199" y="204"/>
                  </a:cxn>
                  <a:cxn ang="0">
                    <a:pos x="211" y="202"/>
                  </a:cxn>
                  <a:cxn ang="0">
                    <a:pos x="228" y="166"/>
                  </a:cxn>
                  <a:cxn ang="0">
                    <a:pos x="241" y="181"/>
                  </a:cxn>
                  <a:cxn ang="0">
                    <a:pos x="249" y="206"/>
                  </a:cxn>
                  <a:cxn ang="0">
                    <a:pos x="258" y="243"/>
                  </a:cxn>
                  <a:cxn ang="0">
                    <a:pos x="260" y="279"/>
                  </a:cxn>
                  <a:cxn ang="0">
                    <a:pos x="250" y="305"/>
                  </a:cxn>
                  <a:cxn ang="0">
                    <a:pos x="243" y="318"/>
                  </a:cxn>
                </a:cxnLst>
                <a:rect l="0" t="0" r="r" b="b"/>
                <a:pathLst>
                  <a:path w="262" h="337">
                    <a:moveTo>
                      <a:pt x="243" y="335"/>
                    </a:moveTo>
                    <a:lnTo>
                      <a:pt x="241" y="337"/>
                    </a:lnTo>
                    <a:lnTo>
                      <a:pt x="233" y="319"/>
                    </a:lnTo>
                    <a:lnTo>
                      <a:pt x="226" y="291"/>
                    </a:lnTo>
                    <a:lnTo>
                      <a:pt x="225" y="276"/>
                    </a:lnTo>
                    <a:lnTo>
                      <a:pt x="221" y="257"/>
                    </a:lnTo>
                    <a:lnTo>
                      <a:pt x="204" y="230"/>
                    </a:lnTo>
                    <a:lnTo>
                      <a:pt x="198" y="225"/>
                    </a:lnTo>
                    <a:lnTo>
                      <a:pt x="187" y="229"/>
                    </a:lnTo>
                    <a:lnTo>
                      <a:pt x="174" y="230"/>
                    </a:lnTo>
                    <a:lnTo>
                      <a:pt x="166" y="225"/>
                    </a:lnTo>
                    <a:lnTo>
                      <a:pt x="161" y="215"/>
                    </a:lnTo>
                    <a:lnTo>
                      <a:pt x="157" y="218"/>
                    </a:lnTo>
                    <a:lnTo>
                      <a:pt x="153" y="227"/>
                    </a:lnTo>
                    <a:lnTo>
                      <a:pt x="146" y="234"/>
                    </a:lnTo>
                    <a:lnTo>
                      <a:pt x="149" y="246"/>
                    </a:lnTo>
                    <a:lnTo>
                      <a:pt x="149" y="257"/>
                    </a:lnTo>
                    <a:lnTo>
                      <a:pt x="129" y="283"/>
                    </a:lnTo>
                    <a:lnTo>
                      <a:pt x="125" y="280"/>
                    </a:lnTo>
                    <a:lnTo>
                      <a:pt x="115" y="267"/>
                    </a:lnTo>
                    <a:lnTo>
                      <a:pt x="110" y="274"/>
                    </a:lnTo>
                    <a:lnTo>
                      <a:pt x="108" y="279"/>
                    </a:lnTo>
                    <a:lnTo>
                      <a:pt x="99" y="288"/>
                    </a:lnTo>
                    <a:lnTo>
                      <a:pt x="96" y="280"/>
                    </a:lnTo>
                    <a:lnTo>
                      <a:pt x="91" y="285"/>
                    </a:lnTo>
                    <a:lnTo>
                      <a:pt x="80" y="284"/>
                    </a:lnTo>
                    <a:lnTo>
                      <a:pt x="79" y="289"/>
                    </a:lnTo>
                    <a:lnTo>
                      <a:pt x="75" y="286"/>
                    </a:lnTo>
                    <a:lnTo>
                      <a:pt x="71" y="288"/>
                    </a:lnTo>
                    <a:lnTo>
                      <a:pt x="69" y="291"/>
                    </a:lnTo>
                    <a:lnTo>
                      <a:pt x="65" y="294"/>
                    </a:lnTo>
                    <a:lnTo>
                      <a:pt x="58" y="292"/>
                    </a:lnTo>
                    <a:lnTo>
                      <a:pt x="51" y="279"/>
                    </a:lnTo>
                    <a:lnTo>
                      <a:pt x="53" y="273"/>
                    </a:lnTo>
                    <a:lnTo>
                      <a:pt x="51" y="269"/>
                    </a:lnTo>
                    <a:lnTo>
                      <a:pt x="49" y="258"/>
                    </a:lnTo>
                    <a:lnTo>
                      <a:pt x="50" y="251"/>
                    </a:lnTo>
                    <a:lnTo>
                      <a:pt x="48" y="241"/>
                    </a:lnTo>
                    <a:lnTo>
                      <a:pt x="43" y="236"/>
                    </a:lnTo>
                    <a:lnTo>
                      <a:pt x="40" y="227"/>
                    </a:lnTo>
                    <a:lnTo>
                      <a:pt x="40" y="218"/>
                    </a:lnTo>
                    <a:lnTo>
                      <a:pt x="42" y="215"/>
                    </a:lnTo>
                    <a:lnTo>
                      <a:pt x="43" y="199"/>
                    </a:lnTo>
                    <a:lnTo>
                      <a:pt x="42" y="195"/>
                    </a:lnTo>
                    <a:lnTo>
                      <a:pt x="38" y="194"/>
                    </a:lnTo>
                    <a:lnTo>
                      <a:pt x="38" y="179"/>
                    </a:lnTo>
                    <a:lnTo>
                      <a:pt x="32" y="173"/>
                    </a:lnTo>
                    <a:lnTo>
                      <a:pt x="32" y="165"/>
                    </a:lnTo>
                    <a:lnTo>
                      <a:pt x="34" y="154"/>
                    </a:lnTo>
                    <a:lnTo>
                      <a:pt x="36" y="133"/>
                    </a:lnTo>
                    <a:lnTo>
                      <a:pt x="27" y="123"/>
                    </a:lnTo>
                    <a:lnTo>
                      <a:pt x="21" y="118"/>
                    </a:lnTo>
                    <a:lnTo>
                      <a:pt x="10" y="113"/>
                    </a:lnTo>
                    <a:lnTo>
                      <a:pt x="1" y="109"/>
                    </a:lnTo>
                    <a:lnTo>
                      <a:pt x="0" y="103"/>
                    </a:lnTo>
                    <a:lnTo>
                      <a:pt x="1" y="98"/>
                    </a:lnTo>
                    <a:lnTo>
                      <a:pt x="6" y="90"/>
                    </a:lnTo>
                    <a:lnTo>
                      <a:pt x="13" y="89"/>
                    </a:lnTo>
                    <a:lnTo>
                      <a:pt x="20" y="85"/>
                    </a:lnTo>
                    <a:lnTo>
                      <a:pt x="22" y="78"/>
                    </a:lnTo>
                    <a:lnTo>
                      <a:pt x="42" y="76"/>
                    </a:lnTo>
                    <a:lnTo>
                      <a:pt x="42" y="68"/>
                    </a:lnTo>
                    <a:lnTo>
                      <a:pt x="38" y="64"/>
                    </a:lnTo>
                    <a:lnTo>
                      <a:pt x="39" y="60"/>
                    </a:lnTo>
                    <a:lnTo>
                      <a:pt x="24" y="62"/>
                    </a:lnTo>
                    <a:lnTo>
                      <a:pt x="17" y="57"/>
                    </a:lnTo>
                    <a:lnTo>
                      <a:pt x="15" y="43"/>
                    </a:lnTo>
                    <a:lnTo>
                      <a:pt x="11" y="39"/>
                    </a:lnTo>
                    <a:lnTo>
                      <a:pt x="26" y="15"/>
                    </a:lnTo>
                    <a:lnTo>
                      <a:pt x="28" y="3"/>
                    </a:lnTo>
                    <a:lnTo>
                      <a:pt x="32" y="0"/>
                    </a:lnTo>
                    <a:lnTo>
                      <a:pt x="42" y="17"/>
                    </a:lnTo>
                    <a:lnTo>
                      <a:pt x="48" y="25"/>
                    </a:lnTo>
                    <a:lnTo>
                      <a:pt x="49" y="17"/>
                    </a:lnTo>
                    <a:lnTo>
                      <a:pt x="53" y="5"/>
                    </a:lnTo>
                    <a:lnTo>
                      <a:pt x="59" y="8"/>
                    </a:lnTo>
                    <a:lnTo>
                      <a:pt x="61" y="22"/>
                    </a:lnTo>
                    <a:lnTo>
                      <a:pt x="69" y="31"/>
                    </a:lnTo>
                    <a:lnTo>
                      <a:pt x="74" y="27"/>
                    </a:lnTo>
                    <a:lnTo>
                      <a:pt x="82" y="33"/>
                    </a:lnTo>
                    <a:lnTo>
                      <a:pt x="91" y="19"/>
                    </a:lnTo>
                    <a:lnTo>
                      <a:pt x="93" y="23"/>
                    </a:lnTo>
                    <a:lnTo>
                      <a:pt x="96" y="43"/>
                    </a:lnTo>
                    <a:lnTo>
                      <a:pt x="101" y="62"/>
                    </a:lnTo>
                    <a:lnTo>
                      <a:pt x="107" y="70"/>
                    </a:lnTo>
                    <a:lnTo>
                      <a:pt x="118" y="75"/>
                    </a:lnTo>
                    <a:lnTo>
                      <a:pt x="162" y="79"/>
                    </a:lnTo>
                    <a:lnTo>
                      <a:pt x="166" y="76"/>
                    </a:lnTo>
                    <a:lnTo>
                      <a:pt x="180" y="74"/>
                    </a:lnTo>
                    <a:lnTo>
                      <a:pt x="203" y="76"/>
                    </a:lnTo>
                    <a:lnTo>
                      <a:pt x="227" y="80"/>
                    </a:lnTo>
                    <a:lnTo>
                      <a:pt x="242" y="86"/>
                    </a:lnTo>
                    <a:lnTo>
                      <a:pt x="239" y="91"/>
                    </a:lnTo>
                    <a:lnTo>
                      <a:pt x="231" y="96"/>
                    </a:lnTo>
                    <a:lnTo>
                      <a:pt x="226" y="109"/>
                    </a:lnTo>
                    <a:lnTo>
                      <a:pt x="214" y="124"/>
                    </a:lnTo>
                    <a:lnTo>
                      <a:pt x="203" y="134"/>
                    </a:lnTo>
                    <a:lnTo>
                      <a:pt x="192" y="140"/>
                    </a:lnTo>
                    <a:lnTo>
                      <a:pt x="178" y="149"/>
                    </a:lnTo>
                    <a:lnTo>
                      <a:pt x="176" y="157"/>
                    </a:lnTo>
                    <a:lnTo>
                      <a:pt x="177" y="173"/>
                    </a:lnTo>
                    <a:lnTo>
                      <a:pt x="184" y="193"/>
                    </a:lnTo>
                    <a:lnTo>
                      <a:pt x="194" y="194"/>
                    </a:lnTo>
                    <a:lnTo>
                      <a:pt x="199" y="204"/>
                    </a:lnTo>
                    <a:lnTo>
                      <a:pt x="206" y="210"/>
                    </a:lnTo>
                    <a:lnTo>
                      <a:pt x="211" y="202"/>
                    </a:lnTo>
                    <a:lnTo>
                      <a:pt x="217" y="181"/>
                    </a:lnTo>
                    <a:lnTo>
                      <a:pt x="228" y="166"/>
                    </a:lnTo>
                    <a:lnTo>
                      <a:pt x="233" y="167"/>
                    </a:lnTo>
                    <a:lnTo>
                      <a:pt x="241" y="181"/>
                    </a:lnTo>
                    <a:lnTo>
                      <a:pt x="246" y="198"/>
                    </a:lnTo>
                    <a:lnTo>
                      <a:pt x="249" y="206"/>
                    </a:lnTo>
                    <a:lnTo>
                      <a:pt x="252" y="215"/>
                    </a:lnTo>
                    <a:lnTo>
                      <a:pt x="258" y="243"/>
                    </a:lnTo>
                    <a:lnTo>
                      <a:pt x="262" y="276"/>
                    </a:lnTo>
                    <a:lnTo>
                      <a:pt x="260" y="279"/>
                    </a:lnTo>
                    <a:lnTo>
                      <a:pt x="262" y="308"/>
                    </a:lnTo>
                    <a:lnTo>
                      <a:pt x="250" y="305"/>
                    </a:lnTo>
                    <a:lnTo>
                      <a:pt x="244" y="310"/>
                    </a:lnTo>
                    <a:lnTo>
                      <a:pt x="243" y="318"/>
                    </a:lnTo>
                    <a:lnTo>
                      <a:pt x="243" y="3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60" name="Freeform 104"/>
              <p:cNvSpPr>
                <a:spLocks noChangeAspect="1"/>
              </p:cNvSpPr>
              <p:nvPr/>
            </p:nvSpPr>
            <p:spPr bwMode="gray">
              <a:xfrm>
                <a:off x="3390" y="2379"/>
                <a:ext cx="23" cy="43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3" y="4"/>
                  </a:cxn>
                  <a:cxn ang="0">
                    <a:pos x="19" y="9"/>
                  </a:cxn>
                  <a:cxn ang="0">
                    <a:pos x="28" y="12"/>
                  </a:cxn>
                  <a:cxn ang="0">
                    <a:pos x="33" y="19"/>
                  </a:cxn>
                  <a:cxn ang="0">
                    <a:pos x="28" y="19"/>
                  </a:cxn>
                  <a:cxn ang="0">
                    <a:pos x="22" y="25"/>
                  </a:cxn>
                  <a:cxn ang="0">
                    <a:pos x="19" y="38"/>
                  </a:cxn>
                  <a:cxn ang="0">
                    <a:pos x="13" y="47"/>
                  </a:cxn>
                  <a:cxn ang="0">
                    <a:pos x="7" y="95"/>
                  </a:cxn>
                  <a:cxn ang="0">
                    <a:pos x="2" y="91"/>
                  </a:cxn>
                  <a:cxn ang="0">
                    <a:pos x="0" y="95"/>
                  </a:cxn>
                  <a:cxn ang="0">
                    <a:pos x="0" y="111"/>
                  </a:cxn>
                  <a:cxn ang="0">
                    <a:pos x="7" y="166"/>
                  </a:cxn>
                  <a:cxn ang="0">
                    <a:pos x="11" y="182"/>
                  </a:cxn>
                  <a:cxn ang="0">
                    <a:pos x="19" y="198"/>
                  </a:cxn>
                  <a:cxn ang="0">
                    <a:pos x="29" y="209"/>
                  </a:cxn>
                  <a:cxn ang="0">
                    <a:pos x="45" y="211"/>
                  </a:cxn>
                  <a:cxn ang="0">
                    <a:pos x="59" y="211"/>
                  </a:cxn>
                  <a:cxn ang="0">
                    <a:pos x="86" y="197"/>
                  </a:cxn>
                  <a:cxn ang="0">
                    <a:pos x="100" y="187"/>
                  </a:cxn>
                  <a:cxn ang="0">
                    <a:pos x="113" y="170"/>
                  </a:cxn>
                  <a:cxn ang="0">
                    <a:pos x="115" y="145"/>
                  </a:cxn>
                  <a:cxn ang="0">
                    <a:pos x="116" y="125"/>
                  </a:cxn>
                  <a:cxn ang="0">
                    <a:pos x="115" y="117"/>
                  </a:cxn>
                  <a:cxn ang="0">
                    <a:pos x="108" y="114"/>
                  </a:cxn>
                  <a:cxn ang="0">
                    <a:pos x="98" y="87"/>
                  </a:cxn>
                  <a:cxn ang="0">
                    <a:pos x="92" y="75"/>
                  </a:cxn>
                  <a:cxn ang="0">
                    <a:pos x="86" y="69"/>
                  </a:cxn>
                  <a:cxn ang="0">
                    <a:pos x="83" y="62"/>
                  </a:cxn>
                  <a:cxn ang="0">
                    <a:pos x="80" y="55"/>
                  </a:cxn>
                  <a:cxn ang="0">
                    <a:pos x="67" y="44"/>
                  </a:cxn>
                  <a:cxn ang="0">
                    <a:pos x="64" y="33"/>
                  </a:cxn>
                  <a:cxn ang="0">
                    <a:pos x="45" y="12"/>
                  </a:cxn>
                  <a:cxn ang="0">
                    <a:pos x="35" y="4"/>
                  </a:cxn>
                  <a:cxn ang="0">
                    <a:pos x="27" y="0"/>
                  </a:cxn>
                  <a:cxn ang="0">
                    <a:pos x="18" y="0"/>
                  </a:cxn>
                </a:cxnLst>
                <a:rect l="0" t="0" r="r" b="b"/>
                <a:pathLst>
                  <a:path w="116" h="211">
                    <a:moveTo>
                      <a:pt x="18" y="0"/>
                    </a:moveTo>
                    <a:lnTo>
                      <a:pt x="13" y="4"/>
                    </a:lnTo>
                    <a:lnTo>
                      <a:pt x="19" y="9"/>
                    </a:lnTo>
                    <a:lnTo>
                      <a:pt x="28" y="12"/>
                    </a:lnTo>
                    <a:lnTo>
                      <a:pt x="33" y="19"/>
                    </a:lnTo>
                    <a:lnTo>
                      <a:pt x="28" y="19"/>
                    </a:lnTo>
                    <a:lnTo>
                      <a:pt x="22" y="25"/>
                    </a:lnTo>
                    <a:lnTo>
                      <a:pt x="19" y="38"/>
                    </a:lnTo>
                    <a:lnTo>
                      <a:pt x="13" y="47"/>
                    </a:lnTo>
                    <a:lnTo>
                      <a:pt x="7" y="95"/>
                    </a:lnTo>
                    <a:lnTo>
                      <a:pt x="2" y="91"/>
                    </a:lnTo>
                    <a:lnTo>
                      <a:pt x="0" y="95"/>
                    </a:lnTo>
                    <a:lnTo>
                      <a:pt x="0" y="111"/>
                    </a:lnTo>
                    <a:lnTo>
                      <a:pt x="7" y="166"/>
                    </a:lnTo>
                    <a:lnTo>
                      <a:pt x="11" y="182"/>
                    </a:lnTo>
                    <a:lnTo>
                      <a:pt x="19" y="198"/>
                    </a:lnTo>
                    <a:lnTo>
                      <a:pt x="29" y="209"/>
                    </a:lnTo>
                    <a:lnTo>
                      <a:pt x="45" y="211"/>
                    </a:lnTo>
                    <a:lnTo>
                      <a:pt x="59" y="211"/>
                    </a:lnTo>
                    <a:lnTo>
                      <a:pt x="86" y="197"/>
                    </a:lnTo>
                    <a:lnTo>
                      <a:pt x="100" y="187"/>
                    </a:lnTo>
                    <a:lnTo>
                      <a:pt x="113" y="170"/>
                    </a:lnTo>
                    <a:lnTo>
                      <a:pt x="115" y="145"/>
                    </a:lnTo>
                    <a:lnTo>
                      <a:pt x="116" y="125"/>
                    </a:lnTo>
                    <a:lnTo>
                      <a:pt x="115" y="117"/>
                    </a:lnTo>
                    <a:lnTo>
                      <a:pt x="108" y="114"/>
                    </a:lnTo>
                    <a:lnTo>
                      <a:pt x="98" y="87"/>
                    </a:lnTo>
                    <a:lnTo>
                      <a:pt x="92" y="75"/>
                    </a:lnTo>
                    <a:lnTo>
                      <a:pt x="86" y="69"/>
                    </a:lnTo>
                    <a:lnTo>
                      <a:pt x="83" y="62"/>
                    </a:lnTo>
                    <a:lnTo>
                      <a:pt x="80" y="55"/>
                    </a:lnTo>
                    <a:lnTo>
                      <a:pt x="67" y="44"/>
                    </a:lnTo>
                    <a:lnTo>
                      <a:pt x="64" y="33"/>
                    </a:lnTo>
                    <a:lnTo>
                      <a:pt x="45" y="12"/>
                    </a:lnTo>
                    <a:lnTo>
                      <a:pt x="35" y="4"/>
                    </a:lnTo>
                    <a:lnTo>
                      <a:pt x="27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04" name="Freeform 105"/>
            <p:cNvSpPr>
              <a:spLocks noChangeAspect="1"/>
            </p:cNvSpPr>
            <p:nvPr/>
          </p:nvSpPr>
          <p:spPr bwMode="gray">
            <a:xfrm>
              <a:off x="4996305" y="3827513"/>
              <a:ext cx="25094" cy="52830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82" y="4"/>
                </a:cxn>
                <a:cxn ang="0">
                  <a:pos x="87" y="9"/>
                </a:cxn>
                <a:cxn ang="0">
                  <a:pos x="92" y="9"/>
                </a:cxn>
                <a:cxn ang="0">
                  <a:pos x="94" y="10"/>
                </a:cxn>
                <a:cxn ang="0">
                  <a:pos x="97" y="15"/>
                </a:cxn>
                <a:cxn ang="0">
                  <a:pos x="97" y="18"/>
                </a:cxn>
                <a:cxn ang="0">
                  <a:pos x="93" y="26"/>
                </a:cxn>
                <a:cxn ang="0">
                  <a:pos x="93" y="32"/>
                </a:cxn>
                <a:cxn ang="0">
                  <a:pos x="94" y="41"/>
                </a:cxn>
                <a:cxn ang="0">
                  <a:pos x="92" y="50"/>
                </a:cxn>
                <a:cxn ang="0">
                  <a:pos x="83" y="69"/>
                </a:cxn>
                <a:cxn ang="0">
                  <a:pos x="79" y="95"/>
                </a:cxn>
                <a:cxn ang="0">
                  <a:pos x="76" y="114"/>
                </a:cxn>
                <a:cxn ang="0">
                  <a:pos x="68" y="131"/>
                </a:cxn>
                <a:cxn ang="0">
                  <a:pos x="57" y="150"/>
                </a:cxn>
                <a:cxn ang="0">
                  <a:pos x="51" y="159"/>
                </a:cxn>
                <a:cxn ang="0">
                  <a:pos x="48" y="168"/>
                </a:cxn>
                <a:cxn ang="0">
                  <a:pos x="40" y="199"/>
                </a:cxn>
                <a:cxn ang="0">
                  <a:pos x="36" y="195"/>
                </a:cxn>
                <a:cxn ang="0">
                  <a:pos x="33" y="182"/>
                </a:cxn>
                <a:cxn ang="0">
                  <a:pos x="25" y="170"/>
                </a:cxn>
                <a:cxn ang="0">
                  <a:pos x="16" y="163"/>
                </a:cxn>
                <a:cxn ang="0">
                  <a:pos x="6" y="147"/>
                </a:cxn>
                <a:cxn ang="0">
                  <a:pos x="1" y="122"/>
                </a:cxn>
                <a:cxn ang="0">
                  <a:pos x="0" y="102"/>
                </a:cxn>
                <a:cxn ang="0">
                  <a:pos x="2" y="92"/>
                </a:cxn>
                <a:cxn ang="0">
                  <a:pos x="9" y="76"/>
                </a:cxn>
                <a:cxn ang="0">
                  <a:pos x="48" y="17"/>
                </a:cxn>
                <a:cxn ang="0">
                  <a:pos x="65" y="7"/>
                </a:cxn>
                <a:cxn ang="0">
                  <a:pos x="68" y="3"/>
                </a:cxn>
                <a:cxn ang="0">
                  <a:pos x="75" y="0"/>
                </a:cxn>
              </a:cxnLst>
              <a:rect l="0" t="0" r="r" b="b"/>
              <a:pathLst>
                <a:path w="97" h="199">
                  <a:moveTo>
                    <a:pt x="75" y="0"/>
                  </a:moveTo>
                  <a:lnTo>
                    <a:pt x="82" y="4"/>
                  </a:lnTo>
                  <a:lnTo>
                    <a:pt x="87" y="9"/>
                  </a:lnTo>
                  <a:lnTo>
                    <a:pt x="92" y="9"/>
                  </a:lnTo>
                  <a:lnTo>
                    <a:pt x="94" y="10"/>
                  </a:lnTo>
                  <a:lnTo>
                    <a:pt x="97" y="15"/>
                  </a:lnTo>
                  <a:lnTo>
                    <a:pt x="97" y="18"/>
                  </a:lnTo>
                  <a:lnTo>
                    <a:pt x="93" y="26"/>
                  </a:lnTo>
                  <a:lnTo>
                    <a:pt x="93" y="32"/>
                  </a:lnTo>
                  <a:lnTo>
                    <a:pt x="94" y="41"/>
                  </a:lnTo>
                  <a:lnTo>
                    <a:pt x="92" y="50"/>
                  </a:lnTo>
                  <a:lnTo>
                    <a:pt x="83" y="69"/>
                  </a:lnTo>
                  <a:lnTo>
                    <a:pt x="79" y="95"/>
                  </a:lnTo>
                  <a:lnTo>
                    <a:pt x="76" y="114"/>
                  </a:lnTo>
                  <a:lnTo>
                    <a:pt x="68" y="131"/>
                  </a:lnTo>
                  <a:lnTo>
                    <a:pt x="57" y="150"/>
                  </a:lnTo>
                  <a:lnTo>
                    <a:pt x="51" y="159"/>
                  </a:lnTo>
                  <a:lnTo>
                    <a:pt x="48" y="168"/>
                  </a:lnTo>
                  <a:lnTo>
                    <a:pt x="40" y="199"/>
                  </a:lnTo>
                  <a:lnTo>
                    <a:pt x="36" y="195"/>
                  </a:lnTo>
                  <a:lnTo>
                    <a:pt x="33" y="182"/>
                  </a:lnTo>
                  <a:lnTo>
                    <a:pt x="25" y="170"/>
                  </a:lnTo>
                  <a:lnTo>
                    <a:pt x="16" y="163"/>
                  </a:lnTo>
                  <a:lnTo>
                    <a:pt x="6" y="147"/>
                  </a:lnTo>
                  <a:lnTo>
                    <a:pt x="1" y="122"/>
                  </a:lnTo>
                  <a:lnTo>
                    <a:pt x="0" y="102"/>
                  </a:lnTo>
                  <a:lnTo>
                    <a:pt x="2" y="92"/>
                  </a:lnTo>
                  <a:lnTo>
                    <a:pt x="9" y="76"/>
                  </a:lnTo>
                  <a:lnTo>
                    <a:pt x="48" y="17"/>
                  </a:lnTo>
                  <a:lnTo>
                    <a:pt x="65" y="7"/>
                  </a:lnTo>
                  <a:lnTo>
                    <a:pt x="68" y="3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05" name="Group 106"/>
            <p:cNvGrpSpPr>
              <a:grpSpLocks noChangeAspect="1"/>
            </p:cNvGrpSpPr>
            <p:nvPr/>
          </p:nvGrpSpPr>
          <p:grpSpPr bwMode="gray">
            <a:xfrm>
              <a:off x="5134983" y="3466951"/>
              <a:ext cx="235092" cy="266790"/>
              <a:chOff x="3938" y="1929"/>
              <a:chExt cx="178" cy="202"/>
            </a:xfrm>
            <a:solidFill>
              <a:srgbClr val="C9C7C3"/>
            </a:solidFill>
          </p:grpSpPr>
          <p:sp>
            <p:nvSpPr>
              <p:cNvPr id="350" name="Freeform 107"/>
              <p:cNvSpPr>
                <a:spLocks noChangeAspect="1"/>
              </p:cNvSpPr>
              <p:nvPr/>
            </p:nvSpPr>
            <p:spPr bwMode="gray">
              <a:xfrm>
                <a:off x="4050" y="1929"/>
                <a:ext cx="66" cy="61"/>
              </a:xfrm>
              <a:custGeom>
                <a:avLst/>
                <a:gdLst/>
                <a:ahLst/>
                <a:cxnLst>
                  <a:cxn ang="0">
                    <a:pos x="301" y="94"/>
                  </a:cxn>
                  <a:cxn ang="0">
                    <a:pos x="299" y="113"/>
                  </a:cxn>
                  <a:cxn ang="0">
                    <a:pos x="294" y="141"/>
                  </a:cxn>
                  <a:cxn ang="0">
                    <a:pos x="304" y="164"/>
                  </a:cxn>
                  <a:cxn ang="0">
                    <a:pos x="330" y="159"/>
                  </a:cxn>
                  <a:cxn ang="0">
                    <a:pos x="308" y="177"/>
                  </a:cxn>
                  <a:cxn ang="0">
                    <a:pos x="283" y="191"/>
                  </a:cxn>
                  <a:cxn ang="0">
                    <a:pos x="271" y="195"/>
                  </a:cxn>
                  <a:cxn ang="0">
                    <a:pos x="238" y="195"/>
                  </a:cxn>
                  <a:cxn ang="0">
                    <a:pos x="208" y="223"/>
                  </a:cxn>
                  <a:cxn ang="0">
                    <a:pos x="195" y="259"/>
                  </a:cxn>
                  <a:cxn ang="0">
                    <a:pos x="162" y="248"/>
                  </a:cxn>
                  <a:cxn ang="0">
                    <a:pos x="114" y="224"/>
                  </a:cxn>
                  <a:cxn ang="0">
                    <a:pos x="84" y="227"/>
                  </a:cxn>
                  <a:cxn ang="0">
                    <a:pos x="63" y="235"/>
                  </a:cxn>
                  <a:cxn ang="0">
                    <a:pos x="36" y="226"/>
                  </a:cxn>
                  <a:cxn ang="0">
                    <a:pos x="34" y="251"/>
                  </a:cxn>
                  <a:cxn ang="0">
                    <a:pos x="74" y="277"/>
                  </a:cxn>
                  <a:cxn ang="0">
                    <a:pos x="59" y="283"/>
                  </a:cxn>
                  <a:cxn ang="0">
                    <a:pos x="40" y="289"/>
                  </a:cxn>
                  <a:cxn ang="0">
                    <a:pos x="22" y="307"/>
                  </a:cxn>
                  <a:cxn ang="0">
                    <a:pos x="11" y="295"/>
                  </a:cxn>
                  <a:cxn ang="0">
                    <a:pos x="0" y="247"/>
                  </a:cxn>
                  <a:cxn ang="0">
                    <a:pos x="11" y="214"/>
                  </a:cxn>
                  <a:cxn ang="0">
                    <a:pos x="34" y="195"/>
                  </a:cxn>
                  <a:cxn ang="0">
                    <a:pos x="31" y="176"/>
                  </a:cxn>
                  <a:cxn ang="0">
                    <a:pos x="47" y="171"/>
                  </a:cxn>
                  <a:cxn ang="0">
                    <a:pos x="81" y="175"/>
                  </a:cxn>
                  <a:cxn ang="0">
                    <a:pos x="87" y="146"/>
                  </a:cxn>
                  <a:cxn ang="0">
                    <a:pos x="94" y="127"/>
                  </a:cxn>
                  <a:cxn ang="0">
                    <a:pos x="102" y="90"/>
                  </a:cxn>
                  <a:cxn ang="0">
                    <a:pos x="99" y="25"/>
                  </a:cxn>
                  <a:cxn ang="0">
                    <a:pos x="110" y="3"/>
                  </a:cxn>
                  <a:cxn ang="0">
                    <a:pos x="122" y="8"/>
                  </a:cxn>
                  <a:cxn ang="0">
                    <a:pos x="135" y="22"/>
                  </a:cxn>
                  <a:cxn ang="0">
                    <a:pos x="179" y="75"/>
                  </a:cxn>
                  <a:cxn ang="0">
                    <a:pos x="222" y="103"/>
                  </a:cxn>
                  <a:cxn ang="0">
                    <a:pos x="250" y="116"/>
                  </a:cxn>
                  <a:cxn ang="0">
                    <a:pos x="272" y="118"/>
                  </a:cxn>
                </a:cxnLst>
                <a:rect l="0" t="0" r="r" b="b"/>
                <a:pathLst>
                  <a:path w="330" h="307">
                    <a:moveTo>
                      <a:pt x="285" y="108"/>
                    </a:moveTo>
                    <a:lnTo>
                      <a:pt x="301" y="94"/>
                    </a:lnTo>
                    <a:lnTo>
                      <a:pt x="305" y="97"/>
                    </a:lnTo>
                    <a:lnTo>
                      <a:pt x="299" y="113"/>
                    </a:lnTo>
                    <a:lnTo>
                      <a:pt x="291" y="129"/>
                    </a:lnTo>
                    <a:lnTo>
                      <a:pt x="294" y="141"/>
                    </a:lnTo>
                    <a:lnTo>
                      <a:pt x="304" y="148"/>
                    </a:lnTo>
                    <a:lnTo>
                      <a:pt x="304" y="164"/>
                    </a:lnTo>
                    <a:lnTo>
                      <a:pt x="315" y="164"/>
                    </a:lnTo>
                    <a:lnTo>
                      <a:pt x="330" y="159"/>
                    </a:lnTo>
                    <a:lnTo>
                      <a:pt x="325" y="170"/>
                    </a:lnTo>
                    <a:lnTo>
                      <a:pt x="308" y="177"/>
                    </a:lnTo>
                    <a:lnTo>
                      <a:pt x="293" y="188"/>
                    </a:lnTo>
                    <a:lnTo>
                      <a:pt x="283" y="191"/>
                    </a:lnTo>
                    <a:lnTo>
                      <a:pt x="277" y="187"/>
                    </a:lnTo>
                    <a:lnTo>
                      <a:pt x="271" y="195"/>
                    </a:lnTo>
                    <a:lnTo>
                      <a:pt x="254" y="193"/>
                    </a:lnTo>
                    <a:lnTo>
                      <a:pt x="238" y="195"/>
                    </a:lnTo>
                    <a:lnTo>
                      <a:pt x="223" y="204"/>
                    </a:lnTo>
                    <a:lnTo>
                      <a:pt x="208" y="223"/>
                    </a:lnTo>
                    <a:lnTo>
                      <a:pt x="199" y="241"/>
                    </a:lnTo>
                    <a:lnTo>
                      <a:pt x="195" y="259"/>
                    </a:lnTo>
                    <a:lnTo>
                      <a:pt x="189" y="268"/>
                    </a:lnTo>
                    <a:lnTo>
                      <a:pt x="162" y="248"/>
                    </a:lnTo>
                    <a:lnTo>
                      <a:pt x="142" y="241"/>
                    </a:lnTo>
                    <a:lnTo>
                      <a:pt x="114" y="224"/>
                    </a:lnTo>
                    <a:lnTo>
                      <a:pt x="97" y="221"/>
                    </a:lnTo>
                    <a:lnTo>
                      <a:pt x="84" y="227"/>
                    </a:lnTo>
                    <a:lnTo>
                      <a:pt x="74" y="236"/>
                    </a:lnTo>
                    <a:lnTo>
                      <a:pt x="63" y="235"/>
                    </a:lnTo>
                    <a:lnTo>
                      <a:pt x="52" y="225"/>
                    </a:lnTo>
                    <a:lnTo>
                      <a:pt x="36" y="226"/>
                    </a:lnTo>
                    <a:lnTo>
                      <a:pt x="28" y="240"/>
                    </a:lnTo>
                    <a:lnTo>
                      <a:pt x="34" y="251"/>
                    </a:lnTo>
                    <a:lnTo>
                      <a:pt x="57" y="262"/>
                    </a:lnTo>
                    <a:lnTo>
                      <a:pt x="74" y="277"/>
                    </a:lnTo>
                    <a:lnTo>
                      <a:pt x="71" y="284"/>
                    </a:lnTo>
                    <a:lnTo>
                      <a:pt x="59" y="283"/>
                    </a:lnTo>
                    <a:lnTo>
                      <a:pt x="50" y="283"/>
                    </a:lnTo>
                    <a:lnTo>
                      <a:pt x="40" y="289"/>
                    </a:lnTo>
                    <a:lnTo>
                      <a:pt x="35" y="297"/>
                    </a:lnTo>
                    <a:lnTo>
                      <a:pt x="22" y="307"/>
                    </a:lnTo>
                    <a:lnTo>
                      <a:pt x="14" y="305"/>
                    </a:lnTo>
                    <a:lnTo>
                      <a:pt x="11" y="295"/>
                    </a:lnTo>
                    <a:lnTo>
                      <a:pt x="18" y="264"/>
                    </a:lnTo>
                    <a:lnTo>
                      <a:pt x="0" y="247"/>
                    </a:lnTo>
                    <a:lnTo>
                      <a:pt x="2" y="224"/>
                    </a:lnTo>
                    <a:lnTo>
                      <a:pt x="11" y="214"/>
                    </a:lnTo>
                    <a:lnTo>
                      <a:pt x="24" y="207"/>
                    </a:lnTo>
                    <a:lnTo>
                      <a:pt x="34" y="195"/>
                    </a:lnTo>
                    <a:lnTo>
                      <a:pt x="38" y="184"/>
                    </a:lnTo>
                    <a:lnTo>
                      <a:pt x="31" y="176"/>
                    </a:lnTo>
                    <a:lnTo>
                      <a:pt x="34" y="167"/>
                    </a:lnTo>
                    <a:lnTo>
                      <a:pt x="47" y="171"/>
                    </a:lnTo>
                    <a:lnTo>
                      <a:pt x="60" y="175"/>
                    </a:lnTo>
                    <a:lnTo>
                      <a:pt x="81" y="175"/>
                    </a:lnTo>
                    <a:lnTo>
                      <a:pt x="88" y="160"/>
                    </a:lnTo>
                    <a:lnTo>
                      <a:pt x="87" y="146"/>
                    </a:lnTo>
                    <a:lnTo>
                      <a:pt x="87" y="135"/>
                    </a:lnTo>
                    <a:lnTo>
                      <a:pt x="94" y="127"/>
                    </a:lnTo>
                    <a:lnTo>
                      <a:pt x="100" y="110"/>
                    </a:lnTo>
                    <a:lnTo>
                      <a:pt x="102" y="90"/>
                    </a:lnTo>
                    <a:lnTo>
                      <a:pt x="109" y="58"/>
                    </a:lnTo>
                    <a:lnTo>
                      <a:pt x="99" y="25"/>
                    </a:lnTo>
                    <a:lnTo>
                      <a:pt x="99" y="15"/>
                    </a:lnTo>
                    <a:lnTo>
                      <a:pt x="110" y="3"/>
                    </a:lnTo>
                    <a:lnTo>
                      <a:pt x="115" y="0"/>
                    </a:lnTo>
                    <a:lnTo>
                      <a:pt x="122" y="8"/>
                    </a:lnTo>
                    <a:lnTo>
                      <a:pt x="126" y="15"/>
                    </a:lnTo>
                    <a:lnTo>
                      <a:pt x="135" y="22"/>
                    </a:lnTo>
                    <a:lnTo>
                      <a:pt x="158" y="54"/>
                    </a:lnTo>
                    <a:lnTo>
                      <a:pt x="179" y="75"/>
                    </a:lnTo>
                    <a:lnTo>
                      <a:pt x="199" y="92"/>
                    </a:lnTo>
                    <a:lnTo>
                      <a:pt x="222" y="103"/>
                    </a:lnTo>
                    <a:lnTo>
                      <a:pt x="244" y="108"/>
                    </a:lnTo>
                    <a:lnTo>
                      <a:pt x="250" y="116"/>
                    </a:lnTo>
                    <a:lnTo>
                      <a:pt x="261" y="121"/>
                    </a:lnTo>
                    <a:lnTo>
                      <a:pt x="272" y="118"/>
                    </a:lnTo>
                    <a:lnTo>
                      <a:pt x="285" y="1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1" name="Freeform 108"/>
              <p:cNvSpPr>
                <a:spLocks noChangeAspect="1"/>
              </p:cNvSpPr>
              <p:nvPr/>
            </p:nvSpPr>
            <p:spPr bwMode="gray">
              <a:xfrm>
                <a:off x="3952" y="1989"/>
                <a:ext cx="123" cy="110"/>
              </a:xfrm>
              <a:custGeom>
                <a:avLst/>
                <a:gdLst/>
                <a:ahLst/>
                <a:cxnLst>
                  <a:cxn ang="0">
                    <a:pos x="578" y="13"/>
                  </a:cxn>
                  <a:cxn ang="0">
                    <a:pos x="582" y="69"/>
                  </a:cxn>
                  <a:cxn ang="0">
                    <a:pos x="607" y="118"/>
                  </a:cxn>
                  <a:cxn ang="0">
                    <a:pos x="608" y="160"/>
                  </a:cxn>
                  <a:cxn ang="0">
                    <a:pos x="593" y="180"/>
                  </a:cxn>
                  <a:cxn ang="0">
                    <a:pos x="571" y="223"/>
                  </a:cxn>
                  <a:cxn ang="0">
                    <a:pos x="554" y="268"/>
                  </a:cxn>
                  <a:cxn ang="0">
                    <a:pos x="558" y="317"/>
                  </a:cxn>
                  <a:cxn ang="0">
                    <a:pos x="535" y="365"/>
                  </a:cxn>
                  <a:cxn ang="0">
                    <a:pos x="545" y="404"/>
                  </a:cxn>
                  <a:cxn ang="0">
                    <a:pos x="521" y="439"/>
                  </a:cxn>
                  <a:cxn ang="0">
                    <a:pos x="495" y="425"/>
                  </a:cxn>
                  <a:cxn ang="0">
                    <a:pos x="491" y="408"/>
                  </a:cxn>
                  <a:cxn ang="0">
                    <a:pos x="483" y="440"/>
                  </a:cxn>
                  <a:cxn ang="0">
                    <a:pos x="456" y="443"/>
                  </a:cxn>
                  <a:cxn ang="0">
                    <a:pos x="437" y="474"/>
                  </a:cxn>
                  <a:cxn ang="0">
                    <a:pos x="427" y="446"/>
                  </a:cxn>
                  <a:cxn ang="0">
                    <a:pos x="404" y="478"/>
                  </a:cxn>
                  <a:cxn ang="0">
                    <a:pos x="356" y="476"/>
                  </a:cxn>
                  <a:cxn ang="0">
                    <a:pos x="351" y="470"/>
                  </a:cxn>
                  <a:cxn ang="0">
                    <a:pos x="333" y="470"/>
                  </a:cxn>
                  <a:cxn ang="0">
                    <a:pos x="320" y="451"/>
                  </a:cxn>
                  <a:cxn ang="0">
                    <a:pos x="328" y="504"/>
                  </a:cxn>
                  <a:cxn ang="0">
                    <a:pos x="307" y="503"/>
                  </a:cxn>
                  <a:cxn ang="0">
                    <a:pos x="295" y="517"/>
                  </a:cxn>
                  <a:cxn ang="0">
                    <a:pos x="252" y="546"/>
                  </a:cxn>
                  <a:cxn ang="0">
                    <a:pos x="233" y="517"/>
                  </a:cxn>
                  <a:cxn ang="0">
                    <a:pos x="248" y="479"/>
                  </a:cxn>
                  <a:cxn ang="0">
                    <a:pos x="228" y="476"/>
                  </a:cxn>
                  <a:cxn ang="0">
                    <a:pos x="190" y="468"/>
                  </a:cxn>
                  <a:cxn ang="0">
                    <a:pos x="156" y="483"/>
                  </a:cxn>
                  <a:cxn ang="0">
                    <a:pos x="133" y="492"/>
                  </a:cxn>
                  <a:cxn ang="0">
                    <a:pos x="92" y="503"/>
                  </a:cxn>
                  <a:cxn ang="0">
                    <a:pos x="69" y="524"/>
                  </a:cxn>
                  <a:cxn ang="0">
                    <a:pos x="43" y="515"/>
                  </a:cxn>
                  <a:cxn ang="0">
                    <a:pos x="20" y="521"/>
                  </a:cxn>
                  <a:cxn ang="0">
                    <a:pos x="0" y="503"/>
                  </a:cxn>
                  <a:cxn ang="0">
                    <a:pos x="35" y="478"/>
                  </a:cxn>
                  <a:cxn ang="0">
                    <a:pos x="74" y="446"/>
                  </a:cxn>
                  <a:cxn ang="0">
                    <a:pos x="106" y="417"/>
                  </a:cxn>
                  <a:cxn ang="0">
                    <a:pos x="155" y="416"/>
                  </a:cxn>
                  <a:cxn ang="0">
                    <a:pos x="219" y="407"/>
                  </a:cxn>
                  <a:cxn ang="0">
                    <a:pos x="237" y="412"/>
                  </a:cxn>
                  <a:cxn ang="0">
                    <a:pos x="270" y="412"/>
                  </a:cxn>
                  <a:cxn ang="0">
                    <a:pos x="300" y="357"/>
                  </a:cxn>
                  <a:cxn ang="0">
                    <a:pos x="322" y="305"/>
                  </a:cxn>
                  <a:cxn ang="0">
                    <a:pos x="351" y="284"/>
                  </a:cxn>
                  <a:cxn ang="0">
                    <a:pos x="333" y="306"/>
                  </a:cxn>
                  <a:cxn ang="0">
                    <a:pos x="336" y="333"/>
                  </a:cxn>
                  <a:cxn ang="0">
                    <a:pos x="363" y="321"/>
                  </a:cxn>
                  <a:cxn ang="0">
                    <a:pos x="410" y="295"/>
                  </a:cxn>
                  <a:cxn ang="0">
                    <a:pos x="440" y="257"/>
                  </a:cxn>
                  <a:cxn ang="0">
                    <a:pos x="467" y="235"/>
                  </a:cxn>
                  <a:cxn ang="0">
                    <a:pos x="486" y="188"/>
                  </a:cxn>
                  <a:cxn ang="0">
                    <a:pos x="499" y="154"/>
                  </a:cxn>
                  <a:cxn ang="0">
                    <a:pos x="495" y="117"/>
                  </a:cxn>
                  <a:cxn ang="0">
                    <a:pos x="499" y="92"/>
                  </a:cxn>
                  <a:cxn ang="0">
                    <a:pos x="512" y="49"/>
                  </a:cxn>
                  <a:cxn ang="0">
                    <a:pos x="524" y="20"/>
                  </a:cxn>
                  <a:cxn ang="0">
                    <a:pos x="539" y="48"/>
                  </a:cxn>
                  <a:cxn ang="0">
                    <a:pos x="560" y="41"/>
                  </a:cxn>
                  <a:cxn ang="0">
                    <a:pos x="559" y="22"/>
                  </a:cxn>
                  <a:cxn ang="0">
                    <a:pos x="547" y="3"/>
                  </a:cxn>
                </a:cxnLst>
                <a:rect l="0" t="0" r="r" b="b"/>
                <a:pathLst>
                  <a:path w="613" h="552">
                    <a:moveTo>
                      <a:pt x="560" y="6"/>
                    </a:moveTo>
                    <a:lnTo>
                      <a:pt x="576" y="6"/>
                    </a:lnTo>
                    <a:lnTo>
                      <a:pt x="578" y="13"/>
                    </a:lnTo>
                    <a:lnTo>
                      <a:pt x="576" y="37"/>
                    </a:lnTo>
                    <a:lnTo>
                      <a:pt x="577" y="53"/>
                    </a:lnTo>
                    <a:lnTo>
                      <a:pt x="582" y="69"/>
                    </a:lnTo>
                    <a:lnTo>
                      <a:pt x="592" y="83"/>
                    </a:lnTo>
                    <a:lnTo>
                      <a:pt x="598" y="96"/>
                    </a:lnTo>
                    <a:lnTo>
                      <a:pt x="607" y="118"/>
                    </a:lnTo>
                    <a:lnTo>
                      <a:pt x="613" y="143"/>
                    </a:lnTo>
                    <a:lnTo>
                      <a:pt x="612" y="153"/>
                    </a:lnTo>
                    <a:lnTo>
                      <a:pt x="608" y="160"/>
                    </a:lnTo>
                    <a:lnTo>
                      <a:pt x="607" y="171"/>
                    </a:lnTo>
                    <a:lnTo>
                      <a:pt x="599" y="180"/>
                    </a:lnTo>
                    <a:lnTo>
                      <a:pt x="593" y="180"/>
                    </a:lnTo>
                    <a:lnTo>
                      <a:pt x="585" y="208"/>
                    </a:lnTo>
                    <a:lnTo>
                      <a:pt x="583" y="224"/>
                    </a:lnTo>
                    <a:lnTo>
                      <a:pt x="571" y="223"/>
                    </a:lnTo>
                    <a:lnTo>
                      <a:pt x="556" y="232"/>
                    </a:lnTo>
                    <a:lnTo>
                      <a:pt x="551" y="251"/>
                    </a:lnTo>
                    <a:lnTo>
                      <a:pt x="554" y="268"/>
                    </a:lnTo>
                    <a:lnTo>
                      <a:pt x="556" y="284"/>
                    </a:lnTo>
                    <a:lnTo>
                      <a:pt x="556" y="305"/>
                    </a:lnTo>
                    <a:lnTo>
                      <a:pt x="558" y="317"/>
                    </a:lnTo>
                    <a:lnTo>
                      <a:pt x="548" y="327"/>
                    </a:lnTo>
                    <a:lnTo>
                      <a:pt x="539" y="347"/>
                    </a:lnTo>
                    <a:lnTo>
                      <a:pt x="535" y="365"/>
                    </a:lnTo>
                    <a:lnTo>
                      <a:pt x="535" y="386"/>
                    </a:lnTo>
                    <a:lnTo>
                      <a:pt x="543" y="397"/>
                    </a:lnTo>
                    <a:lnTo>
                      <a:pt x="545" y="404"/>
                    </a:lnTo>
                    <a:lnTo>
                      <a:pt x="537" y="409"/>
                    </a:lnTo>
                    <a:lnTo>
                      <a:pt x="527" y="425"/>
                    </a:lnTo>
                    <a:lnTo>
                      <a:pt x="521" y="439"/>
                    </a:lnTo>
                    <a:lnTo>
                      <a:pt x="494" y="459"/>
                    </a:lnTo>
                    <a:lnTo>
                      <a:pt x="491" y="449"/>
                    </a:lnTo>
                    <a:lnTo>
                      <a:pt x="495" y="425"/>
                    </a:lnTo>
                    <a:lnTo>
                      <a:pt x="502" y="417"/>
                    </a:lnTo>
                    <a:lnTo>
                      <a:pt x="505" y="408"/>
                    </a:lnTo>
                    <a:lnTo>
                      <a:pt x="491" y="408"/>
                    </a:lnTo>
                    <a:lnTo>
                      <a:pt x="489" y="419"/>
                    </a:lnTo>
                    <a:lnTo>
                      <a:pt x="484" y="429"/>
                    </a:lnTo>
                    <a:lnTo>
                      <a:pt x="483" y="440"/>
                    </a:lnTo>
                    <a:lnTo>
                      <a:pt x="475" y="434"/>
                    </a:lnTo>
                    <a:lnTo>
                      <a:pt x="462" y="433"/>
                    </a:lnTo>
                    <a:lnTo>
                      <a:pt x="456" y="443"/>
                    </a:lnTo>
                    <a:lnTo>
                      <a:pt x="451" y="468"/>
                    </a:lnTo>
                    <a:lnTo>
                      <a:pt x="445" y="476"/>
                    </a:lnTo>
                    <a:lnTo>
                      <a:pt x="437" y="474"/>
                    </a:lnTo>
                    <a:lnTo>
                      <a:pt x="435" y="459"/>
                    </a:lnTo>
                    <a:lnTo>
                      <a:pt x="436" y="447"/>
                    </a:lnTo>
                    <a:lnTo>
                      <a:pt x="427" y="446"/>
                    </a:lnTo>
                    <a:lnTo>
                      <a:pt x="419" y="455"/>
                    </a:lnTo>
                    <a:lnTo>
                      <a:pt x="410" y="466"/>
                    </a:lnTo>
                    <a:lnTo>
                      <a:pt x="404" y="478"/>
                    </a:lnTo>
                    <a:lnTo>
                      <a:pt x="402" y="479"/>
                    </a:lnTo>
                    <a:lnTo>
                      <a:pt x="384" y="476"/>
                    </a:lnTo>
                    <a:lnTo>
                      <a:pt x="356" y="476"/>
                    </a:lnTo>
                    <a:lnTo>
                      <a:pt x="341" y="479"/>
                    </a:lnTo>
                    <a:lnTo>
                      <a:pt x="345" y="474"/>
                    </a:lnTo>
                    <a:lnTo>
                      <a:pt x="351" y="470"/>
                    </a:lnTo>
                    <a:lnTo>
                      <a:pt x="339" y="467"/>
                    </a:lnTo>
                    <a:lnTo>
                      <a:pt x="336" y="463"/>
                    </a:lnTo>
                    <a:lnTo>
                      <a:pt x="333" y="470"/>
                    </a:lnTo>
                    <a:lnTo>
                      <a:pt x="327" y="462"/>
                    </a:lnTo>
                    <a:lnTo>
                      <a:pt x="325" y="449"/>
                    </a:lnTo>
                    <a:lnTo>
                      <a:pt x="320" y="451"/>
                    </a:lnTo>
                    <a:lnTo>
                      <a:pt x="309" y="476"/>
                    </a:lnTo>
                    <a:lnTo>
                      <a:pt x="328" y="488"/>
                    </a:lnTo>
                    <a:lnTo>
                      <a:pt x="328" y="504"/>
                    </a:lnTo>
                    <a:lnTo>
                      <a:pt x="320" y="498"/>
                    </a:lnTo>
                    <a:lnTo>
                      <a:pt x="314" y="501"/>
                    </a:lnTo>
                    <a:lnTo>
                      <a:pt x="307" y="503"/>
                    </a:lnTo>
                    <a:lnTo>
                      <a:pt x="300" y="508"/>
                    </a:lnTo>
                    <a:lnTo>
                      <a:pt x="296" y="514"/>
                    </a:lnTo>
                    <a:lnTo>
                      <a:pt x="295" y="517"/>
                    </a:lnTo>
                    <a:lnTo>
                      <a:pt x="279" y="546"/>
                    </a:lnTo>
                    <a:lnTo>
                      <a:pt x="268" y="552"/>
                    </a:lnTo>
                    <a:lnTo>
                      <a:pt x="252" y="546"/>
                    </a:lnTo>
                    <a:lnTo>
                      <a:pt x="247" y="536"/>
                    </a:lnTo>
                    <a:lnTo>
                      <a:pt x="236" y="529"/>
                    </a:lnTo>
                    <a:lnTo>
                      <a:pt x="233" y="517"/>
                    </a:lnTo>
                    <a:lnTo>
                      <a:pt x="233" y="499"/>
                    </a:lnTo>
                    <a:lnTo>
                      <a:pt x="238" y="494"/>
                    </a:lnTo>
                    <a:lnTo>
                      <a:pt x="248" y="479"/>
                    </a:lnTo>
                    <a:lnTo>
                      <a:pt x="249" y="474"/>
                    </a:lnTo>
                    <a:lnTo>
                      <a:pt x="247" y="472"/>
                    </a:lnTo>
                    <a:lnTo>
                      <a:pt x="228" y="476"/>
                    </a:lnTo>
                    <a:lnTo>
                      <a:pt x="216" y="471"/>
                    </a:lnTo>
                    <a:lnTo>
                      <a:pt x="203" y="468"/>
                    </a:lnTo>
                    <a:lnTo>
                      <a:pt x="190" y="468"/>
                    </a:lnTo>
                    <a:lnTo>
                      <a:pt x="179" y="478"/>
                    </a:lnTo>
                    <a:lnTo>
                      <a:pt x="163" y="488"/>
                    </a:lnTo>
                    <a:lnTo>
                      <a:pt x="156" y="483"/>
                    </a:lnTo>
                    <a:lnTo>
                      <a:pt x="147" y="487"/>
                    </a:lnTo>
                    <a:lnTo>
                      <a:pt x="142" y="487"/>
                    </a:lnTo>
                    <a:lnTo>
                      <a:pt x="133" y="492"/>
                    </a:lnTo>
                    <a:lnTo>
                      <a:pt x="126" y="492"/>
                    </a:lnTo>
                    <a:lnTo>
                      <a:pt x="119" y="495"/>
                    </a:lnTo>
                    <a:lnTo>
                      <a:pt x="92" y="503"/>
                    </a:lnTo>
                    <a:lnTo>
                      <a:pt x="85" y="497"/>
                    </a:lnTo>
                    <a:lnTo>
                      <a:pt x="78" y="498"/>
                    </a:lnTo>
                    <a:lnTo>
                      <a:pt x="69" y="524"/>
                    </a:lnTo>
                    <a:lnTo>
                      <a:pt x="64" y="525"/>
                    </a:lnTo>
                    <a:lnTo>
                      <a:pt x="51" y="520"/>
                    </a:lnTo>
                    <a:lnTo>
                      <a:pt x="43" y="515"/>
                    </a:lnTo>
                    <a:lnTo>
                      <a:pt x="32" y="519"/>
                    </a:lnTo>
                    <a:lnTo>
                      <a:pt x="24" y="519"/>
                    </a:lnTo>
                    <a:lnTo>
                      <a:pt x="20" y="521"/>
                    </a:lnTo>
                    <a:lnTo>
                      <a:pt x="10" y="517"/>
                    </a:lnTo>
                    <a:lnTo>
                      <a:pt x="0" y="516"/>
                    </a:lnTo>
                    <a:lnTo>
                      <a:pt x="0" y="503"/>
                    </a:lnTo>
                    <a:lnTo>
                      <a:pt x="1" y="495"/>
                    </a:lnTo>
                    <a:lnTo>
                      <a:pt x="26" y="488"/>
                    </a:lnTo>
                    <a:lnTo>
                      <a:pt x="35" y="478"/>
                    </a:lnTo>
                    <a:lnTo>
                      <a:pt x="45" y="471"/>
                    </a:lnTo>
                    <a:lnTo>
                      <a:pt x="63" y="461"/>
                    </a:lnTo>
                    <a:lnTo>
                      <a:pt x="74" y="446"/>
                    </a:lnTo>
                    <a:lnTo>
                      <a:pt x="87" y="438"/>
                    </a:lnTo>
                    <a:lnTo>
                      <a:pt x="94" y="424"/>
                    </a:lnTo>
                    <a:lnTo>
                      <a:pt x="106" y="417"/>
                    </a:lnTo>
                    <a:lnTo>
                      <a:pt x="118" y="413"/>
                    </a:lnTo>
                    <a:lnTo>
                      <a:pt x="136" y="418"/>
                    </a:lnTo>
                    <a:lnTo>
                      <a:pt x="155" y="416"/>
                    </a:lnTo>
                    <a:lnTo>
                      <a:pt x="169" y="417"/>
                    </a:lnTo>
                    <a:lnTo>
                      <a:pt x="209" y="408"/>
                    </a:lnTo>
                    <a:lnTo>
                      <a:pt x="219" y="407"/>
                    </a:lnTo>
                    <a:lnTo>
                      <a:pt x="228" y="403"/>
                    </a:lnTo>
                    <a:lnTo>
                      <a:pt x="238" y="403"/>
                    </a:lnTo>
                    <a:lnTo>
                      <a:pt x="237" y="412"/>
                    </a:lnTo>
                    <a:lnTo>
                      <a:pt x="260" y="418"/>
                    </a:lnTo>
                    <a:lnTo>
                      <a:pt x="265" y="417"/>
                    </a:lnTo>
                    <a:lnTo>
                      <a:pt x="270" y="412"/>
                    </a:lnTo>
                    <a:lnTo>
                      <a:pt x="282" y="403"/>
                    </a:lnTo>
                    <a:lnTo>
                      <a:pt x="284" y="371"/>
                    </a:lnTo>
                    <a:lnTo>
                      <a:pt x="300" y="357"/>
                    </a:lnTo>
                    <a:lnTo>
                      <a:pt x="312" y="339"/>
                    </a:lnTo>
                    <a:lnTo>
                      <a:pt x="320" y="320"/>
                    </a:lnTo>
                    <a:lnTo>
                      <a:pt x="322" y="305"/>
                    </a:lnTo>
                    <a:lnTo>
                      <a:pt x="324" y="294"/>
                    </a:lnTo>
                    <a:lnTo>
                      <a:pt x="343" y="283"/>
                    </a:lnTo>
                    <a:lnTo>
                      <a:pt x="351" y="284"/>
                    </a:lnTo>
                    <a:lnTo>
                      <a:pt x="350" y="294"/>
                    </a:lnTo>
                    <a:lnTo>
                      <a:pt x="341" y="298"/>
                    </a:lnTo>
                    <a:lnTo>
                      <a:pt x="333" y="306"/>
                    </a:lnTo>
                    <a:lnTo>
                      <a:pt x="332" y="309"/>
                    </a:lnTo>
                    <a:lnTo>
                      <a:pt x="336" y="321"/>
                    </a:lnTo>
                    <a:lnTo>
                      <a:pt x="336" y="333"/>
                    </a:lnTo>
                    <a:lnTo>
                      <a:pt x="341" y="333"/>
                    </a:lnTo>
                    <a:lnTo>
                      <a:pt x="354" y="332"/>
                    </a:lnTo>
                    <a:lnTo>
                      <a:pt x="363" y="321"/>
                    </a:lnTo>
                    <a:lnTo>
                      <a:pt x="377" y="314"/>
                    </a:lnTo>
                    <a:lnTo>
                      <a:pt x="393" y="309"/>
                    </a:lnTo>
                    <a:lnTo>
                      <a:pt x="410" y="295"/>
                    </a:lnTo>
                    <a:lnTo>
                      <a:pt x="422" y="284"/>
                    </a:lnTo>
                    <a:lnTo>
                      <a:pt x="430" y="269"/>
                    </a:lnTo>
                    <a:lnTo>
                      <a:pt x="440" y="257"/>
                    </a:lnTo>
                    <a:lnTo>
                      <a:pt x="453" y="247"/>
                    </a:lnTo>
                    <a:lnTo>
                      <a:pt x="459" y="247"/>
                    </a:lnTo>
                    <a:lnTo>
                      <a:pt x="467" y="235"/>
                    </a:lnTo>
                    <a:lnTo>
                      <a:pt x="468" y="225"/>
                    </a:lnTo>
                    <a:lnTo>
                      <a:pt x="470" y="215"/>
                    </a:lnTo>
                    <a:lnTo>
                      <a:pt x="486" y="188"/>
                    </a:lnTo>
                    <a:lnTo>
                      <a:pt x="490" y="176"/>
                    </a:lnTo>
                    <a:lnTo>
                      <a:pt x="492" y="165"/>
                    </a:lnTo>
                    <a:lnTo>
                      <a:pt x="499" y="154"/>
                    </a:lnTo>
                    <a:lnTo>
                      <a:pt x="502" y="139"/>
                    </a:lnTo>
                    <a:lnTo>
                      <a:pt x="502" y="123"/>
                    </a:lnTo>
                    <a:lnTo>
                      <a:pt x="495" y="117"/>
                    </a:lnTo>
                    <a:lnTo>
                      <a:pt x="484" y="112"/>
                    </a:lnTo>
                    <a:lnTo>
                      <a:pt x="489" y="107"/>
                    </a:lnTo>
                    <a:lnTo>
                      <a:pt x="499" y="92"/>
                    </a:lnTo>
                    <a:lnTo>
                      <a:pt x="497" y="62"/>
                    </a:lnTo>
                    <a:lnTo>
                      <a:pt x="502" y="53"/>
                    </a:lnTo>
                    <a:lnTo>
                      <a:pt x="512" y="49"/>
                    </a:lnTo>
                    <a:lnTo>
                      <a:pt x="513" y="32"/>
                    </a:lnTo>
                    <a:lnTo>
                      <a:pt x="517" y="24"/>
                    </a:lnTo>
                    <a:lnTo>
                      <a:pt x="524" y="20"/>
                    </a:lnTo>
                    <a:lnTo>
                      <a:pt x="531" y="29"/>
                    </a:lnTo>
                    <a:lnTo>
                      <a:pt x="535" y="42"/>
                    </a:lnTo>
                    <a:lnTo>
                      <a:pt x="539" y="48"/>
                    </a:lnTo>
                    <a:lnTo>
                      <a:pt x="547" y="38"/>
                    </a:lnTo>
                    <a:lnTo>
                      <a:pt x="553" y="42"/>
                    </a:lnTo>
                    <a:lnTo>
                      <a:pt x="560" y="41"/>
                    </a:lnTo>
                    <a:lnTo>
                      <a:pt x="566" y="27"/>
                    </a:lnTo>
                    <a:lnTo>
                      <a:pt x="567" y="15"/>
                    </a:lnTo>
                    <a:lnTo>
                      <a:pt x="559" y="22"/>
                    </a:lnTo>
                    <a:lnTo>
                      <a:pt x="547" y="26"/>
                    </a:lnTo>
                    <a:lnTo>
                      <a:pt x="543" y="14"/>
                    </a:lnTo>
                    <a:lnTo>
                      <a:pt x="547" y="3"/>
                    </a:lnTo>
                    <a:lnTo>
                      <a:pt x="551" y="0"/>
                    </a:lnTo>
                    <a:lnTo>
                      <a:pt x="560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2" name="Freeform 109"/>
              <p:cNvSpPr>
                <a:spLocks noChangeAspect="1"/>
              </p:cNvSpPr>
              <p:nvPr/>
            </p:nvSpPr>
            <p:spPr bwMode="gray">
              <a:xfrm>
                <a:off x="3966" y="2088"/>
                <a:ext cx="28" cy="21"/>
              </a:xfrm>
              <a:custGeom>
                <a:avLst/>
                <a:gdLst/>
                <a:ahLst/>
                <a:cxnLst>
                  <a:cxn ang="0">
                    <a:pos x="113" y="70"/>
                  </a:cxn>
                  <a:cxn ang="0">
                    <a:pos x="102" y="63"/>
                  </a:cxn>
                  <a:cxn ang="0">
                    <a:pos x="88" y="58"/>
                  </a:cxn>
                  <a:cxn ang="0">
                    <a:pos x="74" y="62"/>
                  </a:cxn>
                  <a:cxn ang="0">
                    <a:pos x="66" y="68"/>
                  </a:cxn>
                  <a:cxn ang="0">
                    <a:pos x="59" y="80"/>
                  </a:cxn>
                  <a:cxn ang="0">
                    <a:pos x="50" y="95"/>
                  </a:cxn>
                  <a:cxn ang="0">
                    <a:pos x="48" y="106"/>
                  </a:cxn>
                  <a:cxn ang="0">
                    <a:pos x="39" y="107"/>
                  </a:cxn>
                  <a:cxn ang="0">
                    <a:pos x="30" y="100"/>
                  </a:cxn>
                  <a:cxn ang="0">
                    <a:pos x="26" y="95"/>
                  </a:cxn>
                  <a:cxn ang="0">
                    <a:pos x="19" y="82"/>
                  </a:cxn>
                  <a:cxn ang="0">
                    <a:pos x="20" y="76"/>
                  </a:cxn>
                  <a:cxn ang="0">
                    <a:pos x="16" y="69"/>
                  </a:cxn>
                  <a:cxn ang="0">
                    <a:pos x="10" y="64"/>
                  </a:cxn>
                  <a:cxn ang="0">
                    <a:pos x="0" y="64"/>
                  </a:cxn>
                  <a:cxn ang="0">
                    <a:pos x="15" y="53"/>
                  </a:cxn>
                  <a:cxn ang="0">
                    <a:pos x="37" y="23"/>
                  </a:cxn>
                  <a:cxn ang="0">
                    <a:pos x="50" y="25"/>
                  </a:cxn>
                  <a:cxn ang="0">
                    <a:pos x="57" y="28"/>
                  </a:cxn>
                  <a:cxn ang="0">
                    <a:pos x="68" y="26"/>
                  </a:cxn>
                  <a:cxn ang="0">
                    <a:pos x="78" y="21"/>
                  </a:cxn>
                  <a:cxn ang="0">
                    <a:pos x="82" y="14"/>
                  </a:cxn>
                  <a:cxn ang="0">
                    <a:pos x="95" y="1"/>
                  </a:cxn>
                  <a:cxn ang="0">
                    <a:pos x="102" y="0"/>
                  </a:cxn>
                  <a:cxn ang="0">
                    <a:pos x="112" y="3"/>
                  </a:cxn>
                  <a:cxn ang="0">
                    <a:pos x="123" y="9"/>
                  </a:cxn>
                  <a:cxn ang="0">
                    <a:pos x="132" y="10"/>
                  </a:cxn>
                  <a:cxn ang="0">
                    <a:pos x="138" y="33"/>
                  </a:cxn>
                  <a:cxn ang="0">
                    <a:pos x="140" y="36"/>
                  </a:cxn>
                  <a:cxn ang="0">
                    <a:pos x="134" y="44"/>
                  </a:cxn>
                  <a:cxn ang="0">
                    <a:pos x="128" y="47"/>
                  </a:cxn>
                  <a:cxn ang="0">
                    <a:pos x="123" y="54"/>
                  </a:cxn>
                  <a:cxn ang="0">
                    <a:pos x="118" y="63"/>
                  </a:cxn>
                  <a:cxn ang="0">
                    <a:pos x="113" y="70"/>
                  </a:cxn>
                </a:cxnLst>
                <a:rect l="0" t="0" r="r" b="b"/>
                <a:pathLst>
                  <a:path w="140" h="107">
                    <a:moveTo>
                      <a:pt x="113" y="70"/>
                    </a:moveTo>
                    <a:lnTo>
                      <a:pt x="102" y="63"/>
                    </a:lnTo>
                    <a:lnTo>
                      <a:pt x="88" y="58"/>
                    </a:lnTo>
                    <a:lnTo>
                      <a:pt x="74" y="62"/>
                    </a:lnTo>
                    <a:lnTo>
                      <a:pt x="66" y="68"/>
                    </a:lnTo>
                    <a:lnTo>
                      <a:pt x="59" y="80"/>
                    </a:lnTo>
                    <a:lnTo>
                      <a:pt x="50" y="95"/>
                    </a:lnTo>
                    <a:lnTo>
                      <a:pt x="48" y="106"/>
                    </a:lnTo>
                    <a:lnTo>
                      <a:pt x="39" y="107"/>
                    </a:lnTo>
                    <a:lnTo>
                      <a:pt x="30" y="100"/>
                    </a:lnTo>
                    <a:lnTo>
                      <a:pt x="26" y="95"/>
                    </a:lnTo>
                    <a:lnTo>
                      <a:pt x="19" y="82"/>
                    </a:lnTo>
                    <a:lnTo>
                      <a:pt x="20" y="76"/>
                    </a:lnTo>
                    <a:lnTo>
                      <a:pt x="16" y="69"/>
                    </a:lnTo>
                    <a:lnTo>
                      <a:pt x="10" y="64"/>
                    </a:lnTo>
                    <a:lnTo>
                      <a:pt x="0" y="64"/>
                    </a:lnTo>
                    <a:lnTo>
                      <a:pt x="15" y="53"/>
                    </a:lnTo>
                    <a:lnTo>
                      <a:pt x="37" y="23"/>
                    </a:lnTo>
                    <a:lnTo>
                      <a:pt x="50" y="25"/>
                    </a:lnTo>
                    <a:lnTo>
                      <a:pt x="57" y="28"/>
                    </a:lnTo>
                    <a:lnTo>
                      <a:pt x="68" y="26"/>
                    </a:lnTo>
                    <a:lnTo>
                      <a:pt x="78" y="21"/>
                    </a:lnTo>
                    <a:lnTo>
                      <a:pt x="82" y="14"/>
                    </a:lnTo>
                    <a:lnTo>
                      <a:pt x="95" y="1"/>
                    </a:lnTo>
                    <a:lnTo>
                      <a:pt x="102" y="0"/>
                    </a:lnTo>
                    <a:lnTo>
                      <a:pt x="112" y="3"/>
                    </a:lnTo>
                    <a:lnTo>
                      <a:pt x="123" y="9"/>
                    </a:lnTo>
                    <a:lnTo>
                      <a:pt x="132" y="10"/>
                    </a:lnTo>
                    <a:lnTo>
                      <a:pt x="138" y="33"/>
                    </a:lnTo>
                    <a:lnTo>
                      <a:pt x="140" y="36"/>
                    </a:lnTo>
                    <a:lnTo>
                      <a:pt x="134" y="44"/>
                    </a:lnTo>
                    <a:lnTo>
                      <a:pt x="128" y="47"/>
                    </a:lnTo>
                    <a:lnTo>
                      <a:pt x="123" y="54"/>
                    </a:lnTo>
                    <a:lnTo>
                      <a:pt x="118" y="63"/>
                    </a:lnTo>
                    <a:lnTo>
                      <a:pt x="1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53" name="Freeform 110"/>
              <p:cNvSpPr>
                <a:spLocks noChangeAspect="1"/>
              </p:cNvSpPr>
              <p:nvPr/>
            </p:nvSpPr>
            <p:spPr bwMode="gray">
              <a:xfrm>
                <a:off x="3938" y="2093"/>
                <a:ext cx="26" cy="38"/>
              </a:xfrm>
              <a:custGeom>
                <a:avLst/>
                <a:gdLst/>
                <a:ahLst/>
                <a:cxnLst>
                  <a:cxn ang="0">
                    <a:pos x="69" y="2"/>
                  </a:cxn>
                  <a:cxn ang="0">
                    <a:pos x="56" y="4"/>
                  </a:cxn>
                  <a:cxn ang="0">
                    <a:pos x="42" y="22"/>
                  </a:cxn>
                  <a:cxn ang="0">
                    <a:pos x="29" y="29"/>
                  </a:cxn>
                  <a:cxn ang="0">
                    <a:pos x="18" y="29"/>
                  </a:cxn>
                  <a:cxn ang="0">
                    <a:pos x="0" y="48"/>
                  </a:cxn>
                  <a:cxn ang="0">
                    <a:pos x="16" y="64"/>
                  </a:cxn>
                  <a:cxn ang="0">
                    <a:pos x="11" y="62"/>
                  </a:cxn>
                  <a:cxn ang="0">
                    <a:pos x="9" y="88"/>
                  </a:cxn>
                  <a:cxn ang="0">
                    <a:pos x="27" y="78"/>
                  </a:cxn>
                  <a:cxn ang="0">
                    <a:pos x="41" y="75"/>
                  </a:cxn>
                  <a:cxn ang="0">
                    <a:pos x="32" y="65"/>
                  </a:cxn>
                  <a:cxn ang="0">
                    <a:pos x="37" y="50"/>
                  </a:cxn>
                  <a:cxn ang="0">
                    <a:pos x="51" y="74"/>
                  </a:cxn>
                  <a:cxn ang="0">
                    <a:pos x="53" y="86"/>
                  </a:cxn>
                  <a:cxn ang="0">
                    <a:pos x="47" y="112"/>
                  </a:cxn>
                  <a:cxn ang="0">
                    <a:pos x="36" y="128"/>
                  </a:cxn>
                  <a:cxn ang="0">
                    <a:pos x="38" y="159"/>
                  </a:cxn>
                  <a:cxn ang="0">
                    <a:pos x="41" y="174"/>
                  </a:cxn>
                  <a:cxn ang="0">
                    <a:pos x="58" y="166"/>
                  </a:cxn>
                  <a:cxn ang="0">
                    <a:pos x="57" y="145"/>
                  </a:cxn>
                  <a:cxn ang="0">
                    <a:pos x="62" y="151"/>
                  </a:cxn>
                  <a:cxn ang="0">
                    <a:pos x="63" y="172"/>
                  </a:cxn>
                  <a:cxn ang="0">
                    <a:pos x="70" y="185"/>
                  </a:cxn>
                  <a:cxn ang="0">
                    <a:pos x="79" y="169"/>
                  </a:cxn>
                  <a:cxn ang="0">
                    <a:pos x="94" y="164"/>
                  </a:cxn>
                  <a:cxn ang="0">
                    <a:pos x="107" y="117"/>
                  </a:cxn>
                  <a:cxn ang="0">
                    <a:pos x="120" y="89"/>
                  </a:cxn>
                  <a:cxn ang="0">
                    <a:pos x="131" y="69"/>
                  </a:cxn>
                  <a:cxn ang="0">
                    <a:pos x="124" y="48"/>
                  </a:cxn>
                  <a:cxn ang="0">
                    <a:pos x="110" y="40"/>
                  </a:cxn>
                  <a:cxn ang="0">
                    <a:pos x="112" y="19"/>
                  </a:cxn>
                  <a:cxn ang="0">
                    <a:pos x="86" y="22"/>
                  </a:cxn>
                  <a:cxn ang="0">
                    <a:pos x="77" y="3"/>
                  </a:cxn>
                </a:cxnLst>
                <a:rect l="0" t="0" r="r" b="b"/>
                <a:pathLst>
                  <a:path w="131" h="187">
                    <a:moveTo>
                      <a:pt x="67" y="2"/>
                    </a:moveTo>
                    <a:lnTo>
                      <a:pt x="69" y="2"/>
                    </a:lnTo>
                    <a:lnTo>
                      <a:pt x="64" y="0"/>
                    </a:lnTo>
                    <a:lnTo>
                      <a:pt x="56" y="4"/>
                    </a:lnTo>
                    <a:lnTo>
                      <a:pt x="47" y="13"/>
                    </a:lnTo>
                    <a:lnTo>
                      <a:pt x="42" y="22"/>
                    </a:lnTo>
                    <a:lnTo>
                      <a:pt x="35" y="22"/>
                    </a:lnTo>
                    <a:lnTo>
                      <a:pt x="29" y="29"/>
                    </a:lnTo>
                    <a:lnTo>
                      <a:pt x="21" y="32"/>
                    </a:lnTo>
                    <a:lnTo>
                      <a:pt x="18" y="29"/>
                    </a:lnTo>
                    <a:lnTo>
                      <a:pt x="11" y="34"/>
                    </a:lnTo>
                    <a:lnTo>
                      <a:pt x="0" y="48"/>
                    </a:lnTo>
                    <a:lnTo>
                      <a:pt x="10" y="56"/>
                    </a:lnTo>
                    <a:lnTo>
                      <a:pt x="16" y="64"/>
                    </a:lnTo>
                    <a:lnTo>
                      <a:pt x="16" y="72"/>
                    </a:lnTo>
                    <a:lnTo>
                      <a:pt x="11" y="62"/>
                    </a:lnTo>
                    <a:lnTo>
                      <a:pt x="5" y="62"/>
                    </a:lnTo>
                    <a:lnTo>
                      <a:pt x="9" y="88"/>
                    </a:lnTo>
                    <a:lnTo>
                      <a:pt x="14" y="81"/>
                    </a:lnTo>
                    <a:lnTo>
                      <a:pt x="27" y="78"/>
                    </a:lnTo>
                    <a:lnTo>
                      <a:pt x="37" y="84"/>
                    </a:lnTo>
                    <a:lnTo>
                      <a:pt x="41" y="75"/>
                    </a:lnTo>
                    <a:lnTo>
                      <a:pt x="35" y="72"/>
                    </a:lnTo>
                    <a:lnTo>
                      <a:pt x="32" y="65"/>
                    </a:lnTo>
                    <a:lnTo>
                      <a:pt x="32" y="54"/>
                    </a:lnTo>
                    <a:lnTo>
                      <a:pt x="37" y="50"/>
                    </a:lnTo>
                    <a:lnTo>
                      <a:pt x="43" y="63"/>
                    </a:lnTo>
                    <a:lnTo>
                      <a:pt x="51" y="74"/>
                    </a:lnTo>
                    <a:lnTo>
                      <a:pt x="51" y="85"/>
                    </a:lnTo>
                    <a:lnTo>
                      <a:pt x="53" y="86"/>
                    </a:lnTo>
                    <a:lnTo>
                      <a:pt x="53" y="100"/>
                    </a:lnTo>
                    <a:lnTo>
                      <a:pt x="47" y="112"/>
                    </a:lnTo>
                    <a:lnTo>
                      <a:pt x="41" y="118"/>
                    </a:lnTo>
                    <a:lnTo>
                      <a:pt x="36" y="128"/>
                    </a:lnTo>
                    <a:lnTo>
                      <a:pt x="35" y="143"/>
                    </a:lnTo>
                    <a:lnTo>
                      <a:pt x="38" y="159"/>
                    </a:lnTo>
                    <a:lnTo>
                      <a:pt x="35" y="167"/>
                    </a:lnTo>
                    <a:lnTo>
                      <a:pt x="41" y="174"/>
                    </a:lnTo>
                    <a:lnTo>
                      <a:pt x="54" y="180"/>
                    </a:lnTo>
                    <a:lnTo>
                      <a:pt x="58" y="166"/>
                    </a:lnTo>
                    <a:lnTo>
                      <a:pt x="53" y="155"/>
                    </a:lnTo>
                    <a:lnTo>
                      <a:pt x="57" y="145"/>
                    </a:lnTo>
                    <a:lnTo>
                      <a:pt x="65" y="148"/>
                    </a:lnTo>
                    <a:lnTo>
                      <a:pt x="62" y="151"/>
                    </a:lnTo>
                    <a:lnTo>
                      <a:pt x="61" y="160"/>
                    </a:lnTo>
                    <a:lnTo>
                      <a:pt x="63" y="172"/>
                    </a:lnTo>
                    <a:lnTo>
                      <a:pt x="63" y="187"/>
                    </a:lnTo>
                    <a:lnTo>
                      <a:pt x="70" y="185"/>
                    </a:lnTo>
                    <a:lnTo>
                      <a:pt x="79" y="177"/>
                    </a:lnTo>
                    <a:lnTo>
                      <a:pt x="79" y="169"/>
                    </a:lnTo>
                    <a:lnTo>
                      <a:pt x="88" y="160"/>
                    </a:lnTo>
                    <a:lnTo>
                      <a:pt x="94" y="164"/>
                    </a:lnTo>
                    <a:lnTo>
                      <a:pt x="100" y="148"/>
                    </a:lnTo>
                    <a:lnTo>
                      <a:pt x="107" y="117"/>
                    </a:lnTo>
                    <a:lnTo>
                      <a:pt x="113" y="100"/>
                    </a:lnTo>
                    <a:lnTo>
                      <a:pt x="120" y="89"/>
                    </a:lnTo>
                    <a:lnTo>
                      <a:pt x="127" y="78"/>
                    </a:lnTo>
                    <a:lnTo>
                      <a:pt x="131" y="69"/>
                    </a:lnTo>
                    <a:lnTo>
                      <a:pt x="129" y="59"/>
                    </a:lnTo>
                    <a:lnTo>
                      <a:pt x="124" y="48"/>
                    </a:lnTo>
                    <a:lnTo>
                      <a:pt x="111" y="45"/>
                    </a:lnTo>
                    <a:lnTo>
                      <a:pt x="110" y="40"/>
                    </a:lnTo>
                    <a:lnTo>
                      <a:pt x="115" y="26"/>
                    </a:lnTo>
                    <a:lnTo>
                      <a:pt x="112" y="19"/>
                    </a:lnTo>
                    <a:lnTo>
                      <a:pt x="104" y="21"/>
                    </a:lnTo>
                    <a:lnTo>
                      <a:pt x="86" y="22"/>
                    </a:lnTo>
                    <a:lnTo>
                      <a:pt x="77" y="9"/>
                    </a:lnTo>
                    <a:lnTo>
                      <a:pt x="77" y="3"/>
                    </a:lnTo>
                    <a:lnTo>
                      <a:pt x="6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06" name="Freeform 111"/>
            <p:cNvSpPr>
              <a:spLocks noChangeAspect="1"/>
            </p:cNvSpPr>
            <p:nvPr/>
          </p:nvSpPr>
          <p:spPr bwMode="gray">
            <a:xfrm>
              <a:off x="5083474" y="3601667"/>
              <a:ext cx="50188" cy="75282"/>
            </a:xfrm>
            <a:custGeom>
              <a:avLst/>
              <a:gdLst/>
              <a:ahLst/>
              <a:cxnLst>
                <a:cxn ang="0">
                  <a:pos x="130" y="5"/>
                </a:cxn>
                <a:cxn ang="0">
                  <a:pos x="156" y="46"/>
                </a:cxn>
                <a:cxn ang="0">
                  <a:pos x="173" y="73"/>
                </a:cxn>
                <a:cxn ang="0">
                  <a:pos x="184" y="113"/>
                </a:cxn>
                <a:cxn ang="0">
                  <a:pos x="184" y="170"/>
                </a:cxn>
                <a:cxn ang="0">
                  <a:pos x="181" y="201"/>
                </a:cxn>
                <a:cxn ang="0">
                  <a:pos x="163" y="228"/>
                </a:cxn>
                <a:cxn ang="0">
                  <a:pos x="142" y="233"/>
                </a:cxn>
                <a:cxn ang="0">
                  <a:pos x="131" y="235"/>
                </a:cxn>
                <a:cxn ang="0">
                  <a:pos x="120" y="252"/>
                </a:cxn>
                <a:cxn ang="0">
                  <a:pos x="111" y="245"/>
                </a:cxn>
                <a:cxn ang="0">
                  <a:pos x="95" y="241"/>
                </a:cxn>
                <a:cxn ang="0">
                  <a:pos x="88" y="252"/>
                </a:cxn>
                <a:cxn ang="0">
                  <a:pos x="79" y="263"/>
                </a:cxn>
                <a:cxn ang="0">
                  <a:pos x="72" y="252"/>
                </a:cxn>
                <a:cxn ang="0">
                  <a:pos x="66" y="272"/>
                </a:cxn>
                <a:cxn ang="0">
                  <a:pos x="57" y="269"/>
                </a:cxn>
                <a:cxn ang="0">
                  <a:pos x="66" y="257"/>
                </a:cxn>
                <a:cxn ang="0">
                  <a:pos x="51" y="264"/>
                </a:cxn>
                <a:cxn ang="0">
                  <a:pos x="38" y="276"/>
                </a:cxn>
                <a:cxn ang="0">
                  <a:pos x="31" y="274"/>
                </a:cxn>
                <a:cxn ang="0">
                  <a:pos x="20" y="274"/>
                </a:cxn>
                <a:cxn ang="0">
                  <a:pos x="8" y="285"/>
                </a:cxn>
                <a:cxn ang="0">
                  <a:pos x="9" y="273"/>
                </a:cxn>
                <a:cxn ang="0">
                  <a:pos x="22" y="267"/>
                </a:cxn>
                <a:cxn ang="0">
                  <a:pos x="24" y="253"/>
                </a:cxn>
                <a:cxn ang="0">
                  <a:pos x="13" y="256"/>
                </a:cxn>
                <a:cxn ang="0">
                  <a:pos x="15" y="235"/>
                </a:cxn>
                <a:cxn ang="0">
                  <a:pos x="20" y="212"/>
                </a:cxn>
                <a:cxn ang="0">
                  <a:pos x="23" y="199"/>
                </a:cxn>
                <a:cxn ang="0">
                  <a:pos x="34" y="186"/>
                </a:cxn>
                <a:cxn ang="0">
                  <a:pos x="30" y="174"/>
                </a:cxn>
                <a:cxn ang="0">
                  <a:pos x="23" y="155"/>
                </a:cxn>
                <a:cxn ang="0">
                  <a:pos x="19" y="129"/>
                </a:cxn>
                <a:cxn ang="0">
                  <a:pos x="15" y="139"/>
                </a:cxn>
                <a:cxn ang="0">
                  <a:pos x="4" y="132"/>
                </a:cxn>
                <a:cxn ang="0">
                  <a:pos x="1" y="123"/>
                </a:cxn>
                <a:cxn ang="0">
                  <a:pos x="17" y="115"/>
                </a:cxn>
                <a:cxn ang="0">
                  <a:pos x="39" y="117"/>
                </a:cxn>
                <a:cxn ang="0">
                  <a:pos x="38" y="108"/>
                </a:cxn>
                <a:cxn ang="0">
                  <a:pos x="34" y="95"/>
                </a:cxn>
                <a:cxn ang="0">
                  <a:pos x="38" y="86"/>
                </a:cxn>
                <a:cxn ang="0">
                  <a:pos x="29" y="83"/>
                </a:cxn>
                <a:cxn ang="0">
                  <a:pos x="24" y="72"/>
                </a:cxn>
                <a:cxn ang="0">
                  <a:pos x="22" y="64"/>
                </a:cxn>
                <a:cxn ang="0">
                  <a:pos x="19" y="53"/>
                </a:cxn>
                <a:cxn ang="0">
                  <a:pos x="36" y="45"/>
                </a:cxn>
                <a:cxn ang="0">
                  <a:pos x="76" y="21"/>
                </a:cxn>
                <a:cxn ang="0">
                  <a:pos x="108" y="16"/>
                </a:cxn>
              </a:cxnLst>
              <a:rect l="0" t="0" r="r" b="b"/>
              <a:pathLst>
                <a:path w="190" h="285">
                  <a:moveTo>
                    <a:pt x="125" y="0"/>
                  </a:moveTo>
                  <a:lnTo>
                    <a:pt x="130" y="5"/>
                  </a:lnTo>
                  <a:lnTo>
                    <a:pt x="146" y="36"/>
                  </a:lnTo>
                  <a:lnTo>
                    <a:pt x="156" y="46"/>
                  </a:lnTo>
                  <a:lnTo>
                    <a:pt x="165" y="58"/>
                  </a:lnTo>
                  <a:lnTo>
                    <a:pt x="173" y="73"/>
                  </a:lnTo>
                  <a:lnTo>
                    <a:pt x="180" y="91"/>
                  </a:lnTo>
                  <a:lnTo>
                    <a:pt x="184" y="113"/>
                  </a:lnTo>
                  <a:lnTo>
                    <a:pt x="183" y="150"/>
                  </a:lnTo>
                  <a:lnTo>
                    <a:pt x="184" y="170"/>
                  </a:lnTo>
                  <a:lnTo>
                    <a:pt x="190" y="171"/>
                  </a:lnTo>
                  <a:lnTo>
                    <a:pt x="181" y="201"/>
                  </a:lnTo>
                  <a:lnTo>
                    <a:pt x="174" y="217"/>
                  </a:lnTo>
                  <a:lnTo>
                    <a:pt x="163" y="228"/>
                  </a:lnTo>
                  <a:lnTo>
                    <a:pt x="154" y="230"/>
                  </a:lnTo>
                  <a:lnTo>
                    <a:pt x="142" y="233"/>
                  </a:lnTo>
                  <a:lnTo>
                    <a:pt x="135" y="230"/>
                  </a:lnTo>
                  <a:lnTo>
                    <a:pt x="131" y="235"/>
                  </a:lnTo>
                  <a:lnTo>
                    <a:pt x="127" y="242"/>
                  </a:lnTo>
                  <a:lnTo>
                    <a:pt x="120" y="252"/>
                  </a:lnTo>
                  <a:lnTo>
                    <a:pt x="116" y="245"/>
                  </a:lnTo>
                  <a:lnTo>
                    <a:pt x="111" y="245"/>
                  </a:lnTo>
                  <a:lnTo>
                    <a:pt x="101" y="240"/>
                  </a:lnTo>
                  <a:lnTo>
                    <a:pt x="95" y="241"/>
                  </a:lnTo>
                  <a:lnTo>
                    <a:pt x="83" y="246"/>
                  </a:lnTo>
                  <a:lnTo>
                    <a:pt x="88" y="252"/>
                  </a:lnTo>
                  <a:lnTo>
                    <a:pt x="86" y="260"/>
                  </a:lnTo>
                  <a:lnTo>
                    <a:pt x="79" y="263"/>
                  </a:lnTo>
                  <a:lnTo>
                    <a:pt x="76" y="256"/>
                  </a:lnTo>
                  <a:lnTo>
                    <a:pt x="72" y="252"/>
                  </a:lnTo>
                  <a:lnTo>
                    <a:pt x="71" y="268"/>
                  </a:lnTo>
                  <a:lnTo>
                    <a:pt x="66" y="272"/>
                  </a:lnTo>
                  <a:lnTo>
                    <a:pt x="61" y="273"/>
                  </a:lnTo>
                  <a:lnTo>
                    <a:pt x="57" y="269"/>
                  </a:lnTo>
                  <a:lnTo>
                    <a:pt x="65" y="263"/>
                  </a:lnTo>
                  <a:lnTo>
                    <a:pt x="66" y="257"/>
                  </a:lnTo>
                  <a:lnTo>
                    <a:pt x="60" y="260"/>
                  </a:lnTo>
                  <a:lnTo>
                    <a:pt x="51" y="264"/>
                  </a:lnTo>
                  <a:lnTo>
                    <a:pt x="41" y="276"/>
                  </a:lnTo>
                  <a:lnTo>
                    <a:pt x="38" y="276"/>
                  </a:lnTo>
                  <a:lnTo>
                    <a:pt x="35" y="269"/>
                  </a:lnTo>
                  <a:lnTo>
                    <a:pt x="31" y="274"/>
                  </a:lnTo>
                  <a:lnTo>
                    <a:pt x="22" y="283"/>
                  </a:lnTo>
                  <a:lnTo>
                    <a:pt x="20" y="274"/>
                  </a:lnTo>
                  <a:lnTo>
                    <a:pt x="12" y="277"/>
                  </a:lnTo>
                  <a:lnTo>
                    <a:pt x="8" y="285"/>
                  </a:lnTo>
                  <a:lnTo>
                    <a:pt x="4" y="282"/>
                  </a:lnTo>
                  <a:lnTo>
                    <a:pt x="9" y="273"/>
                  </a:lnTo>
                  <a:lnTo>
                    <a:pt x="11" y="263"/>
                  </a:lnTo>
                  <a:lnTo>
                    <a:pt x="22" y="267"/>
                  </a:lnTo>
                  <a:lnTo>
                    <a:pt x="20" y="261"/>
                  </a:lnTo>
                  <a:lnTo>
                    <a:pt x="24" y="253"/>
                  </a:lnTo>
                  <a:lnTo>
                    <a:pt x="19" y="250"/>
                  </a:lnTo>
                  <a:lnTo>
                    <a:pt x="13" y="256"/>
                  </a:lnTo>
                  <a:lnTo>
                    <a:pt x="11" y="247"/>
                  </a:lnTo>
                  <a:lnTo>
                    <a:pt x="15" y="235"/>
                  </a:lnTo>
                  <a:lnTo>
                    <a:pt x="15" y="225"/>
                  </a:lnTo>
                  <a:lnTo>
                    <a:pt x="20" y="212"/>
                  </a:lnTo>
                  <a:lnTo>
                    <a:pt x="27" y="203"/>
                  </a:lnTo>
                  <a:lnTo>
                    <a:pt x="23" y="199"/>
                  </a:lnTo>
                  <a:lnTo>
                    <a:pt x="31" y="193"/>
                  </a:lnTo>
                  <a:lnTo>
                    <a:pt x="34" y="186"/>
                  </a:lnTo>
                  <a:lnTo>
                    <a:pt x="30" y="180"/>
                  </a:lnTo>
                  <a:lnTo>
                    <a:pt x="30" y="174"/>
                  </a:lnTo>
                  <a:lnTo>
                    <a:pt x="24" y="167"/>
                  </a:lnTo>
                  <a:lnTo>
                    <a:pt x="23" y="155"/>
                  </a:lnTo>
                  <a:lnTo>
                    <a:pt x="20" y="143"/>
                  </a:lnTo>
                  <a:lnTo>
                    <a:pt x="19" y="129"/>
                  </a:lnTo>
                  <a:lnTo>
                    <a:pt x="13" y="127"/>
                  </a:lnTo>
                  <a:lnTo>
                    <a:pt x="15" y="139"/>
                  </a:lnTo>
                  <a:lnTo>
                    <a:pt x="11" y="14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1" y="123"/>
                  </a:lnTo>
                  <a:lnTo>
                    <a:pt x="8" y="115"/>
                  </a:lnTo>
                  <a:lnTo>
                    <a:pt x="17" y="115"/>
                  </a:lnTo>
                  <a:lnTo>
                    <a:pt x="29" y="110"/>
                  </a:lnTo>
                  <a:lnTo>
                    <a:pt x="39" y="117"/>
                  </a:lnTo>
                  <a:lnTo>
                    <a:pt x="43" y="118"/>
                  </a:lnTo>
                  <a:lnTo>
                    <a:pt x="38" y="108"/>
                  </a:lnTo>
                  <a:lnTo>
                    <a:pt x="38" y="100"/>
                  </a:lnTo>
                  <a:lnTo>
                    <a:pt x="34" y="95"/>
                  </a:lnTo>
                  <a:lnTo>
                    <a:pt x="35" y="89"/>
                  </a:lnTo>
                  <a:lnTo>
                    <a:pt x="38" y="86"/>
                  </a:lnTo>
                  <a:lnTo>
                    <a:pt x="31" y="81"/>
                  </a:lnTo>
                  <a:lnTo>
                    <a:pt x="29" y="83"/>
                  </a:lnTo>
                  <a:lnTo>
                    <a:pt x="25" y="77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2" y="64"/>
                  </a:lnTo>
                  <a:lnTo>
                    <a:pt x="19" y="58"/>
                  </a:lnTo>
                  <a:lnTo>
                    <a:pt x="19" y="53"/>
                  </a:lnTo>
                  <a:lnTo>
                    <a:pt x="23" y="56"/>
                  </a:lnTo>
                  <a:lnTo>
                    <a:pt x="36" y="45"/>
                  </a:lnTo>
                  <a:lnTo>
                    <a:pt x="58" y="22"/>
                  </a:lnTo>
                  <a:lnTo>
                    <a:pt x="76" y="21"/>
                  </a:lnTo>
                  <a:lnTo>
                    <a:pt x="93" y="22"/>
                  </a:lnTo>
                  <a:lnTo>
                    <a:pt x="108" y="16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7" name="Freeform 112"/>
            <p:cNvSpPr>
              <a:spLocks noChangeAspect="1"/>
            </p:cNvSpPr>
            <p:nvPr/>
          </p:nvSpPr>
          <p:spPr bwMode="gray">
            <a:xfrm>
              <a:off x="4528762" y="3319028"/>
              <a:ext cx="458297" cy="224526"/>
            </a:xfrm>
            <a:custGeom>
              <a:avLst/>
              <a:gdLst/>
              <a:ahLst/>
              <a:cxnLst>
                <a:cxn ang="0">
                  <a:pos x="46" y="227"/>
                </a:cxn>
                <a:cxn ang="0">
                  <a:pos x="129" y="180"/>
                </a:cxn>
                <a:cxn ang="0">
                  <a:pos x="243" y="132"/>
                </a:cxn>
                <a:cxn ang="0">
                  <a:pos x="313" y="149"/>
                </a:cxn>
                <a:cxn ang="0">
                  <a:pos x="387" y="187"/>
                </a:cxn>
                <a:cxn ang="0">
                  <a:pos x="508" y="190"/>
                </a:cxn>
                <a:cxn ang="0">
                  <a:pos x="552" y="160"/>
                </a:cxn>
                <a:cxn ang="0">
                  <a:pos x="554" y="99"/>
                </a:cxn>
                <a:cxn ang="0">
                  <a:pos x="582" y="33"/>
                </a:cxn>
                <a:cxn ang="0">
                  <a:pos x="645" y="6"/>
                </a:cxn>
                <a:cxn ang="0">
                  <a:pos x="731" y="47"/>
                </a:cxn>
                <a:cxn ang="0">
                  <a:pos x="787" y="103"/>
                </a:cxn>
                <a:cxn ang="0">
                  <a:pos x="830" y="154"/>
                </a:cxn>
                <a:cxn ang="0">
                  <a:pos x="944" y="132"/>
                </a:cxn>
                <a:cxn ang="0">
                  <a:pos x="1034" y="169"/>
                </a:cxn>
                <a:cxn ang="0">
                  <a:pos x="1104" y="201"/>
                </a:cxn>
                <a:cxn ang="0">
                  <a:pos x="1200" y="249"/>
                </a:cxn>
                <a:cxn ang="0">
                  <a:pos x="1317" y="237"/>
                </a:cxn>
                <a:cxn ang="0">
                  <a:pos x="1439" y="179"/>
                </a:cxn>
                <a:cxn ang="0">
                  <a:pos x="1528" y="199"/>
                </a:cxn>
                <a:cxn ang="0">
                  <a:pos x="1565" y="195"/>
                </a:cxn>
                <a:cxn ang="0">
                  <a:pos x="1525" y="255"/>
                </a:cxn>
                <a:cxn ang="0">
                  <a:pos x="1517" y="325"/>
                </a:cxn>
                <a:cxn ang="0">
                  <a:pos x="1570" y="391"/>
                </a:cxn>
                <a:cxn ang="0">
                  <a:pos x="1667" y="348"/>
                </a:cxn>
                <a:cxn ang="0">
                  <a:pos x="1721" y="415"/>
                </a:cxn>
                <a:cxn ang="0">
                  <a:pos x="1734" y="458"/>
                </a:cxn>
                <a:cxn ang="0">
                  <a:pos x="1663" y="461"/>
                </a:cxn>
                <a:cxn ang="0">
                  <a:pos x="1576" y="482"/>
                </a:cxn>
                <a:cxn ang="0">
                  <a:pos x="1489" y="551"/>
                </a:cxn>
                <a:cxn ang="0">
                  <a:pos x="1411" y="611"/>
                </a:cxn>
                <a:cxn ang="0">
                  <a:pos x="1344" y="588"/>
                </a:cxn>
                <a:cxn ang="0">
                  <a:pos x="1298" y="646"/>
                </a:cxn>
                <a:cxn ang="0">
                  <a:pos x="1255" y="752"/>
                </a:cxn>
                <a:cxn ang="0">
                  <a:pos x="1163" y="789"/>
                </a:cxn>
                <a:cxn ang="0">
                  <a:pos x="1088" y="788"/>
                </a:cxn>
                <a:cxn ang="0">
                  <a:pos x="1014" y="815"/>
                </a:cxn>
                <a:cxn ang="0">
                  <a:pos x="942" y="847"/>
                </a:cxn>
                <a:cxn ang="0">
                  <a:pos x="903" y="834"/>
                </a:cxn>
                <a:cxn ang="0">
                  <a:pos x="801" y="805"/>
                </a:cxn>
                <a:cxn ang="0">
                  <a:pos x="744" y="767"/>
                </a:cxn>
                <a:cxn ang="0">
                  <a:pos x="527" y="766"/>
                </a:cxn>
                <a:cxn ang="0">
                  <a:pos x="463" y="730"/>
                </a:cxn>
                <a:cxn ang="0">
                  <a:pos x="421" y="659"/>
                </a:cxn>
                <a:cxn ang="0">
                  <a:pos x="353" y="625"/>
                </a:cxn>
                <a:cxn ang="0">
                  <a:pos x="280" y="590"/>
                </a:cxn>
                <a:cxn ang="0">
                  <a:pos x="211" y="584"/>
                </a:cxn>
                <a:cxn ang="0">
                  <a:pos x="158" y="552"/>
                </a:cxn>
                <a:cxn ang="0">
                  <a:pos x="163" y="470"/>
                </a:cxn>
                <a:cxn ang="0">
                  <a:pos x="124" y="372"/>
                </a:cxn>
                <a:cxn ang="0">
                  <a:pos x="70" y="369"/>
                </a:cxn>
                <a:cxn ang="0">
                  <a:pos x="3" y="288"/>
                </a:cxn>
              </a:cxnLst>
              <a:rect l="0" t="0" r="r" b="b"/>
              <a:pathLst>
                <a:path w="1734" h="848">
                  <a:moveTo>
                    <a:pt x="0" y="273"/>
                  </a:moveTo>
                  <a:lnTo>
                    <a:pt x="12" y="251"/>
                  </a:lnTo>
                  <a:lnTo>
                    <a:pt x="28" y="234"/>
                  </a:lnTo>
                  <a:lnTo>
                    <a:pt x="46" y="227"/>
                  </a:lnTo>
                  <a:lnTo>
                    <a:pt x="65" y="221"/>
                  </a:lnTo>
                  <a:lnTo>
                    <a:pt x="84" y="208"/>
                  </a:lnTo>
                  <a:lnTo>
                    <a:pt x="104" y="192"/>
                  </a:lnTo>
                  <a:lnTo>
                    <a:pt x="129" y="180"/>
                  </a:lnTo>
                  <a:lnTo>
                    <a:pt x="154" y="158"/>
                  </a:lnTo>
                  <a:lnTo>
                    <a:pt x="195" y="146"/>
                  </a:lnTo>
                  <a:lnTo>
                    <a:pt x="220" y="135"/>
                  </a:lnTo>
                  <a:lnTo>
                    <a:pt x="243" y="132"/>
                  </a:lnTo>
                  <a:lnTo>
                    <a:pt x="265" y="136"/>
                  </a:lnTo>
                  <a:lnTo>
                    <a:pt x="281" y="142"/>
                  </a:lnTo>
                  <a:lnTo>
                    <a:pt x="294" y="153"/>
                  </a:lnTo>
                  <a:lnTo>
                    <a:pt x="313" y="149"/>
                  </a:lnTo>
                  <a:lnTo>
                    <a:pt x="334" y="148"/>
                  </a:lnTo>
                  <a:lnTo>
                    <a:pt x="351" y="151"/>
                  </a:lnTo>
                  <a:lnTo>
                    <a:pt x="382" y="180"/>
                  </a:lnTo>
                  <a:lnTo>
                    <a:pt x="387" y="187"/>
                  </a:lnTo>
                  <a:lnTo>
                    <a:pt x="404" y="190"/>
                  </a:lnTo>
                  <a:lnTo>
                    <a:pt x="451" y="183"/>
                  </a:lnTo>
                  <a:lnTo>
                    <a:pt x="464" y="189"/>
                  </a:lnTo>
                  <a:lnTo>
                    <a:pt x="508" y="190"/>
                  </a:lnTo>
                  <a:lnTo>
                    <a:pt x="546" y="185"/>
                  </a:lnTo>
                  <a:lnTo>
                    <a:pt x="556" y="180"/>
                  </a:lnTo>
                  <a:lnTo>
                    <a:pt x="556" y="172"/>
                  </a:lnTo>
                  <a:lnTo>
                    <a:pt x="552" y="160"/>
                  </a:lnTo>
                  <a:lnTo>
                    <a:pt x="555" y="146"/>
                  </a:lnTo>
                  <a:lnTo>
                    <a:pt x="565" y="130"/>
                  </a:lnTo>
                  <a:lnTo>
                    <a:pt x="565" y="114"/>
                  </a:lnTo>
                  <a:lnTo>
                    <a:pt x="554" y="99"/>
                  </a:lnTo>
                  <a:lnTo>
                    <a:pt x="550" y="81"/>
                  </a:lnTo>
                  <a:lnTo>
                    <a:pt x="552" y="63"/>
                  </a:lnTo>
                  <a:lnTo>
                    <a:pt x="568" y="49"/>
                  </a:lnTo>
                  <a:lnTo>
                    <a:pt x="582" y="33"/>
                  </a:lnTo>
                  <a:lnTo>
                    <a:pt x="600" y="18"/>
                  </a:lnTo>
                  <a:lnTo>
                    <a:pt x="611" y="1"/>
                  </a:lnTo>
                  <a:lnTo>
                    <a:pt x="625" y="0"/>
                  </a:lnTo>
                  <a:lnTo>
                    <a:pt x="645" y="6"/>
                  </a:lnTo>
                  <a:lnTo>
                    <a:pt x="659" y="17"/>
                  </a:lnTo>
                  <a:lnTo>
                    <a:pt x="696" y="27"/>
                  </a:lnTo>
                  <a:lnTo>
                    <a:pt x="707" y="41"/>
                  </a:lnTo>
                  <a:lnTo>
                    <a:pt x="731" y="47"/>
                  </a:lnTo>
                  <a:lnTo>
                    <a:pt x="755" y="50"/>
                  </a:lnTo>
                  <a:lnTo>
                    <a:pt x="772" y="57"/>
                  </a:lnTo>
                  <a:lnTo>
                    <a:pt x="782" y="73"/>
                  </a:lnTo>
                  <a:lnTo>
                    <a:pt x="787" y="103"/>
                  </a:lnTo>
                  <a:lnTo>
                    <a:pt x="787" y="124"/>
                  </a:lnTo>
                  <a:lnTo>
                    <a:pt x="792" y="124"/>
                  </a:lnTo>
                  <a:lnTo>
                    <a:pt x="807" y="138"/>
                  </a:lnTo>
                  <a:lnTo>
                    <a:pt x="830" y="154"/>
                  </a:lnTo>
                  <a:lnTo>
                    <a:pt x="864" y="165"/>
                  </a:lnTo>
                  <a:lnTo>
                    <a:pt x="892" y="159"/>
                  </a:lnTo>
                  <a:lnTo>
                    <a:pt x="919" y="144"/>
                  </a:lnTo>
                  <a:lnTo>
                    <a:pt x="944" y="132"/>
                  </a:lnTo>
                  <a:lnTo>
                    <a:pt x="975" y="140"/>
                  </a:lnTo>
                  <a:lnTo>
                    <a:pt x="1023" y="157"/>
                  </a:lnTo>
                  <a:lnTo>
                    <a:pt x="1033" y="169"/>
                  </a:lnTo>
                  <a:lnTo>
                    <a:pt x="1034" y="169"/>
                  </a:lnTo>
                  <a:lnTo>
                    <a:pt x="1040" y="174"/>
                  </a:lnTo>
                  <a:lnTo>
                    <a:pt x="1062" y="186"/>
                  </a:lnTo>
                  <a:lnTo>
                    <a:pt x="1083" y="192"/>
                  </a:lnTo>
                  <a:lnTo>
                    <a:pt x="1104" y="201"/>
                  </a:lnTo>
                  <a:lnTo>
                    <a:pt x="1118" y="221"/>
                  </a:lnTo>
                  <a:lnTo>
                    <a:pt x="1145" y="237"/>
                  </a:lnTo>
                  <a:lnTo>
                    <a:pt x="1177" y="242"/>
                  </a:lnTo>
                  <a:lnTo>
                    <a:pt x="1200" y="249"/>
                  </a:lnTo>
                  <a:lnTo>
                    <a:pt x="1218" y="250"/>
                  </a:lnTo>
                  <a:lnTo>
                    <a:pt x="1243" y="248"/>
                  </a:lnTo>
                  <a:lnTo>
                    <a:pt x="1261" y="256"/>
                  </a:lnTo>
                  <a:lnTo>
                    <a:pt x="1317" y="237"/>
                  </a:lnTo>
                  <a:lnTo>
                    <a:pt x="1351" y="229"/>
                  </a:lnTo>
                  <a:lnTo>
                    <a:pt x="1378" y="224"/>
                  </a:lnTo>
                  <a:lnTo>
                    <a:pt x="1415" y="195"/>
                  </a:lnTo>
                  <a:lnTo>
                    <a:pt x="1439" y="179"/>
                  </a:lnTo>
                  <a:lnTo>
                    <a:pt x="1464" y="170"/>
                  </a:lnTo>
                  <a:lnTo>
                    <a:pt x="1489" y="180"/>
                  </a:lnTo>
                  <a:lnTo>
                    <a:pt x="1507" y="195"/>
                  </a:lnTo>
                  <a:lnTo>
                    <a:pt x="1528" y="199"/>
                  </a:lnTo>
                  <a:lnTo>
                    <a:pt x="1545" y="195"/>
                  </a:lnTo>
                  <a:lnTo>
                    <a:pt x="1559" y="187"/>
                  </a:lnTo>
                  <a:lnTo>
                    <a:pt x="1565" y="190"/>
                  </a:lnTo>
                  <a:lnTo>
                    <a:pt x="1565" y="195"/>
                  </a:lnTo>
                  <a:lnTo>
                    <a:pt x="1556" y="203"/>
                  </a:lnTo>
                  <a:lnTo>
                    <a:pt x="1540" y="232"/>
                  </a:lnTo>
                  <a:lnTo>
                    <a:pt x="1529" y="246"/>
                  </a:lnTo>
                  <a:lnTo>
                    <a:pt x="1525" y="255"/>
                  </a:lnTo>
                  <a:lnTo>
                    <a:pt x="1525" y="271"/>
                  </a:lnTo>
                  <a:lnTo>
                    <a:pt x="1528" y="288"/>
                  </a:lnTo>
                  <a:lnTo>
                    <a:pt x="1525" y="308"/>
                  </a:lnTo>
                  <a:lnTo>
                    <a:pt x="1517" y="325"/>
                  </a:lnTo>
                  <a:lnTo>
                    <a:pt x="1517" y="347"/>
                  </a:lnTo>
                  <a:lnTo>
                    <a:pt x="1520" y="367"/>
                  </a:lnTo>
                  <a:lnTo>
                    <a:pt x="1529" y="382"/>
                  </a:lnTo>
                  <a:lnTo>
                    <a:pt x="1570" y="391"/>
                  </a:lnTo>
                  <a:lnTo>
                    <a:pt x="1595" y="389"/>
                  </a:lnTo>
                  <a:lnTo>
                    <a:pt x="1620" y="382"/>
                  </a:lnTo>
                  <a:lnTo>
                    <a:pt x="1638" y="369"/>
                  </a:lnTo>
                  <a:lnTo>
                    <a:pt x="1667" y="348"/>
                  </a:lnTo>
                  <a:lnTo>
                    <a:pt x="1673" y="362"/>
                  </a:lnTo>
                  <a:lnTo>
                    <a:pt x="1686" y="377"/>
                  </a:lnTo>
                  <a:lnTo>
                    <a:pt x="1715" y="401"/>
                  </a:lnTo>
                  <a:lnTo>
                    <a:pt x="1721" y="415"/>
                  </a:lnTo>
                  <a:lnTo>
                    <a:pt x="1719" y="428"/>
                  </a:lnTo>
                  <a:lnTo>
                    <a:pt x="1719" y="437"/>
                  </a:lnTo>
                  <a:lnTo>
                    <a:pt x="1733" y="445"/>
                  </a:lnTo>
                  <a:lnTo>
                    <a:pt x="1734" y="458"/>
                  </a:lnTo>
                  <a:lnTo>
                    <a:pt x="1724" y="464"/>
                  </a:lnTo>
                  <a:lnTo>
                    <a:pt x="1707" y="461"/>
                  </a:lnTo>
                  <a:lnTo>
                    <a:pt x="1688" y="456"/>
                  </a:lnTo>
                  <a:lnTo>
                    <a:pt x="1663" y="461"/>
                  </a:lnTo>
                  <a:lnTo>
                    <a:pt x="1638" y="465"/>
                  </a:lnTo>
                  <a:lnTo>
                    <a:pt x="1613" y="464"/>
                  </a:lnTo>
                  <a:lnTo>
                    <a:pt x="1592" y="468"/>
                  </a:lnTo>
                  <a:lnTo>
                    <a:pt x="1576" y="482"/>
                  </a:lnTo>
                  <a:lnTo>
                    <a:pt x="1525" y="538"/>
                  </a:lnTo>
                  <a:lnTo>
                    <a:pt x="1507" y="550"/>
                  </a:lnTo>
                  <a:lnTo>
                    <a:pt x="1500" y="552"/>
                  </a:lnTo>
                  <a:lnTo>
                    <a:pt x="1489" y="551"/>
                  </a:lnTo>
                  <a:lnTo>
                    <a:pt x="1477" y="551"/>
                  </a:lnTo>
                  <a:lnTo>
                    <a:pt x="1457" y="573"/>
                  </a:lnTo>
                  <a:lnTo>
                    <a:pt x="1438" y="594"/>
                  </a:lnTo>
                  <a:lnTo>
                    <a:pt x="1411" y="611"/>
                  </a:lnTo>
                  <a:lnTo>
                    <a:pt x="1393" y="611"/>
                  </a:lnTo>
                  <a:lnTo>
                    <a:pt x="1372" y="606"/>
                  </a:lnTo>
                  <a:lnTo>
                    <a:pt x="1360" y="593"/>
                  </a:lnTo>
                  <a:lnTo>
                    <a:pt x="1344" y="588"/>
                  </a:lnTo>
                  <a:lnTo>
                    <a:pt x="1323" y="594"/>
                  </a:lnTo>
                  <a:lnTo>
                    <a:pt x="1314" y="611"/>
                  </a:lnTo>
                  <a:lnTo>
                    <a:pt x="1301" y="631"/>
                  </a:lnTo>
                  <a:lnTo>
                    <a:pt x="1298" y="646"/>
                  </a:lnTo>
                  <a:lnTo>
                    <a:pt x="1320" y="675"/>
                  </a:lnTo>
                  <a:lnTo>
                    <a:pt x="1323" y="689"/>
                  </a:lnTo>
                  <a:lnTo>
                    <a:pt x="1265" y="738"/>
                  </a:lnTo>
                  <a:lnTo>
                    <a:pt x="1255" y="752"/>
                  </a:lnTo>
                  <a:lnTo>
                    <a:pt x="1235" y="767"/>
                  </a:lnTo>
                  <a:lnTo>
                    <a:pt x="1221" y="776"/>
                  </a:lnTo>
                  <a:lnTo>
                    <a:pt x="1191" y="787"/>
                  </a:lnTo>
                  <a:lnTo>
                    <a:pt x="1163" y="789"/>
                  </a:lnTo>
                  <a:lnTo>
                    <a:pt x="1158" y="792"/>
                  </a:lnTo>
                  <a:lnTo>
                    <a:pt x="1130" y="783"/>
                  </a:lnTo>
                  <a:lnTo>
                    <a:pt x="1114" y="789"/>
                  </a:lnTo>
                  <a:lnTo>
                    <a:pt x="1088" y="788"/>
                  </a:lnTo>
                  <a:lnTo>
                    <a:pt x="1070" y="795"/>
                  </a:lnTo>
                  <a:lnTo>
                    <a:pt x="1033" y="802"/>
                  </a:lnTo>
                  <a:lnTo>
                    <a:pt x="1022" y="805"/>
                  </a:lnTo>
                  <a:lnTo>
                    <a:pt x="1014" y="815"/>
                  </a:lnTo>
                  <a:lnTo>
                    <a:pt x="1003" y="819"/>
                  </a:lnTo>
                  <a:lnTo>
                    <a:pt x="990" y="821"/>
                  </a:lnTo>
                  <a:lnTo>
                    <a:pt x="960" y="832"/>
                  </a:lnTo>
                  <a:lnTo>
                    <a:pt x="942" y="847"/>
                  </a:lnTo>
                  <a:lnTo>
                    <a:pt x="932" y="848"/>
                  </a:lnTo>
                  <a:lnTo>
                    <a:pt x="920" y="845"/>
                  </a:lnTo>
                  <a:lnTo>
                    <a:pt x="909" y="836"/>
                  </a:lnTo>
                  <a:lnTo>
                    <a:pt x="903" y="834"/>
                  </a:lnTo>
                  <a:lnTo>
                    <a:pt x="874" y="832"/>
                  </a:lnTo>
                  <a:lnTo>
                    <a:pt x="852" y="825"/>
                  </a:lnTo>
                  <a:lnTo>
                    <a:pt x="834" y="815"/>
                  </a:lnTo>
                  <a:lnTo>
                    <a:pt x="801" y="805"/>
                  </a:lnTo>
                  <a:lnTo>
                    <a:pt x="778" y="795"/>
                  </a:lnTo>
                  <a:lnTo>
                    <a:pt x="763" y="782"/>
                  </a:lnTo>
                  <a:lnTo>
                    <a:pt x="754" y="771"/>
                  </a:lnTo>
                  <a:lnTo>
                    <a:pt x="744" y="767"/>
                  </a:lnTo>
                  <a:lnTo>
                    <a:pt x="710" y="756"/>
                  </a:lnTo>
                  <a:lnTo>
                    <a:pt x="693" y="754"/>
                  </a:lnTo>
                  <a:lnTo>
                    <a:pt x="675" y="756"/>
                  </a:lnTo>
                  <a:lnTo>
                    <a:pt x="527" y="766"/>
                  </a:lnTo>
                  <a:lnTo>
                    <a:pt x="506" y="766"/>
                  </a:lnTo>
                  <a:lnTo>
                    <a:pt x="492" y="760"/>
                  </a:lnTo>
                  <a:lnTo>
                    <a:pt x="476" y="746"/>
                  </a:lnTo>
                  <a:lnTo>
                    <a:pt x="463" y="730"/>
                  </a:lnTo>
                  <a:lnTo>
                    <a:pt x="451" y="716"/>
                  </a:lnTo>
                  <a:lnTo>
                    <a:pt x="439" y="696"/>
                  </a:lnTo>
                  <a:lnTo>
                    <a:pt x="432" y="676"/>
                  </a:lnTo>
                  <a:lnTo>
                    <a:pt x="421" y="659"/>
                  </a:lnTo>
                  <a:lnTo>
                    <a:pt x="410" y="644"/>
                  </a:lnTo>
                  <a:lnTo>
                    <a:pt x="398" y="643"/>
                  </a:lnTo>
                  <a:lnTo>
                    <a:pt x="385" y="633"/>
                  </a:lnTo>
                  <a:lnTo>
                    <a:pt x="353" y="625"/>
                  </a:lnTo>
                  <a:lnTo>
                    <a:pt x="337" y="616"/>
                  </a:lnTo>
                  <a:lnTo>
                    <a:pt x="322" y="606"/>
                  </a:lnTo>
                  <a:lnTo>
                    <a:pt x="292" y="596"/>
                  </a:lnTo>
                  <a:lnTo>
                    <a:pt x="280" y="590"/>
                  </a:lnTo>
                  <a:lnTo>
                    <a:pt x="267" y="590"/>
                  </a:lnTo>
                  <a:lnTo>
                    <a:pt x="254" y="595"/>
                  </a:lnTo>
                  <a:lnTo>
                    <a:pt x="245" y="595"/>
                  </a:lnTo>
                  <a:lnTo>
                    <a:pt x="211" y="584"/>
                  </a:lnTo>
                  <a:lnTo>
                    <a:pt x="180" y="581"/>
                  </a:lnTo>
                  <a:lnTo>
                    <a:pt x="164" y="574"/>
                  </a:lnTo>
                  <a:lnTo>
                    <a:pt x="157" y="567"/>
                  </a:lnTo>
                  <a:lnTo>
                    <a:pt x="158" y="552"/>
                  </a:lnTo>
                  <a:lnTo>
                    <a:pt x="166" y="536"/>
                  </a:lnTo>
                  <a:lnTo>
                    <a:pt x="167" y="517"/>
                  </a:lnTo>
                  <a:lnTo>
                    <a:pt x="163" y="498"/>
                  </a:lnTo>
                  <a:lnTo>
                    <a:pt x="163" y="470"/>
                  </a:lnTo>
                  <a:lnTo>
                    <a:pt x="151" y="427"/>
                  </a:lnTo>
                  <a:lnTo>
                    <a:pt x="141" y="410"/>
                  </a:lnTo>
                  <a:lnTo>
                    <a:pt x="134" y="388"/>
                  </a:lnTo>
                  <a:lnTo>
                    <a:pt x="124" y="372"/>
                  </a:lnTo>
                  <a:lnTo>
                    <a:pt x="108" y="369"/>
                  </a:lnTo>
                  <a:lnTo>
                    <a:pt x="93" y="361"/>
                  </a:lnTo>
                  <a:lnTo>
                    <a:pt x="77" y="358"/>
                  </a:lnTo>
                  <a:lnTo>
                    <a:pt x="70" y="369"/>
                  </a:lnTo>
                  <a:lnTo>
                    <a:pt x="55" y="358"/>
                  </a:lnTo>
                  <a:lnTo>
                    <a:pt x="44" y="337"/>
                  </a:lnTo>
                  <a:lnTo>
                    <a:pt x="14" y="314"/>
                  </a:lnTo>
                  <a:lnTo>
                    <a:pt x="3" y="288"/>
                  </a:lnTo>
                  <a:lnTo>
                    <a:pt x="0" y="277"/>
                  </a:lnTo>
                  <a:lnTo>
                    <a:pt x="0" y="27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8" name="Freeform 113"/>
            <p:cNvSpPr>
              <a:spLocks noChangeAspect="1"/>
            </p:cNvSpPr>
            <p:nvPr/>
          </p:nvSpPr>
          <p:spPr bwMode="gray">
            <a:xfrm>
              <a:off x="4829892" y="3906758"/>
              <a:ext cx="34339" cy="30377"/>
            </a:xfrm>
            <a:custGeom>
              <a:avLst/>
              <a:gdLst/>
              <a:ahLst/>
              <a:cxnLst>
                <a:cxn ang="0">
                  <a:pos x="102" y="5"/>
                </a:cxn>
                <a:cxn ang="0">
                  <a:pos x="100" y="5"/>
                </a:cxn>
                <a:cxn ang="0">
                  <a:pos x="105" y="0"/>
                </a:cxn>
                <a:cxn ang="0">
                  <a:pos x="112" y="5"/>
                </a:cxn>
                <a:cxn ang="0">
                  <a:pos x="123" y="8"/>
                </a:cxn>
                <a:cxn ang="0">
                  <a:pos x="127" y="20"/>
                </a:cxn>
                <a:cxn ang="0">
                  <a:pos x="127" y="27"/>
                </a:cxn>
                <a:cxn ang="0">
                  <a:pos x="117" y="37"/>
                </a:cxn>
                <a:cxn ang="0">
                  <a:pos x="105" y="61"/>
                </a:cxn>
                <a:cxn ang="0">
                  <a:pos x="100" y="79"/>
                </a:cxn>
                <a:cxn ang="0">
                  <a:pos x="91" y="85"/>
                </a:cxn>
                <a:cxn ang="0">
                  <a:pos x="78" y="99"/>
                </a:cxn>
                <a:cxn ang="0">
                  <a:pos x="66" y="101"/>
                </a:cxn>
                <a:cxn ang="0">
                  <a:pos x="59" y="113"/>
                </a:cxn>
                <a:cxn ang="0">
                  <a:pos x="53" y="112"/>
                </a:cxn>
                <a:cxn ang="0">
                  <a:pos x="48" y="109"/>
                </a:cxn>
                <a:cxn ang="0">
                  <a:pos x="11" y="97"/>
                </a:cxn>
                <a:cxn ang="0">
                  <a:pos x="3" y="86"/>
                </a:cxn>
                <a:cxn ang="0">
                  <a:pos x="0" y="50"/>
                </a:cxn>
                <a:cxn ang="0">
                  <a:pos x="6" y="45"/>
                </a:cxn>
                <a:cxn ang="0">
                  <a:pos x="19" y="31"/>
                </a:cxn>
                <a:cxn ang="0">
                  <a:pos x="28" y="24"/>
                </a:cxn>
                <a:cxn ang="0">
                  <a:pos x="30" y="20"/>
                </a:cxn>
                <a:cxn ang="0">
                  <a:pos x="37" y="15"/>
                </a:cxn>
                <a:cxn ang="0">
                  <a:pos x="49" y="10"/>
                </a:cxn>
                <a:cxn ang="0">
                  <a:pos x="78" y="9"/>
                </a:cxn>
                <a:cxn ang="0">
                  <a:pos x="85" y="4"/>
                </a:cxn>
                <a:cxn ang="0">
                  <a:pos x="92" y="5"/>
                </a:cxn>
                <a:cxn ang="0">
                  <a:pos x="97" y="4"/>
                </a:cxn>
                <a:cxn ang="0">
                  <a:pos x="102" y="5"/>
                </a:cxn>
              </a:cxnLst>
              <a:rect l="0" t="0" r="r" b="b"/>
              <a:pathLst>
                <a:path w="127" h="113">
                  <a:moveTo>
                    <a:pt x="102" y="5"/>
                  </a:moveTo>
                  <a:lnTo>
                    <a:pt x="100" y="5"/>
                  </a:lnTo>
                  <a:lnTo>
                    <a:pt x="105" y="0"/>
                  </a:lnTo>
                  <a:lnTo>
                    <a:pt x="112" y="5"/>
                  </a:lnTo>
                  <a:lnTo>
                    <a:pt x="123" y="8"/>
                  </a:lnTo>
                  <a:lnTo>
                    <a:pt x="127" y="20"/>
                  </a:lnTo>
                  <a:lnTo>
                    <a:pt x="127" y="27"/>
                  </a:lnTo>
                  <a:lnTo>
                    <a:pt x="117" y="37"/>
                  </a:lnTo>
                  <a:lnTo>
                    <a:pt x="105" y="61"/>
                  </a:lnTo>
                  <a:lnTo>
                    <a:pt x="100" y="79"/>
                  </a:lnTo>
                  <a:lnTo>
                    <a:pt x="91" y="85"/>
                  </a:lnTo>
                  <a:lnTo>
                    <a:pt x="78" y="99"/>
                  </a:lnTo>
                  <a:lnTo>
                    <a:pt x="66" y="101"/>
                  </a:lnTo>
                  <a:lnTo>
                    <a:pt x="59" y="113"/>
                  </a:lnTo>
                  <a:lnTo>
                    <a:pt x="53" y="112"/>
                  </a:lnTo>
                  <a:lnTo>
                    <a:pt x="48" y="109"/>
                  </a:lnTo>
                  <a:lnTo>
                    <a:pt x="11" y="97"/>
                  </a:lnTo>
                  <a:lnTo>
                    <a:pt x="3" y="86"/>
                  </a:lnTo>
                  <a:lnTo>
                    <a:pt x="0" y="50"/>
                  </a:lnTo>
                  <a:lnTo>
                    <a:pt x="6" y="45"/>
                  </a:lnTo>
                  <a:lnTo>
                    <a:pt x="19" y="31"/>
                  </a:lnTo>
                  <a:lnTo>
                    <a:pt x="28" y="24"/>
                  </a:lnTo>
                  <a:lnTo>
                    <a:pt x="30" y="20"/>
                  </a:lnTo>
                  <a:lnTo>
                    <a:pt x="37" y="15"/>
                  </a:lnTo>
                  <a:lnTo>
                    <a:pt x="49" y="10"/>
                  </a:lnTo>
                  <a:lnTo>
                    <a:pt x="78" y="9"/>
                  </a:lnTo>
                  <a:lnTo>
                    <a:pt x="85" y="4"/>
                  </a:lnTo>
                  <a:lnTo>
                    <a:pt x="92" y="5"/>
                  </a:lnTo>
                  <a:lnTo>
                    <a:pt x="97" y="4"/>
                  </a:lnTo>
                  <a:lnTo>
                    <a:pt x="102" y="5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09" name="Freeform 114"/>
            <p:cNvSpPr>
              <a:spLocks noChangeAspect="1"/>
            </p:cNvSpPr>
            <p:nvPr/>
          </p:nvSpPr>
          <p:spPr bwMode="gray">
            <a:xfrm>
              <a:off x="4322727" y="3288652"/>
              <a:ext cx="887538" cy="616786"/>
            </a:xfrm>
            <a:custGeom>
              <a:avLst/>
              <a:gdLst/>
              <a:ahLst/>
              <a:cxnLst>
                <a:cxn ang="0">
                  <a:pos x="2191" y="2191"/>
                </a:cxn>
                <a:cxn ang="0">
                  <a:pos x="2134" y="2244"/>
                </a:cxn>
                <a:cxn ang="0">
                  <a:pos x="2015" y="2329"/>
                </a:cxn>
                <a:cxn ang="0">
                  <a:pos x="1898" y="2261"/>
                </a:cxn>
                <a:cxn ang="0">
                  <a:pos x="1746" y="2168"/>
                </a:cxn>
                <a:cxn ang="0">
                  <a:pos x="1585" y="2194"/>
                </a:cxn>
                <a:cxn ang="0">
                  <a:pos x="1509" y="2247"/>
                </a:cxn>
                <a:cxn ang="0">
                  <a:pos x="1333" y="2120"/>
                </a:cxn>
                <a:cxn ang="0">
                  <a:pos x="1352" y="1901"/>
                </a:cxn>
                <a:cxn ang="0">
                  <a:pos x="1237" y="1793"/>
                </a:cxn>
                <a:cxn ang="0">
                  <a:pos x="1036" y="1874"/>
                </a:cxn>
                <a:cxn ang="0">
                  <a:pos x="881" y="1862"/>
                </a:cxn>
                <a:cxn ang="0">
                  <a:pos x="793" y="1879"/>
                </a:cxn>
                <a:cxn ang="0">
                  <a:pos x="691" y="1881"/>
                </a:cxn>
                <a:cxn ang="0">
                  <a:pos x="603" y="1834"/>
                </a:cxn>
                <a:cxn ang="0">
                  <a:pos x="556" y="1803"/>
                </a:cxn>
                <a:cxn ang="0">
                  <a:pos x="423" y="1731"/>
                </a:cxn>
                <a:cxn ang="0">
                  <a:pos x="348" y="1701"/>
                </a:cxn>
                <a:cxn ang="0">
                  <a:pos x="291" y="1675"/>
                </a:cxn>
                <a:cxn ang="0">
                  <a:pos x="278" y="1580"/>
                </a:cxn>
                <a:cxn ang="0">
                  <a:pos x="322" y="1567"/>
                </a:cxn>
                <a:cxn ang="0">
                  <a:pos x="300" y="1492"/>
                </a:cxn>
                <a:cxn ang="0">
                  <a:pos x="360" y="1411"/>
                </a:cxn>
                <a:cxn ang="0">
                  <a:pos x="326" y="1368"/>
                </a:cxn>
                <a:cxn ang="0">
                  <a:pos x="230" y="1391"/>
                </a:cxn>
                <a:cxn ang="0">
                  <a:pos x="126" y="1355"/>
                </a:cxn>
                <a:cxn ang="0">
                  <a:pos x="88" y="1295"/>
                </a:cxn>
                <a:cxn ang="0">
                  <a:pos x="63" y="1212"/>
                </a:cxn>
                <a:cxn ang="0">
                  <a:pos x="105" y="1043"/>
                </a:cxn>
                <a:cxn ang="0">
                  <a:pos x="364" y="920"/>
                </a:cxn>
                <a:cxn ang="0">
                  <a:pos x="471" y="693"/>
                </a:cxn>
                <a:cxn ang="0">
                  <a:pos x="656" y="507"/>
                </a:cxn>
                <a:cxn ang="0">
                  <a:pos x="854" y="474"/>
                </a:cxn>
                <a:cxn ang="0">
                  <a:pos x="1031" y="711"/>
                </a:cxn>
                <a:cxn ang="0">
                  <a:pos x="1283" y="882"/>
                </a:cxn>
                <a:cxn ang="0">
                  <a:pos x="1719" y="963"/>
                </a:cxn>
                <a:cxn ang="0">
                  <a:pos x="2042" y="854"/>
                </a:cxn>
                <a:cxn ang="0">
                  <a:pos x="2284" y="666"/>
                </a:cxn>
                <a:cxn ang="0">
                  <a:pos x="2450" y="478"/>
                </a:cxn>
                <a:cxn ang="0">
                  <a:pos x="2342" y="311"/>
                </a:cxn>
                <a:cxn ang="0">
                  <a:pos x="2557" y="161"/>
                </a:cxn>
                <a:cxn ang="0">
                  <a:pos x="2738" y="0"/>
                </a:cxn>
                <a:cxn ang="0">
                  <a:pos x="2901" y="155"/>
                </a:cxn>
                <a:cxn ang="0">
                  <a:pos x="3109" y="394"/>
                </a:cxn>
                <a:cxn ang="0">
                  <a:pos x="3323" y="441"/>
                </a:cxn>
                <a:cxn ang="0">
                  <a:pos x="3195" y="693"/>
                </a:cxn>
                <a:cxn ang="0">
                  <a:pos x="2994" y="941"/>
                </a:cxn>
                <a:cxn ang="0">
                  <a:pos x="2729" y="1097"/>
                </a:cxn>
                <a:cxn ang="0">
                  <a:pos x="2616" y="1118"/>
                </a:cxn>
                <a:cxn ang="0">
                  <a:pos x="2542" y="1082"/>
                </a:cxn>
                <a:cxn ang="0">
                  <a:pos x="2444" y="1221"/>
                </a:cxn>
                <a:cxn ang="0">
                  <a:pos x="2611" y="1254"/>
                </a:cxn>
                <a:cxn ang="0">
                  <a:pos x="2643" y="1301"/>
                </a:cxn>
                <a:cxn ang="0">
                  <a:pos x="2521" y="1404"/>
                </a:cxn>
                <a:cxn ang="0">
                  <a:pos x="2646" y="1642"/>
                </a:cxn>
                <a:cxn ang="0">
                  <a:pos x="2640" y="1677"/>
                </a:cxn>
                <a:cxn ang="0">
                  <a:pos x="2624" y="1743"/>
                </a:cxn>
                <a:cxn ang="0">
                  <a:pos x="2628" y="1814"/>
                </a:cxn>
                <a:cxn ang="0">
                  <a:pos x="2555" y="1933"/>
                </a:cxn>
                <a:cxn ang="0">
                  <a:pos x="2512" y="2028"/>
                </a:cxn>
                <a:cxn ang="0">
                  <a:pos x="2435" y="2097"/>
                </a:cxn>
                <a:cxn ang="0">
                  <a:pos x="2344" y="2177"/>
                </a:cxn>
                <a:cxn ang="0">
                  <a:pos x="2245" y="2202"/>
                </a:cxn>
              </a:cxnLst>
              <a:rect l="0" t="0" r="r" b="b"/>
              <a:pathLst>
                <a:path w="3356" h="2335">
                  <a:moveTo>
                    <a:pt x="2243" y="2202"/>
                  </a:moveTo>
                  <a:lnTo>
                    <a:pt x="2240" y="2209"/>
                  </a:lnTo>
                  <a:lnTo>
                    <a:pt x="2239" y="2206"/>
                  </a:lnTo>
                  <a:lnTo>
                    <a:pt x="2239" y="2202"/>
                  </a:lnTo>
                  <a:lnTo>
                    <a:pt x="2235" y="2199"/>
                  </a:lnTo>
                  <a:lnTo>
                    <a:pt x="2226" y="2201"/>
                  </a:lnTo>
                  <a:lnTo>
                    <a:pt x="2225" y="2202"/>
                  </a:lnTo>
                  <a:lnTo>
                    <a:pt x="2224" y="2202"/>
                  </a:lnTo>
                  <a:lnTo>
                    <a:pt x="2224" y="2205"/>
                  </a:lnTo>
                  <a:lnTo>
                    <a:pt x="2229" y="2211"/>
                  </a:lnTo>
                  <a:lnTo>
                    <a:pt x="2224" y="2212"/>
                  </a:lnTo>
                  <a:lnTo>
                    <a:pt x="2211" y="2213"/>
                  </a:lnTo>
                  <a:lnTo>
                    <a:pt x="2210" y="2209"/>
                  </a:lnTo>
                  <a:lnTo>
                    <a:pt x="2211" y="2206"/>
                  </a:lnTo>
                  <a:lnTo>
                    <a:pt x="2209" y="2202"/>
                  </a:lnTo>
                  <a:lnTo>
                    <a:pt x="2199" y="2194"/>
                  </a:lnTo>
                  <a:lnTo>
                    <a:pt x="2191" y="2191"/>
                  </a:lnTo>
                  <a:lnTo>
                    <a:pt x="2188" y="2185"/>
                  </a:lnTo>
                  <a:lnTo>
                    <a:pt x="2186" y="2198"/>
                  </a:lnTo>
                  <a:lnTo>
                    <a:pt x="2186" y="2209"/>
                  </a:lnTo>
                  <a:lnTo>
                    <a:pt x="2187" y="2216"/>
                  </a:lnTo>
                  <a:lnTo>
                    <a:pt x="2187" y="2218"/>
                  </a:lnTo>
                  <a:lnTo>
                    <a:pt x="2183" y="2220"/>
                  </a:lnTo>
                  <a:lnTo>
                    <a:pt x="2180" y="2220"/>
                  </a:lnTo>
                  <a:lnTo>
                    <a:pt x="2171" y="2209"/>
                  </a:lnTo>
                  <a:lnTo>
                    <a:pt x="2164" y="2204"/>
                  </a:lnTo>
                  <a:lnTo>
                    <a:pt x="2161" y="2198"/>
                  </a:lnTo>
                  <a:lnTo>
                    <a:pt x="2155" y="2215"/>
                  </a:lnTo>
                  <a:lnTo>
                    <a:pt x="2155" y="2222"/>
                  </a:lnTo>
                  <a:lnTo>
                    <a:pt x="2156" y="2227"/>
                  </a:lnTo>
                  <a:lnTo>
                    <a:pt x="2156" y="2236"/>
                  </a:lnTo>
                  <a:lnTo>
                    <a:pt x="2153" y="2239"/>
                  </a:lnTo>
                  <a:lnTo>
                    <a:pt x="2149" y="2237"/>
                  </a:lnTo>
                  <a:lnTo>
                    <a:pt x="2134" y="2244"/>
                  </a:lnTo>
                  <a:lnTo>
                    <a:pt x="2123" y="2245"/>
                  </a:lnTo>
                  <a:lnTo>
                    <a:pt x="2116" y="2249"/>
                  </a:lnTo>
                  <a:lnTo>
                    <a:pt x="2107" y="2249"/>
                  </a:lnTo>
                  <a:lnTo>
                    <a:pt x="2105" y="2247"/>
                  </a:lnTo>
                  <a:lnTo>
                    <a:pt x="2094" y="2249"/>
                  </a:lnTo>
                  <a:lnTo>
                    <a:pt x="2084" y="2258"/>
                  </a:lnTo>
                  <a:lnTo>
                    <a:pt x="2073" y="2261"/>
                  </a:lnTo>
                  <a:lnTo>
                    <a:pt x="2059" y="2263"/>
                  </a:lnTo>
                  <a:lnTo>
                    <a:pt x="2051" y="2261"/>
                  </a:lnTo>
                  <a:lnTo>
                    <a:pt x="2048" y="2265"/>
                  </a:lnTo>
                  <a:lnTo>
                    <a:pt x="2038" y="2270"/>
                  </a:lnTo>
                  <a:lnTo>
                    <a:pt x="2024" y="2274"/>
                  </a:lnTo>
                  <a:lnTo>
                    <a:pt x="2015" y="2271"/>
                  </a:lnTo>
                  <a:lnTo>
                    <a:pt x="2004" y="2297"/>
                  </a:lnTo>
                  <a:lnTo>
                    <a:pt x="2011" y="2309"/>
                  </a:lnTo>
                  <a:lnTo>
                    <a:pt x="2015" y="2317"/>
                  </a:lnTo>
                  <a:lnTo>
                    <a:pt x="2015" y="2329"/>
                  </a:lnTo>
                  <a:lnTo>
                    <a:pt x="1999" y="2335"/>
                  </a:lnTo>
                  <a:lnTo>
                    <a:pt x="1988" y="2329"/>
                  </a:lnTo>
                  <a:lnTo>
                    <a:pt x="1973" y="2298"/>
                  </a:lnTo>
                  <a:lnTo>
                    <a:pt x="1971" y="2291"/>
                  </a:lnTo>
                  <a:lnTo>
                    <a:pt x="1972" y="2288"/>
                  </a:lnTo>
                  <a:lnTo>
                    <a:pt x="1978" y="2266"/>
                  </a:lnTo>
                  <a:lnTo>
                    <a:pt x="1974" y="2259"/>
                  </a:lnTo>
                  <a:lnTo>
                    <a:pt x="1968" y="2261"/>
                  </a:lnTo>
                  <a:lnTo>
                    <a:pt x="1958" y="2269"/>
                  </a:lnTo>
                  <a:lnTo>
                    <a:pt x="1947" y="2269"/>
                  </a:lnTo>
                  <a:lnTo>
                    <a:pt x="1942" y="2264"/>
                  </a:lnTo>
                  <a:lnTo>
                    <a:pt x="1941" y="2259"/>
                  </a:lnTo>
                  <a:lnTo>
                    <a:pt x="1923" y="2254"/>
                  </a:lnTo>
                  <a:lnTo>
                    <a:pt x="1915" y="2252"/>
                  </a:lnTo>
                  <a:lnTo>
                    <a:pt x="1911" y="2252"/>
                  </a:lnTo>
                  <a:lnTo>
                    <a:pt x="1907" y="2260"/>
                  </a:lnTo>
                  <a:lnTo>
                    <a:pt x="1898" y="2261"/>
                  </a:lnTo>
                  <a:lnTo>
                    <a:pt x="1898" y="2269"/>
                  </a:lnTo>
                  <a:lnTo>
                    <a:pt x="1895" y="2258"/>
                  </a:lnTo>
                  <a:lnTo>
                    <a:pt x="1890" y="2261"/>
                  </a:lnTo>
                  <a:lnTo>
                    <a:pt x="1881" y="2265"/>
                  </a:lnTo>
                  <a:lnTo>
                    <a:pt x="1874" y="2260"/>
                  </a:lnTo>
                  <a:lnTo>
                    <a:pt x="1855" y="2261"/>
                  </a:lnTo>
                  <a:lnTo>
                    <a:pt x="1845" y="2259"/>
                  </a:lnTo>
                  <a:lnTo>
                    <a:pt x="1840" y="2254"/>
                  </a:lnTo>
                  <a:lnTo>
                    <a:pt x="1817" y="2240"/>
                  </a:lnTo>
                  <a:lnTo>
                    <a:pt x="1810" y="2228"/>
                  </a:lnTo>
                  <a:lnTo>
                    <a:pt x="1805" y="2213"/>
                  </a:lnTo>
                  <a:lnTo>
                    <a:pt x="1810" y="2198"/>
                  </a:lnTo>
                  <a:lnTo>
                    <a:pt x="1806" y="2189"/>
                  </a:lnTo>
                  <a:lnTo>
                    <a:pt x="1786" y="2188"/>
                  </a:lnTo>
                  <a:lnTo>
                    <a:pt x="1773" y="2184"/>
                  </a:lnTo>
                  <a:lnTo>
                    <a:pt x="1758" y="2178"/>
                  </a:lnTo>
                  <a:lnTo>
                    <a:pt x="1746" y="2168"/>
                  </a:lnTo>
                  <a:lnTo>
                    <a:pt x="1731" y="2163"/>
                  </a:lnTo>
                  <a:lnTo>
                    <a:pt x="1724" y="2164"/>
                  </a:lnTo>
                  <a:lnTo>
                    <a:pt x="1714" y="2175"/>
                  </a:lnTo>
                  <a:lnTo>
                    <a:pt x="1704" y="2182"/>
                  </a:lnTo>
                  <a:lnTo>
                    <a:pt x="1689" y="2190"/>
                  </a:lnTo>
                  <a:lnTo>
                    <a:pt x="1683" y="2191"/>
                  </a:lnTo>
                  <a:lnTo>
                    <a:pt x="1675" y="2189"/>
                  </a:lnTo>
                  <a:lnTo>
                    <a:pt x="1666" y="2196"/>
                  </a:lnTo>
                  <a:lnTo>
                    <a:pt x="1656" y="2201"/>
                  </a:lnTo>
                  <a:lnTo>
                    <a:pt x="1653" y="2195"/>
                  </a:lnTo>
                  <a:lnTo>
                    <a:pt x="1639" y="2199"/>
                  </a:lnTo>
                  <a:lnTo>
                    <a:pt x="1633" y="2194"/>
                  </a:lnTo>
                  <a:lnTo>
                    <a:pt x="1627" y="2195"/>
                  </a:lnTo>
                  <a:lnTo>
                    <a:pt x="1612" y="2205"/>
                  </a:lnTo>
                  <a:lnTo>
                    <a:pt x="1606" y="2204"/>
                  </a:lnTo>
                  <a:lnTo>
                    <a:pt x="1598" y="2196"/>
                  </a:lnTo>
                  <a:lnTo>
                    <a:pt x="1585" y="2194"/>
                  </a:lnTo>
                  <a:lnTo>
                    <a:pt x="1583" y="2191"/>
                  </a:lnTo>
                  <a:lnTo>
                    <a:pt x="1579" y="2194"/>
                  </a:lnTo>
                  <a:lnTo>
                    <a:pt x="1575" y="2200"/>
                  </a:lnTo>
                  <a:lnTo>
                    <a:pt x="1569" y="2207"/>
                  </a:lnTo>
                  <a:lnTo>
                    <a:pt x="1569" y="2211"/>
                  </a:lnTo>
                  <a:lnTo>
                    <a:pt x="1562" y="2207"/>
                  </a:lnTo>
                  <a:lnTo>
                    <a:pt x="1562" y="2205"/>
                  </a:lnTo>
                  <a:lnTo>
                    <a:pt x="1542" y="2204"/>
                  </a:lnTo>
                  <a:lnTo>
                    <a:pt x="1533" y="2211"/>
                  </a:lnTo>
                  <a:lnTo>
                    <a:pt x="1532" y="2223"/>
                  </a:lnTo>
                  <a:lnTo>
                    <a:pt x="1535" y="2240"/>
                  </a:lnTo>
                  <a:lnTo>
                    <a:pt x="1541" y="2256"/>
                  </a:lnTo>
                  <a:lnTo>
                    <a:pt x="1540" y="2271"/>
                  </a:lnTo>
                  <a:lnTo>
                    <a:pt x="1536" y="2275"/>
                  </a:lnTo>
                  <a:lnTo>
                    <a:pt x="1515" y="2280"/>
                  </a:lnTo>
                  <a:lnTo>
                    <a:pt x="1510" y="2253"/>
                  </a:lnTo>
                  <a:lnTo>
                    <a:pt x="1509" y="2247"/>
                  </a:lnTo>
                  <a:lnTo>
                    <a:pt x="1497" y="2245"/>
                  </a:lnTo>
                  <a:lnTo>
                    <a:pt x="1482" y="2258"/>
                  </a:lnTo>
                  <a:lnTo>
                    <a:pt x="1462" y="2260"/>
                  </a:lnTo>
                  <a:lnTo>
                    <a:pt x="1444" y="2243"/>
                  </a:lnTo>
                  <a:lnTo>
                    <a:pt x="1441" y="2231"/>
                  </a:lnTo>
                  <a:lnTo>
                    <a:pt x="1423" y="2225"/>
                  </a:lnTo>
                  <a:lnTo>
                    <a:pt x="1408" y="2222"/>
                  </a:lnTo>
                  <a:lnTo>
                    <a:pt x="1412" y="2202"/>
                  </a:lnTo>
                  <a:lnTo>
                    <a:pt x="1418" y="2175"/>
                  </a:lnTo>
                  <a:lnTo>
                    <a:pt x="1402" y="2167"/>
                  </a:lnTo>
                  <a:lnTo>
                    <a:pt x="1388" y="2157"/>
                  </a:lnTo>
                  <a:lnTo>
                    <a:pt x="1387" y="2137"/>
                  </a:lnTo>
                  <a:lnTo>
                    <a:pt x="1382" y="2123"/>
                  </a:lnTo>
                  <a:lnTo>
                    <a:pt x="1382" y="2112"/>
                  </a:lnTo>
                  <a:lnTo>
                    <a:pt x="1363" y="2113"/>
                  </a:lnTo>
                  <a:lnTo>
                    <a:pt x="1344" y="2114"/>
                  </a:lnTo>
                  <a:lnTo>
                    <a:pt x="1333" y="2120"/>
                  </a:lnTo>
                  <a:lnTo>
                    <a:pt x="1320" y="2134"/>
                  </a:lnTo>
                  <a:lnTo>
                    <a:pt x="1315" y="2129"/>
                  </a:lnTo>
                  <a:lnTo>
                    <a:pt x="1325" y="2112"/>
                  </a:lnTo>
                  <a:lnTo>
                    <a:pt x="1326" y="2103"/>
                  </a:lnTo>
                  <a:lnTo>
                    <a:pt x="1322" y="2087"/>
                  </a:lnTo>
                  <a:lnTo>
                    <a:pt x="1328" y="2073"/>
                  </a:lnTo>
                  <a:lnTo>
                    <a:pt x="1332" y="2054"/>
                  </a:lnTo>
                  <a:lnTo>
                    <a:pt x="1343" y="2043"/>
                  </a:lnTo>
                  <a:lnTo>
                    <a:pt x="1347" y="2033"/>
                  </a:lnTo>
                  <a:lnTo>
                    <a:pt x="1354" y="2030"/>
                  </a:lnTo>
                  <a:lnTo>
                    <a:pt x="1363" y="2019"/>
                  </a:lnTo>
                  <a:lnTo>
                    <a:pt x="1372" y="1992"/>
                  </a:lnTo>
                  <a:lnTo>
                    <a:pt x="1372" y="1984"/>
                  </a:lnTo>
                  <a:lnTo>
                    <a:pt x="1376" y="1956"/>
                  </a:lnTo>
                  <a:lnTo>
                    <a:pt x="1375" y="1935"/>
                  </a:lnTo>
                  <a:lnTo>
                    <a:pt x="1368" y="1903"/>
                  </a:lnTo>
                  <a:lnTo>
                    <a:pt x="1352" y="1901"/>
                  </a:lnTo>
                  <a:lnTo>
                    <a:pt x="1347" y="1893"/>
                  </a:lnTo>
                  <a:lnTo>
                    <a:pt x="1343" y="1876"/>
                  </a:lnTo>
                  <a:lnTo>
                    <a:pt x="1331" y="1862"/>
                  </a:lnTo>
                  <a:lnTo>
                    <a:pt x="1318" y="1856"/>
                  </a:lnTo>
                  <a:lnTo>
                    <a:pt x="1315" y="1856"/>
                  </a:lnTo>
                  <a:lnTo>
                    <a:pt x="1311" y="1861"/>
                  </a:lnTo>
                  <a:lnTo>
                    <a:pt x="1302" y="1865"/>
                  </a:lnTo>
                  <a:lnTo>
                    <a:pt x="1298" y="1852"/>
                  </a:lnTo>
                  <a:lnTo>
                    <a:pt x="1288" y="1849"/>
                  </a:lnTo>
                  <a:lnTo>
                    <a:pt x="1274" y="1849"/>
                  </a:lnTo>
                  <a:lnTo>
                    <a:pt x="1264" y="1845"/>
                  </a:lnTo>
                  <a:lnTo>
                    <a:pt x="1246" y="1845"/>
                  </a:lnTo>
                  <a:lnTo>
                    <a:pt x="1248" y="1829"/>
                  </a:lnTo>
                  <a:lnTo>
                    <a:pt x="1250" y="1814"/>
                  </a:lnTo>
                  <a:lnTo>
                    <a:pt x="1237" y="1812"/>
                  </a:lnTo>
                  <a:lnTo>
                    <a:pt x="1235" y="1801"/>
                  </a:lnTo>
                  <a:lnTo>
                    <a:pt x="1237" y="1793"/>
                  </a:lnTo>
                  <a:lnTo>
                    <a:pt x="1226" y="1781"/>
                  </a:lnTo>
                  <a:lnTo>
                    <a:pt x="1214" y="1785"/>
                  </a:lnTo>
                  <a:lnTo>
                    <a:pt x="1199" y="1795"/>
                  </a:lnTo>
                  <a:lnTo>
                    <a:pt x="1186" y="1798"/>
                  </a:lnTo>
                  <a:lnTo>
                    <a:pt x="1166" y="1800"/>
                  </a:lnTo>
                  <a:lnTo>
                    <a:pt x="1157" y="1798"/>
                  </a:lnTo>
                  <a:lnTo>
                    <a:pt x="1151" y="1793"/>
                  </a:lnTo>
                  <a:lnTo>
                    <a:pt x="1146" y="1792"/>
                  </a:lnTo>
                  <a:lnTo>
                    <a:pt x="1137" y="1797"/>
                  </a:lnTo>
                  <a:lnTo>
                    <a:pt x="1128" y="1803"/>
                  </a:lnTo>
                  <a:lnTo>
                    <a:pt x="1122" y="1814"/>
                  </a:lnTo>
                  <a:lnTo>
                    <a:pt x="1102" y="1831"/>
                  </a:lnTo>
                  <a:lnTo>
                    <a:pt x="1087" y="1835"/>
                  </a:lnTo>
                  <a:lnTo>
                    <a:pt x="1073" y="1851"/>
                  </a:lnTo>
                  <a:lnTo>
                    <a:pt x="1063" y="1858"/>
                  </a:lnTo>
                  <a:lnTo>
                    <a:pt x="1048" y="1866"/>
                  </a:lnTo>
                  <a:lnTo>
                    <a:pt x="1036" y="1874"/>
                  </a:lnTo>
                  <a:lnTo>
                    <a:pt x="1008" y="1881"/>
                  </a:lnTo>
                  <a:lnTo>
                    <a:pt x="990" y="1886"/>
                  </a:lnTo>
                  <a:lnTo>
                    <a:pt x="992" y="1888"/>
                  </a:lnTo>
                  <a:lnTo>
                    <a:pt x="992" y="1886"/>
                  </a:lnTo>
                  <a:lnTo>
                    <a:pt x="978" y="1878"/>
                  </a:lnTo>
                  <a:lnTo>
                    <a:pt x="976" y="1874"/>
                  </a:lnTo>
                  <a:lnTo>
                    <a:pt x="973" y="1873"/>
                  </a:lnTo>
                  <a:lnTo>
                    <a:pt x="958" y="1877"/>
                  </a:lnTo>
                  <a:lnTo>
                    <a:pt x="954" y="1877"/>
                  </a:lnTo>
                  <a:lnTo>
                    <a:pt x="940" y="1872"/>
                  </a:lnTo>
                  <a:lnTo>
                    <a:pt x="924" y="1871"/>
                  </a:lnTo>
                  <a:lnTo>
                    <a:pt x="917" y="1866"/>
                  </a:lnTo>
                  <a:lnTo>
                    <a:pt x="917" y="1863"/>
                  </a:lnTo>
                  <a:lnTo>
                    <a:pt x="913" y="1857"/>
                  </a:lnTo>
                  <a:lnTo>
                    <a:pt x="907" y="1856"/>
                  </a:lnTo>
                  <a:lnTo>
                    <a:pt x="893" y="1857"/>
                  </a:lnTo>
                  <a:lnTo>
                    <a:pt x="881" y="1862"/>
                  </a:lnTo>
                  <a:lnTo>
                    <a:pt x="870" y="1873"/>
                  </a:lnTo>
                  <a:lnTo>
                    <a:pt x="860" y="1889"/>
                  </a:lnTo>
                  <a:lnTo>
                    <a:pt x="839" y="1909"/>
                  </a:lnTo>
                  <a:lnTo>
                    <a:pt x="838" y="1915"/>
                  </a:lnTo>
                  <a:lnTo>
                    <a:pt x="833" y="1915"/>
                  </a:lnTo>
                  <a:lnTo>
                    <a:pt x="829" y="1913"/>
                  </a:lnTo>
                  <a:lnTo>
                    <a:pt x="827" y="1910"/>
                  </a:lnTo>
                  <a:lnTo>
                    <a:pt x="827" y="1903"/>
                  </a:lnTo>
                  <a:lnTo>
                    <a:pt x="831" y="1890"/>
                  </a:lnTo>
                  <a:lnTo>
                    <a:pt x="831" y="1884"/>
                  </a:lnTo>
                  <a:lnTo>
                    <a:pt x="828" y="1874"/>
                  </a:lnTo>
                  <a:lnTo>
                    <a:pt x="827" y="1871"/>
                  </a:lnTo>
                  <a:lnTo>
                    <a:pt x="822" y="1868"/>
                  </a:lnTo>
                  <a:lnTo>
                    <a:pt x="817" y="1870"/>
                  </a:lnTo>
                  <a:lnTo>
                    <a:pt x="809" y="1876"/>
                  </a:lnTo>
                  <a:lnTo>
                    <a:pt x="801" y="1876"/>
                  </a:lnTo>
                  <a:lnTo>
                    <a:pt x="793" y="1879"/>
                  </a:lnTo>
                  <a:lnTo>
                    <a:pt x="791" y="1881"/>
                  </a:lnTo>
                  <a:lnTo>
                    <a:pt x="788" y="1879"/>
                  </a:lnTo>
                  <a:lnTo>
                    <a:pt x="780" y="1881"/>
                  </a:lnTo>
                  <a:lnTo>
                    <a:pt x="774" y="1889"/>
                  </a:lnTo>
                  <a:lnTo>
                    <a:pt x="771" y="1889"/>
                  </a:lnTo>
                  <a:lnTo>
                    <a:pt x="757" y="1886"/>
                  </a:lnTo>
                  <a:lnTo>
                    <a:pt x="750" y="1888"/>
                  </a:lnTo>
                  <a:lnTo>
                    <a:pt x="746" y="1887"/>
                  </a:lnTo>
                  <a:lnTo>
                    <a:pt x="739" y="1883"/>
                  </a:lnTo>
                  <a:lnTo>
                    <a:pt x="729" y="1881"/>
                  </a:lnTo>
                  <a:lnTo>
                    <a:pt x="723" y="1873"/>
                  </a:lnTo>
                  <a:lnTo>
                    <a:pt x="713" y="1873"/>
                  </a:lnTo>
                  <a:lnTo>
                    <a:pt x="708" y="1874"/>
                  </a:lnTo>
                  <a:lnTo>
                    <a:pt x="704" y="1881"/>
                  </a:lnTo>
                  <a:lnTo>
                    <a:pt x="702" y="1882"/>
                  </a:lnTo>
                  <a:lnTo>
                    <a:pt x="696" y="1879"/>
                  </a:lnTo>
                  <a:lnTo>
                    <a:pt x="691" y="1881"/>
                  </a:lnTo>
                  <a:lnTo>
                    <a:pt x="685" y="1877"/>
                  </a:lnTo>
                  <a:lnTo>
                    <a:pt x="681" y="1879"/>
                  </a:lnTo>
                  <a:lnTo>
                    <a:pt x="675" y="1881"/>
                  </a:lnTo>
                  <a:lnTo>
                    <a:pt x="671" y="1878"/>
                  </a:lnTo>
                  <a:lnTo>
                    <a:pt x="667" y="1872"/>
                  </a:lnTo>
                  <a:lnTo>
                    <a:pt x="666" y="1868"/>
                  </a:lnTo>
                  <a:lnTo>
                    <a:pt x="661" y="1862"/>
                  </a:lnTo>
                  <a:lnTo>
                    <a:pt x="653" y="1861"/>
                  </a:lnTo>
                  <a:lnTo>
                    <a:pt x="645" y="1863"/>
                  </a:lnTo>
                  <a:lnTo>
                    <a:pt x="630" y="1854"/>
                  </a:lnTo>
                  <a:lnTo>
                    <a:pt x="629" y="1847"/>
                  </a:lnTo>
                  <a:lnTo>
                    <a:pt x="632" y="1834"/>
                  </a:lnTo>
                  <a:lnTo>
                    <a:pt x="629" y="1833"/>
                  </a:lnTo>
                  <a:lnTo>
                    <a:pt x="624" y="1836"/>
                  </a:lnTo>
                  <a:lnTo>
                    <a:pt x="619" y="1838"/>
                  </a:lnTo>
                  <a:lnTo>
                    <a:pt x="611" y="1836"/>
                  </a:lnTo>
                  <a:lnTo>
                    <a:pt x="603" y="1834"/>
                  </a:lnTo>
                  <a:lnTo>
                    <a:pt x="599" y="1835"/>
                  </a:lnTo>
                  <a:lnTo>
                    <a:pt x="592" y="1831"/>
                  </a:lnTo>
                  <a:lnTo>
                    <a:pt x="589" y="1831"/>
                  </a:lnTo>
                  <a:lnTo>
                    <a:pt x="585" y="1828"/>
                  </a:lnTo>
                  <a:lnTo>
                    <a:pt x="583" y="1823"/>
                  </a:lnTo>
                  <a:lnTo>
                    <a:pt x="578" y="1825"/>
                  </a:lnTo>
                  <a:lnTo>
                    <a:pt x="576" y="1822"/>
                  </a:lnTo>
                  <a:lnTo>
                    <a:pt x="579" y="1809"/>
                  </a:lnTo>
                  <a:lnTo>
                    <a:pt x="578" y="1803"/>
                  </a:lnTo>
                  <a:lnTo>
                    <a:pt x="581" y="1797"/>
                  </a:lnTo>
                  <a:lnTo>
                    <a:pt x="579" y="1795"/>
                  </a:lnTo>
                  <a:lnTo>
                    <a:pt x="573" y="1793"/>
                  </a:lnTo>
                  <a:lnTo>
                    <a:pt x="567" y="1795"/>
                  </a:lnTo>
                  <a:lnTo>
                    <a:pt x="563" y="1793"/>
                  </a:lnTo>
                  <a:lnTo>
                    <a:pt x="560" y="1797"/>
                  </a:lnTo>
                  <a:lnTo>
                    <a:pt x="559" y="1800"/>
                  </a:lnTo>
                  <a:lnTo>
                    <a:pt x="556" y="1803"/>
                  </a:lnTo>
                  <a:lnTo>
                    <a:pt x="553" y="1804"/>
                  </a:lnTo>
                  <a:lnTo>
                    <a:pt x="548" y="1809"/>
                  </a:lnTo>
                  <a:lnTo>
                    <a:pt x="544" y="1808"/>
                  </a:lnTo>
                  <a:lnTo>
                    <a:pt x="538" y="1807"/>
                  </a:lnTo>
                  <a:lnTo>
                    <a:pt x="536" y="1802"/>
                  </a:lnTo>
                  <a:lnTo>
                    <a:pt x="533" y="1785"/>
                  </a:lnTo>
                  <a:lnTo>
                    <a:pt x="527" y="1776"/>
                  </a:lnTo>
                  <a:lnTo>
                    <a:pt x="515" y="1766"/>
                  </a:lnTo>
                  <a:lnTo>
                    <a:pt x="503" y="1763"/>
                  </a:lnTo>
                  <a:lnTo>
                    <a:pt x="493" y="1754"/>
                  </a:lnTo>
                  <a:lnTo>
                    <a:pt x="487" y="1745"/>
                  </a:lnTo>
                  <a:lnTo>
                    <a:pt x="482" y="1743"/>
                  </a:lnTo>
                  <a:lnTo>
                    <a:pt x="462" y="1737"/>
                  </a:lnTo>
                  <a:lnTo>
                    <a:pt x="444" y="1733"/>
                  </a:lnTo>
                  <a:lnTo>
                    <a:pt x="441" y="1732"/>
                  </a:lnTo>
                  <a:lnTo>
                    <a:pt x="425" y="1730"/>
                  </a:lnTo>
                  <a:lnTo>
                    <a:pt x="423" y="1731"/>
                  </a:lnTo>
                  <a:lnTo>
                    <a:pt x="423" y="1732"/>
                  </a:lnTo>
                  <a:lnTo>
                    <a:pt x="423" y="1737"/>
                  </a:lnTo>
                  <a:lnTo>
                    <a:pt x="419" y="1742"/>
                  </a:lnTo>
                  <a:lnTo>
                    <a:pt x="420" y="1744"/>
                  </a:lnTo>
                  <a:lnTo>
                    <a:pt x="419" y="1748"/>
                  </a:lnTo>
                  <a:lnTo>
                    <a:pt x="411" y="1741"/>
                  </a:lnTo>
                  <a:lnTo>
                    <a:pt x="408" y="1736"/>
                  </a:lnTo>
                  <a:lnTo>
                    <a:pt x="406" y="1734"/>
                  </a:lnTo>
                  <a:lnTo>
                    <a:pt x="403" y="1733"/>
                  </a:lnTo>
                  <a:lnTo>
                    <a:pt x="386" y="1728"/>
                  </a:lnTo>
                  <a:lnTo>
                    <a:pt x="384" y="1726"/>
                  </a:lnTo>
                  <a:lnTo>
                    <a:pt x="380" y="1720"/>
                  </a:lnTo>
                  <a:lnTo>
                    <a:pt x="375" y="1718"/>
                  </a:lnTo>
                  <a:lnTo>
                    <a:pt x="363" y="1709"/>
                  </a:lnTo>
                  <a:lnTo>
                    <a:pt x="357" y="1709"/>
                  </a:lnTo>
                  <a:lnTo>
                    <a:pt x="350" y="1705"/>
                  </a:lnTo>
                  <a:lnTo>
                    <a:pt x="348" y="1701"/>
                  </a:lnTo>
                  <a:lnTo>
                    <a:pt x="348" y="1698"/>
                  </a:lnTo>
                  <a:lnTo>
                    <a:pt x="345" y="1694"/>
                  </a:lnTo>
                  <a:lnTo>
                    <a:pt x="341" y="1694"/>
                  </a:lnTo>
                  <a:lnTo>
                    <a:pt x="339" y="1691"/>
                  </a:lnTo>
                  <a:lnTo>
                    <a:pt x="334" y="1689"/>
                  </a:lnTo>
                  <a:lnTo>
                    <a:pt x="326" y="1693"/>
                  </a:lnTo>
                  <a:lnTo>
                    <a:pt x="325" y="1691"/>
                  </a:lnTo>
                  <a:lnTo>
                    <a:pt x="323" y="1685"/>
                  </a:lnTo>
                  <a:lnTo>
                    <a:pt x="322" y="1684"/>
                  </a:lnTo>
                  <a:lnTo>
                    <a:pt x="318" y="1683"/>
                  </a:lnTo>
                  <a:lnTo>
                    <a:pt x="315" y="1684"/>
                  </a:lnTo>
                  <a:lnTo>
                    <a:pt x="306" y="1683"/>
                  </a:lnTo>
                  <a:lnTo>
                    <a:pt x="302" y="1684"/>
                  </a:lnTo>
                  <a:lnTo>
                    <a:pt x="296" y="1688"/>
                  </a:lnTo>
                  <a:lnTo>
                    <a:pt x="293" y="1688"/>
                  </a:lnTo>
                  <a:lnTo>
                    <a:pt x="290" y="1685"/>
                  </a:lnTo>
                  <a:lnTo>
                    <a:pt x="291" y="1675"/>
                  </a:lnTo>
                  <a:lnTo>
                    <a:pt x="287" y="1672"/>
                  </a:lnTo>
                  <a:lnTo>
                    <a:pt x="283" y="1666"/>
                  </a:lnTo>
                  <a:lnTo>
                    <a:pt x="283" y="1663"/>
                  </a:lnTo>
                  <a:lnTo>
                    <a:pt x="278" y="1658"/>
                  </a:lnTo>
                  <a:lnTo>
                    <a:pt x="278" y="1653"/>
                  </a:lnTo>
                  <a:lnTo>
                    <a:pt x="280" y="1646"/>
                  </a:lnTo>
                  <a:lnTo>
                    <a:pt x="277" y="1640"/>
                  </a:lnTo>
                  <a:lnTo>
                    <a:pt x="277" y="1636"/>
                  </a:lnTo>
                  <a:lnTo>
                    <a:pt x="278" y="1629"/>
                  </a:lnTo>
                  <a:lnTo>
                    <a:pt x="280" y="1623"/>
                  </a:lnTo>
                  <a:lnTo>
                    <a:pt x="273" y="1613"/>
                  </a:lnTo>
                  <a:lnTo>
                    <a:pt x="266" y="1605"/>
                  </a:lnTo>
                  <a:lnTo>
                    <a:pt x="266" y="1596"/>
                  </a:lnTo>
                  <a:lnTo>
                    <a:pt x="263" y="1588"/>
                  </a:lnTo>
                  <a:lnTo>
                    <a:pt x="264" y="1585"/>
                  </a:lnTo>
                  <a:lnTo>
                    <a:pt x="275" y="1583"/>
                  </a:lnTo>
                  <a:lnTo>
                    <a:pt x="278" y="1580"/>
                  </a:lnTo>
                  <a:lnTo>
                    <a:pt x="279" y="1581"/>
                  </a:lnTo>
                  <a:lnTo>
                    <a:pt x="280" y="1588"/>
                  </a:lnTo>
                  <a:lnTo>
                    <a:pt x="283" y="1593"/>
                  </a:lnTo>
                  <a:lnTo>
                    <a:pt x="285" y="1596"/>
                  </a:lnTo>
                  <a:lnTo>
                    <a:pt x="293" y="1598"/>
                  </a:lnTo>
                  <a:lnTo>
                    <a:pt x="295" y="1597"/>
                  </a:lnTo>
                  <a:lnTo>
                    <a:pt x="298" y="1596"/>
                  </a:lnTo>
                  <a:lnTo>
                    <a:pt x="301" y="1597"/>
                  </a:lnTo>
                  <a:lnTo>
                    <a:pt x="302" y="1591"/>
                  </a:lnTo>
                  <a:lnTo>
                    <a:pt x="306" y="1588"/>
                  </a:lnTo>
                  <a:lnTo>
                    <a:pt x="310" y="1582"/>
                  </a:lnTo>
                  <a:lnTo>
                    <a:pt x="311" y="1582"/>
                  </a:lnTo>
                  <a:lnTo>
                    <a:pt x="315" y="1587"/>
                  </a:lnTo>
                  <a:lnTo>
                    <a:pt x="317" y="1587"/>
                  </a:lnTo>
                  <a:lnTo>
                    <a:pt x="326" y="1576"/>
                  </a:lnTo>
                  <a:lnTo>
                    <a:pt x="326" y="1574"/>
                  </a:lnTo>
                  <a:lnTo>
                    <a:pt x="322" y="1567"/>
                  </a:lnTo>
                  <a:lnTo>
                    <a:pt x="316" y="1559"/>
                  </a:lnTo>
                  <a:lnTo>
                    <a:pt x="315" y="1554"/>
                  </a:lnTo>
                  <a:lnTo>
                    <a:pt x="316" y="1551"/>
                  </a:lnTo>
                  <a:lnTo>
                    <a:pt x="316" y="1548"/>
                  </a:lnTo>
                  <a:lnTo>
                    <a:pt x="306" y="1543"/>
                  </a:lnTo>
                  <a:lnTo>
                    <a:pt x="301" y="1544"/>
                  </a:lnTo>
                  <a:lnTo>
                    <a:pt x="300" y="1540"/>
                  </a:lnTo>
                  <a:lnTo>
                    <a:pt x="291" y="1533"/>
                  </a:lnTo>
                  <a:lnTo>
                    <a:pt x="291" y="1518"/>
                  </a:lnTo>
                  <a:lnTo>
                    <a:pt x="296" y="1517"/>
                  </a:lnTo>
                  <a:lnTo>
                    <a:pt x="294" y="1511"/>
                  </a:lnTo>
                  <a:lnTo>
                    <a:pt x="295" y="1508"/>
                  </a:lnTo>
                  <a:lnTo>
                    <a:pt x="296" y="1507"/>
                  </a:lnTo>
                  <a:lnTo>
                    <a:pt x="289" y="1500"/>
                  </a:lnTo>
                  <a:lnTo>
                    <a:pt x="290" y="1494"/>
                  </a:lnTo>
                  <a:lnTo>
                    <a:pt x="290" y="1492"/>
                  </a:lnTo>
                  <a:lnTo>
                    <a:pt x="300" y="1492"/>
                  </a:lnTo>
                  <a:lnTo>
                    <a:pt x="304" y="1489"/>
                  </a:lnTo>
                  <a:lnTo>
                    <a:pt x="315" y="1492"/>
                  </a:lnTo>
                  <a:lnTo>
                    <a:pt x="317" y="1490"/>
                  </a:lnTo>
                  <a:lnTo>
                    <a:pt x="322" y="1485"/>
                  </a:lnTo>
                  <a:lnTo>
                    <a:pt x="327" y="1475"/>
                  </a:lnTo>
                  <a:lnTo>
                    <a:pt x="327" y="1464"/>
                  </a:lnTo>
                  <a:lnTo>
                    <a:pt x="337" y="1463"/>
                  </a:lnTo>
                  <a:lnTo>
                    <a:pt x="338" y="1462"/>
                  </a:lnTo>
                  <a:lnTo>
                    <a:pt x="336" y="1459"/>
                  </a:lnTo>
                  <a:lnTo>
                    <a:pt x="337" y="1456"/>
                  </a:lnTo>
                  <a:lnTo>
                    <a:pt x="341" y="1453"/>
                  </a:lnTo>
                  <a:lnTo>
                    <a:pt x="342" y="1451"/>
                  </a:lnTo>
                  <a:lnTo>
                    <a:pt x="345" y="1447"/>
                  </a:lnTo>
                  <a:lnTo>
                    <a:pt x="352" y="1442"/>
                  </a:lnTo>
                  <a:lnTo>
                    <a:pt x="352" y="1436"/>
                  </a:lnTo>
                  <a:lnTo>
                    <a:pt x="358" y="1430"/>
                  </a:lnTo>
                  <a:lnTo>
                    <a:pt x="360" y="1411"/>
                  </a:lnTo>
                  <a:lnTo>
                    <a:pt x="363" y="1409"/>
                  </a:lnTo>
                  <a:lnTo>
                    <a:pt x="363" y="1402"/>
                  </a:lnTo>
                  <a:lnTo>
                    <a:pt x="369" y="1394"/>
                  </a:lnTo>
                  <a:lnTo>
                    <a:pt x="369" y="1391"/>
                  </a:lnTo>
                  <a:lnTo>
                    <a:pt x="365" y="1388"/>
                  </a:lnTo>
                  <a:lnTo>
                    <a:pt x="361" y="1388"/>
                  </a:lnTo>
                  <a:lnTo>
                    <a:pt x="354" y="1397"/>
                  </a:lnTo>
                  <a:lnTo>
                    <a:pt x="352" y="1397"/>
                  </a:lnTo>
                  <a:lnTo>
                    <a:pt x="349" y="1393"/>
                  </a:lnTo>
                  <a:lnTo>
                    <a:pt x="347" y="1382"/>
                  </a:lnTo>
                  <a:lnTo>
                    <a:pt x="342" y="1386"/>
                  </a:lnTo>
                  <a:lnTo>
                    <a:pt x="338" y="1386"/>
                  </a:lnTo>
                  <a:lnTo>
                    <a:pt x="336" y="1381"/>
                  </a:lnTo>
                  <a:lnTo>
                    <a:pt x="333" y="1381"/>
                  </a:lnTo>
                  <a:lnTo>
                    <a:pt x="331" y="1379"/>
                  </a:lnTo>
                  <a:lnTo>
                    <a:pt x="330" y="1370"/>
                  </a:lnTo>
                  <a:lnTo>
                    <a:pt x="326" y="1368"/>
                  </a:lnTo>
                  <a:lnTo>
                    <a:pt x="325" y="1366"/>
                  </a:lnTo>
                  <a:lnTo>
                    <a:pt x="322" y="1365"/>
                  </a:lnTo>
                  <a:lnTo>
                    <a:pt x="318" y="1365"/>
                  </a:lnTo>
                  <a:lnTo>
                    <a:pt x="315" y="1360"/>
                  </a:lnTo>
                  <a:lnTo>
                    <a:pt x="312" y="1359"/>
                  </a:lnTo>
                  <a:lnTo>
                    <a:pt x="309" y="1359"/>
                  </a:lnTo>
                  <a:lnTo>
                    <a:pt x="304" y="1361"/>
                  </a:lnTo>
                  <a:lnTo>
                    <a:pt x="298" y="1361"/>
                  </a:lnTo>
                  <a:lnTo>
                    <a:pt x="293" y="1365"/>
                  </a:lnTo>
                  <a:lnTo>
                    <a:pt x="279" y="1365"/>
                  </a:lnTo>
                  <a:lnTo>
                    <a:pt x="269" y="1372"/>
                  </a:lnTo>
                  <a:lnTo>
                    <a:pt x="258" y="1378"/>
                  </a:lnTo>
                  <a:lnTo>
                    <a:pt x="251" y="1383"/>
                  </a:lnTo>
                  <a:lnTo>
                    <a:pt x="246" y="1388"/>
                  </a:lnTo>
                  <a:lnTo>
                    <a:pt x="241" y="1389"/>
                  </a:lnTo>
                  <a:lnTo>
                    <a:pt x="237" y="1394"/>
                  </a:lnTo>
                  <a:lnTo>
                    <a:pt x="230" y="1391"/>
                  </a:lnTo>
                  <a:lnTo>
                    <a:pt x="225" y="1394"/>
                  </a:lnTo>
                  <a:lnTo>
                    <a:pt x="220" y="1394"/>
                  </a:lnTo>
                  <a:lnTo>
                    <a:pt x="209" y="1393"/>
                  </a:lnTo>
                  <a:lnTo>
                    <a:pt x="202" y="1388"/>
                  </a:lnTo>
                  <a:lnTo>
                    <a:pt x="196" y="1389"/>
                  </a:lnTo>
                  <a:lnTo>
                    <a:pt x="188" y="1384"/>
                  </a:lnTo>
                  <a:lnTo>
                    <a:pt x="171" y="1378"/>
                  </a:lnTo>
                  <a:lnTo>
                    <a:pt x="161" y="1372"/>
                  </a:lnTo>
                  <a:lnTo>
                    <a:pt x="161" y="1366"/>
                  </a:lnTo>
                  <a:lnTo>
                    <a:pt x="160" y="1362"/>
                  </a:lnTo>
                  <a:lnTo>
                    <a:pt x="156" y="1363"/>
                  </a:lnTo>
                  <a:lnTo>
                    <a:pt x="151" y="1367"/>
                  </a:lnTo>
                  <a:lnTo>
                    <a:pt x="148" y="1367"/>
                  </a:lnTo>
                  <a:lnTo>
                    <a:pt x="143" y="1368"/>
                  </a:lnTo>
                  <a:lnTo>
                    <a:pt x="139" y="1367"/>
                  </a:lnTo>
                  <a:lnTo>
                    <a:pt x="133" y="1356"/>
                  </a:lnTo>
                  <a:lnTo>
                    <a:pt x="126" y="1355"/>
                  </a:lnTo>
                  <a:lnTo>
                    <a:pt x="124" y="1351"/>
                  </a:lnTo>
                  <a:lnTo>
                    <a:pt x="124" y="1349"/>
                  </a:lnTo>
                  <a:lnTo>
                    <a:pt x="129" y="1348"/>
                  </a:lnTo>
                  <a:lnTo>
                    <a:pt x="131" y="1344"/>
                  </a:lnTo>
                  <a:lnTo>
                    <a:pt x="129" y="1339"/>
                  </a:lnTo>
                  <a:lnTo>
                    <a:pt x="127" y="1336"/>
                  </a:lnTo>
                  <a:lnTo>
                    <a:pt x="129" y="1330"/>
                  </a:lnTo>
                  <a:lnTo>
                    <a:pt x="129" y="1324"/>
                  </a:lnTo>
                  <a:lnTo>
                    <a:pt x="127" y="1318"/>
                  </a:lnTo>
                  <a:lnTo>
                    <a:pt x="121" y="1312"/>
                  </a:lnTo>
                  <a:lnTo>
                    <a:pt x="110" y="1305"/>
                  </a:lnTo>
                  <a:lnTo>
                    <a:pt x="105" y="1305"/>
                  </a:lnTo>
                  <a:lnTo>
                    <a:pt x="99" y="1309"/>
                  </a:lnTo>
                  <a:lnTo>
                    <a:pt x="97" y="1308"/>
                  </a:lnTo>
                  <a:lnTo>
                    <a:pt x="97" y="1296"/>
                  </a:lnTo>
                  <a:lnTo>
                    <a:pt x="95" y="1293"/>
                  </a:lnTo>
                  <a:lnTo>
                    <a:pt x="88" y="1295"/>
                  </a:lnTo>
                  <a:lnTo>
                    <a:pt x="83" y="1292"/>
                  </a:lnTo>
                  <a:lnTo>
                    <a:pt x="79" y="1291"/>
                  </a:lnTo>
                  <a:lnTo>
                    <a:pt x="65" y="1293"/>
                  </a:lnTo>
                  <a:lnTo>
                    <a:pt x="54" y="1290"/>
                  </a:lnTo>
                  <a:lnTo>
                    <a:pt x="56" y="1289"/>
                  </a:lnTo>
                  <a:lnTo>
                    <a:pt x="53" y="1284"/>
                  </a:lnTo>
                  <a:lnTo>
                    <a:pt x="47" y="1281"/>
                  </a:lnTo>
                  <a:lnTo>
                    <a:pt x="46" y="1278"/>
                  </a:lnTo>
                  <a:lnTo>
                    <a:pt x="53" y="1270"/>
                  </a:lnTo>
                  <a:lnTo>
                    <a:pt x="57" y="1269"/>
                  </a:lnTo>
                  <a:lnTo>
                    <a:pt x="62" y="1271"/>
                  </a:lnTo>
                  <a:lnTo>
                    <a:pt x="65" y="1271"/>
                  </a:lnTo>
                  <a:lnTo>
                    <a:pt x="62" y="1271"/>
                  </a:lnTo>
                  <a:lnTo>
                    <a:pt x="70" y="1274"/>
                  </a:lnTo>
                  <a:lnTo>
                    <a:pt x="73" y="1273"/>
                  </a:lnTo>
                  <a:lnTo>
                    <a:pt x="73" y="1237"/>
                  </a:lnTo>
                  <a:lnTo>
                    <a:pt x="63" y="1212"/>
                  </a:lnTo>
                  <a:lnTo>
                    <a:pt x="63" y="1193"/>
                  </a:lnTo>
                  <a:lnTo>
                    <a:pt x="56" y="1182"/>
                  </a:lnTo>
                  <a:lnTo>
                    <a:pt x="37" y="1180"/>
                  </a:lnTo>
                  <a:lnTo>
                    <a:pt x="17" y="1187"/>
                  </a:lnTo>
                  <a:lnTo>
                    <a:pt x="6" y="1179"/>
                  </a:lnTo>
                  <a:lnTo>
                    <a:pt x="2" y="1162"/>
                  </a:lnTo>
                  <a:lnTo>
                    <a:pt x="0" y="1142"/>
                  </a:lnTo>
                  <a:lnTo>
                    <a:pt x="11" y="1108"/>
                  </a:lnTo>
                  <a:lnTo>
                    <a:pt x="10" y="1097"/>
                  </a:lnTo>
                  <a:lnTo>
                    <a:pt x="19" y="1079"/>
                  </a:lnTo>
                  <a:lnTo>
                    <a:pt x="51" y="1064"/>
                  </a:lnTo>
                  <a:lnTo>
                    <a:pt x="56" y="1059"/>
                  </a:lnTo>
                  <a:lnTo>
                    <a:pt x="63" y="1059"/>
                  </a:lnTo>
                  <a:lnTo>
                    <a:pt x="69" y="1044"/>
                  </a:lnTo>
                  <a:lnTo>
                    <a:pt x="79" y="1048"/>
                  </a:lnTo>
                  <a:lnTo>
                    <a:pt x="94" y="1042"/>
                  </a:lnTo>
                  <a:lnTo>
                    <a:pt x="105" y="1043"/>
                  </a:lnTo>
                  <a:lnTo>
                    <a:pt x="111" y="1056"/>
                  </a:lnTo>
                  <a:lnTo>
                    <a:pt x="122" y="1058"/>
                  </a:lnTo>
                  <a:lnTo>
                    <a:pt x="138" y="1054"/>
                  </a:lnTo>
                  <a:lnTo>
                    <a:pt x="148" y="1055"/>
                  </a:lnTo>
                  <a:lnTo>
                    <a:pt x="161" y="1045"/>
                  </a:lnTo>
                  <a:lnTo>
                    <a:pt x="167" y="1027"/>
                  </a:lnTo>
                  <a:lnTo>
                    <a:pt x="176" y="1016"/>
                  </a:lnTo>
                  <a:lnTo>
                    <a:pt x="193" y="1011"/>
                  </a:lnTo>
                  <a:lnTo>
                    <a:pt x="212" y="1010"/>
                  </a:lnTo>
                  <a:lnTo>
                    <a:pt x="239" y="1005"/>
                  </a:lnTo>
                  <a:lnTo>
                    <a:pt x="251" y="1000"/>
                  </a:lnTo>
                  <a:lnTo>
                    <a:pt x="259" y="986"/>
                  </a:lnTo>
                  <a:lnTo>
                    <a:pt x="274" y="973"/>
                  </a:lnTo>
                  <a:lnTo>
                    <a:pt x="310" y="953"/>
                  </a:lnTo>
                  <a:lnTo>
                    <a:pt x="348" y="941"/>
                  </a:lnTo>
                  <a:lnTo>
                    <a:pt x="358" y="934"/>
                  </a:lnTo>
                  <a:lnTo>
                    <a:pt x="364" y="920"/>
                  </a:lnTo>
                  <a:lnTo>
                    <a:pt x="364" y="892"/>
                  </a:lnTo>
                  <a:lnTo>
                    <a:pt x="366" y="881"/>
                  </a:lnTo>
                  <a:lnTo>
                    <a:pt x="374" y="871"/>
                  </a:lnTo>
                  <a:lnTo>
                    <a:pt x="373" y="859"/>
                  </a:lnTo>
                  <a:lnTo>
                    <a:pt x="386" y="849"/>
                  </a:lnTo>
                  <a:lnTo>
                    <a:pt x="386" y="834"/>
                  </a:lnTo>
                  <a:lnTo>
                    <a:pt x="377" y="807"/>
                  </a:lnTo>
                  <a:lnTo>
                    <a:pt x="370" y="795"/>
                  </a:lnTo>
                  <a:lnTo>
                    <a:pt x="366" y="780"/>
                  </a:lnTo>
                  <a:lnTo>
                    <a:pt x="361" y="742"/>
                  </a:lnTo>
                  <a:lnTo>
                    <a:pt x="354" y="727"/>
                  </a:lnTo>
                  <a:lnTo>
                    <a:pt x="347" y="720"/>
                  </a:lnTo>
                  <a:lnTo>
                    <a:pt x="355" y="712"/>
                  </a:lnTo>
                  <a:lnTo>
                    <a:pt x="375" y="705"/>
                  </a:lnTo>
                  <a:lnTo>
                    <a:pt x="393" y="703"/>
                  </a:lnTo>
                  <a:lnTo>
                    <a:pt x="416" y="695"/>
                  </a:lnTo>
                  <a:lnTo>
                    <a:pt x="471" y="693"/>
                  </a:lnTo>
                  <a:lnTo>
                    <a:pt x="478" y="688"/>
                  </a:lnTo>
                  <a:lnTo>
                    <a:pt x="472" y="670"/>
                  </a:lnTo>
                  <a:lnTo>
                    <a:pt x="470" y="655"/>
                  </a:lnTo>
                  <a:lnTo>
                    <a:pt x="473" y="635"/>
                  </a:lnTo>
                  <a:lnTo>
                    <a:pt x="479" y="611"/>
                  </a:lnTo>
                  <a:lnTo>
                    <a:pt x="492" y="584"/>
                  </a:lnTo>
                  <a:lnTo>
                    <a:pt x="500" y="558"/>
                  </a:lnTo>
                  <a:lnTo>
                    <a:pt x="511" y="537"/>
                  </a:lnTo>
                  <a:lnTo>
                    <a:pt x="535" y="537"/>
                  </a:lnTo>
                  <a:lnTo>
                    <a:pt x="544" y="544"/>
                  </a:lnTo>
                  <a:lnTo>
                    <a:pt x="563" y="550"/>
                  </a:lnTo>
                  <a:lnTo>
                    <a:pt x="597" y="547"/>
                  </a:lnTo>
                  <a:lnTo>
                    <a:pt x="606" y="556"/>
                  </a:lnTo>
                  <a:lnTo>
                    <a:pt x="616" y="563"/>
                  </a:lnTo>
                  <a:lnTo>
                    <a:pt x="630" y="552"/>
                  </a:lnTo>
                  <a:lnTo>
                    <a:pt x="653" y="544"/>
                  </a:lnTo>
                  <a:lnTo>
                    <a:pt x="656" y="507"/>
                  </a:lnTo>
                  <a:lnTo>
                    <a:pt x="654" y="484"/>
                  </a:lnTo>
                  <a:lnTo>
                    <a:pt x="659" y="459"/>
                  </a:lnTo>
                  <a:lnTo>
                    <a:pt x="670" y="439"/>
                  </a:lnTo>
                  <a:lnTo>
                    <a:pt x="686" y="440"/>
                  </a:lnTo>
                  <a:lnTo>
                    <a:pt x="705" y="434"/>
                  </a:lnTo>
                  <a:lnTo>
                    <a:pt x="721" y="418"/>
                  </a:lnTo>
                  <a:lnTo>
                    <a:pt x="731" y="398"/>
                  </a:lnTo>
                  <a:lnTo>
                    <a:pt x="756" y="405"/>
                  </a:lnTo>
                  <a:lnTo>
                    <a:pt x="772" y="389"/>
                  </a:lnTo>
                  <a:lnTo>
                    <a:pt x="777" y="389"/>
                  </a:lnTo>
                  <a:lnTo>
                    <a:pt x="777" y="393"/>
                  </a:lnTo>
                  <a:lnTo>
                    <a:pt x="780" y="404"/>
                  </a:lnTo>
                  <a:lnTo>
                    <a:pt x="791" y="430"/>
                  </a:lnTo>
                  <a:lnTo>
                    <a:pt x="821" y="453"/>
                  </a:lnTo>
                  <a:lnTo>
                    <a:pt x="832" y="474"/>
                  </a:lnTo>
                  <a:lnTo>
                    <a:pt x="847" y="485"/>
                  </a:lnTo>
                  <a:lnTo>
                    <a:pt x="854" y="474"/>
                  </a:lnTo>
                  <a:lnTo>
                    <a:pt x="870" y="477"/>
                  </a:lnTo>
                  <a:lnTo>
                    <a:pt x="885" y="485"/>
                  </a:lnTo>
                  <a:lnTo>
                    <a:pt x="901" y="488"/>
                  </a:lnTo>
                  <a:lnTo>
                    <a:pt x="911" y="504"/>
                  </a:lnTo>
                  <a:lnTo>
                    <a:pt x="918" y="526"/>
                  </a:lnTo>
                  <a:lnTo>
                    <a:pt x="928" y="543"/>
                  </a:lnTo>
                  <a:lnTo>
                    <a:pt x="940" y="586"/>
                  </a:lnTo>
                  <a:lnTo>
                    <a:pt x="940" y="614"/>
                  </a:lnTo>
                  <a:lnTo>
                    <a:pt x="944" y="633"/>
                  </a:lnTo>
                  <a:lnTo>
                    <a:pt x="943" y="652"/>
                  </a:lnTo>
                  <a:lnTo>
                    <a:pt x="935" y="668"/>
                  </a:lnTo>
                  <a:lnTo>
                    <a:pt x="934" y="683"/>
                  </a:lnTo>
                  <a:lnTo>
                    <a:pt x="941" y="690"/>
                  </a:lnTo>
                  <a:lnTo>
                    <a:pt x="957" y="697"/>
                  </a:lnTo>
                  <a:lnTo>
                    <a:pt x="988" y="700"/>
                  </a:lnTo>
                  <a:lnTo>
                    <a:pt x="1022" y="711"/>
                  </a:lnTo>
                  <a:lnTo>
                    <a:pt x="1031" y="711"/>
                  </a:lnTo>
                  <a:lnTo>
                    <a:pt x="1044" y="706"/>
                  </a:lnTo>
                  <a:lnTo>
                    <a:pt x="1057" y="706"/>
                  </a:lnTo>
                  <a:lnTo>
                    <a:pt x="1069" y="712"/>
                  </a:lnTo>
                  <a:lnTo>
                    <a:pt x="1099" y="722"/>
                  </a:lnTo>
                  <a:lnTo>
                    <a:pt x="1114" y="732"/>
                  </a:lnTo>
                  <a:lnTo>
                    <a:pt x="1130" y="741"/>
                  </a:lnTo>
                  <a:lnTo>
                    <a:pt x="1162" y="749"/>
                  </a:lnTo>
                  <a:lnTo>
                    <a:pt x="1175" y="759"/>
                  </a:lnTo>
                  <a:lnTo>
                    <a:pt x="1187" y="760"/>
                  </a:lnTo>
                  <a:lnTo>
                    <a:pt x="1198" y="775"/>
                  </a:lnTo>
                  <a:lnTo>
                    <a:pt x="1209" y="792"/>
                  </a:lnTo>
                  <a:lnTo>
                    <a:pt x="1216" y="812"/>
                  </a:lnTo>
                  <a:lnTo>
                    <a:pt x="1228" y="832"/>
                  </a:lnTo>
                  <a:lnTo>
                    <a:pt x="1240" y="846"/>
                  </a:lnTo>
                  <a:lnTo>
                    <a:pt x="1253" y="862"/>
                  </a:lnTo>
                  <a:lnTo>
                    <a:pt x="1269" y="876"/>
                  </a:lnTo>
                  <a:lnTo>
                    <a:pt x="1283" y="882"/>
                  </a:lnTo>
                  <a:lnTo>
                    <a:pt x="1304" y="882"/>
                  </a:lnTo>
                  <a:lnTo>
                    <a:pt x="1452" y="872"/>
                  </a:lnTo>
                  <a:lnTo>
                    <a:pt x="1470" y="870"/>
                  </a:lnTo>
                  <a:lnTo>
                    <a:pt x="1487" y="872"/>
                  </a:lnTo>
                  <a:lnTo>
                    <a:pt x="1521" y="883"/>
                  </a:lnTo>
                  <a:lnTo>
                    <a:pt x="1531" y="887"/>
                  </a:lnTo>
                  <a:lnTo>
                    <a:pt x="1540" y="898"/>
                  </a:lnTo>
                  <a:lnTo>
                    <a:pt x="1555" y="911"/>
                  </a:lnTo>
                  <a:lnTo>
                    <a:pt x="1578" y="921"/>
                  </a:lnTo>
                  <a:lnTo>
                    <a:pt x="1611" y="931"/>
                  </a:lnTo>
                  <a:lnTo>
                    <a:pt x="1629" y="941"/>
                  </a:lnTo>
                  <a:lnTo>
                    <a:pt x="1651" y="948"/>
                  </a:lnTo>
                  <a:lnTo>
                    <a:pt x="1680" y="950"/>
                  </a:lnTo>
                  <a:lnTo>
                    <a:pt x="1686" y="952"/>
                  </a:lnTo>
                  <a:lnTo>
                    <a:pt x="1697" y="961"/>
                  </a:lnTo>
                  <a:lnTo>
                    <a:pt x="1709" y="964"/>
                  </a:lnTo>
                  <a:lnTo>
                    <a:pt x="1719" y="963"/>
                  </a:lnTo>
                  <a:lnTo>
                    <a:pt x="1737" y="948"/>
                  </a:lnTo>
                  <a:lnTo>
                    <a:pt x="1767" y="937"/>
                  </a:lnTo>
                  <a:lnTo>
                    <a:pt x="1780" y="935"/>
                  </a:lnTo>
                  <a:lnTo>
                    <a:pt x="1791" y="931"/>
                  </a:lnTo>
                  <a:lnTo>
                    <a:pt x="1799" y="921"/>
                  </a:lnTo>
                  <a:lnTo>
                    <a:pt x="1810" y="918"/>
                  </a:lnTo>
                  <a:lnTo>
                    <a:pt x="1847" y="911"/>
                  </a:lnTo>
                  <a:lnTo>
                    <a:pt x="1865" y="904"/>
                  </a:lnTo>
                  <a:lnTo>
                    <a:pt x="1891" y="905"/>
                  </a:lnTo>
                  <a:lnTo>
                    <a:pt x="1907" y="899"/>
                  </a:lnTo>
                  <a:lnTo>
                    <a:pt x="1935" y="908"/>
                  </a:lnTo>
                  <a:lnTo>
                    <a:pt x="1940" y="905"/>
                  </a:lnTo>
                  <a:lnTo>
                    <a:pt x="1968" y="903"/>
                  </a:lnTo>
                  <a:lnTo>
                    <a:pt x="1998" y="892"/>
                  </a:lnTo>
                  <a:lnTo>
                    <a:pt x="2012" y="883"/>
                  </a:lnTo>
                  <a:lnTo>
                    <a:pt x="2032" y="868"/>
                  </a:lnTo>
                  <a:lnTo>
                    <a:pt x="2042" y="854"/>
                  </a:lnTo>
                  <a:lnTo>
                    <a:pt x="2100" y="805"/>
                  </a:lnTo>
                  <a:lnTo>
                    <a:pt x="2097" y="791"/>
                  </a:lnTo>
                  <a:lnTo>
                    <a:pt x="2075" y="762"/>
                  </a:lnTo>
                  <a:lnTo>
                    <a:pt x="2078" y="747"/>
                  </a:lnTo>
                  <a:lnTo>
                    <a:pt x="2091" y="727"/>
                  </a:lnTo>
                  <a:lnTo>
                    <a:pt x="2100" y="710"/>
                  </a:lnTo>
                  <a:lnTo>
                    <a:pt x="2121" y="704"/>
                  </a:lnTo>
                  <a:lnTo>
                    <a:pt x="2137" y="709"/>
                  </a:lnTo>
                  <a:lnTo>
                    <a:pt x="2149" y="722"/>
                  </a:lnTo>
                  <a:lnTo>
                    <a:pt x="2170" y="727"/>
                  </a:lnTo>
                  <a:lnTo>
                    <a:pt x="2188" y="727"/>
                  </a:lnTo>
                  <a:lnTo>
                    <a:pt x="2215" y="710"/>
                  </a:lnTo>
                  <a:lnTo>
                    <a:pt x="2234" y="689"/>
                  </a:lnTo>
                  <a:lnTo>
                    <a:pt x="2254" y="667"/>
                  </a:lnTo>
                  <a:lnTo>
                    <a:pt x="2266" y="667"/>
                  </a:lnTo>
                  <a:lnTo>
                    <a:pt x="2277" y="668"/>
                  </a:lnTo>
                  <a:lnTo>
                    <a:pt x="2284" y="666"/>
                  </a:lnTo>
                  <a:lnTo>
                    <a:pt x="2302" y="654"/>
                  </a:lnTo>
                  <a:lnTo>
                    <a:pt x="2353" y="598"/>
                  </a:lnTo>
                  <a:lnTo>
                    <a:pt x="2369" y="584"/>
                  </a:lnTo>
                  <a:lnTo>
                    <a:pt x="2390" y="580"/>
                  </a:lnTo>
                  <a:lnTo>
                    <a:pt x="2415" y="581"/>
                  </a:lnTo>
                  <a:lnTo>
                    <a:pt x="2440" y="577"/>
                  </a:lnTo>
                  <a:lnTo>
                    <a:pt x="2465" y="572"/>
                  </a:lnTo>
                  <a:lnTo>
                    <a:pt x="2484" y="577"/>
                  </a:lnTo>
                  <a:lnTo>
                    <a:pt x="2501" y="580"/>
                  </a:lnTo>
                  <a:lnTo>
                    <a:pt x="2511" y="574"/>
                  </a:lnTo>
                  <a:lnTo>
                    <a:pt x="2510" y="561"/>
                  </a:lnTo>
                  <a:lnTo>
                    <a:pt x="2496" y="553"/>
                  </a:lnTo>
                  <a:lnTo>
                    <a:pt x="2496" y="544"/>
                  </a:lnTo>
                  <a:lnTo>
                    <a:pt x="2498" y="531"/>
                  </a:lnTo>
                  <a:lnTo>
                    <a:pt x="2492" y="517"/>
                  </a:lnTo>
                  <a:lnTo>
                    <a:pt x="2463" y="493"/>
                  </a:lnTo>
                  <a:lnTo>
                    <a:pt x="2450" y="478"/>
                  </a:lnTo>
                  <a:lnTo>
                    <a:pt x="2444" y="464"/>
                  </a:lnTo>
                  <a:lnTo>
                    <a:pt x="2415" y="485"/>
                  </a:lnTo>
                  <a:lnTo>
                    <a:pt x="2397" y="498"/>
                  </a:lnTo>
                  <a:lnTo>
                    <a:pt x="2372" y="505"/>
                  </a:lnTo>
                  <a:lnTo>
                    <a:pt x="2347" y="507"/>
                  </a:lnTo>
                  <a:lnTo>
                    <a:pt x="2306" y="498"/>
                  </a:lnTo>
                  <a:lnTo>
                    <a:pt x="2297" y="483"/>
                  </a:lnTo>
                  <a:lnTo>
                    <a:pt x="2294" y="463"/>
                  </a:lnTo>
                  <a:lnTo>
                    <a:pt x="2294" y="441"/>
                  </a:lnTo>
                  <a:lnTo>
                    <a:pt x="2302" y="424"/>
                  </a:lnTo>
                  <a:lnTo>
                    <a:pt x="2305" y="404"/>
                  </a:lnTo>
                  <a:lnTo>
                    <a:pt x="2302" y="387"/>
                  </a:lnTo>
                  <a:lnTo>
                    <a:pt x="2302" y="371"/>
                  </a:lnTo>
                  <a:lnTo>
                    <a:pt x="2306" y="362"/>
                  </a:lnTo>
                  <a:lnTo>
                    <a:pt x="2317" y="348"/>
                  </a:lnTo>
                  <a:lnTo>
                    <a:pt x="2333" y="319"/>
                  </a:lnTo>
                  <a:lnTo>
                    <a:pt x="2342" y="311"/>
                  </a:lnTo>
                  <a:lnTo>
                    <a:pt x="2342" y="306"/>
                  </a:lnTo>
                  <a:lnTo>
                    <a:pt x="2353" y="308"/>
                  </a:lnTo>
                  <a:lnTo>
                    <a:pt x="2366" y="318"/>
                  </a:lnTo>
                  <a:lnTo>
                    <a:pt x="2398" y="328"/>
                  </a:lnTo>
                  <a:lnTo>
                    <a:pt x="2423" y="340"/>
                  </a:lnTo>
                  <a:lnTo>
                    <a:pt x="2434" y="338"/>
                  </a:lnTo>
                  <a:lnTo>
                    <a:pt x="2449" y="327"/>
                  </a:lnTo>
                  <a:lnTo>
                    <a:pt x="2499" y="296"/>
                  </a:lnTo>
                  <a:lnTo>
                    <a:pt x="2500" y="289"/>
                  </a:lnTo>
                  <a:lnTo>
                    <a:pt x="2498" y="276"/>
                  </a:lnTo>
                  <a:lnTo>
                    <a:pt x="2501" y="264"/>
                  </a:lnTo>
                  <a:lnTo>
                    <a:pt x="2512" y="251"/>
                  </a:lnTo>
                  <a:lnTo>
                    <a:pt x="2519" y="240"/>
                  </a:lnTo>
                  <a:lnTo>
                    <a:pt x="2526" y="210"/>
                  </a:lnTo>
                  <a:lnTo>
                    <a:pt x="2531" y="188"/>
                  </a:lnTo>
                  <a:lnTo>
                    <a:pt x="2538" y="171"/>
                  </a:lnTo>
                  <a:lnTo>
                    <a:pt x="2557" y="161"/>
                  </a:lnTo>
                  <a:lnTo>
                    <a:pt x="2581" y="134"/>
                  </a:lnTo>
                  <a:lnTo>
                    <a:pt x="2581" y="129"/>
                  </a:lnTo>
                  <a:lnTo>
                    <a:pt x="2576" y="118"/>
                  </a:lnTo>
                  <a:lnTo>
                    <a:pt x="2578" y="91"/>
                  </a:lnTo>
                  <a:lnTo>
                    <a:pt x="2571" y="87"/>
                  </a:lnTo>
                  <a:lnTo>
                    <a:pt x="2560" y="87"/>
                  </a:lnTo>
                  <a:lnTo>
                    <a:pt x="2542" y="92"/>
                  </a:lnTo>
                  <a:lnTo>
                    <a:pt x="2538" y="87"/>
                  </a:lnTo>
                  <a:lnTo>
                    <a:pt x="2543" y="74"/>
                  </a:lnTo>
                  <a:lnTo>
                    <a:pt x="2567" y="50"/>
                  </a:lnTo>
                  <a:lnTo>
                    <a:pt x="2575" y="38"/>
                  </a:lnTo>
                  <a:lnTo>
                    <a:pt x="2591" y="26"/>
                  </a:lnTo>
                  <a:lnTo>
                    <a:pt x="2625" y="20"/>
                  </a:lnTo>
                  <a:lnTo>
                    <a:pt x="2666" y="5"/>
                  </a:lnTo>
                  <a:lnTo>
                    <a:pt x="2691" y="6"/>
                  </a:lnTo>
                  <a:lnTo>
                    <a:pt x="2726" y="0"/>
                  </a:lnTo>
                  <a:lnTo>
                    <a:pt x="2738" y="0"/>
                  </a:lnTo>
                  <a:lnTo>
                    <a:pt x="2757" y="9"/>
                  </a:lnTo>
                  <a:lnTo>
                    <a:pt x="2774" y="21"/>
                  </a:lnTo>
                  <a:lnTo>
                    <a:pt x="2785" y="33"/>
                  </a:lnTo>
                  <a:lnTo>
                    <a:pt x="2801" y="37"/>
                  </a:lnTo>
                  <a:lnTo>
                    <a:pt x="2820" y="34"/>
                  </a:lnTo>
                  <a:lnTo>
                    <a:pt x="2836" y="38"/>
                  </a:lnTo>
                  <a:lnTo>
                    <a:pt x="2850" y="44"/>
                  </a:lnTo>
                  <a:lnTo>
                    <a:pt x="2858" y="58"/>
                  </a:lnTo>
                  <a:lnTo>
                    <a:pt x="2870" y="76"/>
                  </a:lnTo>
                  <a:lnTo>
                    <a:pt x="2871" y="89"/>
                  </a:lnTo>
                  <a:lnTo>
                    <a:pt x="2879" y="96"/>
                  </a:lnTo>
                  <a:lnTo>
                    <a:pt x="2888" y="102"/>
                  </a:lnTo>
                  <a:lnTo>
                    <a:pt x="2890" y="111"/>
                  </a:lnTo>
                  <a:lnTo>
                    <a:pt x="2891" y="106"/>
                  </a:lnTo>
                  <a:lnTo>
                    <a:pt x="2893" y="119"/>
                  </a:lnTo>
                  <a:lnTo>
                    <a:pt x="2898" y="134"/>
                  </a:lnTo>
                  <a:lnTo>
                    <a:pt x="2901" y="155"/>
                  </a:lnTo>
                  <a:lnTo>
                    <a:pt x="2909" y="172"/>
                  </a:lnTo>
                  <a:lnTo>
                    <a:pt x="2914" y="189"/>
                  </a:lnTo>
                  <a:lnTo>
                    <a:pt x="2935" y="229"/>
                  </a:lnTo>
                  <a:lnTo>
                    <a:pt x="2941" y="270"/>
                  </a:lnTo>
                  <a:lnTo>
                    <a:pt x="2950" y="289"/>
                  </a:lnTo>
                  <a:lnTo>
                    <a:pt x="2949" y="294"/>
                  </a:lnTo>
                  <a:lnTo>
                    <a:pt x="2950" y="295"/>
                  </a:lnTo>
                  <a:lnTo>
                    <a:pt x="2952" y="313"/>
                  </a:lnTo>
                  <a:lnTo>
                    <a:pt x="2952" y="334"/>
                  </a:lnTo>
                  <a:lnTo>
                    <a:pt x="2965" y="345"/>
                  </a:lnTo>
                  <a:lnTo>
                    <a:pt x="2988" y="348"/>
                  </a:lnTo>
                  <a:lnTo>
                    <a:pt x="3009" y="340"/>
                  </a:lnTo>
                  <a:lnTo>
                    <a:pt x="3025" y="348"/>
                  </a:lnTo>
                  <a:lnTo>
                    <a:pt x="3044" y="350"/>
                  </a:lnTo>
                  <a:lnTo>
                    <a:pt x="3062" y="359"/>
                  </a:lnTo>
                  <a:lnTo>
                    <a:pt x="3094" y="387"/>
                  </a:lnTo>
                  <a:lnTo>
                    <a:pt x="3109" y="394"/>
                  </a:lnTo>
                  <a:lnTo>
                    <a:pt x="3121" y="396"/>
                  </a:lnTo>
                  <a:lnTo>
                    <a:pt x="3125" y="403"/>
                  </a:lnTo>
                  <a:lnTo>
                    <a:pt x="3125" y="408"/>
                  </a:lnTo>
                  <a:lnTo>
                    <a:pt x="3127" y="407"/>
                  </a:lnTo>
                  <a:lnTo>
                    <a:pt x="3128" y="423"/>
                  </a:lnTo>
                  <a:lnTo>
                    <a:pt x="3135" y="432"/>
                  </a:lnTo>
                  <a:lnTo>
                    <a:pt x="3134" y="448"/>
                  </a:lnTo>
                  <a:lnTo>
                    <a:pt x="3135" y="466"/>
                  </a:lnTo>
                  <a:lnTo>
                    <a:pt x="3145" y="482"/>
                  </a:lnTo>
                  <a:lnTo>
                    <a:pt x="3151" y="495"/>
                  </a:lnTo>
                  <a:lnTo>
                    <a:pt x="3170" y="494"/>
                  </a:lnTo>
                  <a:lnTo>
                    <a:pt x="3189" y="500"/>
                  </a:lnTo>
                  <a:lnTo>
                    <a:pt x="3207" y="498"/>
                  </a:lnTo>
                  <a:lnTo>
                    <a:pt x="3238" y="483"/>
                  </a:lnTo>
                  <a:lnTo>
                    <a:pt x="3272" y="461"/>
                  </a:lnTo>
                  <a:lnTo>
                    <a:pt x="3290" y="459"/>
                  </a:lnTo>
                  <a:lnTo>
                    <a:pt x="3323" y="441"/>
                  </a:lnTo>
                  <a:lnTo>
                    <a:pt x="3355" y="432"/>
                  </a:lnTo>
                  <a:lnTo>
                    <a:pt x="3356" y="435"/>
                  </a:lnTo>
                  <a:lnTo>
                    <a:pt x="3348" y="448"/>
                  </a:lnTo>
                  <a:lnTo>
                    <a:pt x="3348" y="468"/>
                  </a:lnTo>
                  <a:lnTo>
                    <a:pt x="3353" y="484"/>
                  </a:lnTo>
                  <a:lnTo>
                    <a:pt x="3350" y="504"/>
                  </a:lnTo>
                  <a:lnTo>
                    <a:pt x="3338" y="514"/>
                  </a:lnTo>
                  <a:lnTo>
                    <a:pt x="3324" y="527"/>
                  </a:lnTo>
                  <a:lnTo>
                    <a:pt x="3322" y="548"/>
                  </a:lnTo>
                  <a:lnTo>
                    <a:pt x="3308" y="581"/>
                  </a:lnTo>
                  <a:lnTo>
                    <a:pt x="3300" y="623"/>
                  </a:lnTo>
                  <a:lnTo>
                    <a:pt x="3281" y="661"/>
                  </a:lnTo>
                  <a:lnTo>
                    <a:pt x="3268" y="679"/>
                  </a:lnTo>
                  <a:lnTo>
                    <a:pt x="3263" y="699"/>
                  </a:lnTo>
                  <a:lnTo>
                    <a:pt x="3251" y="709"/>
                  </a:lnTo>
                  <a:lnTo>
                    <a:pt x="3246" y="705"/>
                  </a:lnTo>
                  <a:lnTo>
                    <a:pt x="3195" y="693"/>
                  </a:lnTo>
                  <a:lnTo>
                    <a:pt x="3182" y="700"/>
                  </a:lnTo>
                  <a:lnTo>
                    <a:pt x="3146" y="735"/>
                  </a:lnTo>
                  <a:lnTo>
                    <a:pt x="3154" y="748"/>
                  </a:lnTo>
                  <a:lnTo>
                    <a:pt x="3160" y="775"/>
                  </a:lnTo>
                  <a:lnTo>
                    <a:pt x="3160" y="834"/>
                  </a:lnTo>
                  <a:lnTo>
                    <a:pt x="3144" y="859"/>
                  </a:lnTo>
                  <a:lnTo>
                    <a:pt x="3124" y="876"/>
                  </a:lnTo>
                  <a:lnTo>
                    <a:pt x="3124" y="894"/>
                  </a:lnTo>
                  <a:lnTo>
                    <a:pt x="3116" y="893"/>
                  </a:lnTo>
                  <a:lnTo>
                    <a:pt x="3108" y="878"/>
                  </a:lnTo>
                  <a:lnTo>
                    <a:pt x="3097" y="867"/>
                  </a:lnTo>
                  <a:lnTo>
                    <a:pt x="3086" y="876"/>
                  </a:lnTo>
                  <a:lnTo>
                    <a:pt x="3079" y="896"/>
                  </a:lnTo>
                  <a:lnTo>
                    <a:pt x="3069" y="911"/>
                  </a:lnTo>
                  <a:lnTo>
                    <a:pt x="3038" y="935"/>
                  </a:lnTo>
                  <a:lnTo>
                    <a:pt x="3014" y="941"/>
                  </a:lnTo>
                  <a:lnTo>
                    <a:pt x="2994" y="941"/>
                  </a:lnTo>
                  <a:lnTo>
                    <a:pt x="2989" y="950"/>
                  </a:lnTo>
                  <a:lnTo>
                    <a:pt x="2995" y="981"/>
                  </a:lnTo>
                  <a:lnTo>
                    <a:pt x="2953" y="985"/>
                  </a:lnTo>
                  <a:lnTo>
                    <a:pt x="2939" y="975"/>
                  </a:lnTo>
                  <a:lnTo>
                    <a:pt x="2920" y="970"/>
                  </a:lnTo>
                  <a:lnTo>
                    <a:pt x="2908" y="980"/>
                  </a:lnTo>
                  <a:lnTo>
                    <a:pt x="2883" y="1009"/>
                  </a:lnTo>
                  <a:lnTo>
                    <a:pt x="2865" y="1024"/>
                  </a:lnTo>
                  <a:lnTo>
                    <a:pt x="2826" y="1045"/>
                  </a:lnTo>
                  <a:lnTo>
                    <a:pt x="2811" y="1052"/>
                  </a:lnTo>
                  <a:lnTo>
                    <a:pt x="2783" y="1087"/>
                  </a:lnTo>
                  <a:lnTo>
                    <a:pt x="2781" y="1091"/>
                  </a:lnTo>
                  <a:lnTo>
                    <a:pt x="2774" y="1094"/>
                  </a:lnTo>
                  <a:lnTo>
                    <a:pt x="2767" y="1097"/>
                  </a:lnTo>
                  <a:lnTo>
                    <a:pt x="2756" y="1097"/>
                  </a:lnTo>
                  <a:lnTo>
                    <a:pt x="2734" y="1104"/>
                  </a:lnTo>
                  <a:lnTo>
                    <a:pt x="2729" y="1097"/>
                  </a:lnTo>
                  <a:lnTo>
                    <a:pt x="2724" y="1102"/>
                  </a:lnTo>
                  <a:lnTo>
                    <a:pt x="2709" y="1113"/>
                  </a:lnTo>
                  <a:lnTo>
                    <a:pt x="2673" y="1128"/>
                  </a:lnTo>
                  <a:lnTo>
                    <a:pt x="2665" y="1136"/>
                  </a:lnTo>
                  <a:lnTo>
                    <a:pt x="2657" y="1149"/>
                  </a:lnTo>
                  <a:lnTo>
                    <a:pt x="2646" y="1157"/>
                  </a:lnTo>
                  <a:lnTo>
                    <a:pt x="2638" y="1157"/>
                  </a:lnTo>
                  <a:lnTo>
                    <a:pt x="2632" y="1163"/>
                  </a:lnTo>
                  <a:lnTo>
                    <a:pt x="2613" y="1172"/>
                  </a:lnTo>
                  <a:lnTo>
                    <a:pt x="2607" y="1168"/>
                  </a:lnTo>
                  <a:lnTo>
                    <a:pt x="2616" y="1156"/>
                  </a:lnTo>
                  <a:lnTo>
                    <a:pt x="2630" y="1151"/>
                  </a:lnTo>
                  <a:lnTo>
                    <a:pt x="2635" y="1140"/>
                  </a:lnTo>
                  <a:lnTo>
                    <a:pt x="2638" y="1129"/>
                  </a:lnTo>
                  <a:lnTo>
                    <a:pt x="2630" y="1126"/>
                  </a:lnTo>
                  <a:lnTo>
                    <a:pt x="2622" y="1119"/>
                  </a:lnTo>
                  <a:lnTo>
                    <a:pt x="2616" y="1118"/>
                  </a:lnTo>
                  <a:lnTo>
                    <a:pt x="2625" y="1112"/>
                  </a:lnTo>
                  <a:lnTo>
                    <a:pt x="2627" y="1101"/>
                  </a:lnTo>
                  <a:lnTo>
                    <a:pt x="2638" y="1093"/>
                  </a:lnTo>
                  <a:lnTo>
                    <a:pt x="2660" y="1063"/>
                  </a:lnTo>
                  <a:lnTo>
                    <a:pt x="2667" y="1050"/>
                  </a:lnTo>
                  <a:lnTo>
                    <a:pt x="2665" y="1042"/>
                  </a:lnTo>
                  <a:lnTo>
                    <a:pt x="2652" y="1028"/>
                  </a:lnTo>
                  <a:lnTo>
                    <a:pt x="2649" y="1016"/>
                  </a:lnTo>
                  <a:lnTo>
                    <a:pt x="2644" y="1010"/>
                  </a:lnTo>
                  <a:lnTo>
                    <a:pt x="2639" y="1016"/>
                  </a:lnTo>
                  <a:lnTo>
                    <a:pt x="2616" y="1017"/>
                  </a:lnTo>
                  <a:lnTo>
                    <a:pt x="2606" y="1021"/>
                  </a:lnTo>
                  <a:lnTo>
                    <a:pt x="2590" y="1038"/>
                  </a:lnTo>
                  <a:lnTo>
                    <a:pt x="2578" y="1053"/>
                  </a:lnTo>
                  <a:lnTo>
                    <a:pt x="2571" y="1065"/>
                  </a:lnTo>
                  <a:lnTo>
                    <a:pt x="2568" y="1070"/>
                  </a:lnTo>
                  <a:lnTo>
                    <a:pt x="2542" y="1082"/>
                  </a:lnTo>
                  <a:lnTo>
                    <a:pt x="2524" y="1096"/>
                  </a:lnTo>
                  <a:lnTo>
                    <a:pt x="2516" y="1098"/>
                  </a:lnTo>
                  <a:lnTo>
                    <a:pt x="2509" y="1112"/>
                  </a:lnTo>
                  <a:lnTo>
                    <a:pt x="2506" y="1126"/>
                  </a:lnTo>
                  <a:lnTo>
                    <a:pt x="2498" y="1135"/>
                  </a:lnTo>
                  <a:lnTo>
                    <a:pt x="2488" y="1141"/>
                  </a:lnTo>
                  <a:lnTo>
                    <a:pt x="2473" y="1144"/>
                  </a:lnTo>
                  <a:lnTo>
                    <a:pt x="2462" y="1147"/>
                  </a:lnTo>
                  <a:lnTo>
                    <a:pt x="2451" y="1147"/>
                  </a:lnTo>
                  <a:lnTo>
                    <a:pt x="2445" y="1144"/>
                  </a:lnTo>
                  <a:lnTo>
                    <a:pt x="2433" y="1142"/>
                  </a:lnTo>
                  <a:lnTo>
                    <a:pt x="2423" y="1152"/>
                  </a:lnTo>
                  <a:lnTo>
                    <a:pt x="2417" y="1172"/>
                  </a:lnTo>
                  <a:lnTo>
                    <a:pt x="2414" y="1189"/>
                  </a:lnTo>
                  <a:lnTo>
                    <a:pt x="2431" y="1207"/>
                  </a:lnTo>
                  <a:lnTo>
                    <a:pt x="2435" y="1216"/>
                  </a:lnTo>
                  <a:lnTo>
                    <a:pt x="2444" y="1221"/>
                  </a:lnTo>
                  <a:lnTo>
                    <a:pt x="2451" y="1221"/>
                  </a:lnTo>
                  <a:lnTo>
                    <a:pt x="2456" y="1228"/>
                  </a:lnTo>
                  <a:lnTo>
                    <a:pt x="2465" y="1228"/>
                  </a:lnTo>
                  <a:lnTo>
                    <a:pt x="2469" y="1239"/>
                  </a:lnTo>
                  <a:lnTo>
                    <a:pt x="2479" y="1247"/>
                  </a:lnTo>
                  <a:lnTo>
                    <a:pt x="2482" y="1255"/>
                  </a:lnTo>
                  <a:lnTo>
                    <a:pt x="2482" y="1265"/>
                  </a:lnTo>
                  <a:lnTo>
                    <a:pt x="2490" y="1276"/>
                  </a:lnTo>
                  <a:lnTo>
                    <a:pt x="2517" y="1286"/>
                  </a:lnTo>
                  <a:lnTo>
                    <a:pt x="2531" y="1285"/>
                  </a:lnTo>
                  <a:lnTo>
                    <a:pt x="2543" y="1269"/>
                  </a:lnTo>
                  <a:lnTo>
                    <a:pt x="2554" y="1260"/>
                  </a:lnTo>
                  <a:lnTo>
                    <a:pt x="2562" y="1249"/>
                  </a:lnTo>
                  <a:lnTo>
                    <a:pt x="2584" y="1239"/>
                  </a:lnTo>
                  <a:lnTo>
                    <a:pt x="2591" y="1238"/>
                  </a:lnTo>
                  <a:lnTo>
                    <a:pt x="2602" y="1249"/>
                  </a:lnTo>
                  <a:lnTo>
                    <a:pt x="2611" y="1254"/>
                  </a:lnTo>
                  <a:lnTo>
                    <a:pt x="2622" y="1255"/>
                  </a:lnTo>
                  <a:lnTo>
                    <a:pt x="2629" y="1264"/>
                  </a:lnTo>
                  <a:lnTo>
                    <a:pt x="2637" y="1265"/>
                  </a:lnTo>
                  <a:lnTo>
                    <a:pt x="2649" y="1263"/>
                  </a:lnTo>
                  <a:lnTo>
                    <a:pt x="2657" y="1258"/>
                  </a:lnTo>
                  <a:lnTo>
                    <a:pt x="2671" y="1264"/>
                  </a:lnTo>
                  <a:lnTo>
                    <a:pt x="2683" y="1266"/>
                  </a:lnTo>
                  <a:lnTo>
                    <a:pt x="2687" y="1268"/>
                  </a:lnTo>
                  <a:lnTo>
                    <a:pt x="2684" y="1281"/>
                  </a:lnTo>
                  <a:lnTo>
                    <a:pt x="2680" y="1290"/>
                  </a:lnTo>
                  <a:lnTo>
                    <a:pt x="2680" y="1295"/>
                  </a:lnTo>
                  <a:lnTo>
                    <a:pt x="2670" y="1307"/>
                  </a:lnTo>
                  <a:lnTo>
                    <a:pt x="2666" y="1303"/>
                  </a:lnTo>
                  <a:lnTo>
                    <a:pt x="2662" y="1293"/>
                  </a:lnTo>
                  <a:lnTo>
                    <a:pt x="2656" y="1297"/>
                  </a:lnTo>
                  <a:lnTo>
                    <a:pt x="2650" y="1295"/>
                  </a:lnTo>
                  <a:lnTo>
                    <a:pt x="2643" y="1301"/>
                  </a:lnTo>
                  <a:lnTo>
                    <a:pt x="2637" y="1311"/>
                  </a:lnTo>
                  <a:lnTo>
                    <a:pt x="2614" y="1313"/>
                  </a:lnTo>
                  <a:lnTo>
                    <a:pt x="2602" y="1319"/>
                  </a:lnTo>
                  <a:lnTo>
                    <a:pt x="2591" y="1319"/>
                  </a:lnTo>
                  <a:lnTo>
                    <a:pt x="2594" y="1333"/>
                  </a:lnTo>
                  <a:lnTo>
                    <a:pt x="2590" y="1333"/>
                  </a:lnTo>
                  <a:lnTo>
                    <a:pt x="2585" y="1338"/>
                  </a:lnTo>
                  <a:lnTo>
                    <a:pt x="2578" y="1355"/>
                  </a:lnTo>
                  <a:lnTo>
                    <a:pt x="2568" y="1356"/>
                  </a:lnTo>
                  <a:lnTo>
                    <a:pt x="2564" y="1345"/>
                  </a:lnTo>
                  <a:lnTo>
                    <a:pt x="2555" y="1345"/>
                  </a:lnTo>
                  <a:lnTo>
                    <a:pt x="2548" y="1354"/>
                  </a:lnTo>
                  <a:lnTo>
                    <a:pt x="2555" y="1362"/>
                  </a:lnTo>
                  <a:lnTo>
                    <a:pt x="2552" y="1371"/>
                  </a:lnTo>
                  <a:lnTo>
                    <a:pt x="2544" y="1381"/>
                  </a:lnTo>
                  <a:lnTo>
                    <a:pt x="2526" y="1391"/>
                  </a:lnTo>
                  <a:lnTo>
                    <a:pt x="2521" y="1404"/>
                  </a:lnTo>
                  <a:lnTo>
                    <a:pt x="2509" y="1421"/>
                  </a:lnTo>
                  <a:lnTo>
                    <a:pt x="2500" y="1437"/>
                  </a:lnTo>
                  <a:lnTo>
                    <a:pt x="2503" y="1446"/>
                  </a:lnTo>
                  <a:lnTo>
                    <a:pt x="2514" y="1448"/>
                  </a:lnTo>
                  <a:lnTo>
                    <a:pt x="2522" y="1456"/>
                  </a:lnTo>
                  <a:lnTo>
                    <a:pt x="2555" y="1473"/>
                  </a:lnTo>
                  <a:lnTo>
                    <a:pt x="2562" y="1483"/>
                  </a:lnTo>
                  <a:lnTo>
                    <a:pt x="2567" y="1499"/>
                  </a:lnTo>
                  <a:lnTo>
                    <a:pt x="2574" y="1508"/>
                  </a:lnTo>
                  <a:lnTo>
                    <a:pt x="2584" y="1548"/>
                  </a:lnTo>
                  <a:lnTo>
                    <a:pt x="2590" y="1561"/>
                  </a:lnTo>
                  <a:lnTo>
                    <a:pt x="2594" y="1578"/>
                  </a:lnTo>
                  <a:lnTo>
                    <a:pt x="2603" y="1592"/>
                  </a:lnTo>
                  <a:lnTo>
                    <a:pt x="2617" y="1598"/>
                  </a:lnTo>
                  <a:lnTo>
                    <a:pt x="2618" y="1608"/>
                  </a:lnTo>
                  <a:lnTo>
                    <a:pt x="2635" y="1625"/>
                  </a:lnTo>
                  <a:lnTo>
                    <a:pt x="2646" y="1642"/>
                  </a:lnTo>
                  <a:lnTo>
                    <a:pt x="2646" y="1646"/>
                  </a:lnTo>
                  <a:lnTo>
                    <a:pt x="2628" y="1637"/>
                  </a:lnTo>
                  <a:lnTo>
                    <a:pt x="2613" y="1632"/>
                  </a:lnTo>
                  <a:lnTo>
                    <a:pt x="2602" y="1632"/>
                  </a:lnTo>
                  <a:lnTo>
                    <a:pt x="2590" y="1624"/>
                  </a:lnTo>
                  <a:lnTo>
                    <a:pt x="2576" y="1620"/>
                  </a:lnTo>
                  <a:lnTo>
                    <a:pt x="2551" y="1625"/>
                  </a:lnTo>
                  <a:lnTo>
                    <a:pt x="2551" y="1631"/>
                  </a:lnTo>
                  <a:lnTo>
                    <a:pt x="2576" y="1626"/>
                  </a:lnTo>
                  <a:lnTo>
                    <a:pt x="2581" y="1630"/>
                  </a:lnTo>
                  <a:lnTo>
                    <a:pt x="2584" y="1637"/>
                  </a:lnTo>
                  <a:lnTo>
                    <a:pt x="2595" y="1639"/>
                  </a:lnTo>
                  <a:lnTo>
                    <a:pt x="2607" y="1647"/>
                  </a:lnTo>
                  <a:lnTo>
                    <a:pt x="2618" y="1660"/>
                  </a:lnTo>
                  <a:lnTo>
                    <a:pt x="2627" y="1664"/>
                  </a:lnTo>
                  <a:lnTo>
                    <a:pt x="2632" y="1667"/>
                  </a:lnTo>
                  <a:lnTo>
                    <a:pt x="2640" y="1677"/>
                  </a:lnTo>
                  <a:lnTo>
                    <a:pt x="2648" y="1690"/>
                  </a:lnTo>
                  <a:lnTo>
                    <a:pt x="2646" y="1695"/>
                  </a:lnTo>
                  <a:lnTo>
                    <a:pt x="2633" y="1696"/>
                  </a:lnTo>
                  <a:lnTo>
                    <a:pt x="2622" y="1706"/>
                  </a:lnTo>
                  <a:lnTo>
                    <a:pt x="2611" y="1710"/>
                  </a:lnTo>
                  <a:lnTo>
                    <a:pt x="2603" y="1715"/>
                  </a:lnTo>
                  <a:lnTo>
                    <a:pt x="2600" y="1720"/>
                  </a:lnTo>
                  <a:lnTo>
                    <a:pt x="2589" y="1727"/>
                  </a:lnTo>
                  <a:lnTo>
                    <a:pt x="2573" y="1727"/>
                  </a:lnTo>
                  <a:lnTo>
                    <a:pt x="2562" y="1730"/>
                  </a:lnTo>
                  <a:lnTo>
                    <a:pt x="2551" y="1734"/>
                  </a:lnTo>
                  <a:lnTo>
                    <a:pt x="2563" y="1733"/>
                  </a:lnTo>
                  <a:lnTo>
                    <a:pt x="2575" y="1737"/>
                  </a:lnTo>
                  <a:lnTo>
                    <a:pt x="2586" y="1742"/>
                  </a:lnTo>
                  <a:lnTo>
                    <a:pt x="2607" y="1733"/>
                  </a:lnTo>
                  <a:lnTo>
                    <a:pt x="2616" y="1736"/>
                  </a:lnTo>
                  <a:lnTo>
                    <a:pt x="2624" y="1743"/>
                  </a:lnTo>
                  <a:lnTo>
                    <a:pt x="2628" y="1749"/>
                  </a:lnTo>
                  <a:lnTo>
                    <a:pt x="2633" y="1753"/>
                  </a:lnTo>
                  <a:lnTo>
                    <a:pt x="2640" y="1755"/>
                  </a:lnTo>
                  <a:lnTo>
                    <a:pt x="2648" y="1755"/>
                  </a:lnTo>
                  <a:lnTo>
                    <a:pt x="2652" y="1758"/>
                  </a:lnTo>
                  <a:lnTo>
                    <a:pt x="2646" y="1761"/>
                  </a:lnTo>
                  <a:lnTo>
                    <a:pt x="2633" y="1776"/>
                  </a:lnTo>
                  <a:lnTo>
                    <a:pt x="2623" y="1781"/>
                  </a:lnTo>
                  <a:lnTo>
                    <a:pt x="2627" y="1782"/>
                  </a:lnTo>
                  <a:lnTo>
                    <a:pt x="2643" y="1775"/>
                  </a:lnTo>
                  <a:lnTo>
                    <a:pt x="2643" y="1788"/>
                  </a:lnTo>
                  <a:lnTo>
                    <a:pt x="2641" y="1798"/>
                  </a:lnTo>
                  <a:lnTo>
                    <a:pt x="2640" y="1795"/>
                  </a:lnTo>
                  <a:lnTo>
                    <a:pt x="2635" y="1798"/>
                  </a:lnTo>
                  <a:lnTo>
                    <a:pt x="2623" y="1802"/>
                  </a:lnTo>
                  <a:lnTo>
                    <a:pt x="2623" y="1804"/>
                  </a:lnTo>
                  <a:lnTo>
                    <a:pt x="2628" y="1814"/>
                  </a:lnTo>
                  <a:lnTo>
                    <a:pt x="2625" y="1829"/>
                  </a:lnTo>
                  <a:lnTo>
                    <a:pt x="2622" y="1833"/>
                  </a:lnTo>
                  <a:lnTo>
                    <a:pt x="2622" y="1850"/>
                  </a:lnTo>
                  <a:lnTo>
                    <a:pt x="2616" y="1865"/>
                  </a:lnTo>
                  <a:lnTo>
                    <a:pt x="2611" y="1862"/>
                  </a:lnTo>
                  <a:lnTo>
                    <a:pt x="2606" y="1856"/>
                  </a:lnTo>
                  <a:lnTo>
                    <a:pt x="2601" y="1860"/>
                  </a:lnTo>
                  <a:lnTo>
                    <a:pt x="2594" y="1871"/>
                  </a:lnTo>
                  <a:lnTo>
                    <a:pt x="2587" y="1879"/>
                  </a:lnTo>
                  <a:lnTo>
                    <a:pt x="2582" y="1887"/>
                  </a:lnTo>
                  <a:lnTo>
                    <a:pt x="2578" y="1890"/>
                  </a:lnTo>
                  <a:lnTo>
                    <a:pt x="2574" y="1897"/>
                  </a:lnTo>
                  <a:lnTo>
                    <a:pt x="2571" y="1904"/>
                  </a:lnTo>
                  <a:lnTo>
                    <a:pt x="2571" y="1911"/>
                  </a:lnTo>
                  <a:lnTo>
                    <a:pt x="2567" y="1921"/>
                  </a:lnTo>
                  <a:lnTo>
                    <a:pt x="2560" y="1930"/>
                  </a:lnTo>
                  <a:lnTo>
                    <a:pt x="2555" y="1933"/>
                  </a:lnTo>
                  <a:lnTo>
                    <a:pt x="2546" y="1943"/>
                  </a:lnTo>
                  <a:lnTo>
                    <a:pt x="2543" y="1957"/>
                  </a:lnTo>
                  <a:lnTo>
                    <a:pt x="2537" y="1964"/>
                  </a:lnTo>
                  <a:lnTo>
                    <a:pt x="2535" y="1962"/>
                  </a:lnTo>
                  <a:lnTo>
                    <a:pt x="2533" y="1948"/>
                  </a:lnTo>
                  <a:lnTo>
                    <a:pt x="2525" y="1949"/>
                  </a:lnTo>
                  <a:lnTo>
                    <a:pt x="2517" y="1956"/>
                  </a:lnTo>
                  <a:lnTo>
                    <a:pt x="2526" y="1973"/>
                  </a:lnTo>
                  <a:lnTo>
                    <a:pt x="2526" y="1976"/>
                  </a:lnTo>
                  <a:lnTo>
                    <a:pt x="2521" y="1992"/>
                  </a:lnTo>
                  <a:lnTo>
                    <a:pt x="2521" y="1997"/>
                  </a:lnTo>
                  <a:lnTo>
                    <a:pt x="2520" y="2003"/>
                  </a:lnTo>
                  <a:lnTo>
                    <a:pt x="2517" y="2010"/>
                  </a:lnTo>
                  <a:lnTo>
                    <a:pt x="2515" y="2013"/>
                  </a:lnTo>
                  <a:lnTo>
                    <a:pt x="2511" y="2014"/>
                  </a:lnTo>
                  <a:lnTo>
                    <a:pt x="2511" y="2021"/>
                  </a:lnTo>
                  <a:lnTo>
                    <a:pt x="2512" y="2028"/>
                  </a:lnTo>
                  <a:lnTo>
                    <a:pt x="2511" y="2030"/>
                  </a:lnTo>
                  <a:lnTo>
                    <a:pt x="2506" y="2028"/>
                  </a:lnTo>
                  <a:lnTo>
                    <a:pt x="2500" y="2028"/>
                  </a:lnTo>
                  <a:lnTo>
                    <a:pt x="2495" y="2033"/>
                  </a:lnTo>
                  <a:lnTo>
                    <a:pt x="2498" y="2040"/>
                  </a:lnTo>
                  <a:lnTo>
                    <a:pt x="2494" y="2046"/>
                  </a:lnTo>
                  <a:lnTo>
                    <a:pt x="2490" y="2044"/>
                  </a:lnTo>
                  <a:lnTo>
                    <a:pt x="2484" y="2045"/>
                  </a:lnTo>
                  <a:lnTo>
                    <a:pt x="2478" y="2060"/>
                  </a:lnTo>
                  <a:lnTo>
                    <a:pt x="2471" y="2065"/>
                  </a:lnTo>
                  <a:lnTo>
                    <a:pt x="2469" y="2075"/>
                  </a:lnTo>
                  <a:lnTo>
                    <a:pt x="2465" y="2081"/>
                  </a:lnTo>
                  <a:lnTo>
                    <a:pt x="2447" y="2083"/>
                  </a:lnTo>
                  <a:lnTo>
                    <a:pt x="2440" y="2081"/>
                  </a:lnTo>
                  <a:lnTo>
                    <a:pt x="2431" y="2088"/>
                  </a:lnTo>
                  <a:lnTo>
                    <a:pt x="2433" y="2091"/>
                  </a:lnTo>
                  <a:lnTo>
                    <a:pt x="2435" y="2097"/>
                  </a:lnTo>
                  <a:lnTo>
                    <a:pt x="2433" y="2105"/>
                  </a:lnTo>
                  <a:lnTo>
                    <a:pt x="2418" y="2119"/>
                  </a:lnTo>
                  <a:lnTo>
                    <a:pt x="2413" y="2119"/>
                  </a:lnTo>
                  <a:lnTo>
                    <a:pt x="2410" y="2131"/>
                  </a:lnTo>
                  <a:lnTo>
                    <a:pt x="2408" y="2123"/>
                  </a:lnTo>
                  <a:lnTo>
                    <a:pt x="2402" y="2127"/>
                  </a:lnTo>
                  <a:lnTo>
                    <a:pt x="2401" y="2135"/>
                  </a:lnTo>
                  <a:lnTo>
                    <a:pt x="2398" y="2134"/>
                  </a:lnTo>
                  <a:lnTo>
                    <a:pt x="2395" y="2134"/>
                  </a:lnTo>
                  <a:lnTo>
                    <a:pt x="2385" y="2141"/>
                  </a:lnTo>
                  <a:lnTo>
                    <a:pt x="2380" y="2140"/>
                  </a:lnTo>
                  <a:lnTo>
                    <a:pt x="2372" y="2141"/>
                  </a:lnTo>
                  <a:lnTo>
                    <a:pt x="2365" y="2152"/>
                  </a:lnTo>
                  <a:lnTo>
                    <a:pt x="2361" y="2159"/>
                  </a:lnTo>
                  <a:lnTo>
                    <a:pt x="2356" y="2164"/>
                  </a:lnTo>
                  <a:lnTo>
                    <a:pt x="2354" y="2170"/>
                  </a:lnTo>
                  <a:lnTo>
                    <a:pt x="2344" y="2177"/>
                  </a:lnTo>
                  <a:lnTo>
                    <a:pt x="2328" y="2183"/>
                  </a:lnTo>
                  <a:lnTo>
                    <a:pt x="2316" y="2189"/>
                  </a:lnTo>
                  <a:lnTo>
                    <a:pt x="2309" y="2186"/>
                  </a:lnTo>
                  <a:lnTo>
                    <a:pt x="2302" y="2184"/>
                  </a:lnTo>
                  <a:lnTo>
                    <a:pt x="2299" y="2189"/>
                  </a:lnTo>
                  <a:lnTo>
                    <a:pt x="2297" y="2193"/>
                  </a:lnTo>
                  <a:lnTo>
                    <a:pt x="2291" y="2195"/>
                  </a:lnTo>
                  <a:lnTo>
                    <a:pt x="2285" y="2193"/>
                  </a:lnTo>
                  <a:lnTo>
                    <a:pt x="2285" y="2188"/>
                  </a:lnTo>
                  <a:lnTo>
                    <a:pt x="2277" y="2184"/>
                  </a:lnTo>
                  <a:lnTo>
                    <a:pt x="2268" y="2190"/>
                  </a:lnTo>
                  <a:lnTo>
                    <a:pt x="2263" y="2199"/>
                  </a:lnTo>
                  <a:lnTo>
                    <a:pt x="2256" y="2199"/>
                  </a:lnTo>
                  <a:lnTo>
                    <a:pt x="2253" y="2193"/>
                  </a:lnTo>
                  <a:lnTo>
                    <a:pt x="2253" y="2189"/>
                  </a:lnTo>
                  <a:lnTo>
                    <a:pt x="2245" y="2191"/>
                  </a:lnTo>
                  <a:lnTo>
                    <a:pt x="2245" y="2202"/>
                  </a:lnTo>
                  <a:lnTo>
                    <a:pt x="2243" y="2202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10" name="Freeform 115"/>
            <p:cNvSpPr>
              <a:spLocks noChangeAspect="1"/>
            </p:cNvSpPr>
            <p:nvPr/>
          </p:nvSpPr>
          <p:spPr bwMode="gray">
            <a:xfrm>
              <a:off x="5058380" y="3517140"/>
              <a:ext cx="91131" cy="100376"/>
            </a:xfrm>
            <a:custGeom>
              <a:avLst/>
              <a:gdLst/>
              <a:ahLst/>
              <a:cxnLst>
                <a:cxn ang="0">
                  <a:pos x="220" y="310"/>
                </a:cxn>
                <a:cxn ang="0">
                  <a:pos x="185" y="277"/>
                </a:cxn>
                <a:cxn ang="0">
                  <a:pos x="169" y="266"/>
                </a:cxn>
                <a:cxn ang="0">
                  <a:pos x="174" y="262"/>
                </a:cxn>
                <a:cxn ang="0">
                  <a:pos x="174" y="236"/>
                </a:cxn>
                <a:cxn ang="0">
                  <a:pos x="186" y="226"/>
                </a:cxn>
                <a:cxn ang="0">
                  <a:pos x="199" y="212"/>
                </a:cxn>
                <a:cxn ang="0">
                  <a:pos x="235" y="200"/>
                </a:cxn>
                <a:cxn ang="0">
                  <a:pos x="257" y="181"/>
                </a:cxn>
                <a:cxn ang="0">
                  <a:pos x="289" y="155"/>
                </a:cxn>
                <a:cxn ang="0">
                  <a:pos x="297" y="121"/>
                </a:cxn>
                <a:cxn ang="0">
                  <a:pos x="295" y="101"/>
                </a:cxn>
                <a:cxn ang="0">
                  <a:pos x="308" y="80"/>
                </a:cxn>
                <a:cxn ang="0">
                  <a:pos x="342" y="46"/>
                </a:cxn>
                <a:cxn ang="0">
                  <a:pos x="347" y="41"/>
                </a:cxn>
                <a:cxn ang="0">
                  <a:pos x="343" y="27"/>
                </a:cxn>
                <a:cxn ang="0">
                  <a:pos x="327" y="11"/>
                </a:cxn>
                <a:cxn ang="0">
                  <a:pos x="305" y="9"/>
                </a:cxn>
                <a:cxn ang="0">
                  <a:pos x="288" y="44"/>
                </a:cxn>
                <a:cxn ang="0">
                  <a:pos x="233" y="74"/>
                </a:cxn>
                <a:cxn ang="0">
                  <a:pos x="208" y="83"/>
                </a:cxn>
                <a:cxn ang="0">
                  <a:pos x="172" y="118"/>
                </a:cxn>
                <a:cxn ang="0">
                  <a:pos x="139" y="103"/>
                </a:cxn>
                <a:cxn ang="0">
                  <a:pos x="102" y="142"/>
                </a:cxn>
                <a:cxn ang="0">
                  <a:pos x="45" y="178"/>
                </a:cxn>
                <a:cxn ang="0">
                  <a:pos x="2" y="220"/>
                </a:cxn>
                <a:cxn ang="0">
                  <a:pos x="13" y="235"/>
                </a:cxn>
                <a:cxn ang="0">
                  <a:pos x="30" y="239"/>
                </a:cxn>
                <a:cxn ang="0">
                  <a:pos x="57" y="245"/>
                </a:cxn>
                <a:cxn ang="0">
                  <a:pos x="59" y="258"/>
                </a:cxn>
                <a:cxn ang="0">
                  <a:pos x="50" y="301"/>
                </a:cxn>
                <a:cxn ang="0">
                  <a:pos x="59" y="307"/>
                </a:cxn>
                <a:cxn ang="0">
                  <a:pos x="43" y="320"/>
                </a:cxn>
                <a:cxn ang="0">
                  <a:pos x="32" y="339"/>
                </a:cxn>
                <a:cxn ang="0">
                  <a:pos x="40" y="353"/>
                </a:cxn>
                <a:cxn ang="0">
                  <a:pos x="48" y="355"/>
                </a:cxn>
                <a:cxn ang="0">
                  <a:pos x="40" y="361"/>
                </a:cxn>
                <a:cxn ang="0">
                  <a:pos x="47" y="366"/>
                </a:cxn>
                <a:cxn ang="0">
                  <a:pos x="53" y="377"/>
                </a:cxn>
                <a:cxn ang="0">
                  <a:pos x="64" y="372"/>
                </a:cxn>
                <a:cxn ang="0">
                  <a:pos x="74" y="360"/>
                </a:cxn>
                <a:cxn ang="0">
                  <a:pos x="78" y="356"/>
                </a:cxn>
                <a:cxn ang="0">
                  <a:pos x="91" y="368"/>
                </a:cxn>
                <a:cxn ang="0">
                  <a:pos x="102" y="369"/>
                </a:cxn>
                <a:cxn ang="0">
                  <a:pos x="121" y="374"/>
                </a:cxn>
                <a:cxn ang="0">
                  <a:pos x="156" y="340"/>
                </a:cxn>
                <a:cxn ang="0">
                  <a:pos x="191" y="340"/>
                </a:cxn>
                <a:cxn ang="0">
                  <a:pos x="223" y="318"/>
                </a:cxn>
              </a:cxnLst>
              <a:rect l="0" t="0" r="r" b="b"/>
              <a:pathLst>
                <a:path w="349" h="377">
                  <a:moveTo>
                    <a:pt x="223" y="318"/>
                  </a:moveTo>
                  <a:lnTo>
                    <a:pt x="220" y="310"/>
                  </a:lnTo>
                  <a:lnTo>
                    <a:pt x="196" y="290"/>
                  </a:lnTo>
                  <a:lnTo>
                    <a:pt x="185" y="277"/>
                  </a:lnTo>
                  <a:lnTo>
                    <a:pt x="171" y="272"/>
                  </a:lnTo>
                  <a:lnTo>
                    <a:pt x="169" y="266"/>
                  </a:lnTo>
                  <a:lnTo>
                    <a:pt x="174" y="253"/>
                  </a:lnTo>
                  <a:lnTo>
                    <a:pt x="174" y="262"/>
                  </a:lnTo>
                  <a:lnTo>
                    <a:pt x="175" y="255"/>
                  </a:lnTo>
                  <a:lnTo>
                    <a:pt x="174" y="236"/>
                  </a:lnTo>
                  <a:lnTo>
                    <a:pt x="175" y="229"/>
                  </a:lnTo>
                  <a:lnTo>
                    <a:pt x="186" y="226"/>
                  </a:lnTo>
                  <a:lnTo>
                    <a:pt x="196" y="220"/>
                  </a:lnTo>
                  <a:lnTo>
                    <a:pt x="199" y="212"/>
                  </a:lnTo>
                  <a:lnTo>
                    <a:pt x="223" y="209"/>
                  </a:lnTo>
                  <a:lnTo>
                    <a:pt x="235" y="200"/>
                  </a:lnTo>
                  <a:lnTo>
                    <a:pt x="239" y="194"/>
                  </a:lnTo>
                  <a:lnTo>
                    <a:pt x="257" y="181"/>
                  </a:lnTo>
                  <a:lnTo>
                    <a:pt x="274" y="162"/>
                  </a:lnTo>
                  <a:lnTo>
                    <a:pt x="289" y="155"/>
                  </a:lnTo>
                  <a:lnTo>
                    <a:pt x="295" y="150"/>
                  </a:lnTo>
                  <a:lnTo>
                    <a:pt x="297" y="121"/>
                  </a:lnTo>
                  <a:lnTo>
                    <a:pt x="293" y="112"/>
                  </a:lnTo>
                  <a:lnTo>
                    <a:pt x="295" y="101"/>
                  </a:lnTo>
                  <a:lnTo>
                    <a:pt x="304" y="87"/>
                  </a:lnTo>
                  <a:lnTo>
                    <a:pt x="308" y="80"/>
                  </a:lnTo>
                  <a:lnTo>
                    <a:pt x="335" y="49"/>
                  </a:lnTo>
                  <a:lnTo>
                    <a:pt x="342" y="46"/>
                  </a:lnTo>
                  <a:lnTo>
                    <a:pt x="349" y="48"/>
                  </a:lnTo>
                  <a:lnTo>
                    <a:pt x="347" y="41"/>
                  </a:lnTo>
                  <a:lnTo>
                    <a:pt x="343" y="33"/>
                  </a:lnTo>
                  <a:lnTo>
                    <a:pt x="343" y="27"/>
                  </a:lnTo>
                  <a:lnTo>
                    <a:pt x="335" y="26"/>
                  </a:lnTo>
                  <a:lnTo>
                    <a:pt x="327" y="11"/>
                  </a:lnTo>
                  <a:lnTo>
                    <a:pt x="316" y="0"/>
                  </a:lnTo>
                  <a:lnTo>
                    <a:pt x="305" y="9"/>
                  </a:lnTo>
                  <a:lnTo>
                    <a:pt x="298" y="29"/>
                  </a:lnTo>
                  <a:lnTo>
                    <a:pt x="288" y="44"/>
                  </a:lnTo>
                  <a:lnTo>
                    <a:pt x="257" y="68"/>
                  </a:lnTo>
                  <a:lnTo>
                    <a:pt x="233" y="74"/>
                  </a:lnTo>
                  <a:lnTo>
                    <a:pt x="213" y="74"/>
                  </a:lnTo>
                  <a:lnTo>
                    <a:pt x="208" y="83"/>
                  </a:lnTo>
                  <a:lnTo>
                    <a:pt x="214" y="114"/>
                  </a:lnTo>
                  <a:lnTo>
                    <a:pt x="172" y="118"/>
                  </a:lnTo>
                  <a:lnTo>
                    <a:pt x="158" y="108"/>
                  </a:lnTo>
                  <a:lnTo>
                    <a:pt x="139" y="103"/>
                  </a:lnTo>
                  <a:lnTo>
                    <a:pt x="127" y="113"/>
                  </a:lnTo>
                  <a:lnTo>
                    <a:pt x="102" y="142"/>
                  </a:lnTo>
                  <a:lnTo>
                    <a:pt x="84" y="157"/>
                  </a:lnTo>
                  <a:lnTo>
                    <a:pt x="45" y="178"/>
                  </a:lnTo>
                  <a:lnTo>
                    <a:pt x="30" y="185"/>
                  </a:lnTo>
                  <a:lnTo>
                    <a:pt x="2" y="220"/>
                  </a:lnTo>
                  <a:lnTo>
                    <a:pt x="0" y="224"/>
                  </a:lnTo>
                  <a:lnTo>
                    <a:pt x="13" y="235"/>
                  </a:lnTo>
                  <a:lnTo>
                    <a:pt x="16" y="246"/>
                  </a:lnTo>
                  <a:lnTo>
                    <a:pt x="30" y="239"/>
                  </a:lnTo>
                  <a:lnTo>
                    <a:pt x="42" y="243"/>
                  </a:lnTo>
                  <a:lnTo>
                    <a:pt x="57" y="245"/>
                  </a:lnTo>
                  <a:lnTo>
                    <a:pt x="63" y="248"/>
                  </a:lnTo>
                  <a:lnTo>
                    <a:pt x="59" y="258"/>
                  </a:lnTo>
                  <a:lnTo>
                    <a:pt x="56" y="278"/>
                  </a:lnTo>
                  <a:lnTo>
                    <a:pt x="50" y="301"/>
                  </a:lnTo>
                  <a:lnTo>
                    <a:pt x="52" y="307"/>
                  </a:lnTo>
                  <a:lnTo>
                    <a:pt x="59" y="307"/>
                  </a:lnTo>
                  <a:lnTo>
                    <a:pt x="45" y="315"/>
                  </a:lnTo>
                  <a:lnTo>
                    <a:pt x="43" y="320"/>
                  </a:lnTo>
                  <a:lnTo>
                    <a:pt x="37" y="323"/>
                  </a:lnTo>
                  <a:lnTo>
                    <a:pt x="32" y="339"/>
                  </a:lnTo>
                  <a:lnTo>
                    <a:pt x="24" y="352"/>
                  </a:lnTo>
                  <a:lnTo>
                    <a:pt x="40" y="353"/>
                  </a:lnTo>
                  <a:lnTo>
                    <a:pt x="50" y="350"/>
                  </a:lnTo>
                  <a:lnTo>
                    <a:pt x="48" y="355"/>
                  </a:lnTo>
                  <a:lnTo>
                    <a:pt x="45" y="361"/>
                  </a:lnTo>
                  <a:lnTo>
                    <a:pt x="40" y="361"/>
                  </a:lnTo>
                  <a:lnTo>
                    <a:pt x="41" y="368"/>
                  </a:lnTo>
                  <a:lnTo>
                    <a:pt x="47" y="366"/>
                  </a:lnTo>
                  <a:lnTo>
                    <a:pt x="51" y="376"/>
                  </a:lnTo>
                  <a:lnTo>
                    <a:pt x="53" y="377"/>
                  </a:lnTo>
                  <a:lnTo>
                    <a:pt x="61" y="377"/>
                  </a:lnTo>
                  <a:lnTo>
                    <a:pt x="64" y="372"/>
                  </a:lnTo>
                  <a:lnTo>
                    <a:pt x="71" y="370"/>
                  </a:lnTo>
                  <a:lnTo>
                    <a:pt x="74" y="360"/>
                  </a:lnTo>
                  <a:lnTo>
                    <a:pt x="72" y="355"/>
                  </a:lnTo>
                  <a:lnTo>
                    <a:pt x="78" y="356"/>
                  </a:lnTo>
                  <a:lnTo>
                    <a:pt x="84" y="365"/>
                  </a:lnTo>
                  <a:lnTo>
                    <a:pt x="91" y="368"/>
                  </a:lnTo>
                  <a:lnTo>
                    <a:pt x="99" y="374"/>
                  </a:lnTo>
                  <a:lnTo>
                    <a:pt x="102" y="369"/>
                  </a:lnTo>
                  <a:lnTo>
                    <a:pt x="113" y="365"/>
                  </a:lnTo>
                  <a:lnTo>
                    <a:pt x="121" y="374"/>
                  </a:lnTo>
                  <a:lnTo>
                    <a:pt x="134" y="363"/>
                  </a:lnTo>
                  <a:lnTo>
                    <a:pt x="156" y="340"/>
                  </a:lnTo>
                  <a:lnTo>
                    <a:pt x="174" y="339"/>
                  </a:lnTo>
                  <a:lnTo>
                    <a:pt x="191" y="340"/>
                  </a:lnTo>
                  <a:lnTo>
                    <a:pt x="206" y="334"/>
                  </a:lnTo>
                  <a:lnTo>
                    <a:pt x="223" y="31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11" name="Group 116"/>
            <p:cNvGrpSpPr>
              <a:grpSpLocks noChangeAspect="1"/>
            </p:cNvGrpSpPr>
            <p:nvPr/>
          </p:nvGrpSpPr>
          <p:grpSpPr bwMode="gray">
            <a:xfrm>
              <a:off x="3539527" y="2187153"/>
              <a:ext cx="2473749" cy="1363005"/>
              <a:chOff x="2730" y="960"/>
              <a:chExt cx="1873" cy="1032"/>
            </a:xfrm>
            <a:solidFill>
              <a:srgbClr val="DEEDBF"/>
            </a:solidFill>
          </p:grpSpPr>
          <p:grpSp>
            <p:nvGrpSpPr>
              <p:cNvPr id="333" name="Group 117"/>
              <p:cNvGrpSpPr>
                <a:grpSpLocks noChangeAspect="1"/>
              </p:cNvGrpSpPr>
              <p:nvPr/>
            </p:nvGrpSpPr>
            <p:grpSpPr bwMode="gray">
              <a:xfrm>
                <a:off x="3044" y="960"/>
                <a:ext cx="1473" cy="481"/>
                <a:chOff x="3044" y="960"/>
                <a:chExt cx="1473" cy="481"/>
              </a:xfrm>
              <a:grpFill/>
            </p:grpSpPr>
            <p:sp>
              <p:nvSpPr>
                <p:cNvPr id="337" name="Freeform 118"/>
                <p:cNvSpPr>
                  <a:spLocks noChangeAspect="1"/>
                </p:cNvSpPr>
                <p:nvPr/>
              </p:nvSpPr>
              <p:spPr bwMode="gray">
                <a:xfrm>
                  <a:off x="3044" y="141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27" y="8"/>
                    </a:cxn>
                    <a:cxn ang="0">
                      <a:pos x="29" y="5"/>
                    </a:cxn>
                    <a:cxn ang="0">
                      <a:pos x="34" y="3"/>
                    </a:cxn>
                    <a:cxn ang="0">
                      <a:pos x="38" y="7"/>
                    </a:cxn>
                    <a:cxn ang="0">
                      <a:pos x="49" y="0"/>
                    </a:cxn>
                    <a:cxn ang="0">
                      <a:pos x="54" y="0"/>
                    </a:cxn>
                    <a:cxn ang="0">
                      <a:pos x="94" y="37"/>
                    </a:cxn>
                    <a:cxn ang="0">
                      <a:pos x="100" y="51"/>
                    </a:cxn>
                    <a:cxn ang="0">
                      <a:pos x="105" y="53"/>
                    </a:cxn>
                    <a:cxn ang="0">
                      <a:pos x="105" y="34"/>
                    </a:cxn>
                    <a:cxn ang="0">
                      <a:pos x="109" y="49"/>
                    </a:cxn>
                    <a:cxn ang="0">
                      <a:pos x="116" y="65"/>
                    </a:cxn>
                    <a:cxn ang="0">
                      <a:pos x="115" y="78"/>
                    </a:cxn>
                    <a:cxn ang="0">
                      <a:pos x="109" y="64"/>
                    </a:cxn>
                    <a:cxn ang="0">
                      <a:pos x="97" y="76"/>
                    </a:cxn>
                    <a:cxn ang="0">
                      <a:pos x="77" y="105"/>
                    </a:cxn>
                    <a:cxn ang="0">
                      <a:pos x="63" y="113"/>
                    </a:cxn>
                    <a:cxn ang="0">
                      <a:pos x="55" y="113"/>
                    </a:cxn>
                    <a:cxn ang="0">
                      <a:pos x="45" y="124"/>
                    </a:cxn>
                    <a:cxn ang="0">
                      <a:pos x="35" y="125"/>
                    </a:cxn>
                    <a:cxn ang="0">
                      <a:pos x="30" y="118"/>
                    </a:cxn>
                    <a:cxn ang="0">
                      <a:pos x="28" y="126"/>
                    </a:cxn>
                    <a:cxn ang="0">
                      <a:pos x="19" y="118"/>
                    </a:cxn>
                    <a:cxn ang="0">
                      <a:pos x="12" y="105"/>
                    </a:cxn>
                    <a:cxn ang="0">
                      <a:pos x="6" y="105"/>
                    </a:cxn>
                    <a:cxn ang="0">
                      <a:pos x="4" y="118"/>
                    </a:cxn>
                    <a:cxn ang="0">
                      <a:pos x="8" y="125"/>
                    </a:cxn>
                    <a:cxn ang="0">
                      <a:pos x="2" y="115"/>
                    </a:cxn>
                    <a:cxn ang="0">
                      <a:pos x="0" y="104"/>
                    </a:cxn>
                    <a:cxn ang="0">
                      <a:pos x="2" y="91"/>
                    </a:cxn>
                    <a:cxn ang="0">
                      <a:pos x="3" y="56"/>
                    </a:cxn>
                    <a:cxn ang="0">
                      <a:pos x="7" y="41"/>
                    </a:cxn>
                    <a:cxn ang="0">
                      <a:pos x="19" y="17"/>
                    </a:cxn>
                    <a:cxn ang="0">
                      <a:pos x="27" y="8"/>
                    </a:cxn>
                  </a:cxnLst>
                  <a:rect l="0" t="0" r="r" b="b"/>
                  <a:pathLst>
                    <a:path w="116" h="126">
                      <a:moveTo>
                        <a:pt x="27" y="8"/>
                      </a:moveTo>
                      <a:lnTo>
                        <a:pt x="29" y="5"/>
                      </a:lnTo>
                      <a:lnTo>
                        <a:pt x="34" y="3"/>
                      </a:lnTo>
                      <a:lnTo>
                        <a:pt x="38" y="7"/>
                      </a:lnTo>
                      <a:lnTo>
                        <a:pt x="49" y="0"/>
                      </a:lnTo>
                      <a:lnTo>
                        <a:pt x="54" y="0"/>
                      </a:lnTo>
                      <a:lnTo>
                        <a:pt x="94" y="37"/>
                      </a:lnTo>
                      <a:lnTo>
                        <a:pt x="100" y="51"/>
                      </a:lnTo>
                      <a:lnTo>
                        <a:pt x="105" y="53"/>
                      </a:lnTo>
                      <a:lnTo>
                        <a:pt x="105" y="34"/>
                      </a:lnTo>
                      <a:lnTo>
                        <a:pt x="109" y="49"/>
                      </a:lnTo>
                      <a:lnTo>
                        <a:pt x="116" y="65"/>
                      </a:lnTo>
                      <a:lnTo>
                        <a:pt x="115" y="78"/>
                      </a:lnTo>
                      <a:lnTo>
                        <a:pt x="109" y="64"/>
                      </a:lnTo>
                      <a:lnTo>
                        <a:pt x="97" y="76"/>
                      </a:lnTo>
                      <a:lnTo>
                        <a:pt x="77" y="105"/>
                      </a:lnTo>
                      <a:lnTo>
                        <a:pt x="63" y="113"/>
                      </a:lnTo>
                      <a:lnTo>
                        <a:pt x="55" y="113"/>
                      </a:lnTo>
                      <a:lnTo>
                        <a:pt x="45" y="124"/>
                      </a:lnTo>
                      <a:lnTo>
                        <a:pt x="35" y="125"/>
                      </a:lnTo>
                      <a:lnTo>
                        <a:pt x="30" y="118"/>
                      </a:lnTo>
                      <a:lnTo>
                        <a:pt x="28" y="126"/>
                      </a:lnTo>
                      <a:lnTo>
                        <a:pt x="19" y="118"/>
                      </a:lnTo>
                      <a:lnTo>
                        <a:pt x="12" y="105"/>
                      </a:lnTo>
                      <a:lnTo>
                        <a:pt x="6" y="105"/>
                      </a:lnTo>
                      <a:lnTo>
                        <a:pt x="4" y="118"/>
                      </a:lnTo>
                      <a:lnTo>
                        <a:pt x="8" y="125"/>
                      </a:lnTo>
                      <a:lnTo>
                        <a:pt x="2" y="115"/>
                      </a:lnTo>
                      <a:lnTo>
                        <a:pt x="0" y="104"/>
                      </a:lnTo>
                      <a:lnTo>
                        <a:pt x="2" y="91"/>
                      </a:lnTo>
                      <a:lnTo>
                        <a:pt x="3" y="56"/>
                      </a:lnTo>
                      <a:lnTo>
                        <a:pt x="7" y="41"/>
                      </a:lnTo>
                      <a:lnTo>
                        <a:pt x="19" y="17"/>
                      </a:lnTo>
                      <a:lnTo>
                        <a:pt x="27" y="8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38" name="Freeform 119"/>
                <p:cNvSpPr>
                  <a:spLocks noChangeAspect="1"/>
                </p:cNvSpPr>
                <p:nvPr/>
              </p:nvSpPr>
              <p:spPr bwMode="gray">
                <a:xfrm>
                  <a:off x="3605" y="995"/>
                  <a:ext cx="67" cy="84"/>
                </a:xfrm>
                <a:custGeom>
                  <a:avLst/>
                  <a:gdLst/>
                  <a:ahLst/>
                  <a:cxnLst>
                    <a:cxn ang="0">
                      <a:pos x="42" y="277"/>
                    </a:cxn>
                    <a:cxn ang="0">
                      <a:pos x="52" y="238"/>
                    </a:cxn>
                    <a:cxn ang="0">
                      <a:pos x="66" y="185"/>
                    </a:cxn>
                    <a:cxn ang="0">
                      <a:pos x="96" y="201"/>
                    </a:cxn>
                    <a:cxn ang="0">
                      <a:pos x="80" y="149"/>
                    </a:cxn>
                    <a:cxn ang="0">
                      <a:pos x="92" y="119"/>
                    </a:cxn>
                    <a:cxn ang="0">
                      <a:pos x="93" y="115"/>
                    </a:cxn>
                    <a:cxn ang="0">
                      <a:pos x="100" y="94"/>
                    </a:cxn>
                    <a:cxn ang="0">
                      <a:pos x="105" y="88"/>
                    </a:cxn>
                    <a:cxn ang="0">
                      <a:pos x="124" y="52"/>
                    </a:cxn>
                    <a:cxn ang="0">
                      <a:pos x="124" y="29"/>
                    </a:cxn>
                    <a:cxn ang="0">
                      <a:pos x="136" y="39"/>
                    </a:cxn>
                    <a:cxn ang="0">
                      <a:pos x="155" y="62"/>
                    </a:cxn>
                    <a:cxn ang="0">
                      <a:pos x="155" y="16"/>
                    </a:cxn>
                    <a:cxn ang="0">
                      <a:pos x="194" y="12"/>
                    </a:cxn>
                    <a:cxn ang="0">
                      <a:pos x="195" y="29"/>
                    </a:cxn>
                    <a:cxn ang="0">
                      <a:pos x="208" y="30"/>
                    </a:cxn>
                    <a:cxn ang="0">
                      <a:pos x="195" y="73"/>
                    </a:cxn>
                    <a:cxn ang="0">
                      <a:pos x="194" y="108"/>
                    </a:cxn>
                    <a:cxn ang="0">
                      <a:pos x="209" y="103"/>
                    </a:cxn>
                    <a:cxn ang="0">
                      <a:pos x="219" y="66"/>
                    </a:cxn>
                    <a:cxn ang="0">
                      <a:pos x="233" y="79"/>
                    </a:cxn>
                    <a:cxn ang="0">
                      <a:pos x="238" y="99"/>
                    </a:cxn>
                    <a:cxn ang="0">
                      <a:pos x="249" y="72"/>
                    </a:cxn>
                    <a:cxn ang="0">
                      <a:pos x="262" y="95"/>
                    </a:cxn>
                    <a:cxn ang="0">
                      <a:pos x="261" y="119"/>
                    </a:cxn>
                    <a:cxn ang="0">
                      <a:pos x="273" y="131"/>
                    </a:cxn>
                    <a:cxn ang="0">
                      <a:pos x="279" y="110"/>
                    </a:cxn>
                    <a:cxn ang="0">
                      <a:pos x="292" y="163"/>
                    </a:cxn>
                    <a:cxn ang="0">
                      <a:pos x="334" y="195"/>
                    </a:cxn>
                    <a:cxn ang="0">
                      <a:pos x="337" y="234"/>
                    </a:cxn>
                    <a:cxn ang="0">
                      <a:pos x="337" y="259"/>
                    </a:cxn>
                    <a:cxn ang="0">
                      <a:pos x="318" y="312"/>
                    </a:cxn>
                    <a:cxn ang="0">
                      <a:pos x="301" y="317"/>
                    </a:cxn>
                    <a:cxn ang="0">
                      <a:pos x="242" y="344"/>
                    </a:cxn>
                    <a:cxn ang="0">
                      <a:pos x="216" y="347"/>
                    </a:cxn>
                    <a:cxn ang="0">
                      <a:pos x="200" y="346"/>
                    </a:cxn>
                    <a:cxn ang="0">
                      <a:pos x="190" y="360"/>
                    </a:cxn>
                    <a:cxn ang="0">
                      <a:pos x="149" y="352"/>
                    </a:cxn>
                    <a:cxn ang="0">
                      <a:pos x="133" y="352"/>
                    </a:cxn>
                    <a:cxn ang="0">
                      <a:pos x="92" y="368"/>
                    </a:cxn>
                    <a:cxn ang="0">
                      <a:pos x="77" y="385"/>
                    </a:cxn>
                    <a:cxn ang="0">
                      <a:pos x="41" y="409"/>
                    </a:cxn>
                    <a:cxn ang="0">
                      <a:pos x="6" y="416"/>
                    </a:cxn>
                    <a:cxn ang="0">
                      <a:pos x="12" y="398"/>
                    </a:cxn>
                    <a:cxn ang="0">
                      <a:pos x="0" y="393"/>
                    </a:cxn>
                    <a:cxn ang="0">
                      <a:pos x="9" y="355"/>
                    </a:cxn>
                    <a:cxn ang="0">
                      <a:pos x="33" y="297"/>
                    </a:cxn>
                  </a:cxnLst>
                  <a:rect l="0" t="0" r="r" b="b"/>
                  <a:pathLst>
                    <a:path w="337" h="418">
                      <a:moveTo>
                        <a:pt x="33" y="286"/>
                      </a:moveTo>
                      <a:lnTo>
                        <a:pt x="42" y="277"/>
                      </a:lnTo>
                      <a:lnTo>
                        <a:pt x="42" y="269"/>
                      </a:lnTo>
                      <a:lnTo>
                        <a:pt x="52" y="238"/>
                      </a:lnTo>
                      <a:lnTo>
                        <a:pt x="49" y="228"/>
                      </a:lnTo>
                      <a:lnTo>
                        <a:pt x="66" y="185"/>
                      </a:lnTo>
                      <a:lnTo>
                        <a:pt x="85" y="202"/>
                      </a:lnTo>
                      <a:lnTo>
                        <a:pt x="96" y="201"/>
                      </a:lnTo>
                      <a:lnTo>
                        <a:pt x="80" y="183"/>
                      </a:lnTo>
                      <a:lnTo>
                        <a:pt x="80" y="149"/>
                      </a:lnTo>
                      <a:lnTo>
                        <a:pt x="81" y="131"/>
                      </a:lnTo>
                      <a:lnTo>
                        <a:pt x="92" y="119"/>
                      </a:lnTo>
                      <a:lnTo>
                        <a:pt x="100" y="118"/>
                      </a:lnTo>
                      <a:lnTo>
                        <a:pt x="93" y="115"/>
                      </a:lnTo>
                      <a:lnTo>
                        <a:pt x="93" y="103"/>
                      </a:lnTo>
                      <a:lnTo>
                        <a:pt x="100" y="94"/>
                      </a:lnTo>
                      <a:lnTo>
                        <a:pt x="109" y="92"/>
                      </a:lnTo>
                      <a:lnTo>
                        <a:pt x="105" y="88"/>
                      </a:lnTo>
                      <a:lnTo>
                        <a:pt x="105" y="73"/>
                      </a:lnTo>
                      <a:lnTo>
                        <a:pt x="124" y="52"/>
                      </a:lnTo>
                      <a:lnTo>
                        <a:pt x="125" y="44"/>
                      </a:lnTo>
                      <a:lnTo>
                        <a:pt x="124" y="29"/>
                      </a:lnTo>
                      <a:lnTo>
                        <a:pt x="130" y="24"/>
                      </a:lnTo>
                      <a:lnTo>
                        <a:pt x="136" y="39"/>
                      </a:lnTo>
                      <a:lnTo>
                        <a:pt x="139" y="56"/>
                      </a:lnTo>
                      <a:lnTo>
                        <a:pt x="155" y="62"/>
                      </a:lnTo>
                      <a:lnTo>
                        <a:pt x="157" y="48"/>
                      </a:lnTo>
                      <a:lnTo>
                        <a:pt x="155" y="16"/>
                      </a:lnTo>
                      <a:lnTo>
                        <a:pt x="166" y="0"/>
                      </a:lnTo>
                      <a:lnTo>
                        <a:pt x="194" y="12"/>
                      </a:lnTo>
                      <a:lnTo>
                        <a:pt x="194" y="36"/>
                      </a:lnTo>
                      <a:lnTo>
                        <a:pt x="195" y="29"/>
                      </a:lnTo>
                      <a:lnTo>
                        <a:pt x="200" y="23"/>
                      </a:lnTo>
                      <a:lnTo>
                        <a:pt x="208" y="30"/>
                      </a:lnTo>
                      <a:lnTo>
                        <a:pt x="208" y="43"/>
                      </a:lnTo>
                      <a:lnTo>
                        <a:pt x="195" y="73"/>
                      </a:lnTo>
                      <a:lnTo>
                        <a:pt x="197" y="94"/>
                      </a:lnTo>
                      <a:lnTo>
                        <a:pt x="194" y="108"/>
                      </a:lnTo>
                      <a:lnTo>
                        <a:pt x="194" y="122"/>
                      </a:lnTo>
                      <a:lnTo>
                        <a:pt x="209" y="103"/>
                      </a:lnTo>
                      <a:lnTo>
                        <a:pt x="219" y="84"/>
                      </a:lnTo>
                      <a:lnTo>
                        <a:pt x="219" y="66"/>
                      </a:lnTo>
                      <a:lnTo>
                        <a:pt x="224" y="65"/>
                      </a:lnTo>
                      <a:lnTo>
                        <a:pt x="233" y="79"/>
                      </a:lnTo>
                      <a:lnTo>
                        <a:pt x="236" y="94"/>
                      </a:lnTo>
                      <a:lnTo>
                        <a:pt x="238" y="99"/>
                      </a:lnTo>
                      <a:lnTo>
                        <a:pt x="245" y="88"/>
                      </a:lnTo>
                      <a:lnTo>
                        <a:pt x="249" y="72"/>
                      </a:lnTo>
                      <a:lnTo>
                        <a:pt x="258" y="77"/>
                      </a:lnTo>
                      <a:lnTo>
                        <a:pt x="262" y="95"/>
                      </a:lnTo>
                      <a:lnTo>
                        <a:pt x="259" y="110"/>
                      </a:lnTo>
                      <a:lnTo>
                        <a:pt x="261" y="119"/>
                      </a:lnTo>
                      <a:lnTo>
                        <a:pt x="267" y="131"/>
                      </a:lnTo>
                      <a:lnTo>
                        <a:pt x="273" y="131"/>
                      </a:lnTo>
                      <a:lnTo>
                        <a:pt x="272" y="118"/>
                      </a:lnTo>
                      <a:lnTo>
                        <a:pt x="279" y="110"/>
                      </a:lnTo>
                      <a:lnTo>
                        <a:pt x="284" y="137"/>
                      </a:lnTo>
                      <a:lnTo>
                        <a:pt x="292" y="163"/>
                      </a:lnTo>
                      <a:lnTo>
                        <a:pt x="326" y="184"/>
                      </a:lnTo>
                      <a:lnTo>
                        <a:pt x="334" y="195"/>
                      </a:lnTo>
                      <a:lnTo>
                        <a:pt x="337" y="217"/>
                      </a:lnTo>
                      <a:lnTo>
                        <a:pt x="337" y="234"/>
                      </a:lnTo>
                      <a:lnTo>
                        <a:pt x="333" y="245"/>
                      </a:lnTo>
                      <a:lnTo>
                        <a:pt x="337" y="259"/>
                      </a:lnTo>
                      <a:lnTo>
                        <a:pt x="337" y="276"/>
                      </a:lnTo>
                      <a:lnTo>
                        <a:pt x="318" y="312"/>
                      </a:lnTo>
                      <a:lnTo>
                        <a:pt x="307" y="323"/>
                      </a:lnTo>
                      <a:lnTo>
                        <a:pt x="301" y="317"/>
                      </a:lnTo>
                      <a:lnTo>
                        <a:pt x="280" y="321"/>
                      </a:lnTo>
                      <a:lnTo>
                        <a:pt x="242" y="344"/>
                      </a:lnTo>
                      <a:lnTo>
                        <a:pt x="226" y="341"/>
                      </a:lnTo>
                      <a:lnTo>
                        <a:pt x="216" y="347"/>
                      </a:lnTo>
                      <a:lnTo>
                        <a:pt x="205" y="344"/>
                      </a:lnTo>
                      <a:lnTo>
                        <a:pt x="200" y="346"/>
                      </a:lnTo>
                      <a:lnTo>
                        <a:pt x="199" y="355"/>
                      </a:lnTo>
                      <a:lnTo>
                        <a:pt x="190" y="360"/>
                      </a:lnTo>
                      <a:lnTo>
                        <a:pt x="176" y="342"/>
                      </a:lnTo>
                      <a:lnTo>
                        <a:pt x="149" y="352"/>
                      </a:lnTo>
                      <a:lnTo>
                        <a:pt x="143" y="346"/>
                      </a:lnTo>
                      <a:lnTo>
                        <a:pt x="133" y="352"/>
                      </a:lnTo>
                      <a:lnTo>
                        <a:pt x="98" y="350"/>
                      </a:lnTo>
                      <a:lnTo>
                        <a:pt x="92" y="368"/>
                      </a:lnTo>
                      <a:lnTo>
                        <a:pt x="86" y="371"/>
                      </a:lnTo>
                      <a:lnTo>
                        <a:pt x="77" y="385"/>
                      </a:lnTo>
                      <a:lnTo>
                        <a:pt x="53" y="396"/>
                      </a:lnTo>
                      <a:lnTo>
                        <a:pt x="41" y="409"/>
                      </a:lnTo>
                      <a:lnTo>
                        <a:pt x="33" y="418"/>
                      </a:lnTo>
                      <a:lnTo>
                        <a:pt x="6" y="416"/>
                      </a:lnTo>
                      <a:lnTo>
                        <a:pt x="7" y="409"/>
                      </a:lnTo>
                      <a:lnTo>
                        <a:pt x="12" y="398"/>
                      </a:lnTo>
                      <a:lnTo>
                        <a:pt x="11" y="387"/>
                      </a:lnTo>
                      <a:lnTo>
                        <a:pt x="0" y="393"/>
                      </a:lnTo>
                      <a:lnTo>
                        <a:pt x="4" y="366"/>
                      </a:lnTo>
                      <a:lnTo>
                        <a:pt x="9" y="355"/>
                      </a:lnTo>
                      <a:lnTo>
                        <a:pt x="38" y="302"/>
                      </a:lnTo>
                      <a:lnTo>
                        <a:pt x="33" y="297"/>
                      </a:lnTo>
                      <a:lnTo>
                        <a:pt x="33" y="286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39" name="Freeform 120"/>
                <p:cNvSpPr>
                  <a:spLocks noChangeAspect="1"/>
                </p:cNvSpPr>
                <p:nvPr/>
              </p:nvSpPr>
              <p:spPr bwMode="gray">
                <a:xfrm>
                  <a:off x="4015" y="1163"/>
                  <a:ext cx="73" cy="67"/>
                </a:xfrm>
                <a:custGeom>
                  <a:avLst/>
                  <a:gdLst/>
                  <a:ahLst/>
                  <a:cxnLst>
                    <a:cxn ang="0">
                      <a:pos x="179" y="89"/>
                    </a:cxn>
                    <a:cxn ang="0">
                      <a:pos x="185" y="89"/>
                    </a:cxn>
                    <a:cxn ang="0">
                      <a:pos x="200" y="103"/>
                    </a:cxn>
                    <a:cxn ang="0">
                      <a:pos x="194" y="120"/>
                    </a:cxn>
                    <a:cxn ang="0">
                      <a:pos x="195" y="127"/>
                    </a:cxn>
                    <a:cxn ang="0">
                      <a:pos x="205" y="132"/>
                    </a:cxn>
                    <a:cxn ang="0">
                      <a:pos x="216" y="133"/>
                    </a:cxn>
                    <a:cxn ang="0">
                      <a:pos x="228" y="133"/>
                    </a:cxn>
                    <a:cxn ang="0">
                      <a:pos x="233" y="103"/>
                    </a:cxn>
                    <a:cxn ang="0">
                      <a:pos x="225" y="60"/>
                    </a:cxn>
                    <a:cxn ang="0">
                      <a:pos x="235" y="34"/>
                    </a:cxn>
                    <a:cxn ang="0">
                      <a:pos x="268" y="49"/>
                    </a:cxn>
                    <a:cxn ang="0">
                      <a:pos x="290" y="89"/>
                    </a:cxn>
                    <a:cxn ang="0">
                      <a:pos x="307" y="109"/>
                    </a:cxn>
                    <a:cxn ang="0">
                      <a:pos x="314" y="127"/>
                    </a:cxn>
                    <a:cxn ang="0">
                      <a:pos x="309" y="151"/>
                    </a:cxn>
                    <a:cxn ang="0">
                      <a:pos x="300" y="170"/>
                    </a:cxn>
                    <a:cxn ang="0">
                      <a:pos x="296" y="191"/>
                    </a:cxn>
                    <a:cxn ang="0">
                      <a:pos x="309" y="234"/>
                    </a:cxn>
                    <a:cxn ang="0">
                      <a:pos x="344" y="259"/>
                    </a:cxn>
                    <a:cxn ang="0">
                      <a:pos x="365" y="280"/>
                    </a:cxn>
                    <a:cxn ang="0">
                      <a:pos x="343" y="289"/>
                    </a:cxn>
                    <a:cxn ang="0">
                      <a:pos x="314" y="287"/>
                    </a:cxn>
                    <a:cxn ang="0">
                      <a:pos x="305" y="302"/>
                    </a:cxn>
                    <a:cxn ang="0">
                      <a:pos x="287" y="272"/>
                    </a:cxn>
                    <a:cxn ang="0">
                      <a:pos x="279" y="253"/>
                    </a:cxn>
                    <a:cxn ang="0">
                      <a:pos x="238" y="280"/>
                    </a:cxn>
                    <a:cxn ang="0">
                      <a:pos x="211" y="301"/>
                    </a:cxn>
                    <a:cxn ang="0">
                      <a:pos x="174" y="310"/>
                    </a:cxn>
                    <a:cxn ang="0">
                      <a:pos x="172" y="303"/>
                    </a:cxn>
                    <a:cxn ang="0">
                      <a:pos x="169" y="289"/>
                    </a:cxn>
                    <a:cxn ang="0">
                      <a:pos x="162" y="256"/>
                    </a:cxn>
                    <a:cxn ang="0">
                      <a:pos x="146" y="288"/>
                    </a:cxn>
                    <a:cxn ang="0">
                      <a:pos x="150" y="298"/>
                    </a:cxn>
                    <a:cxn ang="0">
                      <a:pos x="140" y="331"/>
                    </a:cxn>
                    <a:cxn ang="0">
                      <a:pos x="113" y="324"/>
                    </a:cxn>
                    <a:cxn ang="0">
                      <a:pos x="70" y="307"/>
                    </a:cxn>
                    <a:cxn ang="0">
                      <a:pos x="54" y="260"/>
                    </a:cxn>
                    <a:cxn ang="0">
                      <a:pos x="15" y="242"/>
                    </a:cxn>
                    <a:cxn ang="0">
                      <a:pos x="0" y="196"/>
                    </a:cxn>
                    <a:cxn ang="0">
                      <a:pos x="20" y="196"/>
                    </a:cxn>
                    <a:cxn ang="0">
                      <a:pos x="27" y="179"/>
                    </a:cxn>
                    <a:cxn ang="0">
                      <a:pos x="15" y="176"/>
                    </a:cxn>
                    <a:cxn ang="0">
                      <a:pos x="26" y="173"/>
                    </a:cxn>
                    <a:cxn ang="0">
                      <a:pos x="13" y="152"/>
                    </a:cxn>
                    <a:cxn ang="0">
                      <a:pos x="8" y="140"/>
                    </a:cxn>
                    <a:cxn ang="0">
                      <a:pos x="21" y="143"/>
                    </a:cxn>
                    <a:cxn ang="0">
                      <a:pos x="17" y="122"/>
                    </a:cxn>
                    <a:cxn ang="0">
                      <a:pos x="26" y="99"/>
                    </a:cxn>
                    <a:cxn ang="0">
                      <a:pos x="44" y="95"/>
                    </a:cxn>
                    <a:cxn ang="0">
                      <a:pos x="33" y="88"/>
                    </a:cxn>
                    <a:cxn ang="0">
                      <a:pos x="26" y="67"/>
                    </a:cxn>
                    <a:cxn ang="0">
                      <a:pos x="36" y="51"/>
                    </a:cxn>
                    <a:cxn ang="0">
                      <a:pos x="67" y="43"/>
                    </a:cxn>
                    <a:cxn ang="0">
                      <a:pos x="80" y="22"/>
                    </a:cxn>
                    <a:cxn ang="0">
                      <a:pos x="119" y="0"/>
                    </a:cxn>
                    <a:cxn ang="0">
                      <a:pos x="117" y="13"/>
                    </a:cxn>
                    <a:cxn ang="0">
                      <a:pos x="146" y="54"/>
                    </a:cxn>
                    <a:cxn ang="0">
                      <a:pos x="160" y="54"/>
                    </a:cxn>
                    <a:cxn ang="0">
                      <a:pos x="169" y="68"/>
                    </a:cxn>
                    <a:cxn ang="0">
                      <a:pos x="168" y="87"/>
                    </a:cxn>
                  </a:cxnLst>
                  <a:rect l="0" t="0" r="r" b="b"/>
                  <a:pathLst>
                    <a:path w="365" h="334">
                      <a:moveTo>
                        <a:pt x="178" y="86"/>
                      </a:moveTo>
                      <a:lnTo>
                        <a:pt x="179" y="89"/>
                      </a:lnTo>
                      <a:lnTo>
                        <a:pt x="180" y="95"/>
                      </a:lnTo>
                      <a:lnTo>
                        <a:pt x="185" y="89"/>
                      </a:lnTo>
                      <a:lnTo>
                        <a:pt x="201" y="94"/>
                      </a:lnTo>
                      <a:lnTo>
                        <a:pt x="200" y="103"/>
                      </a:lnTo>
                      <a:lnTo>
                        <a:pt x="201" y="106"/>
                      </a:lnTo>
                      <a:lnTo>
                        <a:pt x="194" y="120"/>
                      </a:lnTo>
                      <a:lnTo>
                        <a:pt x="196" y="121"/>
                      </a:lnTo>
                      <a:lnTo>
                        <a:pt x="195" y="127"/>
                      </a:lnTo>
                      <a:lnTo>
                        <a:pt x="198" y="135"/>
                      </a:lnTo>
                      <a:lnTo>
                        <a:pt x="205" y="132"/>
                      </a:lnTo>
                      <a:lnTo>
                        <a:pt x="210" y="138"/>
                      </a:lnTo>
                      <a:lnTo>
                        <a:pt x="216" y="133"/>
                      </a:lnTo>
                      <a:lnTo>
                        <a:pt x="226" y="137"/>
                      </a:lnTo>
                      <a:lnTo>
                        <a:pt x="228" y="133"/>
                      </a:lnTo>
                      <a:lnTo>
                        <a:pt x="228" y="109"/>
                      </a:lnTo>
                      <a:lnTo>
                        <a:pt x="233" y="103"/>
                      </a:lnTo>
                      <a:lnTo>
                        <a:pt x="226" y="92"/>
                      </a:lnTo>
                      <a:lnTo>
                        <a:pt x="225" y="60"/>
                      </a:lnTo>
                      <a:lnTo>
                        <a:pt x="225" y="47"/>
                      </a:lnTo>
                      <a:lnTo>
                        <a:pt x="235" y="34"/>
                      </a:lnTo>
                      <a:lnTo>
                        <a:pt x="242" y="30"/>
                      </a:lnTo>
                      <a:lnTo>
                        <a:pt x="268" y="49"/>
                      </a:lnTo>
                      <a:lnTo>
                        <a:pt x="287" y="78"/>
                      </a:lnTo>
                      <a:lnTo>
                        <a:pt x="290" y="89"/>
                      </a:lnTo>
                      <a:lnTo>
                        <a:pt x="297" y="109"/>
                      </a:lnTo>
                      <a:lnTo>
                        <a:pt x="307" y="109"/>
                      </a:lnTo>
                      <a:lnTo>
                        <a:pt x="314" y="115"/>
                      </a:lnTo>
                      <a:lnTo>
                        <a:pt x="314" y="127"/>
                      </a:lnTo>
                      <a:lnTo>
                        <a:pt x="311" y="138"/>
                      </a:lnTo>
                      <a:lnTo>
                        <a:pt x="309" y="151"/>
                      </a:lnTo>
                      <a:lnTo>
                        <a:pt x="305" y="163"/>
                      </a:lnTo>
                      <a:lnTo>
                        <a:pt x="300" y="170"/>
                      </a:lnTo>
                      <a:lnTo>
                        <a:pt x="296" y="181"/>
                      </a:lnTo>
                      <a:lnTo>
                        <a:pt x="296" y="191"/>
                      </a:lnTo>
                      <a:lnTo>
                        <a:pt x="298" y="201"/>
                      </a:lnTo>
                      <a:lnTo>
                        <a:pt x="309" y="234"/>
                      </a:lnTo>
                      <a:lnTo>
                        <a:pt x="323" y="254"/>
                      </a:lnTo>
                      <a:lnTo>
                        <a:pt x="344" y="259"/>
                      </a:lnTo>
                      <a:lnTo>
                        <a:pt x="361" y="272"/>
                      </a:lnTo>
                      <a:lnTo>
                        <a:pt x="365" y="280"/>
                      </a:lnTo>
                      <a:lnTo>
                        <a:pt x="364" y="283"/>
                      </a:lnTo>
                      <a:lnTo>
                        <a:pt x="343" y="289"/>
                      </a:lnTo>
                      <a:lnTo>
                        <a:pt x="317" y="277"/>
                      </a:lnTo>
                      <a:lnTo>
                        <a:pt x="314" y="287"/>
                      </a:lnTo>
                      <a:lnTo>
                        <a:pt x="314" y="296"/>
                      </a:lnTo>
                      <a:lnTo>
                        <a:pt x="305" y="302"/>
                      </a:lnTo>
                      <a:lnTo>
                        <a:pt x="281" y="273"/>
                      </a:lnTo>
                      <a:lnTo>
                        <a:pt x="287" y="272"/>
                      </a:lnTo>
                      <a:lnTo>
                        <a:pt x="289" y="261"/>
                      </a:lnTo>
                      <a:lnTo>
                        <a:pt x="279" y="253"/>
                      </a:lnTo>
                      <a:lnTo>
                        <a:pt x="265" y="272"/>
                      </a:lnTo>
                      <a:lnTo>
                        <a:pt x="238" y="280"/>
                      </a:lnTo>
                      <a:lnTo>
                        <a:pt x="225" y="287"/>
                      </a:lnTo>
                      <a:lnTo>
                        <a:pt x="211" y="301"/>
                      </a:lnTo>
                      <a:lnTo>
                        <a:pt x="183" y="312"/>
                      </a:lnTo>
                      <a:lnTo>
                        <a:pt x="174" y="310"/>
                      </a:lnTo>
                      <a:lnTo>
                        <a:pt x="165" y="302"/>
                      </a:lnTo>
                      <a:lnTo>
                        <a:pt x="172" y="303"/>
                      </a:lnTo>
                      <a:lnTo>
                        <a:pt x="179" y="296"/>
                      </a:lnTo>
                      <a:lnTo>
                        <a:pt x="169" y="289"/>
                      </a:lnTo>
                      <a:lnTo>
                        <a:pt x="162" y="276"/>
                      </a:lnTo>
                      <a:lnTo>
                        <a:pt x="162" y="256"/>
                      </a:lnTo>
                      <a:lnTo>
                        <a:pt x="149" y="265"/>
                      </a:lnTo>
                      <a:lnTo>
                        <a:pt x="146" y="288"/>
                      </a:lnTo>
                      <a:lnTo>
                        <a:pt x="155" y="285"/>
                      </a:lnTo>
                      <a:lnTo>
                        <a:pt x="150" y="298"/>
                      </a:lnTo>
                      <a:lnTo>
                        <a:pt x="146" y="320"/>
                      </a:lnTo>
                      <a:lnTo>
                        <a:pt x="140" y="331"/>
                      </a:lnTo>
                      <a:lnTo>
                        <a:pt x="130" y="334"/>
                      </a:lnTo>
                      <a:lnTo>
                        <a:pt x="113" y="324"/>
                      </a:lnTo>
                      <a:lnTo>
                        <a:pt x="90" y="320"/>
                      </a:lnTo>
                      <a:lnTo>
                        <a:pt x="70" y="307"/>
                      </a:lnTo>
                      <a:lnTo>
                        <a:pt x="61" y="289"/>
                      </a:lnTo>
                      <a:lnTo>
                        <a:pt x="54" y="260"/>
                      </a:lnTo>
                      <a:lnTo>
                        <a:pt x="42" y="262"/>
                      </a:lnTo>
                      <a:lnTo>
                        <a:pt x="15" y="242"/>
                      </a:lnTo>
                      <a:lnTo>
                        <a:pt x="10" y="223"/>
                      </a:lnTo>
                      <a:lnTo>
                        <a:pt x="0" y="196"/>
                      </a:lnTo>
                      <a:lnTo>
                        <a:pt x="10" y="190"/>
                      </a:lnTo>
                      <a:lnTo>
                        <a:pt x="20" y="196"/>
                      </a:lnTo>
                      <a:lnTo>
                        <a:pt x="32" y="190"/>
                      </a:lnTo>
                      <a:lnTo>
                        <a:pt x="27" y="179"/>
                      </a:lnTo>
                      <a:lnTo>
                        <a:pt x="17" y="181"/>
                      </a:lnTo>
                      <a:lnTo>
                        <a:pt x="15" y="176"/>
                      </a:lnTo>
                      <a:lnTo>
                        <a:pt x="17" y="173"/>
                      </a:lnTo>
                      <a:lnTo>
                        <a:pt x="26" y="173"/>
                      </a:lnTo>
                      <a:lnTo>
                        <a:pt x="24" y="159"/>
                      </a:lnTo>
                      <a:lnTo>
                        <a:pt x="13" y="152"/>
                      </a:lnTo>
                      <a:lnTo>
                        <a:pt x="7" y="141"/>
                      </a:lnTo>
                      <a:lnTo>
                        <a:pt x="8" y="140"/>
                      </a:lnTo>
                      <a:lnTo>
                        <a:pt x="17" y="151"/>
                      </a:lnTo>
                      <a:lnTo>
                        <a:pt x="21" y="143"/>
                      </a:lnTo>
                      <a:lnTo>
                        <a:pt x="22" y="132"/>
                      </a:lnTo>
                      <a:lnTo>
                        <a:pt x="17" y="122"/>
                      </a:lnTo>
                      <a:lnTo>
                        <a:pt x="17" y="106"/>
                      </a:lnTo>
                      <a:lnTo>
                        <a:pt x="26" y="99"/>
                      </a:lnTo>
                      <a:lnTo>
                        <a:pt x="39" y="103"/>
                      </a:lnTo>
                      <a:lnTo>
                        <a:pt x="44" y="95"/>
                      </a:lnTo>
                      <a:lnTo>
                        <a:pt x="38" y="83"/>
                      </a:lnTo>
                      <a:lnTo>
                        <a:pt x="33" y="88"/>
                      </a:lnTo>
                      <a:lnTo>
                        <a:pt x="29" y="82"/>
                      </a:lnTo>
                      <a:lnTo>
                        <a:pt x="26" y="67"/>
                      </a:lnTo>
                      <a:lnTo>
                        <a:pt x="28" y="62"/>
                      </a:lnTo>
                      <a:lnTo>
                        <a:pt x="36" y="51"/>
                      </a:lnTo>
                      <a:lnTo>
                        <a:pt x="42" y="55"/>
                      </a:lnTo>
                      <a:lnTo>
                        <a:pt x="67" y="43"/>
                      </a:lnTo>
                      <a:lnTo>
                        <a:pt x="77" y="18"/>
                      </a:lnTo>
                      <a:lnTo>
                        <a:pt x="80" y="22"/>
                      </a:lnTo>
                      <a:lnTo>
                        <a:pt x="103" y="4"/>
                      </a:lnTo>
                      <a:lnTo>
                        <a:pt x="119" y="0"/>
                      </a:lnTo>
                      <a:lnTo>
                        <a:pt x="123" y="1"/>
                      </a:lnTo>
                      <a:lnTo>
                        <a:pt x="117" y="13"/>
                      </a:lnTo>
                      <a:lnTo>
                        <a:pt x="119" y="24"/>
                      </a:lnTo>
                      <a:lnTo>
                        <a:pt x="146" y="54"/>
                      </a:lnTo>
                      <a:lnTo>
                        <a:pt x="151" y="57"/>
                      </a:lnTo>
                      <a:lnTo>
                        <a:pt x="160" y="54"/>
                      </a:lnTo>
                      <a:lnTo>
                        <a:pt x="162" y="62"/>
                      </a:lnTo>
                      <a:lnTo>
                        <a:pt x="169" y="68"/>
                      </a:lnTo>
                      <a:lnTo>
                        <a:pt x="163" y="78"/>
                      </a:lnTo>
                      <a:lnTo>
                        <a:pt x="168" y="87"/>
                      </a:lnTo>
                      <a:lnTo>
                        <a:pt x="178" y="86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0" name="Freeform 121"/>
                <p:cNvSpPr>
                  <a:spLocks noChangeAspect="1"/>
                </p:cNvSpPr>
                <p:nvPr/>
              </p:nvSpPr>
              <p:spPr bwMode="gray">
                <a:xfrm>
                  <a:off x="4066" y="1166"/>
                  <a:ext cx="44" cy="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" y="8"/>
                    </a:cxn>
                    <a:cxn ang="0">
                      <a:pos x="32" y="30"/>
                    </a:cxn>
                    <a:cxn ang="0">
                      <a:pos x="42" y="38"/>
                    </a:cxn>
                    <a:cxn ang="0">
                      <a:pos x="56" y="59"/>
                    </a:cxn>
                    <a:cxn ang="0">
                      <a:pos x="64" y="66"/>
                    </a:cxn>
                    <a:cxn ang="0">
                      <a:pos x="89" y="71"/>
                    </a:cxn>
                    <a:cxn ang="0">
                      <a:pos x="106" y="59"/>
                    </a:cxn>
                    <a:cxn ang="0">
                      <a:pos x="116" y="56"/>
                    </a:cxn>
                    <a:cxn ang="0">
                      <a:pos x="138" y="64"/>
                    </a:cxn>
                    <a:cxn ang="0">
                      <a:pos x="152" y="89"/>
                    </a:cxn>
                    <a:cxn ang="0">
                      <a:pos x="169" y="97"/>
                    </a:cxn>
                    <a:cxn ang="0">
                      <a:pos x="182" y="110"/>
                    </a:cxn>
                    <a:cxn ang="0">
                      <a:pos x="201" y="120"/>
                    </a:cxn>
                    <a:cxn ang="0">
                      <a:pos x="215" y="136"/>
                    </a:cxn>
                    <a:cxn ang="0">
                      <a:pos x="222" y="136"/>
                    </a:cxn>
                    <a:cxn ang="0">
                      <a:pos x="224" y="145"/>
                    </a:cxn>
                    <a:cxn ang="0">
                      <a:pos x="206" y="142"/>
                    </a:cxn>
                    <a:cxn ang="0">
                      <a:pos x="197" y="146"/>
                    </a:cxn>
                    <a:cxn ang="0">
                      <a:pos x="193" y="155"/>
                    </a:cxn>
                    <a:cxn ang="0">
                      <a:pos x="181" y="156"/>
                    </a:cxn>
                    <a:cxn ang="0">
                      <a:pos x="185" y="161"/>
                    </a:cxn>
                    <a:cxn ang="0">
                      <a:pos x="182" y="169"/>
                    </a:cxn>
                    <a:cxn ang="0">
                      <a:pos x="182" y="183"/>
                    </a:cxn>
                    <a:cxn ang="0">
                      <a:pos x="188" y="194"/>
                    </a:cxn>
                    <a:cxn ang="0">
                      <a:pos x="183" y="200"/>
                    </a:cxn>
                    <a:cxn ang="0">
                      <a:pos x="180" y="217"/>
                    </a:cxn>
                    <a:cxn ang="0">
                      <a:pos x="167" y="226"/>
                    </a:cxn>
                    <a:cxn ang="0">
                      <a:pos x="163" y="232"/>
                    </a:cxn>
                    <a:cxn ang="0">
                      <a:pos x="138" y="248"/>
                    </a:cxn>
                    <a:cxn ang="0">
                      <a:pos x="128" y="241"/>
                    </a:cxn>
                    <a:cxn ang="0">
                      <a:pos x="91" y="233"/>
                    </a:cxn>
                    <a:cxn ang="0">
                      <a:pos x="77" y="222"/>
                    </a:cxn>
                    <a:cxn ang="0">
                      <a:pos x="54" y="164"/>
                    </a:cxn>
                    <a:cxn ang="0">
                      <a:pos x="56" y="147"/>
                    </a:cxn>
                    <a:cxn ang="0">
                      <a:pos x="69" y="108"/>
                    </a:cxn>
                    <a:cxn ang="0">
                      <a:pos x="73" y="85"/>
                    </a:cxn>
                    <a:cxn ang="0">
                      <a:pos x="64" y="85"/>
                    </a:cxn>
                    <a:cxn ang="0">
                      <a:pos x="61" y="73"/>
                    </a:cxn>
                    <a:cxn ang="0">
                      <a:pos x="16" y="19"/>
                    </a:cxn>
                    <a:cxn ang="0">
                      <a:pos x="8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4" h="24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30"/>
                      </a:lnTo>
                      <a:lnTo>
                        <a:pt x="42" y="38"/>
                      </a:lnTo>
                      <a:lnTo>
                        <a:pt x="56" y="59"/>
                      </a:lnTo>
                      <a:lnTo>
                        <a:pt x="64" y="66"/>
                      </a:lnTo>
                      <a:lnTo>
                        <a:pt x="89" y="71"/>
                      </a:lnTo>
                      <a:lnTo>
                        <a:pt x="106" y="59"/>
                      </a:lnTo>
                      <a:lnTo>
                        <a:pt x="116" y="56"/>
                      </a:lnTo>
                      <a:lnTo>
                        <a:pt x="138" y="64"/>
                      </a:lnTo>
                      <a:lnTo>
                        <a:pt x="152" y="89"/>
                      </a:lnTo>
                      <a:lnTo>
                        <a:pt x="169" y="97"/>
                      </a:lnTo>
                      <a:lnTo>
                        <a:pt x="182" y="110"/>
                      </a:lnTo>
                      <a:lnTo>
                        <a:pt x="201" y="120"/>
                      </a:lnTo>
                      <a:lnTo>
                        <a:pt x="215" y="136"/>
                      </a:lnTo>
                      <a:lnTo>
                        <a:pt x="222" y="136"/>
                      </a:lnTo>
                      <a:lnTo>
                        <a:pt x="224" y="145"/>
                      </a:lnTo>
                      <a:lnTo>
                        <a:pt x="206" y="142"/>
                      </a:lnTo>
                      <a:lnTo>
                        <a:pt x="197" y="146"/>
                      </a:lnTo>
                      <a:lnTo>
                        <a:pt x="193" y="155"/>
                      </a:lnTo>
                      <a:lnTo>
                        <a:pt x="181" y="156"/>
                      </a:lnTo>
                      <a:lnTo>
                        <a:pt x="185" y="161"/>
                      </a:lnTo>
                      <a:lnTo>
                        <a:pt x="182" y="169"/>
                      </a:lnTo>
                      <a:lnTo>
                        <a:pt x="182" y="183"/>
                      </a:lnTo>
                      <a:lnTo>
                        <a:pt x="188" y="194"/>
                      </a:lnTo>
                      <a:lnTo>
                        <a:pt x="183" y="200"/>
                      </a:lnTo>
                      <a:lnTo>
                        <a:pt x="180" y="217"/>
                      </a:lnTo>
                      <a:lnTo>
                        <a:pt x="167" y="226"/>
                      </a:lnTo>
                      <a:lnTo>
                        <a:pt x="163" y="232"/>
                      </a:lnTo>
                      <a:lnTo>
                        <a:pt x="138" y="248"/>
                      </a:lnTo>
                      <a:lnTo>
                        <a:pt x="128" y="241"/>
                      </a:lnTo>
                      <a:lnTo>
                        <a:pt x="91" y="233"/>
                      </a:lnTo>
                      <a:lnTo>
                        <a:pt x="77" y="222"/>
                      </a:lnTo>
                      <a:lnTo>
                        <a:pt x="54" y="164"/>
                      </a:lnTo>
                      <a:lnTo>
                        <a:pt x="56" y="147"/>
                      </a:lnTo>
                      <a:lnTo>
                        <a:pt x="69" y="108"/>
                      </a:lnTo>
                      <a:lnTo>
                        <a:pt x="73" y="85"/>
                      </a:lnTo>
                      <a:lnTo>
                        <a:pt x="64" y="85"/>
                      </a:lnTo>
                      <a:lnTo>
                        <a:pt x="61" y="73"/>
                      </a:lnTo>
                      <a:lnTo>
                        <a:pt x="16" y="19"/>
                      </a:lnTo>
                      <a:lnTo>
                        <a:pt x="8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1" name="Freeform 122"/>
                <p:cNvSpPr>
                  <a:spLocks noChangeAspect="1"/>
                </p:cNvSpPr>
                <p:nvPr/>
              </p:nvSpPr>
              <p:spPr bwMode="gray">
                <a:xfrm>
                  <a:off x="4119" y="1193"/>
                  <a:ext cx="54" cy="36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9" y="6"/>
                    </a:cxn>
                    <a:cxn ang="0">
                      <a:pos x="19" y="10"/>
                    </a:cxn>
                    <a:cxn ang="0">
                      <a:pos x="24" y="15"/>
                    </a:cxn>
                    <a:cxn ang="0">
                      <a:pos x="26" y="25"/>
                    </a:cxn>
                    <a:cxn ang="0">
                      <a:pos x="36" y="30"/>
                    </a:cxn>
                    <a:cxn ang="0">
                      <a:pos x="51" y="33"/>
                    </a:cxn>
                    <a:cxn ang="0">
                      <a:pos x="66" y="35"/>
                    </a:cxn>
                    <a:cxn ang="0">
                      <a:pos x="73" y="31"/>
                    </a:cxn>
                    <a:cxn ang="0">
                      <a:pos x="127" y="41"/>
                    </a:cxn>
                    <a:cxn ang="0">
                      <a:pos x="129" y="49"/>
                    </a:cxn>
                    <a:cxn ang="0">
                      <a:pos x="122" y="49"/>
                    </a:cxn>
                    <a:cxn ang="0">
                      <a:pos x="121" y="55"/>
                    </a:cxn>
                    <a:cxn ang="0">
                      <a:pos x="109" y="67"/>
                    </a:cxn>
                    <a:cxn ang="0">
                      <a:pos x="132" y="64"/>
                    </a:cxn>
                    <a:cxn ang="0">
                      <a:pos x="154" y="68"/>
                    </a:cxn>
                    <a:cxn ang="0">
                      <a:pos x="163" y="62"/>
                    </a:cxn>
                    <a:cxn ang="0">
                      <a:pos x="172" y="62"/>
                    </a:cxn>
                    <a:cxn ang="0">
                      <a:pos x="182" y="68"/>
                    </a:cxn>
                    <a:cxn ang="0">
                      <a:pos x="188" y="79"/>
                    </a:cxn>
                    <a:cxn ang="0">
                      <a:pos x="207" y="75"/>
                    </a:cxn>
                    <a:cxn ang="0">
                      <a:pos x="218" y="79"/>
                    </a:cxn>
                    <a:cxn ang="0">
                      <a:pos x="225" y="91"/>
                    </a:cxn>
                    <a:cxn ang="0">
                      <a:pos x="266" y="100"/>
                    </a:cxn>
                    <a:cxn ang="0">
                      <a:pos x="256" y="108"/>
                    </a:cxn>
                    <a:cxn ang="0">
                      <a:pos x="257" y="135"/>
                    </a:cxn>
                    <a:cxn ang="0">
                      <a:pos x="245" y="154"/>
                    </a:cxn>
                    <a:cxn ang="0">
                      <a:pos x="208" y="176"/>
                    </a:cxn>
                    <a:cxn ang="0">
                      <a:pos x="198" y="180"/>
                    </a:cxn>
                    <a:cxn ang="0">
                      <a:pos x="191" y="171"/>
                    </a:cxn>
                    <a:cxn ang="0">
                      <a:pos x="186" y="176"/>
                    </a:cxn>
                    <a:cxn ang="0">
                      <a:pos x="179" y="173"/>
                    </a:cxn>
                    <a:cxn ang="0">
                      <a:pos x="174" y="164"/>
                    </a:cxn>
                    <a:cxn ang="0">
                      <a:pos x="171" y="175"/>
                    </a:cxn>
                    <a:cxn ang="0">
                      <a:pos x="160" y="175"/>
                    </a:cxn>
                    <a:cxn ang="0">
                      <a:pos x="144" y="170"/>
                    </a:cxn>
                    <a:cxn ang="0">
                      <a:pos x="133" y="156"/>
                    </a:cxn>
                    <a:cxn ang="0">
                      <a:pos x="117" y="156"/>
                    </a:cxn>
                    <a:cxn ang="0">
                      <a:pos x="104" y="151"/>
                    </a:cxn>
                    <a:cxn ang="0">
                      <a:pos x="95" y="140"/>
                    </a:cxn>
                    <a:cxn ang="0">
                      <a:pos x="85" y="135"/>
                    </a:cxn>
                    <a:cxn ang="0">
                      <a:pos x="75" y="123"/>
                    </a:cxn>
                    <a:cxn ang="0">
                      <a:pos x="57" y="118"/>
                    </a:cxn>
                    <a:cxn ang="0">
                      <a:pos x="46" y="110"/>
                    </a:cxn>
                    <a:cxn ang="0">
                      <a:pos x="45" y="81"/>
                    </a:cxn>
                    <a:cxn ang="0">
                      <a:pos x="31" y="67"/>
                    </a:cxn>
                    <a:cxn ang="0">
                      <a:pos x="26" y="47"/>
                    </a:cxn>
                    <a:cxn ang="0">
                      <a:pos x="5" y="20"/>
                    </a:cxn>
                    <a:cxn ang="0">
                      <a:pos x="0" y="3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266" h="180">
                      <a:moveTo>
                        <a:pt x="3" y="0"/>
                      </a:moveTo>
                      <a:lnTo>
                        <a:pt x="9" y="6"/>
                      </a:lnTo>
                      <a:lnTo>
                        <a:pt x="19" y="10"/>
                      </a:lnTo>
                      <a:lnTo>
                        <a:pt x="24" y="15"/>
                      </a:lnTo>
                      <a:lnTo>
                        <a:pt x="26" y="25"/>
                      </a:lnTo>
                      <a:lnTo>
                        <a:pt x="36" y="30"/>
                      </a:lnTo>
                      <a:lnTo>
                        <a:pt x="51" y="33"/>
                      </a:lnTo>
                      <a:lnTo>
                        <a:pt x="66" y="35"/>
                      </a:lnTo>
                      <a:lnTo>
                        <a:pt x="73" y="31"/>
                      </a:lnTo>
                      <a:lnTo>
                        <a:pt x="127" y="41"/>
                      </a:lnTo>
                      <a:lnTo>
                        <a:pt x="129" y="49"/>
                      </a:lnTo>
                      <a:lnTo>
                        <a:pt x="122" y="49"/>
                      </a:lnTo>
                      <a:lnTo>
                        <a:pt x="121" y="55"/>
                      </a:lnTo>
                      <a:lnTo>
                        <a:pt x="109" y="67"/>
                      </a:lnTo>
                      <a:lnTo>
                        <a:pt x="132" y="64"/>
                      </a:lnTo>
                      <a:lnTo>
                        <a:pt x="154" y="68"/>
                      </a:lnTo>
                      <a:lnTo>
                        <a:pt x="163" y="62"/>
                      </a:lnTo>
                      <a:lnTo>
                        <a:pt x="172" y="62"/>
                      </a:lnTo>
                      <a:lnTo>
                        <a:pt x="182" y="68"/>
                      </a:lnTo>
                      <a:lnTo>
                        <a:pt x="188" y="79"/>
                      </a:lnTo>
                      <a:lnTo>
                        <a:pt x="207" y="75"/>
                      </a:lnTo>
                      <a:lnTo>
                        <a:pt x="218" y="79"/>
                      </a:lnTo>
                      <a:lnTo>
                        <a:pt x="225" y="91"/>
                      </a:lnTo>
                      <a:lnTo>
                        <a:pt x="266" y="100"/>
                      </a:lnTo>
                      <a:lnTo>
                        <a:pt x="256" y="108"/>
                      </a:lnTo>
                      <a:lnTo>
                        <a:pt x="257" y="135"/>
                      </a:lnTo>
                      <a:lnTo>
                        <a:pt x="245" y="154"/>
                      </a:lnTo>
                      <a:lnTo>
                        <a:pt x="208" y="176"/>
                      </a:lnTo>
                      <a:lnTo>
                        <a:pt x="198" y="180"/>
                      </a:lnTo>
                      <a:lnTo>
                        <a:pt x="191" y="171"/>
                      </a:lnTo>
                      <a:lnTo>
                        <a:pt x="186" y="176"/>
                      </a:lnTo>
                      <a:lnTo>
                        <a:pt x="179" y="173"/>
                      </a:lnTo>
                      <a:lnTo>
                        <a:pt x="174" y="164"/>
                      </a:lnTo>
                      <a:lnTo>
                        <a:pt x="171" y="175"/>
                      </a:lnTo>
                      <a:lnTo>
                        <a:pt x="160" y="175"/>
                      </a:lnTo>
                      <a:lnTo>
                        <a:pt x="144" y="170"/>
                      </a:lnTo>
                      <a:lnTo>
                        <a:pt x="133" y="156"/>
                      </a:lnTo>
                      <a:lnTo>
                        <a:pt x="117" y="156"/>
                      </a:lnTo>
                      <a:lnTo>
                        <a:pt x="104" y="151"/>
                      </a:lnTo>
                      <a:lnTo>
                        <a:pt x="95" y="140"/>
                      </a:lnTo>
                      <a:lnTo>
                        <a:pt x="85" y="135"/>
                      </a:lnTo>
                      <a:lnTo>
                        <a:pt x="75" y="123"/>
                      </a:lnTo>
                      <a:lnTo>
                        <a:pt x="57" y="118"/>
                      </a:lnTo>
                      <a:lnTo>
                        <a:pt x="46" y="110"/>
                      </a:lnTo>
                      <a:lnTo>
                        <a:pt x="45" y="81"/>
                      </a:lnTo>
                      <a:lnTo>
                        <a:pt x="31" y="67"/>
                      </a:lnTo>
                      <a:lnTo>
                        <a:pt x="26" y="47"/>
                      </a:lnTo>
                      <a:lnTo>
                        <a:pt x="5" y="20"/>
                      </a:lnTo>
                      <a:lnTo>
                        <a:pt x="0" y="3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2" name="Freeform 123"/>
                <p:cNvSpPr>
                  <a:spLocks noChangeAspect="1"/>
                </p:cNvSpPr>
                <p:nvPr/>
              </p:nvSpPr>
              <p:spPr bwMode="gray">
                <a:xfrm>
                  <a:off x="4047" y="1261"/>
                  <a:ext cx="43" cy="27"/>
                </a:xfrm>
                <a:custGeom>
                  <a:avLst/>
                  <a:gdLst/>
                  <a:ahLst/>
                  <a:cxnLst>
                    <a:cxn ang="0">
                      <a:pos x="92" y="7"/>
                    </a:cxn>
                    <a:cxn ang="0">
                      <a:pos x="110" y="0"/>
                    </a:cxn>
                    <a:cxn ang="0">
                      <a:pos x="126" y="2"/>
                    </a:cxn>
                    <a:cxn ang="0">
                      <a:pos x="137" y="5"/>
                    </a:cxn>
                    <a:cxn ang="0">
                      <a:pos x="148" y="16"/>
                    </a:cxn>
                    <a:cxn ang="0">
                      <a:pos x="156" y="18"/>
                    </a:cxn>
                    <a:cxn ang="0">
                      <a:pos x="169" y="36"/>
                    </a:cxn>
                    <a:cxn ang="0">
                      <a:pos x="187" y="51"/>
                    </a:cxn>
                    <a:cxn ang="0">
                      <a:pos x="203" y="78"/>
                    </a:cxn>
                    <a:cxn ang="0">
                      <a:pos x="207" y="93"/>
                    </a:cxn>
                    <a:cxn ang="0">
                      <a:pos x="207" y="112"/>
                    </a:cxn>
                    <a:cxn ang="0">
                      <a:pos x="212" y="126"/>
                    </a:cxn>
                    <a:cxn ang="0">
                      <a:pos x="212" y="136"/>
                    </a:cxn>
                    <a:cxn ang="0">
                      <a:pos x="202" y="132"/>
                    </a:cxn>
                    <a:cxn ang="0">
                      <a:pos x="193" y="136"/>
                    </a:cxn>
                    <a:cxn ang="0">
                      <a:pos x="181" y="134"/>
                    </a:cxn>
                    <a:cxn ang="0">
                      <a:pos x="167" y="127"/>
                    </a:cxn>
                    <a:cxn ang="0">
                      <a:pos x="139" y="128"/>
                    </a:cxn>
                    <a:cxn ang="0">
                      <a:pos x="122" y="120"/>
                    </a:cxn>
                    <a:cxn ang="0">
                      <a:pos x="115" y="112"/>
                    </a:cxn>
                    <a:cxn ang="0">
                      <a:pos x="102" y="115"/>
                    </a:cxn>
                    <a:cxn ang="0">
                      <a:pos x="85" y="110"/>
                    </a:cxn>
                    <a:cxn ang="0">
                      <a:pos x="68" y="99"/>
                    </a:cxn>
                    <a:cxn ang="0">
                      <a:pos x="48" y="95"/>
                    </a:cxn>
                    <a:cxn ang="0">
                      <a:pos x="21" y="110"/>
                    </a:cxn>
                    <a:cxn ang="0">
                      <a:pos x="10" y="109"/>
                    </a:cxn>
                    <a:cxn ang="0">
                      <a:pos x="0" y="95"/>
                    </a:cxn>
                    <a:cxn ang="0">
                      <a:pos x="8" y="89"/>
                    </a:cxn>
                    <a:cxn ang="0">
                      <a:pos x="37" y="86"/>
                    </a:cxn>
                    <a:cxn ang="0">
                      <a:pos x="41" y="79"/>
                    </a:cxn>
                    <a:cxn ang="0">
                      <a:pos x="48" y="62"/>
                    </a:cxn>
                    <a:cxn ang="0">
                      <a:pos x="60" y="31"/>
                    </a:cxn>
                    <a:cxn ang="0">
                      <a:pos x="60" y="19"/>
                    </a:cxn>
                    <a:cxn ang="0">
                      <a:pos x="65" y="10"/>
                    </a:cxn>
                    <a:cxn ang="0">
                      <a:pos x="92" y="7"/>
                    </a:cxn>
                  </a:cxnLst>
                  <a:rect l="0" t="0" r="r" b="b"/>
                  <a:pathLst>
                    <a:path w="212" h="136">
                      <a:moveTo>
                        <a:pt x="92" y="7"/>
                      </a:moveTo>
                      <a:lnTo>
                        <a:pt x="110" y="0"/>
                      </a:lnTo>
                      <a:lnTo>
                        <a:pt x="126" y="2"/>
                      </a:lnTo>
                      <a:lnTo>
                        <a:pt x="137" y="5"/>
                      </a:lnTo>
                      <a:lnTo>
                        <a:pt x="148" y="16"/>
                      </a:lnTo>
                      <a:lnTo>
                        <a:pt x="156" y="18"/>
                      </a:lnTo>
                      <a:lnTo>
                        <a:pt x="169" y="36"/>
                      </a:lnTo>
                      <a:lnTo>
                        <a:pt x="187" y="51"/>
                      </a:lnTo>
                      <a:lnTo>
                        <a:pt x="203" y="78"/>
                      </a:lnTo>
                      <a:lnTo>
                        <a:pt x="207" y="93"/>
                      </a:lnTo>
                      <a:lnTo>
                        <a:pt x="207" y="112"/>
                      </a:lnTo>
                      <a:lnTo>
                        <a:pt x="212" y="126"/>
                      </a:lnTo>
                      <a:lnTo>
                        <a:pt x="212" y="136"/>
                      </a:lnTo>
                      <a:lnTo>
                        <a:pt x="202" y="132"/>
                      </a:lnTo>
                      <a:lnTo>
                        <a:pt x="193" y="136"/>
                      </a:lnTo>
                      <a:lnTo>
                        <a:pt x="181" y="134"/>
                      </a:lnTo>
                      <a:lnTo>
                        <a:pt x="167" y="127"/>
                      </a:lnTo>
                      <a:lnTo>
                        <a:pt x="139" y="128"/>
                      </a:lnTo>
                      <a:lnTo>
                        <a:pt x="122" y="120"/>
                      </a:lnTo>
                      <a:lnTo>
                        <a:pt x="115" y="112"/>
                      </a:lnTo>
                      <a:lnTo>
                        <a:pt x="102" y="115"/>
                      </a:lnTo>
                      <a:lnTo>
                        <a:pt x="85" y="110"/>
                      </a:lnTo>
                      <a:lnTo>
                        <a:pt x="68" y="99"/>
                      </a:lnTo>
                      <a:lnTo>
                        <a:pt x="48" y="95"/>
                      </a:lnTo>
                      <a:lnTo>
                        <a:pt x="21" y="110"/>
                      </a:lnTo>
                      <a:lnTo>
                        <a:pt x="10" y="109"/>
                      </a:lnTo>
                      <a:lnTo>
                        <a:pt x="0" y="95"/>
                      </a:lnTo>
                      <a:lnTo>
                        <a:pt x="8" y="89"/>
                      </a:lnTo>
                      <a:lnTo>
                        <a:pt x="37" y="86"/>
                      </a:lnTo>
                      <a:lnTo>
                        <a:pt x="41" y="79"/>
                      </a:lnTo>
                      <a:lnTo>
                        <a:pt x="48" y="62"/>
                      </a:lnTo>
                      <a:lnTo>
                        <a:pt x="60" y="31"/>
                      </a:lnTo>
                      <a:lnTo>
                        <a:pt x="60" y="19"/>
                      </a:lnTo>
                      <a:lnTo>
                        <a:pt x="65" y="10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3" name="Freeform 124"/>
                <p:cNvSpPr>
                  <a:spLocks noChangeAspect="1"/>
                </p:cNvSpPr>
                <p:nvPr/>
              </p:nvSpPr>
              <p:spPr bwMode="gray">
                <a:xfrm>
                  <a:off x="3080" y="1282"/>
                  <a:ext cx="68" cy="102"/>
                </a:xfrm>
                <a:custGeom>
                  <a:avLst/>
                  <a:gdLst/>
                  <a:ahLst/>
                  <a:cxnLst>
                    <a:cxn ang="0">
                      <a:pos x="152" y="22"/>
                    </a:cxn>
                    <a:cxn ang="0">
                      <a:pos x="199" y="0"/>
                    </a:cxn>
                    <a:cxn ang="0">
                      <a:pos x="234" y="15"/>
                    </a:cxn>
                    <a:cxn ang="0">
                      <a:pos x="277" y="45"/>
                    </a:cxn>
                    <a:cxn ang="0">
                      <a:pos x="272" y="68"/>
                    </a:cxn>
                    <a:cxn ang="0">
                      <a:pos x="234" y="86"/>
                    </a:cxn>
                    <a:cxn ang="0">
                      <a:pos x="267" y="94"/>
                    </a:cxn>
                    <a:cxn ang="0">
                      <a:pos x="245" y="114"/>
                    </a:cxn>
                    <a:cxn ang="0">
                      <a:pos x="238" y="119"/>
                    </a:cxn>
                    <a:cxn ang="0">
                      <a:pos x="232" y="158"/>
                    </a:cxn>
                    <a:cxn ang="0">
                      <a:pos x="226" y="165"/>
                    </a:cxn>
                    <a:cxn ang="0">
                      <a:pos x="219" y="189"/>
                    </a:cxn>
                    <a:cxn ang="0">
                      <a:pos x="224" y="226"/>
                    </a:cxn>
                    <a:cxn ang="0">
                      <a:pos x="218" y="267"/>
                    </a:cxn>
                    <a:cxn ang="0">
                      <a:pos x="230" y="331"/>
                    </a:cxn>
                    <a:cxn ang="0">
                      <a:pos x="250" y="373"/>
                    </a:cxn>
                    <a:cxn ang="0">
                      <a:pos x="278" y="426"/>
                    </a:cxn>
                    <a:cxn ang="0">
                      <a:pos x="306" y="450"/>
                    </a:cxn>
                    <a:cxn ang="0">
                      <a:pos x="338" y="472"/>
                    </a:cxn>
                    <a:cxn ang="0">
                      <a:pos x="322" y="490"/>
                    </a:cxn>
                    <a:cxn ang="0">
                      <a:pos x="320" y="498"/>
                    </a:cxn>
                    <a:cxn ang="0">
                      <a:pos x="301" y="502"/>
                    </a:cxn>
                    <a:cxn ang="0">
                      <a:pos x="284" y="470"/>
                    </a:cxn>
                    <a:cxn ang="0">
                      <a:pos x="261" y="481"/>
                    </a:cxn>
                    <a:cxn ang="0">
                      <a:pos x="273" y="487"/>
                    </a:cxn>
                    <a:cxn ang="0">
                      <a:pos x="251" y="491"/>
                    </a:cxn>
                    <a:cxn ang="0">
                      <a:pos x="243" y="495"/>
                    </a:cxn>
                    <a:cxn ang="0">
                      <a:pos x="220" y="476"/>
                    </a:cxn>
                    <a:cxn ang="0">
                      <a:pos x="210" y="488"/>
                    </a:cxn>
                    <a:cxn ang="0">
                      <a:pos x="182" y="480"/>
                    </a:cxn>
                    <a:cxn ang="0">
                      <a:pos x="189" y="466"/>
                    </a:cxn>
                    <a:cxn ang="0">
                      <a:pos x="144" y="470"/>
                    </a:cxn>
                    <a:cxn ang="0">
                      <a:pos x="127" y="461"/>
                    </a:cxn>
                    <a:cxn ang="0">
                      <a:pos x="125" y="438"/>
                    </a:cxn>
                    <a:cxn ang="0">
                      <a:pos x="124" y="421"/>
                    </a:cxn>
                    <a:cxn ang="0">
                      <a:pos x="135" y="413"/>
                    </a:cxn>
                    <a:cxn ang="0">
                      <a:pos x="157" y="412"/>
                    </a:cxn>
                    <a:cxn ang="0">
                      <a:pos x="143" y="400"/>
                    </a:cxn>
                    <a:cxn ang="0">
                      <a:pos x="116" y="380"/>
                    </a:cxn>
                    <a:cxn ang="0">
                      <a:pos x="138" y="348"/>
                    </a:cxn>
                    <a:cxn ang="0">
                      <a:pos x="109" y="380"/>
                    </a:cxn>
                    <a:cxn ang="0">
                      <a:pos x="107" y="345"/>
                    </a:cxn>
                    <a:cxn ang="0">
                      <a:pos x="90" y="342"/>
                    </a:cxn>
                    <a:cxn ang="0">
                      <a:pos x="76" y="353"/>
                    </a:cxn>
                    <a:cxn ang="0">
                      <a:pos x="65" y="319"/>
                    </a:cxn>
                    <a:cxn ang="0">
                      <a:pos x="51" y="331"/>
                    </a:cxn>
                    <a:cxn ang="0">
                      <a:pos x="32" y="347"/>
                    </a:cxn>
                    <a:cxn ang="0">
                      <a:pos x="16" y="340"/>
                    </a:cxn>
                    <a:cxn ang="0">
                      <a:pos x="1" y="294"/>
                    </a:cxn>
                    <a:cxn ang="0">
                      <a:pos x="3" y="255"/>
                    </a:cxn>
                    <a:cxn ang="0">
                      <a:pos x="27" y="242"/>
                    </a:cxn>
                    <a:cxn ang="0">
                      <a:pos x="42" y="244"/>
                    </a:cxn>
                    <a:cxn ang="0">
                      <a:pos x="53" y="230"/>
                    </a:cxn>
                    <a:cxn ang="0">
                      <a:pos x="64" y="206"/>
                    </a:cxn>
                    <a:cxn ang="0">
                      <a:pos x="70" y="186"/>
                    </a:cxn>
                    <a:cxn ang="0">
                      <a:pos x="79" y="162"/>
                    </a:cxn>
                    <a:cxn ang="0">
                      <a:pos x="75" y="158"/>
                    </a:cxn>
                    <a:cxn ang="0">
                      <a:pos x="68" y="141"/>
                    </a:cxn>
                    <a:cxn ang="0">
                      <a:pos x="73" y="97"/>
                    </a:cxn>
                    <a:cxn ang="0">
                      <a:pos x="103" y="87"/>
                    </a:cxn>
                    <a:cxn ang="0">
                      <a:pos x="94" y="74"/>
                    </a:cxn>
                    <a:cxn ang="0">
                      <a:pos x="92" y="61"/>
                    </a:cxn>
                    <a:cxn ang="0">
                      <a:pos x="124" y="20"/>
                    </a:cxn>
                  </a:cxnLst>
                  <a:rect l="0" t="0" r="r" b="b"/>
                  <a:pathLst>
                    <a:path w="338" h="508">
                      <a:moveTo>
                        <a:pt x="124" y="20"/>
                      </a:moveTo>
                      <a:lnTo>
                        <a:pt x="128" y="17"/>
                      </a:lnTo>
                      <a:lnTo>
                        <a:pt x="152" y="22"/>
                      </a:lnTo>
                      <a:lnTo>
                        <a:pt x="161" y="12"/>
                      </a:lnTo>
                      <a:lnTo>
                        <a:pt x="187" y="0"/>
                      </a:lnTo>
                      <a:lnTo>
                        <a:pt x="199" y="0"/>
                      </a:lnTo>
                      <a:lnTo>
                        <a:pt x="210" y="9"/>
                      </a:lnTo>
                      <a:lnTo>
                        <a:pt x="219" y="14"/>
                      </a:lnTo>
                      <a:lnTo>
                        <a:pt x="234" y="15"/>
                      </a:lnTo>
                      <a:lnTo>
                        <a:pt x="256" y="33"/>
                      </a:lnTo>
                      <a:lnTo>
                        <a:pt x="268" y="34"/>
                      </a:lnTo>
                      <a:lnTo>
                        <a:pt x="277" y="45"/>
                      </a:lnTo>
                      <a:lnTo>
                        <a:pt x="279" y="55"/>
                      </a:lnTo>
                      <a:lnTo>
                        <a:pt x="245" y="63"/>
                      </a:lnTo>
                      <a:lnTo>
                        <a:pt x="272" y="68"/>
                      </a:lnTo>
                      <a:lnTo>
                        <a:pt x="268" y="74"/>
                      </a:lnTo>
                      <a:lnTo>
                        <a:pt x="256" y="73"/>
                      </a:lnTo>
                      <a:lnTo>
                        <a:pt x="234" y="86"/>
                      </a:lnTo>
                      <a:lnTo>
                        <a:pt x="246" y="88"/>
                      </a:lnTo>
                      <a:lnTo>
                        <a:pt x="265" y="82"/>
                      </a:lnTo>
                      <a:lnTo>
                        <a:pt x="267" y="94"/>
                      </a:lnTo>
                      <a:lnTo>
                        <a:pt x="262" y="103"/>
                      </a:lnTo>
                      <a:lnTo>
                        <a:pt x="253" y="111"/>
                      </a:lnTo>
                      <a:lnTo>
                        <a:pt x="245" y="114"/>
                      </a:lnTo>
                      <a:lnTo>
                        <a:pt x="225" y="111"/>
                      </a:lnTo>
                      <a:lnTo>
                        <a:pt x="222" y="121"/>
                      </a:lnTo>
                      <a:lnTo>
                        <a:pt x="238" y="119"/>
                      </a:lnTo>
                      <a:lnTo>
                        <a:pt x="242" y="131"/>
                      </a:lnTo>
                      <a:lnTo>
                        <a:pt x="235" y="143"/>
                      </a:lnTo>
                      <a:lnTo>
                        <a:pt x="232" y="158"/>
                      </a:lnTo>
                      <a:lnTo>
                        <a:pt x="226" y="156"/>
                      </a:lnTo>
                      <a:lnTo>
                        <a:pt x="222" y="160"/>
                      </a:lnTo>
                      <a:lnTo>
                        <a:pt x="226" y="165"/>
                      </a:lnTo>
                      <a:lnTo>
                        <a:pt x="225" y="176"/>
                      </a:lnTo>
                      <a:lnTo>
                        <a:pt x="219" y="178"/>
                      </a:lnTo>
                      <a:lnTo>
                        <a:pt x="219" y="189"/>
                      </a:lnTo>
                      <a:lnTo>
                        <a:pt x="218" y="201"/>
                      </a:lnTo>
                      <a:lnTo>
                        <a:pt x="219" y="214"/>
                      </a:lnTo>
                      <a:lnTo>
                        <a:pt x="224" y="226"/>
                      </a:lnTo>
                      <a:lnTo>
                        <a:pt x="224" y="235"/>
                      </a:lnTo>
                      <a:lnTo>
                        <a:pt x="216" y="255"/>
                      </a:lnTo>
                      <a:lnTo>
                        <a:pt x="218" y="267"/>
                      </a:lnTo>
                      <a:lnTo>
                        <a:pt x="222" y="273"/>
                      </a:lnTo>
                      <a:lnTo>
                        <a:pt x="226" y="313"/>
                      </a:lnTo>
                      <a:lnTo>
                        <a:pt x="230" y="331"/>
                      </a:lnTo>
                      <a:lnTo>
                        <a:pt x="234" y="341"/>
                      </a:lnTo>
                      <a:lnTo>
                        <a:pt x="242" y="353"/>
                      </a:lnTo>
                      <a:lnTo>
                        <a:pt x="250" y="373"/>
                      </a:lnTo>
                      <a:lnTo>
                        <a:pt x="253" y="382"/>
                      </a:lnTo>
                      <a:lnTo>
                        <a:pt x="254" y="394"/>
                      </a:lnTo>
                      <a:lnTo>
                        <a:pt x="278" y="426"/>
                      </a:lnTo>
                      <a:lnTo>
                        <a:pt x="288" y="436"/>
                      </a:lnTo>
                      <a:lnTo>
                        <a:pt x="296" y="439"/>
                      </a:lnTo>
                      <a:lnTo>
                        <a:pt x="306" y="450"/>
                      </a:lnTo>
                      <a:lnTo>
                        <a:pt x="322" y="464"/>
                      </a:lnTo>
                      <a:lnTo>
                        <a:pt x="327" y="463"/>
                      </a:lnTo>
                      <a:lnTo>
                        <a:pt x="338" y="472"/>
                      </a:lnTo>
                      <a:lnTo>
                        <a:pt x="332" y="475"/>
                      </a:lnTo>
                      <a:lnTo>
                        <a:pt x="332" y="485"/>
                      </a:lnTo>
                      <a:lnTo>
                        <a:pt x="322" y="490"/>
                      </a:lnTo>
                      <a:lnTo>
                        <a:pt x="301" y="486"/>
                      </a:lnTo>
                      <a:lnTo>
                        <a:pt x="296" y="491"/>
                      </a:lnTo>
                      <a:lnTo>
                        <a:pt x="320" y="498"/>
                      </a:lnTo>
                      <a:lnTo>
                        <a:pt x="311" y="499"/>
                      </a:lnTo>
                      <a:lnTo>
                        <a:pt x="310" y="508"/>
                      </a:lnTo>
                      <a:lnTo>
                        <a:pt x="301" y="502"/>
                      </a:lnTo>
                      <a:lnTo>
                        <a:pt x="286" y="486"/>
                      </a:lnTo>
                      <a:lnTo>
                        <a:pt x="281" y="482"/>
                      </a:lnTo>
                      <a:lnTo>
                        <a:pt x="284" y="470"/>
                      </a:lnTo>
                      <a:lnTo>
                        <a:pt x="274" y="475"/>
                      </a:lnTo>
                      <a:lnTo>
                        <a:pt x="265" y="475"/>
                      </a:lnTo>
                      <a:lnTo>
                        <a:pt x="261" y="481"/>
                      </a:lnTo>
                      <a:lnTo>
                        <a:pt x="262" y="487"/>
                      </a:lnTo>
                      <a:lnTo>
                        <a:pt x="268" y="491"/>
                      </a:lnTo>
                      <a:lnTo>
                        <a:pt x="273" y="487"/>
                      </a:lnTo>
                      <a:lnTo>
                        <a:pt x="275" y="498"/>
                      </a:lnTo>
                      <a:lnTo>
                        <a:pt x="261" y="499"/>
                      </a:lnTo>
                      <a:lnTo>
                        <a:pt x="251" y="491"/>
                      </a:lnTo>
                      <a:lnTo>
                        <a:pt x="246" y="491"/>
                      </a:lnTo>
                      <a:lnTo>
                        <a:pt x="248" y="498"/>
                      </a:lnTo>
                      <a:lnTo>
                        <a:pt x="243" y="495"/>
                      </a:lnTo>
                      <a:lnTo>
                        <a:pt x="237" y="481"/>
                      </a:lnTo>
                      <a:lnTo>
                        <a:pt x="229" y="482"/>
                      </a:lnTo>
                      <a:lnTo>
                        <a:pt x="220" y="476"/>
                      </a:lnTo>
                      <a:lnTo>
                        <a:pt x="216" y="487"/>
                      </a:lnTo>
                      <a:lnTo>
                        <a:pt x="213" y="483"/>
                      </a:lnTo>
                      <a:lnTo>
                        <a:pt x="210" y="488"/>
                      </a:lnTo>
                      <a:lnTo>
                        <a:pt x="209" y="499"/>
                      </a:lnTo>
                      <a:lnTo>
                        <a:pt x="204" y="499"/>
                      </a:lnTo>
                      <a:lnTo>
                        <a:pt x="182" y="480"/>
                      </a:lnTo>
                      <a:lnTo>
                        <a:pt x="178" y="471"/>
                      </a:lnTo>
                      <a:lnTo>
                        <a:pt x="191" y="471"/>
                      </a:lnTo>
                      <a:lnTo>
                        <a:pt x="189" y="466"/>
                      </a:lnTo>
                      <a:lnTo>
                        <a:pt x="173" y="465"/>
                      </a:lnTo>
                      <a:lnTo>
                        <a:pt x="151" y="472"/>
                      </a:lnTo>
                      <a:lnTo>
                        <a:pt x="144" y="470"/>
                      </a:lnTo>
                      <a:lnTo>
                        <a:pt x="139" y="461"/>
                      </a:lnTo>
                      <a:lnTo>
                        <a:pt x="134" y="465"/>
                      </a:lnTo>
                      <a:lnTo>
                        <a:pt x="127" y="461"/>
                      </a:lnTo>
                      <a:lnTo>
                        <a:pt x="125" y="458"/>
                      </a:lnTo>
                      <a:lnTo>
                        <a:pt x="124" y="449"/>
                      </a:lnTo>
                      <a:lnTo>
                        <a:pt x="125" y="438"/>
                      </a:lnTo>
                      <a:lnTo>
                        <a:pt x="125" y="431"/>
                      </a:lnTo>
                      <a:lnTo>
                        <a:pt x="122" y="423"/>
                      </a:lnTo>
                      <a:lnTo>
                        <a:pt x="124" y="421"/>
                      </a:lnTo>
                      <a:lnTo>
                        <a:pt x="137" y="427"/>
                      </a:lnTo>
                      <a:lnTo>
                        <a:pt x="139" y="422"/>
                      </a:lnTo>
                      <a:lnTo>
                        <a:pt x="135" y="413"/>
                      </a:lnTo>
                      <a:lnTo>
                        <a:pt x="144" y="418"/>
                      </a:lnTo>
                      <a:lnTo>
                        <a:pt x="156" y="416"/>
                      </a:lnTo>
                      <a:lnTo>
                        <a:pt x="157" y="412"/>
                      </a:lnTo>
                      <a:lnTo>
                        <a:pt x="145" y="410"/>
                      </a:lnTo>
                      <a:lnTo>
                        <a:pt x="150" y="404"/>
                      </a:lnTo>
                      <a:lnTo>
                        <a:pt x="143" y="400"/>
                      </a:lnTo>
                      <a:lnTo>
                        <a:pt x="124" y="397"/>
                      </a:lnTo>
                      <a:lnTo>
                        <a:pt x="116" y="388"/>
                      </a:lnTo>
                      <a:lnTo>
                        <a:pt x="116" y="380"/>
                      </a:lnTo>
                      <a:lnTo>
                        <a:pt x="119" y="382"/>
                      </a:lnTo>
                      <a:lnTo>
                        <a:pt x="121" y="372"/>
                      </a:lnTo>
                      <a:lnTo>
                        <a:pt x="138" y="348"/>
                      </a:lnTo>
                      <a:lnTo>
                        <a:pt x="124" y="357"/>
                      </a:lnTo>
                      <a:lnTo>
                        <a:pt x="116" y="373"/>
                      </a:lnTo>
                      <a:lnTo>
                        <a:pt x="109" y="380"/>
                      </a:lnTo>
                      <a:lnTo>
                        <a:pt x="109" y="364"/>
                      </a:lnTo>
                      <a:lnTo>
                        <a:pt x="107" y="356"/>
                      </a:lnTo>
                      <a:lnTo>
                        <a:pt x="107" y="345"/>
                      </a:lnTo>
                      <a:lnTo>
                        <a:pt x="109" y="336"/>
                      </a:lnTo>
                      <a:lnTo>
                        <a:pt x="97" y="348"/>
                      </a:lnTo>
                      <a:lnTo>
                        <a:pt x="90" y="342"/>
                      </a:lnTo>
                      <a:lnTo>
                        <a:pt x="86" y="352"/>
                      </a:lnTo>
                      <a:lnTo>
                        <a:pt x="80" y="348"/>
                      </a:lnTo>
                      <a:lnTo>
                        <a:pt x="76" y="353"/>
                      </a:lnTo>
                      <a:lnTo>
                        <a:pt x="73" y="341"/>
                      </a:lnTo>
                      <a:lnTo>
                        <a:pt x="73" y="325"/>
                      </a:lnTo>
                      <a:lnTo>
                        <a:pt x="65" y="319"/>
                      </a:lnTo>
                      <a:lnTo>
                        <a:pt x="57" y="335"/>
                      </a:lnTo>
                      <a:lnTo>
                        <a:pt x="55" y="346"/>
                      </a:lnTo>
                      <a:lnTo>
                        <a:pt x="51" y="331"/>
                      </a:lnTo>
                      <a:lnTo>
                        <a:pt x="46" y="336"/>
                      </a:lnTo>
                      <a:lnTo>
                        <a:pt x="44" y="347"/>
                      </a:lnTo>
                      <a:lnTo>
                        <a:pt x="32" y="347"/>
                      </a:lnTo>
                      <a:lnTo>
                        <a:pt x="26" y="346"/>
                      </a:lnTo>
                      <a:lnTo>
                        <a:pt x="22" y="341"/>
                      </a:lnTo>
                      <a:lnTo>
                        <a:pt x="16" y="340"/>
                      </a:lnTo>
                      <a:lnTo>
                        <a:pt x="10" y="330"/>
                      </a:lnTo>
                      <a:lnTo>
                        <a:pt x="3" y="309"/>
                      </a:lnTo>
                      <a:lnTo>
                        <a:pt x="1" y="294"/>
                      </a:lnTo>
                      <a:lnTo>
                        <a:pt x="0" y="280"/>
                      </a:lnTo>
                      <a:lnTo>
                        <a:pt x="3" y="269"/>
                      </a:lnTo>
                      <a:lnTo>
                        <a:pt x="3" y="255"/>
                      </a:lnTo>
                      <a:lnTo>
                        <a:pt x="6" y="246"/>
                      </a:lnTo>
                      <a:lnTo>
                        <a:pt x="21" y="234"/>
                      </a:lnTo>
                      <a:lnTo>
                        <a:pt x="27" y="242"/>
                      </a:lnTo>
                      <a:lnTo>
                        <a:pt x="33" y="235"/>
                      </a:lnTo>
                      <a:lnTo>
                        <a:pt x="43" y="234"/>
                      </a:lnTo>
                      <a:lnTo>
                        <a:pt x="42" y="244"/>
                      </a:lnTo>
                      <a:lnTo>
                        <a:pt x="48" y="249"/>
                      </a:lnTo>
                      <a:lnTo>
                        <a:pt x="52" y="240"/>
                      </a:lnTo>
                      <a:lnTo>
                        <a:pt x="53" y="230"/>
                      </a:lnTo>
                      <a:lnTo>
                        <a:pt x="57" y="228"/>
                      </a:lnTo>
                      <a:lnTo>
                        <a:pt x="58" y="206"/>
                      </a:lnTo>
                      <a:lnTo>
                        <a:pt x="64" y="206"/>
                      </a:lnTo>
                      <a:lnTo>
                        <a:pt x="65" y="199"/>
                      </a:lnTo>
                      <a:lnTo>
                        <a:pt x="62" y="189"/>
                      </a:lnTo>
                      <a:lnTo>
                        <a:pt x="70" y="186"/>
                      </a:lnTo>
                      <a:lnTo>
                        <a:pt x="70" y="174"/>
                      </a:lnTo>
                      <a:lnTo>
                        <a:pt x="74" y="171"/>
                      </a:lnTo>
                      <a:lnTo>
                        <a:pt x="79" y="162"/>
                      </a:lnTo>
                      <a:lnTo>
                        <a:pt x="85" y="156"/>
                      </a:lnTo>
                      <a:lnTo>
                        <a:pt x="86" y="149"/>
                      </a:lnTo>
                      <a:lnTo>
                        <a:pt x="75" y="158"/>
                      </a:lnTo>
                      <a:lnTo>
                        <a:pt x="71" y="152"/>
                      </a:lnTo>
                      <a:lnTo>
                        <a:pt x="76" y="140"/>
                      </a:lnTo>
                      <a:lnTo>
                        <a:pt x="68" y="141"/>
                      </a:lnTo>
                      <a:lnTo>
                        <a:pt x="52" y="126"/>
                      </a:lnTo>
                      <a:lnTo>
                        <a:pt x="55" y="111"/>
                      </a:lnTo>
                      <a:lnTo>
                        <a:pt x="73" y="97"/>
                      </a:lnTo>
                      <a:lnTo>
                        <a:pt x="85" y="90"/>
                      </a:lnTo>
                      <a:lnTo>
                        <a:pt x="91" y="95"/>
                      </a:lnTo>
                      <a:lnTo>
                        <a:pt x="103" y="87"/>
                      </a:lnTo>
                      <a:lnTo>
                        <a:pt x="95" y="87"/>
                      </a:lnTo>
                      <a:lnTo>
                        <a:pt x="90" y="81"/>
                      </a:lnTo>
                      <a:lnTo>
                        <a:pt x="94" y="74"/>
                      </a:lnTo>
                      <a:lnTo>
                        <a:pt x="100" y="72"/>
                      </a:lnTo>
                      <a:lnTo>
                        <a:pt x="97" y="66"/>
                      </a:lnTo>
                      <a:lnTo>
                        <a:pt x="92" y="61"/>
                      </a:lnTo>
                      <a:lnTo>
                        <a:pt x="91" y="52"/>
                      </a:lnTo>
                      <a:lnTo>
                        <a:pt x="109" y="30"/>
                      </a:lnTo>
                      <a:lnTo>
                        <a:pt x="124" y="2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4" name="Freeform 125"/>
                <p:cNvSpPr>
                  <a:spLocks noChangeAspect="1"/>
                </p:cNvSpPr>
                <p:nvPr/>
              </p:nvSpPr>
              <p:spPr bwMode="gray">
                <a:xfrm>
                  <a:off x="3104" y="1129"/>
                  <a:ext cx="169" cy="159"/>
                </a:xfrm>
                <a:custGeom>
                  <a:avLst/>
                  <a:gdLst/>
                  <a:ahLst/>
                  <a:cxnLst>
                    <a:cxn ang="0">
                      <a:pos x="31" y="669"/>
                    </a:cxn>
                    <a:cxn ang="0">
                      <a:pos x="88" y="629"/>
                    </a:cxn>
                    <a:cxn ang="0">
                      <a:pos x="84" y="616"/>
                    </a:cxn>
                    <a:cxn ang="0">
                      <a:pos x="83" y="578"/>
                    </a:cxn>
                    <a:cxn ang="0">
                      <a:pos x="109" y="554"/>
                    </a:cxn>
                    <a:cxn ang="0">
                      <a:pos x="106" y="527"/>
                    </a:cxn>
                    <a:cxn ang="0">
                      <a:pos x="144" y="509"/>
                    </a:cxn>
                    <a:cxn ang="0">
                      <a:pos x="113" y="481"/>
                    </a:cxn>
                    <a:cxn ang="0">
                      <a:pos x="103" y="457"/>
                    </a:cxn>
                    <a:cxn ang="0">
                      <a:pos x="105" y="410"/>
                    </a:cxn>
                    <a:cxn ang="0">
                      <a:pos x="163" y="404"/>
                    </a:cxn>
                    <a:cxn ang="0">
                      <a:pos x="230" y="351"/>
                    </a:cxn>
                    <a:cxn ang="0">
                      <a:pos x="259" y="310"/>
                    </a:cxn>
                    <a:cxn ang="0">
                      <a:pos x="302" y="253"/>
                    </a:cxn>
                    <a:cxn ang="0">
                      <a:pos x="372" y="196"/>
                    </a:cxn>
                    <a:cxn ang="0">
                      <a:pos x="385" y="219"/>
                    </a:cxn>
                    <a:cxn ang="0">
                      <a:pos x="398" y="169"/>
                    </a:cxn>
                    <a:cxn ang="0">
                      <a:pos x="426" y="161"/>
                    </a:cxn>
                    <a:cxn ang="0">
                      <a:pos x="502" y="184"/>
                    </a:cxn>
                    <a:cxn ang="0">
                      <a:pos x="572" y="161"/>
                    </a:cxn>
                    <a:cxn ang="0">
                      <a:pos x="615" y="124"/>
                    </a:cxn>
                    <a:cxn ang="0">
                      <a:pos x="660" y="105"/>
                    </a:cxn>
                    <a:cxn ang="0">
                      <a:pos x="689" y="39"/>
                    </a:cxn>
                    <a:cxn ang="0">
                      <a:pos x="750" y="0"/>
                    </a:cxn>
                    <a:cxn ang="0">
                      <a:pos x="832" y="36"/>
                    </a:cxn>
                    <a:cxn ang="0">
                      <a:pos x="829" y="110"/>
                    </a:cxn>
                    <a:cxn ang="0">
                      <a:pos x="799" y="176"/>
                    </a:cxn>
                    <a:cxn ang="0">
                      <a:pos x="733" y="221"/>
                    </a:cxn>
                    <a:cxn ang="0">
                      <a:pos x="648" y="244"/>
                    </a:cxn>
                    <a:cxn ang="0">
                      <a:pos x="614" y="276"/>
                    </a:cxn>
                    <a:cxn ang="0">
                      <a:pos x="540" y="304"/>
                    </a:cxn>
                    <a:cxn ang="0">
                      <a:pos x="472" y="372"/>
                    </a:cxn>
                    <a:cxn ang="0">
                      <a:pos x="391" y="442"/>
                    </a:cxn>
                    <a:cxn ang="0">
                      <a:pos x="374" y="453"/>
                    </a:cxn>
                    <a:cxn ang="0">
                      <a:pos x="358" y="511"/>
                    </a:cxn>
                    <a:cxn ang="0">
                      <a:pos x="331" y="520"/>
                    </a:cxn>
                    <a:cxn ang="0">
                      <a:pos x="294" y="530"/>
                    </a:cxn>
                    <a:cxn ang="0">
                      <a:pos x="297" y="562"/>
                    </a:cxn>
                    <a:cxn ang="0">
                      <a:pos x="249" y="547"/>
                    </a:cxn>
                    <a:cxn ang="0">
                      <a:pos x="273" y="603"/>
                    </a:cxn>
                    <a:cxn ang="0">
                      <a:pos x="262" y="625"/>
                    </a:cxn>
                    <a:cxn ang="0">
                      <a:pos x="251" y="651"/>
                    </a:cxn>
                    <a:cxn ang="0">
                      <a:pos x="213" y="601"/>
                    </a:cxn>
                    <a:cxn ang="0">
                      <a:pos x="221" y="652"/>
                    </a:cxn>
                    <a:cxn ang="0">
                      <a:pos x="228" y="687"/>
                    </a:cxn>
                    <a:cxn ang="0">
                      <a:pos x="179" y="679"/>
                    </a:cxn>
                    <a:cxn ang="0">
                      <a:pos x="211" y="723"/>
                    </a:cxn>
                    <a:cxn ang="0">
                      <a:pos x="185" y="718"/>
                    </a:cxn>
                    <a:cxn ang="0">
                      <a:pos x="192" y="760"/>
                    </a:cxn>
                    <a:cxn ang="0">
                      <a:pos x="159" y="794"/>
                    </a:cxn>
                    <a:cxn ang="0">
                      <a:pos x="82" y="761"/>
                    </a:cxn>
                    <a:cxn ang="0">
                      <a:pos x="39" y="757"/>
                    </a:cxn>
                    <a:cxn ang="0">
                      <a:pos x="63" y="724"/>
                    </a:cxn>
                    <a:cxn ang="0">
                      <a:pos x="52" y="713"/>
                    </a:cxn>
                    <a:cxn ang="0">
                      <a:pos x="0" y="692"/>
                    </a:cxn>
                  </a:cxnLst>
                  <a:rect l="0" t="0" r="r" b="b"/>
                  <a:pathLst>
                    <a:path w="843" h="796">
                      <a:moveTo>
                        <a:pt x="0" y="692"/>
                      </a:moveTo>
                      <a:lnTo>
                        <a:pt x="0" y="687"/>
                      </a:lnTo>
                      <a:lnTo>
                        <a:pt x="4" y="692"/>
                      </a:lnTo>
                      <a:lnTo>
                        <a:pt x="17" y="689"/>
                      </a:lnTo>
                      <a:lnTo>
                        <a:pt x="31" y="669"/>
                      </a:lnTo>
                      <a:lnTo>
                        <a:pt x="60" y="659"/>
                      </a:lnTo>
                      <a:lnTo>
                        <a:pt x="55" y="653"/>
                      </a:lnTo>
                      <a:lnTo>
                        <a:pt x="60" y="636"/>
                      </a:lnTo>
                      <a:lnTo>
                        <a:pt x="77" y="621"/>
                      </a:lnTo>
                      <a:lnTo>
                        <a:pt x="88" y="629"/>
                      </a:lnTo>
                      <a:lnTo>
                        <a:pt x="101" y="631"/>
                      </a:lnTo>
                      <a:lnTo>
                        <a:pt x="116" y="641"/>
                      </a:lnTo>
                      <a:lnTo>
                        <a:pt x="133" y="644"/>
                      </a:lnTo>
                      <a:lnTo>
                        <a:pt x="124" y="631"/>
                      </a:lnTo>
                      <a:lnTo>
                        <a:pt x="84" y="616"/>
                      </a:lnTo>
                      <a:lnTo>
                        <a:pt x="77" y="604"/>
                      </a:lnTo>
                      <a:lnTo>
                        <a:pt x="86" y="606"/>
                      </a:lnTo>
                      <a:lnTo>
                        <a:pt x="103" y="604"/>
                      </a:lnTo>
                      <a:lnTo>
                        <a:pt x="108" y="593"/>
                      </a:lnTo>
                      <a:lnTo>
                        <a:pt x="83" y="578"/>
                      </a:lnTo>
                      <a:lnTo>
                        <a:pt x="86" y="572"/>
                      </a:lnTo>
                      <a:lnTo>
                        <a:pt x="120" y="570"/>
                      </a:lnTo>
                      <a:lnTo>
                        <a:pt x="127" y="565"/>
                      </a:lnTo>
                      <a:lnTo>
                        <a:pt x="121" y="556"/>
                      </a:lnTo>
                      <a:lnTo>
                        <a:pt x="109" y="554"/>
                      </a:lnTo>
                      <a:lnTo>
                        <a:pt x="103" y="545"/>
                      </a:lnTo>
                      <a:lnTo>
                        <a:pt x="98" y="536"/>
                      </a:lnTo>
                      <a:lnTo>
                        <a:pt x="98" y="523"/>
                      </a:lnTo>
                      <a:lnTo>
                        <a:pt x="100" y="519"/>
                      </a:lnTo>
                      <a:lnTo>
                        <a:pt x="106" y="527"/>
                      </a:lnTo>
                      <a:lnTo>
                        <a:pt x="129" y="513"/>
                      </a:lnTo>
                      <a:lnTo>
                        <a:pt x="151" y="519"/>
                      </a:lnTo>
                      <a:lnTo>
                        <a:pt x="163" y="511"/>
                      </a:lnTo>
                      <a:lnTo>
                        <a:pt x="152" y="513"/>
                      </a:lnTo>
                      <a:lnTo>
                        <a:pt x="144" y="509"/>
                      </a:lnTo>
                      <a:lnTo>
                        <a:pt x="138" y="496"/>
                      </a:lnTo>
                      <a:lnTo>
                        <a:pt x="127" y="493"/>
                      </a:lnTo>
                      <a:lnTo>
                        <a:pt x="108" y="498"/>
                      </a:lnTo>
                      <a:lnTo>
                        <a:pt x="105" y="490"/>
                      </a:lnTo>
                      <a:lnTo>
                        <a:pt x="113" y="481"/>
                      </a:lnTo>
                      <a:lnTo>
                        <a:pt x="122" y="455"/>
                      </a:lnTo>
                      <a:lnTo>
                        <a:pt x="117" y="457"/>
                      </a:lnTo>
                      <a:lnTo>
                        <a:pt x="116" y="452"/>
                      </a:lnTo>
                      <a:lnTo>
                        <a:pt x="113" y="443"/>
                      </a:lnTo>
                      <a:lnTo>
                        <a:pt x="103" y="457"/>
                      </a:lnTo>
                      <a:lnTo>
                        <a:pt x="103" y="442"/>
                      </a:lnTo>
                      <a:lnTo>
                        <a:pt x="97" y="437"/>
                      </a:lnTo>
                      <a:lnTo>
                        <a:pt x="103" y="426"/>
                      </a:lnTo>
                      <a:lnTo>
                        <a:pt x="100" y="421"/>
                      </a:lnTo>
                      <a:lnTo>
                        <a:pt x="105" y="410"/>
                      </a:lnTo>
                      <a:lnTo>
                        <a:pt x="124" y="410"/>
                      </a:lnTo>
                      <a:lnTo>
                        <a:pt x="124" y="426"/>
                      </a:lnTo>
                      <a:lnTo>
                        <a:pt x="131" y="431"/>
                      </a:lnTo>
                      <a:lnTo>
                        <a:pt x="153" y="418"/>
                      </a:lnTo>
                      <a:lnTo>
                        <a:pt x="163" y="404"/>
                      </a:lnTo>
                      <a:lnTo>
                        <a:pt x="165" y="387"/>
                      </a:lnTo>
                      <a:lnTo>
                        <a:pt x="184" y="378"/>
                      </a:lnTo>
                      <a:lnTo>
                        <a:pt x="208" y="383"/>
                      </a:lnTo>
                      <a:lnTo>
                        <a:pt x="229" y="362"/>
                      </a:lnTo>
                      <a:lnTo>
                        <a:pt x="230" y="351"/>
                      </a:lnTo>
                      <a:lnTo>
                        <a:pt x="226" y="340"/>
                      </a:lnTo>
                      <a:lnTo>
                        <a:pt x="237" y="332"/>
                      </a:lnTo>
                      <a:lnTo>
                        <a:pt x="234" y="320"/>
                      </a:lnTo>
                      <a:lnTo>
                        <a:pt x="249" y="308"/>
                      </a:lnTo>
                      <a:lnTo>
                        <a:pt x="259" y="310"/>
                      </a:lnTo>
                      <a:lnTo>
                        <a:pt x="269" y="304"/>
                      </a:lnTo>
                      <a:lnTo>
                        <a:pt x="265" y="298"/>
                      </a:lnTo>
                      <a:lnTo>
                        <a:pt x="271" y="277"/>
                      </a:lnTo>
                      <a:lnTo>
                        <a:pt x="278" y="269"/>
                      </a:lnTo>
                      <a:lnTo>
                        <a:pt x="302" y="253"/>
                      </a:lnTo>
                      <a:lnTo>
                        <a:pt x="334" y="240"/>
                      </a:lnTo>
                      <a:lnTo>
                        <a:pt x="341" y="233"/>
                      </a:lnTo>
                      <a:lnTo>
                        <a:pt x="343" y="222"/>
                      </a:lnTo>
                      <a:lnTo>
                        <a:pt x="348" y="211"/>
                      </a:lnTo>
                      <a:lnTo>
                        <a:pt x="372" y="196"/>
                      </a:lnTo>
                      <a:lnTo>
                        <a:pt x="383" y="201"/>
                      </a:lnTo>
                      <a:lnTo>
                        <a:pt x="377" y="212"/>
                      </a:lnTo>
                      <a:lnTo>
                        <a:pt x="371" y="229"/>
                      </a:lnTo>
                      <a:lnTo>
                        <a:pt x="380" y="232"/>
                      </a:lnTo>
                      <a:lnTo>
                        <a:pt x="385" y="219"/>
                      </a:lnTo>
                      <a:lnTo>
                        <a:pt x="404" y="212"/>
                      </a:lnTo>
                      <a:lnTo>
                        <a:pt x="409" y="201"/>
                      </a:lnTo>
                      <a:lnTo>
                        <a:pt x="401" y="195"/>
                      </a:lnTo>
                      <a:lnTo>
                        <a:pt x="398" y="184"/>
                      </a:lnTo>
                      <a:lnTo>
                        <a:pt x="398" y="169"/>
                      </a:lnTo>
                      <a:lnTo>
                        <a:pt x="404" y="170"/>
                      </a:lnTo>
                      <a:lnTo>
                        <a:pt x="407" y="162"/>
                      </a:lnTo>
                      <a:lnTo>
                        <a:pt x="402" y="157"/>
                      </a:lnTo>
                      <a:lnTo>
                        <a:pt x="423" y="152"/>
                      </a:lnTo>
                      <a:lnTo>
                        <a:pt x="426" y="161"/>
                      </a:lnTo>
                      <a:lnTo>
                        <a:pt x="470" y="165"/>
                      </a:lnTo>
                      <a:lnTo>
                        <a:pt x="470" y="185"/>
                      </a:lnTo>
                      <a:lnTo>
                        <a:pt x="481" y="190"/>
                      </a:lnTo>
                      <a:lnTo>
                        <a:pt x="488" y="178"/>
                      </a:lnTo>
                      <a:lnTo>
                        <a:pt x="502" y="184"/>
                      </a:lnTo>
                      <a:lnTo>
                        <a:pt x="546" y="152"/>
                      </a:lnTo>
                      <a:lnTo>
                        <a:pt x="557" y="152"/>
                      </a:lnTo>
                      <a:lnTo>
                        <a:pt x="560" y="161"/>
                      </a:lnTo>
                      <a:lnTo>
                        <a:pt x="562" y="162"/>
                      </a:lnTo>
                      <a:lnTo>
                        <a:pt x="572" y="161"/>
                      </a:lnTo>
                      <a:lnTo>
                        <a:pt x="577" y="154"/>
                      </a:lnTo>
                      <a:lnTo>
                        <a:pt x="583" y="156"/>
                      </a:lnTo>
                      <a:lnTo>
                        <a:pt x="588" y="147"/>
                      </a:lnTo>
                      <a:lnTo>
                        <a:pt x="595" y="146"/>
                      </a:lnTo>
                      <a:lnTo>
                        <a:pt x="615" y="124"/>
                      </a:lnTo>
                      <a:lnTo>
                        <a:pt x="633" y="124"/>
                      </a:lnTo>
                      <a:lnTo>
                        <a:pt x="638" y="118"/>
                      </a:lnTo>
                      <a:lnTo>
                        <a:pt x="643" y="102"/>
                      </a:lnTo>
                      <a:lnTo>
                        <a:pt x="653" y="109"/>
                      </a:lnTo>
                      <a:lnTo>
                        <a:pt x="660" y="105"/>
                      </a:lnTo>
                      <a:lnTo>
                        <a:pt x="667" y="97"/>
                      </a:lnTo>
                      <a:lnTo>
                        <a:pt x="663" y="70"/>
                      </a:lnTo>
                      <a:lnTo>
                        <a:pt x="668" y="56"/>
                      </a:lnTo>
                      <a:lnTo>
                        <a:pt x="680" y="51"/>
                      </a:lnTo>
                      <a:lnTo>
                        <a:pt x="689" y="39"/>
                      </a:lnTo>
                      <a:lnTo>
                        <a:pt x="697" y="39"/>
                      </a:lnTo>
                      <a:lnTo>
                        <a:pt x="708" y="25"/>
                      </a:lnTo>
                      <a:lnTo>
                        <a:pt x="713" y="14"/>
                      </a:lnTo>
                      <a:lnTo>
                        <a:pt x="726" y="20"/>
                      </a:lnTo>
                      <a:lnTo>
                        <a:pt x="750" y="0"/>
                      </a:lnTo>
                      <a:lnTo>
                        <a:pt x="782" y="1"/>
                      </a:lnTo>
                      <a:lnTo>
                        <a:pt x="812" y="12"/>
                      </a:lnTo>
                      <a:lnTo>
                        <a:pt x="820" y="20"/>
                      </a:lnTo>
                      <a:lnTo>
                        <a:pt x="825" y="29"/>
                      </a:lnTo>
                      <a:lnTo>
                        <a:pt x="832" y="36"/>
                      </a:lnTo>
                      <a:lnTo>
                        <a:pt x="831" y="46"/>
                      </a:lnTo>
                      <a:lnTo>
                        <a:pt x="842" y="76"/>
                      </a:lnTo>
                      <a:lnTo>
                        <a:pt x="842" y="87"/>
                      </a:lnTo>
                      <a:lnTo>
                        <a:pt x="834" y="93"/>
                      </a:lnTo>
                      <a:lnTo>
                        <a:pt x="829" y="110"/>
                      </a:lnTo>
                      <a:lnTo>
                        <a:pt x="843" y="111"/>
                      </a:lnTo>
                      <a:lnTo>
                        <a:pt x="841" y="119"/>
                      </a:lnTo>
                      <a:lnTo>
                        <a:pt x="829" y="127"/>
                      </a:lnTo>
                      <a:lnTo>
                        <a:pt x="819" y="141"/>
                      </a:lnTo>
                      <a:lnTo>
                        <a:pt x="799" y="176"/>
                      </a:lnTo>
                      <a:lnTo>
                        <a:pt x="807" y="189"/>
                      </a:lnTo>
                      <a:lnTo>
                        <a:pt x="789" y="180"/>
                      </a:lnTo>
                      <a:lnTo>
                        <a:pt x="781" y="180"/>
                      </a:lnTo>
                      <a:lnTo>
                        <a:pt x="772" y="184"/>
                      </a:lnTo>
                      <a:lnTo>
                        <a:pt x="733" y="221"/>
                      </a:lnTo>
                      <a:lnTo>
                        <a:pt x="712" y="229"/>
                      </a:lnTo>
                      <a:lnTo>
                        <a:pt x="702" y="229"/>
                      </a:lnTo>
                      <a:lnTo>
                        <a:pt x="680" y="240"/>
                      </a:lnTo>
                      <a:lnTo>
                        <a:pt x="669" y="238"/>
                      </a:lnTo>
                      <a:lnTo>
                        <a:pt x="648" y="244"/>
                      </a:lnTo>
                      <a:lnTo>
                        <a:pt x="641" y="251"/>
                      </a:lnTo>
                      <a:lnTo>
                        <a:pt x="638" y="261"/>
                      </a:lnTo>
                      <a:lnTo>
                        <a:pt x="628" y="271"/>
                      </a:lnTo>
                      <a:lnTo>
                        <a:pt x="624" y="260"/>
                      </a:lnTo>
                      <a:lnTo>
                        <a:pt x="614" y="276"/>
                      </a:lnTo>
                      <a:lnTo>
                        <a:pt x="558" y="310"/>
                      </a:lnTo>
                      <a:lnTo>
                        <a:pt x="552" y="309"/>
                      </a:lnTo>
                      <a:lnTo>
                        <a:pt x="545" y="289"/>
                      </a:lnTo>
                      <a:lnTo>
                        <a:pt x="539" y="294"/>
                      </a:lnTo>
                      <a:lnTo>
                        <a:pt x="540" y="304"/>
                      </a:lnTo>
                      <a:lnTo>
                        <a:pt x="538" y="308"/>
                      </a:lnTo>
                      <a:lnTo>
                        <a:pt x="534" y="318"/>
                      </a:lnTo>
                      <a:lnTo>
                        <a:pt x="506" y="350"/>
                      </a:lnTo>
                      <a:lnTo>
                        <a:pt x="481" y="356"/>
                      </a:lnTo>
                      <a:lnTo>
                        <a:pt x="472" y="372"/>
                      </a:lnTo>
                      <a:lnTo>
                        <a:pt x="469" y="363"/>
                      </a:lnTo>
                      <a:lnTo>
                        <a:pt x="449" y="398"/>
                      </a:lnTo>
                      <a:lnTo>
                        <a:pt x="422" y="431"/>
                      </a:lnTo>
                      <a:lnTo>
                        <a:pt x="395" y="436"/>
                      </a:lnTo>
                      <a:lnTo>
                        <a:pt x="391" y="442"/>
                      </a:lnTo>
                      <a:lnTo>
                        <a:pt x="389" y="434"/>
                      </a:lnTo>
                      <a:lnTo>
                        <a:pt x="378" y="436"/>
                      </a:lnTo>
                      <a:lnTo>
                        <a:pt x="373" y="430"/>
                      </a:lnTo>
                      <a:lnTo>
                        <a:pt x="367" y="445"/>
                      </a:lnTo>
                      <a:lnTo>
                        <a:pt x="374" y="453"/>
                      </a:lnTo>
                      <a:lnTo>
                        <a:pt x="383" y="454"/>
                      </a:lnTo>
                      <a:lnTo>
                        <a:pt x="385" y="465"/>
                      </a:lnTo>
                      <a:lnTo>
                        <a:pt x="359" y="491"/>
                      </a:lnTo>
                      <a:lnTo>
                        <a:pt x="362" y="501"/>
                      </a:lnTo>
                      <a:lnTo>
                        <a:pt x="358" y="511"/>
                      </a:lnTo>
                      <a:lnTo>
                        <a:pt x="340" y="514"/>
                      </a:lnTo>
                      <a:lnTo>
                        <a:pt x="331" y="504"/>
                      </a:lnTo>
                      <a:lnTo>
                        <a:pt x="316" y="498"/>
                      </a:lnTo>
                      <a:lnTo>
                        <a:pt x="319" y="506"/>
                      </a:lnTo>
                      <a:lnTo>
                        <a:pt x="331" y="520"/>
                      </a:lnTo>
                      <a:lnTo>
                        <a:pt x="341" y="543"/>
                      </a:lnTo>
                      <a:lnTo>
                        <a:pt x="304" y="517"/>
                      </a:lnTo>
                      <a:lnTo>
                        <a:pt x="294" y="520"/>
                      </a:lnTo>
                      <a:lnTo>
                        <a:pt x="296" y="524"/>
                      </a:lnTo>
                      <a:lnTo>
                        <a:pt x="294" y="530"/>
                      </a:lnTo>
                      <a:lnTo>
                        <a:pt x="299" y="544"/>
                      </a:lnTo>
                      <a:lnTo>
                        <a:pt x="304" y="549"/>
                      </a:lnTo>
                      <a:lnTo>
                        <a:pt x="293" y="541"/>
                      </a:lnTo>
                      <a:lnTo>
                        <a:pt x="291" y="547"/>
                      </a:lnTo>
                      <a:lnTo>
                        <a:pt x="297" y="562"/>
                      </a:lnTo>
                      <a:lnTo>
                        <a:pt x="293" y="570"/>
                      </a:lnTo>
                      <a:lnTo>
                        <a:pt x="285" y="571"/>
                      </a:lnTo>
                      <a:lnTo>
                        <a:pt x="280" y="561"/>
                      </a:lnTo>
                      <a:lnTo>
                        <a:pt x="251" y="538"/>
                      </a:lnTo>
                      <a:lnTo>
                        <a:pt x="249" y="547"/>
                      </a:lnTo>
                      <a:lnTo>
                        <a:pt x="262" y="561"/>
                      </a:lnTo>
                      <a:lnTo>
                        <a:pt x="270" y="574"/>
                      </a:lnTo>
                      <a:lnTo>
                        <a:pt x="278" y="593"/>
                      </a:lnTo>
                      <a:lnTo>
                        <a:pt x="278" y="604"/>
                      </a:lnTo>
                      <a:lnTo>
                        <a:pt x="273" y="603"/>
                      </a:lnTo>
                      <a:lnTo>
                        <a:pt x="271" y="610"/>
                      </a:lnTo>
                      <a:lnTo>
                        <a:pt x="270" y="620"/>
                      </a:lnTo>
                      <a:lnTo>
                        <a:pt x="264" y="613"/>
                      </a:lnTo>
                      <a:lnTo>
                        <a:pt x="261" y="613"/>
                      </a:lnTo>
                      <a:lnTo>
                        <a:pt x="262" y="625"/>
                      </a:lnTo>
                      <a:lnTo>
                        <a:pt x="265" y="629"/>
                      </a:lnTo>
                      <a:lnTo>
                        <a:pt x="260" y="633"/>
                      </a:lnTo>
                      <a:lnTo>
                        <a:pt x="251" y="625"/>
                      </a:lnTo>
                      <a:lnTo>
                        <a:pt x="249" y="636"/>
                      </a:lnTo>
                      <a:lnTo>
                        <a:pt x="251" y="651"/>
                      </a:lnTo>
                      <a:lnTo>
                        <a:pt x="244" y="653"/>
                      </a:lnTo>
                      <a:lnTo>
                        <a:pt x="239" y="644"/>
                      </a:lnTo>
                      <a:lnTo>
                        <a:pt x="232" y="643"/>
                      </a:lnTo>
                      <a:lnTo>
                        <a:pt x="228" y="630"/>
                      </a:lnTo>
                      <a:lnTo>
                        <a:pt x="213" y="601"/>
                      </a:lnTo>
                      <a:lnTo>
                        <a:pt x="207" y="621"/>
                      </a:lnTo>
                      <a:lnTo>
                        <a:pt x="210" y="633"/>
                      </a:lnTo>
                      <a:lnTo>
                        <a:pt x="197" y="640"/>
                      </a:lnTo>
                      <a:lnTo>
                        <a:pt x="213" y="646"/>
                      </a:lnTo>
                      <a:lnTo>
                        <a:pt x="221" y="652"/>
                      </a:lnTo>
                      <a:lnTo>
                        <a:pt x="221" y="663"/>
                      </a:lnTo>
                      <a:lnTo>
                        <a:pt x="230" y="668"/>
                      </a:lnTo>
                      <a:lnTo>
                        <a:pt x="226" y="671"/>
                      </a:lnTo>
                      <a:lnTo>
                        <a:pt x="228" y="678"/>
                      </a:lnTo>
                      <a:lnTo>
                        <a:pt x="228" y="687"/>
                      </a:lnTo>
                      <a:lnTo>
                        <a:pt x="226" y="700"/>
                      </a:lnTo>
                      <a:lnTo>
                        <a:pt x="216" y="701"/>
                      </a:lnTo>
                      <a:lnTo>
                        <a:pt x="211" y="686"/>
                      </a:lnTo>
                      <a:lnTo>
                        <a:pt x="205" y="684"/>
                      </a:lnTo>
                      <a:lnTo>
                        <a:pt x="179" y="679"/>
                      </a:lnTo>
                      <a:lnTo>
                        <a:pt x="170" y="681"/>
                      </a:lnTo>
                      <a:lnTo>
                        <a:pt x="179" y="689"/>
                      </a:lnTo>
                      <a:lnTo>
                        <a:pt x="194" y="691"/>
                      </a:lnTo>
                      <a:lnTo>
                        <a:pt x="207" y="712"/>
                      </a:lnTo>
                      <a:lnTo>
                        <a:pt x="211" y="723"/>
                      </a:lnTo>
                      <a:lnTo>
                        <a:pt x="207" y="730"/>
                      </a:lnTo>
                      <a:lnTo>
                        <a:pt x="202" y="733"/>
                      </a:lnTo>
                      <a:lnTo>
                        <a:pt x="200" y="739"/>
                      </a:lnTo>
                      <a:lnTo>
                        <a:pt x="190" y="730"/>
                      </a:lnTo>
                      <a:lnTo>
                        <a:pt x="185" y="718"/>
                      </a:lnTo>
                      <a:lnTo>
                        <a:pt x="174" y="714"/>
                      </a:lnTo>
                      <a:lnTo>
                        <a:pt x="179" y="732"/>
                      </a:lnTo>
                      <a:lnTo>
                        <a:pt x="184" y="744"/>
                      </a:lnTo>
                      <a:lnTo>
                        <a:pt x="191" y="751"/>
                      </a:lnTo>
                      <a:lnTo>
                        <a:pt x="192" y="760"/>
                      </a:lnTo>
                      <a:lnTo>
                        <a:pt x="185" y="769"/>
                      </a:lnTo>
                      <a:lnTo>
                        <a:pt x="180" y="781"/>
                      </a:lnTo>
                      <a:lnTo>
                        <a:pt x="174" y="782"/>
                      </a:lnTo>
                      <a:lnTo>
                        <a:pt x="167" y="796"/>
                      </a:lnTo>
                      <a:lnTo>
                        <a:pt x="159" y="794"/>
                      </a:lnTo>
                      <a:lnTo>
                        <a:pt x="152" y="788"/>
                      </a:lnTo>
                      <a:lnTo>
                        <a:pt x="133" y="789"/>
                      </a:lnTo>
                      <a:lnTo>
                        <a:pt x="115" y="777"/>
                      </a:lnTo>
                      <a:lnTo>
                        <a:pt x="97" y="776"/>
                      </a:lnTo>
                      <a:lnTo>
                        <a:pt x="82" y="761"/>
                      </a:lnTo>
                      <a:lnTo>
                        <a:pt x="61" y="764"/>
                      </a:lnTo>
                      <a:lnTo>
                        <a:pt x="39" y="777"/>
                      </a:lnTo>
                      <a:lnTo>
                        <a:pt x="24" y="776"/>
                      </a:lnTo>
                      <a:lnTo>
                        <a:pt x="35" y="766"/>
                      </a:lnTo>
                      <a:lnTo>
                        <a:pt x="39" y="757"/>
                      </a:lnTo>
                      <a:lnTo>
                        <a:pt x="33" y="757"/>
                      </a:lnTo>
                      <a:lnTo>
                        <a:pt x="34" y="745"/>
                      </a:lnTo>
                      <a:lnTo>
                        <a:pt x="39" y="738"/>
                      </a:lnTo>
                      <a:lnTo>
                        <a:pt x="56" y="723"/>
                      </a:lnTo>
                      <a:lnTo>
                        <a:pt x="63" y="724"/>
                      </a:lnTo>
                      <a:lnTo>
                        <a:pt x="78" y="713"/>
                      </a:lnTo>
                      <a:lnTo>
                        <a:pt x="77" y="711"/>
                      </a:lnTo>
                      <a:lnTo>
                        <a:pt x="68" y="703"/>
                      </a:lnTo>
                      <a:lnTo>
                        <a:pt x="63" y="711"/>
                      </a:lnTo>
                      <a:lnTo>
                        <a:pt x="52" y="713"/>
                      </a:lnTo>
                      <a:lnTo>
                        <a:pt x="40" y="727"/>
                      </a:lnTo>
                      <a:lnTo>
                        <a:pt x="18" y="724"/>
                      </a:lnTo>
                      <a:lnTo>
                        <a:pt x="17" y="714"/>
                      </a:lnTo>
                      <a:lnTo>
                        <a:pt x="4" y="706"/>
                      </a:lnTo>
                      <a:lnTo>
                        <a:pt x="0" y="692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5" name="Freeform 126"/>
                <p:cNvSpPr>
                  <a:spLocks noChangeAspect="1"/>
                </p:cNvSpPr>
                <p:nvPr/>
              </p:nvSpPr>
              <p:spPr bwMode="gray">
                <a:xfrm>
                  <a:off x="3090" y="1355"/>
                  <a:ext cx="9" cy="16"/>
                </a:xfrm>
                <a:custGeom>
                  <a:avLst/>
                  <a:gdLst/>
                  <a:ahLst/>
                  <a:cxnLst>
                    <a:cxn ang="0">
                      <a:pos x="0" y="11"/>
                    </a:cxn>
                    <a:cxn ang="0">
                      <a:pos x="0" y="8"/>
                    </a:cxn>
                    <a:cxn ang="0">
                      <a:pos x="13" y="0"/>
                    </a:cxn>
                    <a:cxn ang="0">
                      <a:pos x="23" y="5"/>
                    </a:cxn>
                    <a:cxn ang="0">
                      <a:pos x="33" y="16"/>
                    </a:cxn>
                    <a:cxn ang="0">
                      <a:pos x="35" y="10"/>
                    </a:cxn>
                    <a:cxn ang="0">
                      <a:pos x="47" y="30"/>
                    </a:cxn>
                    <a:cxn ang="0">
                      <a:pos x="48" y="40"/>
                    </a:cxn>
                    <a:cxn ang="0">
                      <a:pos x="47" y="53"/>
                    </a:cxn>
                    <a:cxn ang="0">
                      <a:pos x="44" y="57"/>
                    </a:cxn>
                    <a:cxn ang="0">
                      <a:pos x="45" y="68"/>
                    </a:cxn>
                    <a:cxn ang="0">
                      <a:pos x="48" y="78"/>
                    </a:cxn>
                    <a:cxn ang="0">
                      <a:pos x="44" y="81"/>
                    </a:cxn>
                    <a:cxn ang="0">
                      <a:pos x="38" y="59"/>
                    </a:cxn>
                    <a:cxn ang="0">
                      <a:pos x="31" y="46"/>
                    </a:cxn>
                    <a:cxn ang="0">
                      <a:pos x="24" y="27"/>
                    </a:cxn>
                    <a:cxn ang="0">
                      <a:pos x="4" y="1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8" h="81">
                      <a:moveTo>
                        <a:pt x="0" y="11"/>
                      </a:moveTo>
                      <a:lnTo>
                        <a:pt x="0" y="8"/>
                      </a:lnTo>
                      <a:lnTo>
                        <a:pt x="13" y="0"/>
                      </a:lnTo>
                      <a:lnTo>
                        <a:pt x="23" y="5"/>
                      </a:lnTo>
                      <a:lnTo>
                        <a:pt x="33" y="16"/>
                      </a:lnTo>
                      <a:lnTo>
                        <a:pt x="35" y="10"/>
                      </a:lnTo>
                      <a:lnTo>
                        <a:pt x="47" y="30"/>
                      </a:lnTo>
                      <a:lnTo>
                        <a:pt x="48" y="40"/>
                      </a:lnTo>
                      <a:lnTo>
                        <a:pt x="47" y="53"/>
                      </a:lnTo>
                      <a:lnTo>
                        <a:pt x="44" y="57"/>
                      </a:lnTo>
                      <a:lnTo>
                        <a:pt x="45" y="68"/>
                      </a:lnTo>
                      <a:lnTo>
                        <a:pt x="48" y="78"/>
                      </a:lnTo>
                      <a:lnTo>
                        <a:pt x="44" y="81"/>
                      </a:lnTo>
                      <a:lnTo>
                        <a:pt x="38" y="59"/>
                      </a:lnTo>
                      <a:lnTo>
                        <a:pt x="31" y="46"/>
                      </a:lnTo>
                      <a:lnTo>
                        <a:pt x="24" y="27"/>
                      </a:lnTo>
                      <a:lnTo>
                        <a:pt x="4" y="19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6" name="Freeform 127"/>
                <p:cNvSpPr>
                  <a:spLocks noChangeAspect="1"/>
                </p:cNvSpPr>
                <p:nvPr/>
              </p:nvSpPr>
              <p:spPr bwMode="gray">
                <a:xfrm>
                  <a:off x="4042" y="1314"/>
                  <a:ext cx="17" cy="13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57" y="9"/>
                    </a:cxn>
                    <a:cxn ang="0">
                      <a:pos x="84" y="4"/>
                    </a:cxn>
                    <a:cxn ang="0">
                      <a:pos x="85" y="7"/>
                    </a:cxn>
                    <a:cxn ang="0">
                      <a:pos x="84" y="14"/>
                    </a:cxn>
                    <a:cxn ang="0">
                      <a:pos x="79" y="27"/>
                    </a:cxn>
                    <a:cxn ang="0">
                      <a:pos x="76" y="37"/>
                    </a:cxn>
                    <a:cxn ang="0">
                      <a:pos x="71" y="45"/>
                    </a:cxn>
                    <a:cxn ang="0">
                      <a:pos x="70" y="40"/>
                    </a:cxn>
                    <a:cxn ang="0">
                      <a:pos x="70" y="26"/>
                    </a:cxn>
                    <a:cxn ang="0">
                      <a:pos x="62" y="51"/>
                    </a:cxn>
                    <a:cxn ang="0">
                      <a:pos x="54" y="50"/>
                    </a:cxn>
                    <a:cxn ang="0">
                      <a:pos x="44" y="42"/>
                    </a:cxn>
                    <a:cxn ang="0">
                      <a:pos x="36" y="52"/>
                    </a:cxn>
                    <a:cxn ang="0">
                      <a:pos x="20" y="51"/>
                    </a:cxn>
                    <a:cxn ang="0">
                      <a:pos x="17" y="57"/>
                    </a:cxn>
                    <a:cxn ang="0">
                      <a:pos x="13" y="61"/>
                    </a:cxn>
                    <a:cxn ang="0">
                      <a:pos x="0" y="46"/>
                    </a:cxn>
                    <a:cxn ang="0">
                      <a:pos x="4" y="40"/>
                    </a:cxn>
                    <a:cxn ang="0">
                      <a:pos x="11" y="37"/>
                    </a:cxn>
                    <a:cxn ang="0">
                      <a:pos x="10" y="29"/>
                    </a:cxn>
                    <a:cxn ang="0">
                      <a:pos x="13" y="23"/>
                    </a:cxn>
                    <a:cxn ang="0">
                      <a:pos x="19" y="20"/>
                    </a:cxn>
                    <a:cxn ang="0">
                      <a:pos x="19" y="14"/>
                    </a:cxn>
                    <a:cxn ang="0">
                      <a:pos x="16" y="4"/>
                    </a:cxn>
                    <a:cxn ang="0">
                      <a:pos x="25" y="0"/>
                    </a:cxn>
                    <a:cxn ang="0">
                      <a:pos x="41" y="2"/>
                    </a:cxn>
                    <a:cxn ang="0">
                      <a:pos x="44" y="3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85" h="61">
                      <a:moveTo>
                        <a:pt x="44" y="7"/>
                      </a:moveTo>
                      <a:lnTo>
                        <a:pt x="57" y="9"/>
                      </a:lnTo>
                      <a:lnTo>
                        <a:pt x="84" y="4"/>
                      </a:lnTo>
                      <a:lnTo>
                        <a:pt x="85" y="7"/>
                      </a:lnTo>
                      <a:lnTo>
                        <a:pt x="84" y="14"/>
                      </a:lnTo>
                      <a:lnTo>
                        <a:pt x="79" y="27"/>
                      </a:lnTo>
                      <a:lnTo>
                        <a:pt x="76" y="37"/>
                      </a:lnTo>
                      <a:lnTo>
                        <a:pt x="71" y="45"/>
                      </a:lnTo>
                      <a:lnTo>
                        <a:pt x="70" y="40"/>
                      </a:lnTo>
                      <a:lnTo>
                        <a:pt x="70" y="26"/>
                      </a:lnTo>
                      <a:lnTo>
                        <a:pt x="62" y="51"/>
                      </a:lnTo>
                      <a:lnTo>
                        <a:pt x="54" y="50"/>
                      </a:lnTo>
                      <a:lnTo>
                        <a:pt x="44" y="42"/>
                      </a:lnTo>
                      <a:lnTo>
                        <a:pt x="36" y="52"/>
                      </a:lnTo>
                      <a:lnTo>
                        <a:pt x="20" y="51"/>
                      </a:lnTo>
                      <a:lnTo>
                        <a:pt x="17" y="57"/>
                      </a:lnTo>
                      <a:lnTo>
                        <a:pt x="13" y="61"/>
                      </a:lnTo>
                      <a:lnTo>
                        <a:pt x="0" y="46"/>
                      </a:lnTo>
                      <a:lnTo>
                        <a:pt x="4" y="40"/>
                      </a:lnTo>
                      <a:lnTo>
                        <a:pt x="11" y="37"/>
                      </a:lnTo>
                      <a:lnTo>
                        <a:pt x="10" y="29"/>
                      </a:lnTo>
                      <a:lnTo>
                        <a:pt x="13" y="23"/>
                      </a:lnTo>
                      <a:lnTo>
                        <a:pt x="19" y="20"/>
                      </a:lnTo>
                      <a:lnTo>
                        <a:pt x="19" y="14"/>
                      </a:lnTo>
                      <a:lnTo>
                        <a:pt x="16" y="4"/>
                      </a:lnTo>
                      <a:lnTo>
                        <a:pt x="25" y="0"/>
                      </a:lnTo>
                      <a:lnTo>
                        <a:pt x="41" y="2"/>
                      </a:lnTo>
                      <a:lnTo>
                        <a:pt x="44" y="3"/>
                      </a:lnTo>
                      <a:lnTo>
                        <a:pt x="44" y="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7" name="Freeform 128"/>
                <p:cNvSpPr>
                  <a:spLocks noChangeAspect="1"/>
                </p:cNvSpPr>
                <p:nvPr/>
              </p:nvSpPr>
              <p:spPr bwMode="gray">
                <a:xfrm>
                  <a:off x="3158" y="1386"/>
                  <a:ext cx="22" cy="25"/>
                </a:xfrm>
                <a:custGeom>
                  <a:avLst/>
                  <a:gdLst/>
                  <a:ahLst/>
                  <a:cxnLst>
                    <a:cxn ang="0">
                      <a:pos x="15" y="75"/>
                    </a:cxn>
                    <a:cxn ang="0">
                      <a:pos x="12" y="75"/>
                    </a:cxn>
                    <a:cxn ang="0">
                      <a:pos x="7" y="57"/>
                    </a:cxn>
                    <a:cxn ang="0">
                      <a:pos x="7" y="49"/>
                    </a:cxn>
                    <a:cxn ang="0">
                      <a:pos x="3" y="47"/>
                    </a:cxn>
                    <a:cxn ang="0">
                      <a:pos x="0" y="36"/>
                    </a:cxn>
                    <a:cxn ang="0">
                      <a:pos x="10" y="41"/>
                    </a:cxn>
                    <a:cxn ang="0">
                      <a:pos x="19" y="38"/>
                    </a:cxn>
                    <a:cxn ang="0">
                      <a:pos x="6" y="25"/>
                    </a:cxn>
                    <a:cxn ang="0">
                      <a:pos x="10" y="23"/>
                    </a:cxn>
                    <a:cxn ang="0">
                      <a:pos x="15" y="15"/>
                    </a:cxn>
                    <a:cxn ang="0">
                      <a:pos x="19" y="3"/>
                    </a:cxn>
                    <a:cxn ang="0">
                      <a:pos x="27" y="0"/>
                    </a:cxn>
                    <a:cxn ang="0">
                      <a:pos x="37" y="16"/>
                    </a:cxn>
                    <a:cxn ang="0">
                      <a:pos x="46" y="23"/>
                    </a:cxn>
                    <a:cxn ang="0">
                      <a:pos x="52" y="38"/>
                    </a:cxn>
                    <a:cxn ang="0">
                      <a:pos x="68" y="46"/>
                    </a:cxn>
                    <a:cxn ang="0">
                      <a:pos x="82" y="62"/>
                    </a:cxn>
                    <a:cxn ang="0">
                      <a:pos x="109" y="98"/>
                    </a:cxn>
                    <a:cxn ang="0">
                      <a:pos x="112" y="108"/>
                    </a:cxn>
                    <a:cxn ang="0">
                      <a:pos x="103" y="123"/>
                    </a:cxn>
                    <a:cxn ang="0">
                      <a:pos x="96" y="118"/>
                    </a:cxn>
                    <a:cxn ang="0">
                      <a:pos x="89" y="117"/>
                    </a:cxn>
                    <a:cxn ang="0">
                      <a:pos x="85" y="122"/>
                    </a:cxn>
                    <a:cxn ang="0">
                      <a:pos x="74" y="122"/>
                    </a:cxn>
                    <a:cxn ang="0">
                      <a:pos x="60" y="112"/>
                    </a:cxn>
                    <a:cxn ang="0">
                      <a:pos x="64" y="103"/>
                    </a:cxn>
                    <a:cxn ang="0">
                      <a:pos x="54" y="96"/>
                    </a:cxn>
                    <a:cxn ang="0">
                      <a:pos x="44" y="95"/>
                    </a:cxn>
                    <a:cxn ang="0">
                      <a:pos x="26" y="82"/>
                    </a:cxn>
                    <a:cxn ang="0">
                      <a:pos x="31" y="95"/>
                    </a:cxn>
                    <a:cxn ang="0">
                      <a:pos x="39" y="106"/>
                    </a:cxn>
                    <a:cxn ang="0">
                      <a:pos x="37" y="113"/>
                    </a:cxn>
                    <a:cxn ang="0">
                      <a:pos x="28" y="95"/>
                    </a:cxn>
                    <a:cxn ang="0">
                      <a:pos x="15" y="75"/>
                    </a:cxn>
                  </a:cxnLst>
                  <a:rect l="0" t="0" r="r" b="b"/>
                  <a:pathLst>
                    <a:path w="112" h="123">
                      <a:moveTo>
                        <a:pt x="15" y="75"/>
                      </a:moveTo>
                      <a:lnTo>
                        <a:pt x="12" y="75"/>
                      </a:lnTo>
                      <a:lnTo>
                        <a:pt x="7" y="57"/>
                      </a:lnTo>
                      <a:lnTo>
                        <a:pt x="7" y="49"/>
                      </a:lnTo>
                      <a:lnTo>
                        <a:pt x="3" y="47"/>
                      </a:lnTo>
                      <a:lnTo>
                        <a:pt x="0" y="36"/>
                      </a:lnTo>
                      <a:lnTo>
                        <a:pt x="10" y="41"/>
                      </a:lnTo>
                      <a:lnTo>
                        <a:pt x="19" y="38"/>
                      </a:lnTo>
                      <a:lnTo>
                        <a:pt x="6" y="25"/>
                      </a:lnTo>
                      <a:lnTo>
                        <a:pt x="10" y="23"/>
                      </a:lnTo>
                      <a:lnTo>
                        <a:pt x="15" y="15"/>
                      </a:lnTo>
                      <a:lnTo>
                        <a:pt x="19" y="3"/>
                      </a:lnTo>
                      <a:lnTo>
                        <a:pt x="27" y="0"/>
                      </a:lnTo>
                      <a:lnTo>
                        <a:pt x="37" y="16"/>
                      </a:lnTo>
                      <a:lnTo>
                        <a:pt x="46" y="23"/>
                      </a:lnTo>
                      <a:lnTo>
                        <a:pt x="52" y="38"/>
                      </a:lnTo>
                      <a:lnTo>
                        <a:pt x="68" y="46"/>
                      </a:lnTo>
                      <a:lnTo>
                        <a:pt x="82" y="62"/>
                      </a:lnTo>
                      <a:lnTo>
                        <a:pt x="109" y="98"/>
                      </a:lnTo>
                      <a:lnTo>
                        <a:pt x="112" y="108"/>
                      </a:lnTo>
                      <a:lnTo>
                        <a:pt x="103" y="123"/>
                      </a:lnTo>
                      <a:lnTo>
                        <a:pt x="96" y="118"/>
                      </a:lnTo>
                      <a:lnTo>
                        <a:pt x="89" y="117"/>
                      </a:lnTo>
                      <a:lnTo>
                        <a:pt x="85" y="122"/>
                      </a:lnTo>
                      <a:lnTo>
                        <a:pt x="74" y="122"/>
                      </a:lnTo>
                      <a:lnTo>
                        <a:pt x="60" y="112"/>
                      </a:lnTo>
                      <a:lnTo>
                        <a:pt x="64" y="103"/>
                      </a:lnTo>
                      <a:lnTo>
                        <a:pt x="54" y="96"/>
                      </a:lnTo>
                      <a:lnTo>
                        <a:pt x="44" y="95"/>
                      </a:lnTo>
                      <a:lnTo>
                        <a:pt x="26" y="82"/>
                      </a:lnTo>
                      <a:lnTo>
                        <a:pt x="31" y="95"/>
                      </a:lnTo>
                      <a:lnTo>
                        <a:pt x="39" y="106"/>
                      </a:lnTo>
                      <a:lnTo>
                        <a:pt x="37" y="113"/>
                      </a:lnTo>
                      <a:lnTo>
                        <a:pt x="28" y="95"/>
                      </a:lnTo>
                      <a:lnTo>
                        <a:pt x="15" y="75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8" name="Freeform 129"/>
                <p:cNvSpPr>
                  <a:spLocks noChangeAspect="1"/>
                </p:cNvSpPr>
                <p:nvPr/>
              </p:nvSpPr>
              <p:spPr bwMode="gray">
                <a:xfrm>
                  <a:off x="3534" y="960"/>
                  <a:ext cx="81" cy="75"/>
                </a:xfrm>
                <a:custGeom>
                  <a:avLst/>
                  <a:gdLst/>
                  <a:ahLst/>
                  <a:cxnLst>
                    <a:cxn ang="0">
                      <a:pos x="81" y="49"/>
                    </a:cxn>
                    <a:cxn ang="0">
                      <a:pos x="90" y="63"/>
                    </a:cxn>
                    <a:cxn ang="0">
                      <a:pos x="54" y="79"/>
                    </a:cxn>
                    <a:cxn ang="0">
                      <a:pos x="47" y="106"/>
                    </a:cxn>
                    <a:cxn ang="0">
                      <a:pos x="0" y="138"/>
                    </a:cxn>
                    <a:cxn ang="0">
                      <a:pos x="17" y="168"/>
                    </a:cxn>
                    <a:cxn ang="0">
                      <a:pos x="19" y="154"/>
                    </a:cxn>
                    <a:cxn ang="0">
                      <a:pos x="31" y="142"/>
                    </a:cxn>
                    <a:cxn ang="0">
                      <a:pos x="45" y="154"/>
                    </a:cxn>
                    <a:cxn ang="0">
                      <a:pos x="51" y="168"/>
                    </a:cxn>
                    <a:cxn ang="0">
                      <a:pos x="71" y="160"/>
                    </a:cxn>
                    <a:cxn ang="0">
                      <a:pos x="75" y="181"/>
                    </a:cxn>
                    <a:cxn ang="0">
                      <a:pos x="76" y="220"/>
                    </a:cxn>
                    <a:cxn ang="0">
                      <a:pos x="83" y="247"/>
                    </a:cxn>
                    <a:cxn ang="0">
                      <a:pos x="103" y="276"/>
                    </a:cxn>
                    <a:cxn ang="0">
                      <a:pos x="120" y="302"/>
                    </a:cxn>
                    <a:cxn ang="0">
                      <a:pos x="157" y="255"/>
                    </a:cxn>
                    <a:cxn ang="0">
                      <a:pos x="161" y="298"/>
                    </a:cxn>
                    <a:cxn ang="0">
                      <a:pos x="176" y="300"/>
                    </a:cxn>
                    <a:cxn ang="0">
                      <a:pos x="185" y="313"/>
                    </a:cxn>
                    <a:cxn ang="0">
                      <a:pos x="233" y="338"/>
                    </a:cxn>
                    <a:cxn ang="0">
                      <a:pos x="260" y="354"/>
                    </a:cxn>
                    <a:cxn ang="0">
                      <a:pos x="327" y="373"/>
                    </a:cxn>
                    <a:cxn ang="0">
                      <a:pos x="350" y="366"/>
                    </a:cxn>
                    <a:cxn ang="0">
                      <a:pos x="365" y="348"/>
                    </a:cxn>
                    <a:cxn ang="0">
                      <a:pos x="375" y="322"/>
                    </a:cxn>
                    <a:cxn ang="0">
                      <a:pos x="377" y="295"/>
                    </a:cxn>
                    <a:cxn ang="0">
                      <a:pos x="366" y="262"/>
                    </a:cxn>
                    <a:cxn ang="0">
                      <a:pos x="339" y="232"/>
                    </a:cxn>
                    <a:cxn ang="0">
                      <a:pos x="371" y="232"/>
                    </a:cxn>
                    <a:cxn ang="0">
                      <a:pos x="376" y="190"/>
                    </a:cxn>
                    <a:cxn ang="0">
                      <a:pos x="377" y="160"/>
                    </a:cxn>
                    <a:cxn ang="0">
                      <a:pos x="383" y="139"/>
                    </a:cxn>
                    <a:cxn ang="0">
                      <a:pos x="405" y="107"/>
                    </a:cxn>
                    <a:cxn ang="0">
                      <a:pos x="386" y="103"/>
                    </a:cxn>
                    <a:cxn ang="0">
                      <a:pos x="390" y="72"/>
                    </a:cxn>
                    <a:cxn ang="0">
                      <a:pos x="384" y="65"/>
                    </a:cxn>
                    <a:cxn ang="0">
                      <a:pos x="367" y="18"/>
                    </a:cxn>
                    <a:cxn ang="0">
                      <a:pos x="359" y="0"/>
                    </a:cxn>
                    <a:cxn ang="0">
                      <a:pos x="335" y="2"/>
                    </a:cxn>
                    <a:cxn ang="0">
                      <a:pos x="306" y="0"/>
                    </a:cxn>
                    <a:cxn ang="0">
                      <a:pos x="306" y="32"/>
                    </a:cxn>
                    <a:cxn ang="0">
                      <a:pos x="269" y="75"/>
                    </a:cxn>
                    <a:cxn ang="0">
                      <a:pos x="237" y="95"/>
                    </a:cxn>
                    <a:cxn ang="0">
                      <a:pos x="255" y="66"/>
                    </a:cxn>
                    <a:cxn ang="0">
                      <a:pos x="265" y="45"/>
                    </a:cxn>
                    <a:cxn ang="0">
                      <a:pos x="291" y="2"/>
                    </a:cxn>
                    <a:cxn ang="0">
                      <a:pos x="97" y="0"/>
                    </a:cxn>
                    <a:cxn ang="0">
                      <a:pos x="77" y="32"/>
                    </a:cxn>
                  </a:cxnLst>
                  <a:rect l="0" t="0" r="r" b="b"/>
                  <a:pathLst>
                    <a:path w="405" h="373">
                      <a:moveTo>
                        <a:pt x="77" y="32"/>
                      </a:moveTo>
                      <a:lnTo>
                        <a:pt x="81" y="49"/>
                      </a:lnTo>
                      <a:lnTo>
                        <a:pt x="91" y="55"/>
                      </a:lnTo>
                      <a:lnTo>
                        <a:pt x="90" y="63"/>
                      </a:lnTo>
                      <a:lnTo>
                        <a:pt x="80" y="72"/>
                      </a:lnTo>
                      <a:lnTo>
                        <a:pt x="54" y="79"/>
                      </a:lnTo>
                      <a:lnTo>
                        <a:pt x="49" y="91"/>
                      </a:lnTo>
                      <a:lnTo>
                        <a:pt x="47" y="106"/>
                      </a:lnTo>
                      <a:lnTo>
                        <a:pt x="16" y="141"/>
                      </a:lnTo>
                      <a:lnTo>
                        <a:pt x="0" y="138"/>
                      </a:lnTo>
                      <a:lnTo>
                        <a:pt x="13" y="149"/>
                      </a:lnTo>
                      <a:lnTo>
                        <a:pt x="17" y="168"/>
                      </a:lnTo>
                      <a:lnTo>
                        <a:pt x="21" y="163"/>
                      </a:lnTo>
                      <a:lnTo>
                        <a:pt x="19" y="154"/>
                      </a:lnTo>
                      <a:lnTo>
                        <a:pt x="21" y="146"/>
                      </a:lnTo>
                      <a:lnTo>
                        <a:pt x="31" y="142"/>
                      </a:lnTo>
                      <a:lnTo>
                        <a:pt x="38" y="160"/>
                      </a:lnTo>
                      <a:lnTo>
                        <a:pt x="45" y="154"/>
                      </a:lnTo>
                      <a:lnTo>
                        <a:pt x="50" y="158"/>
                      </a:lnTo>
                      <a:lnTo>
                        <a:pt x="51" y="168"/>
                      </a:lnTo>
                      <a:lnTo>
                        <a:pt x="64" y="160"/>
                      </a:lnTo>
                      <a:lnTo>
                        <a:pt x="71" y="160"/>
                      </a:lnTo>
                      <a:lnTo>
                        <a:pt x="71" y="168"/>
                      </a:lnTo>
                      <a:lnTo>
                        <a:pt x="75" y="181"/>
                      </a:lnTo>
                      <a:lnTo>
                        <a:pt x="76" y="192"/>
                      </a:lnTo>
                      <a:lnTo>
                        <a:pt x="76" y="220"/>
                      </a:lnTo>
                      <a:lnTo>
                        <a:pt x="77" y="236"/>
                      </a:lnTo>
                      <a:lnTo>
                        <a:pt x="83" y="247"/>
                      </a:lnTo>
                      <a:lnTo>
                        <a:pt x="97" y="257"/>
                      </a:lnTo>
                      <a:lnTo>
                        <a:pt x="103" y="276"/>
                      </a:lnTo>
                      <a:lnTo>
                        <a:pt x="115" y="289"/>
                      </a:lnTo>
                      <a:lnTo>
                        <a:pt x="120" y="302"/>
                      </a:lnTo>
                      <a:lnTo>
                        <a:pt x="144" y="278"/>
                      </a:lnTo>
                      <a:lnTo>
                        <a:pt x="157" y="255"/>
                      </a:lnTo>
                      <a:lnTo>
                        <a:pt x="160" y="269"/>
                      </a:lnTo>
                      <a:lnTo>
                        <a:pt x="161" y="298"/>
                      </a:lnTo>
                      <a:lnTo>
                        <a:pt x="166" y="306"/>
                      </a:lnTo>
                      <a:lnTo>
                        <a:pt x="176" y="300"/>
                      </a:lnTo>
                      <a:lnTo>
                        <a:pt x="187" y="303"/>
                      </a:lnTo>
                      <a:lnTo>
                        <a:pt x="185" y="313"/>
                      </a:lnTo>
                      <a:lnTo>
                        <a:pt x="228" y="327"/>
                      </a:lnTo>
                      <a:lnTo>
                        <a:pt x="233" y="338"/>
                      </a:lnTo>
                      <a:lnTo>
                        <a:pt x="254" y="348"/>
                      </a:lnTo>
                      <a:lnTo>
                        <a:pt x="260" y="354"/>
                      </a:lnTo>
                      <a:lnTo>
                        <a:pt x="265" y="366"/>
                      </a:lnTo>
                      <a:lnTo>
                        <a:pt x="327" y="373"/>
                      </a:lnTo>
                      <a:lnTo>
                        <a:pt x="338" y="365"/>
                      </a:lnTo>
                      <a:lnTo>
                        <a:pt x="350" y="366"/>
                      </a:lnTo>
                      <a:lnTo>
                        <a:pt x="351" y="351"/>
                      </a:lnTo>
                      <a:lnTo>
                        <a:pt x="365" y="348"/>
                      </a:lnTo>
                      <a:lnTo>
                        <a:pt x="376" y="338"/>
                      </a:lnTo>
                      <a:lnTo>
                        <a:pt x="375" y="322"/>
                      </a:lnTo>
                      <a:lnTo>
                        <a:pt x="377" y="313"/>
                      </a:lnTo>
                      <a:lnTo>
                        <a:pt x="377" y="295"/>
                      </a:lnTo>
                      <a:lnTo>
                        <a:pt x="365" y="275"/>
                      </a:lnTo>
                      <a:lnTo>
                        <a:pt x="366" y="262"/>
                      </a:lnTo>
                      <a:lnTo>
                        <a:pt x="356" y="259"/>
                      </a:lnTo>
                      <a:lnTo>
                        <a:pt x="339" y="232"/>
                      </a:lnTo>
                      <a:lnTo>
                        <a:pt x="336" y="212"/>
                      </a:lnTo>
                      <a:lnTo>
                        <a:pt x="371" y="232"/>
                      </a:lnTo>
                      <a:lnTo>
                        <a:pt x="376" y="216"/>
                      </a:lnTo>
                      <a:lnTo>
                        <a:pt x="376" y="190"/>
                      </a:lnTo>
                      <a:lnTo>
                        <a:pt x="375" y="163"/>
                      </a:lnTo>
                      <a:lnTo>
                        <a:pt x="377" y="160"/>
                      </a:lnTo>
                      <a:lnTo>
                        <a:pt x="378" y="147"/>
                      </a:lnTo>
                      <a:lnTo>
                        <a:pt x="383" y="139"/>
                      </a:lnTo>
                      <a:lnTo>
                        <a:pt x="388" y="113"/>
                      </a:lnTo>
                      <a:lnTo>
                        <a:pt x="405" y="107"/>
                      </a:lnTo>
                      <a:lnTo>
                        <a:pt x="399" y="102"/>
                      </a:lnTo>
                      <a:lnTo>
                        <a:pt x="386" y="103"/>
                      </a:lnTo>
                      <a:lnTo>
                        <a:pt x="384" y="90"/>
                      </a:lnTo>
                      <a:lnTo>
                        <a:pt x="390" y="72"/>
                      </a:lnTo>
                      <a:lnTo>
                        <a:pt x="392" y="60"/>
                      </a:lnTo>
                      <a:lnTo>
                        <a:pt x="384" y="65"/>
                      </a:lnTo>
                      <a:lnTo>
                        <a:pt x="386" y="53"/>
                      </a:lnTo>
                      <a:lnTo>
                        <a:pt x="367" y="18"/>
                      </a:lnTo>
                      <a:lnTo>
                        <a:pt x="366" y="6"/>
                      </a:lnTo>
                      <a:lnTo>
                        <a:pt x="359" y="0"/>
                      </a:lnTo>
                      <a:lnTo>
                        <a:pt x="344" y="0"/>
                      </a:lnTo>
                      <a:lnTo>
                        <a:pt x="335" y="2"/>
                      </a:lnTo>
                      <a:lnTo>
                        <a:pt x="330" y="0"/>
                      </a:lnTo>
                      <a:lnTo>
                        <a:pt x="306" y="0"/>
                      </a:lnTo>
                      <a:lnTo>
                        <a:pt x="308" y="2"/>
                      </a:lnTo>
                      <a:lnTo>
                        <a:pt x="306" y="32"/>
                      </a:lnTo>
                      <a:lnTo>
                        <a:pt x="282" y="50"/>
                      </a:lnTo>
                      <a:lnTo>
                        <a:pt x="269" y="75"/>
                      </a:lnTo>
                      <a:lnTo>
                        <a:pt x="253" y="77"/>
                      </a:lnTo>
                      <a:lnTo>
                        <a:pt x="237" y="95"/>
                      </a:lnTo>
                      <a:lnTo>
                        <a:pt x="223" y="92"/>
                      </a:lnTo>
                      <a:lnTo>
                        <a:pt x="255" y="66"/>
                      </a:lnTo>
                      <a:lnTo>
                        <a:pt x="265" y="68"/>
                      </a:lnTo>
                      <a:lnTo>
                        <a:pt x="265" y="45"/>
                      </a:lnTo>
                      <a:lnTo>
                        <a:pt x="290" y="33"/>
                      </a:lnTo>
                      <a:lnTo>
                        <a:pt x="291" y="2"/>
                      </a:lnTo>
                      <a:lnTo>
                        <a:pt x="290" y="0"/>
                      </a:lnTo>
                      <a:lnTo>
                        <a:pt x="97" y="0"/>
                      </a:lnTo>
                      <a:lnTo>
                        <a:pt x="83" y="15"/>
                      </a:lnTo>
                      <a:lnTo>
                        <a:pt x="77" y="32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  <p:sp>
              <p:nvSpPr>
                <p:cNvPr id="349" name="Freeform 130"/>
                <p:cNvSpPr>
                  <a:spLocks noChangeAspect="1"/>
                </p:cNvSpPr>
                <p:nvPr/>
              </p:nvSpPr>
              <p:spPr bwMode="gray">
                <a:xfrm>
                  <a:off x="4473" y="1348"/>
                  <a:ext cx="44" cy="25"/>
                </a:xfrm>
                <a:custGeom>
                  <a:avLst/>
                  <a:gdLst/>
                  <a:ahLst/>
                  <a:cxnLst>
                    <a:cxn ang="0">
                      <a:pos x="82" y="99"/>
                    </a:cxn>
                    <a:cxn ang="0">
                      <a:pos x="78" y="98"/>
                    </a:cxn>
                    <a:cxn ang="0">
                      <a:pos x="69" y="103"/>
                    </a:cxn>
                    <a:cxn ang="0">
                      <a:pos x="63" y="110"/>
                    </a:cxn>
                    <a:cxn ang="0">
                      <a:pos x="60" y="119"/>
                    </a:cxn>
                    <a:cxn ang="0">
                      <a:pos x="38" y="121"/>
                    </a:cxn>
                    <a:cxn ang="0">
                      <a:pos x="36" y="118"/>
                    </a:cxn>
                    <a:cxn ang="0">
                      <a:pos x="16" y="125"/>
                    </a:cxn>
                    <a:cxn ang="0">
                      <a:pos x="15" y="116"/>
                    </a:cxn>
                    <a:cxn ang="0">
                      <a:pos x="4" y="100"/>
                    </a:cxn>
                    <a:cxn ang="0">
                      <a:pos x="0" y="91"/>
                    </a:cxn>
                    <a:cxn ang="0">
                      <a:pos x="4" y="78"/>
                    </a:cxn>
                    <a:cxn ang="0">
                      <a:pos x="12" y="72"/>
                    </a:cxn>
                    <a:cxn ang="0">
                      <a:pos x="16" y="60"/>
                    </a:cxn>
                    <a:cxn ang="0">
                      <a:pos x="36" y="43"/>
                    </a:cxn>
                    <a:cxn ang="0">
                      <a:pos x="42" y="33"/>
                    </a:cxn>
                    <a:cxn ang="0">
                      <a:pos x="55" y="19"/>
                    </a:cxn>
                    <a:cxn ang="0">
                      <a:pos x="63" y="19"/>
                    </a:cxn>
                    <a:cxn ang="0">
                      <a:pos x="66" y="10"/>
                    </a:cxn>
                    <a:cxn ang="0">
                      <a:pos x="82" y="5"/>
                    </a:cxn>
                    <a:cxn ang="0">
                      <a:pos x="82" y="3"/>
                    </a:cxn>
                    <a:cxn ang="0">
                      <a:pos x="82" y="5"/>
                    </a:cxn>
                    <a:cxn ang="0">
                      <a:pos x="84" y="3"/>
                    </a:cxn>
                    <a:cxn ang="0">
                      <a:pos x="84" y="5"/>
                    </a:cxn>
                    <a:cxn ang="0">
                      <a:pos x="90" y="6"/>
                    </a:cxn>
                    <a:cxn ang="0">
                      <a:pos x="101" y="1"/>
                    </a:cxn>
                    <a:cxn ang="0">
                      <a:pos x="114" y="10"/>
                    </a:cxn>
                    <a:cxn ang="0">
                      <a:pos x="127" y="1"/>
                    </a:cxn>
                    <a:cxn ang="0">
                      <a:pos x="133" y="3"/>
                    </a:cxn>
                    <a:cxn ang="0">
                      <a:pos x="135" y="0"/>
                    </a:cxn>
                    <a:cxn ang="0">
                      <a:pos x="156" y="11"/>
                    </a:cxn>
                    <a:cxn ang="0">
                      <a:pos x="184" y="19"/>
                    </a:cxn>
                    <a:cxn ang="0">
                      <a:pos x="188" y="24"/>
                    </a:cxn>
                    <a:cxn ang="0">
                      <a:pos x="186" y="28"/>
                    </a:cxn>
                    <a:cxn ang="0">
                      <a:pos x="186" y="32"/>
                    </a:cxn>
                    <a:cxn ang="0">
                      <a:pos x="214" y="55"/>
                    </a:cxn>
                    <a:cxn ang="0">
                      <a:pos x="218" y="67"/>
                    </a:cxn>
                    <a:cxn ang="0">
                      <a:pos x="214" y="77"/>
                    </a:cxn>
                    <a:cxn ang="0">
                      <a:pos x="193" y="91"/>
                    </a:cxn>
                    <a:cxn ang="0">
                      <a:pos x="143" y="107"/>
                    </a:cxn>
                    <a:cxn ang="0">
                      <a:pos x="133" y="113"/>
                    </a:cxn>
                    <a:cxn ang="0">
                      <a:pos x="113" y="109"/>
                    </a:cxn>
                    <a:cxn ang="0">
                      <a:pos x="107" y="104"/>
                    </a:cxn>
                    <a:cxn ang="0">
                      <a:pos x="82" y="100"/>
                    </a:cxn>
                    <a:cxn ang="0">
                      <a:pos x="82" y="99"/>
                    </a:cxn>
                  </a:cxnLst>
                  <a:rect l="0" t="0" r="r" b="b"/>
                  <a:pathLst>
                    <a:path w="218" h="125">
                      <a:moveTo>
                        <a:pt x="82" y="99"/>
                      </a:moveTo>
                      <a:lnTo>
                        <a:pt x="78" y="98"/>
                      </a:lnTo>
                      <a:lnTo>
                        <a:pt x="69" y="103"/>
                      </a:lnTo>
                      <a:lnTo>
                        <a:pt x="63" y="110"/>
                      </a:lnTo>
                      <a:lnTo>
                        <a:pt x="60" y="119"/>
                      </a:lnTo>
                      <a:lnTo>
                        <a:pt x="38" y="121"/>
                      </a:lnTo>
                      <a:lnTo>
                        <a:pt x="36" y="118"/>
                      </a:lnTo>
                      <a:lnTo>
                        <a:pt x="16" y="125"/>
                      </a:lnTo>
                      <a:lnTo>
                        <a:pt x="15" y="116"/>
                      </a:lnTo>
                      <a:lnTo>
                        <a:pt x="4" y="100"/>
                      </a:lnTo>
                      <a:lnTo>
                        <a:pt x="0" y="91"/>
                      </a:lnTo>
                      <a:lnTo>
                        <a:pt x="4" y="78"/>
                      </a:lnTo>
                      <a:lnTo>
                        <a:pt x="12" y="72"/>
                      </a:lnTo>
                      <a:lnTo>
                        <a:pt x="16" y="60"/>
                      </a:lnTo>
                      <a:lnTo>
                        <a:pt x="36" y="43"/>
                      </a:lnTo>
                      <a:lnTo>
                        <a:pt x="42" y="33"/>
                      </a:lnTo>
                      <a:lnTo>
                        <a:pt x="55" y="19"/>
                      </a:lnTo>
                      <a:lnTo>
                        <a:pt x="63" y="19"/>
                      </a:lnTo>
                      <a:lnTo>
                        <a:pt x="66" y="10"/>
                      </a:lnTo>
                      <a:lnTo>
                        <a:pt x="82" y="5"/>
                      </a:lnTo>
                      <a:lnTo>
                        <a:pt x="82" y="3"/>
                      </a:lnTo>
                      <a:lnTo>
                        <a:pt x="82" y="5"/>
                      </a:lnTo>
                      <a:lnTo>
                        <a:pt x="84" y="3"/>
                      </a:lnTo>
                      <a:lnTo>
                        <a:pt x="84" y="5"/>
                      </a:lnTo>
                      <a:lnTo>
                        <a:pt x="90" y="6"/>
                      </a:lnTo>
                      <a:lnTo>
                        <a:pt x="101" y="1"/>
                      </a:lnTo>
                      <a:lnTo>
                        <a:pt x="114" y="10"/>
                      </a:lnTo>
                      <a:lnTo>
                        <a:pt x="127" y="1"/>
                      </a:lnTo>
                      <a:lnTo>
                        <a:pt x="133" y="3"/>
                      </a:lnTo>
                      <a:lnTo>
                        <a:pt x="135" y="0"/>
                      </a:lnTo>
                      <a:lnTo>
                        <a:pt x="156" y="11"/>
                      </a:lnTo>
                      <a:lnTo>
                        <a:pt x="184" y="19"/>
                      </a:lnTo>
                      <a:lnTo>
                        <a:pt x="188" y="24"/>
                      </a:lnTo>
                      <a:lnTo>
                        <a:pt x="186" y="28"/>
                      </a:lnTo>
                      <a:lnTo>
                        <a:pt x="186" y="32"/>
                      </a:lnTo>
                      <a:lnTo>
                        <a:pt x="214" y="55"/>
                      </a:lnTo>
                      <a:lnTo>
                        <a:pt x="218" y="67"/>
                      </a:lnTo>
                      <a:lnTo>
                        <a:pt x="214" y="77"/>
                      </a:lnTo>
                      <a:lnTo>
                        <a:pt x="193" y="91"/>
                      </a:lnTo>
                      <a:lnTo>
                        <a:pt x="143" y="107"/>
                      </a:lnTo>
                      <a:lnTo>
                        <a:pt x="133" y="113"/>
                      </a:lnTo>
                      <a:lnTo>
                        <a:pt x="113" y="109"/>
                      </a:lnTo>
                      <a:lnTo>
                        <a:pt x="107" y="104"/>
                      </a:lnTo>
                      <a:lnTo>
                        <a:pt x="82" y="100"/>
                      </a:lnTo>
                      <a:lnTo>
                        <a:pt x="82" y="99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>
                    <a:solidFill>
                      <a:srgbClr val="C9C7C3"/>
                    </a:solidFill>
                  </a:endParaRPr>
                </a:p>
              </p:txBody>
            </p:sp>
          </p:grpSp>
          <p:sp>
            <p:nvSpPr>
              <p:cNvPr id="334" name="Freeform 131"/>
              <p:cNvSpPr>
                <a:spLocks noChangeAspect="1"/>
              </p:cNvSpPr>
              <p:nvPr/>
            </p:nvSpPr>
            <p:spPr bwMode="gray">
              <a:xfrm>
                <a:off x="4071" y="1777"/>
                <a:ext cx="34" cy="144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69" y="22"/>
                  </a:cxn>
                  <a:cxn ang="0">
                    <a:pos x="76" y="79"/>
                  </a:cxn>
                  <a:cxn ang="0">
                    <a:pos x="92" y="144"/>
                  </a:cxn>
                  <a:cxn ang="0">
                    <a:pos x="90" y="187"/>
                  </a:cxn>
                  <a:cxn ang="0">
                    <a:pos x="84" y="210"/>
                  </a:cxn>
                  <a:cxn ang="0">
                    <a:pos x="90" y="243"/>
                  </a:cxn>
                  <a:cxn ang="0">
                    <a:pos x="92" y="257"/>
                  </a:cxn>
                  <a:cxn ang="0">
                    <a:pos x="102" y="289"/>
                  </a:cxn>
                  <a:cxn ang="0">
                    <a:pos x="116" y="344"/>
                  </a:cxn>
                  <a:cxn ang="0">
                    <a:pos x="139" y="425"/>
                  </a:cxn>
                  <a:cxn ang="0">
                    <a:pos x="150" y="459"/>
                  </a:cxn>
                  <a:cxn ang="0">
                    <a:pos x="168" y="487"/>
                  </a:cxn>
                  <a:cxn ang="0">
                    <a:pos x="149" y="466"/>
                  </a:cxn>
                  <a:cxn ang="0">
                    <a:pos x="119" y="448"/>
                  </a:cxn>
                  <a:cxn ang="0">
                    <a:pos x="92" y="447"/>
                  </a:cxn>
                  <a:cxn ang="0">
                    <a:pos x="75" y="475"/>
                  </a:cxn>
                  <a:cxn ang="0">
                    <a:pos x="65" y="509"/>
                  </a:cxn>
                  <a:cxn ang="0">
                    <a:pos x="53" y="566"/>
                  </a:cxn>
                  <a:cxn ang="0">
                    <a:pos x="61" y="602"/>
                  </a:cxn>
                  <a:cxn ang="0">
                    <a:pos x="80" y="635"/>
                  </a:cxn>
                  <a:cxn ang="0">
                    <a:pos x="89" y="651"/>
                  </a:cxn>
                  <a:cxn ang="0">
                    <a:pos x="100" y="654"/>
                  </a:cxn>
                  <a:cxn ang="0">
                    <a:pos x="108" y="684"/>
                  </a:cxn>
                  <a:cxn ang="0">
                    <a:pos x="102" y="713"/>
                  </a:cxn>
                  <a:cxn ang="0">
                    <a:pos x="69" y="663"/>
                  </a:cxn>
                  <a:cxn ang="0">
                    <a:pos x="46" y="673"/>
                  </a:cxn>
                  <a:cxn ang="0">
                    <a:pos x="31" y="721"/>
                  </a:cxn>
                  <a:cxn ang="0">
                    <a:pos x="15" y="689"/>
                  </a:cxn>
                  <a:cxn ang="0">
                    <a:pos x="21" y="623"/>
                  </a:cxn>
                  <a:cxn ang="0">
                    <a:pos x="32" y="554"/>
                  </a:cxn>
                  <a:cxn ang="0">
                    <a:pos x="23" y="522"/>
                  </a:cxn>
                  <a:cxn ang="0">
                    <a:pos x="17" y="479"/>
                  </a:cxn>
                  <a:cxn ang="0">
                    <a:pos x="28" y="425"/>
                  </a:cxn>
                  <a:cxn ang="0">
                    <a:pos x="32" y="392"/>
                  </a:cxn>
                  <a:cxn ang="0">
                    <a:pos x="30" y="375"/>
                  </a:cxn>
                  <a:cxn ang="0">
                    <a:pos x="25" y="348"/>
                  </a:cxn>
                  <a:cxn ang="0">
                    <a:pos x="31" y="297"/>
                  </a:cxn>
                  <a:cxn ang="0">
                    <a:pos x="21" y="260"/>
                  </a:cxn>
                  <a:cxn ang="0">
                    <a:pos x="4" y="243"/>
                  </a:cxn>
                  <a:cxn ang="0">
                    <a:pos x="3" y="226"/>
                  </a:cxn>
                  <a:cxn ang="0">
                    <a:pos x="0" y="188"/>
                  </a:cxn>
                  <a:cxn ang="0">
                    <a:pos x="12" y="125"/>
                  </a:cxn>
                  <a:cxn ang="0">
                    <a:pos x="9" y="96"/>
                  </a:cxn>
                  <a:cxn ang="0">
                    <a:pos x="25" y="79"/>
                  </a:cxn>
                  <a:cxn ang="0">
                    <a:pos x="37" y="87"/>
                  </a:cxn>
                  <a:cxn ang="0">
                    <a:pos x="50" y="81"/>
                  </a:cxn>
                  <a:cxn ang="0">
                    <a:pos x="50" y="66"/>
                  </a:cxn>
                  <a:cxn ang="0">
                    <a:pos x="59" y="64"/>
                  </a:cxn>
                  <a:cxn ang="0">
                    <a:pos x="49" y="33"/>
                  </a:cxn>
                  <a:cxn ang="0">
                    <a:pos x="38" y="9"/>
                  </a:cxn>
                  <a:cxn ang="0">
                    <a:pos x="47" y="6"/>
                  </a:cxn>
                </a:cxnLst>
                <a:rect l="0" t="0" r="r" b="b"/>
                <a:pathLst>
                  <a:path w="170" h="721">
                    <a:moveTo>
                      <a:pt x="52" y="3"/>
                    </a:moveTo>
                    <a:lnTo>
                      <a:pt x="55" y="0"/>
                    </a:lnTo>
                    <a:lnTo>
                      <a:pt x="63" y="4"/>
                    </a:lnTo>
                    <a:lnTo>
                      <a:pt x="69" y="22"/>
                    </a:lnTo>
                    <a:lnTo>
                      <a:pt x="73" y="59"/>
                    </a:lnTo>
                    <a:lnTo>
                      <a:pt x="76" y="79"/>
                    </a:lnTo>
                    <a:lnTo>
                      <a:pt x="87" y="113"/>
                    </a:lnTo>
                    <a:lnTo>
                      <a:pt x="92" y="144"/>
                    </a:lnTo>
                    <a:lnTo>
                      <a:pt x="93" y="166"/>
                    </a:lnTo>
                    <a:lnTo>
                      <a:pt x="90" y="187"/>
                    </a:lnTo>
                    <a:lnTo>
                      <a:pt x="82" y="192"/>
                    </a:lnTo>
                    <a:lnTo>
                      <a:pt x="84" y="210"/>
                    </a:lnTo>
                    <a:lnTo>
                      <a:pt x="89" y="229"/>
                    </a:lnTo>
                    <a:lnTo>
                      <a:pt x="90" y="243"/>
                    </a:lnTo>
                    <a:lnTo>
                      <a:pt x="89" y="258"/>
                    </a:lnTo>
                    <a:lnTo>
                      <a:pt x="92" y="257"/>
                    </a:lnTo>
                    <a:lnTo>
                      <a:pt x="98" y="272"/>
                    </a:lnTo>
                    <a:lnTo>
                      <a:pt x="102" y="289"/>
                    </a:lnTo>
                    <a:lnTo>
                      <a:pt x="103" y="292"/>
                    </a:lnTo>
                    <a:lnTo>
                      <a:pt x="116" y="344"/>
                    </a:lnTo>
                    <a:lnTo>
                      <a:pt x="135" y="407"/>
                    </a:lnTo>
                    <a:lnTo>
                      <a:pt x="139" y="425"/>
                    </a:lnTo>
                    <a:lnTo>
                      <a:pt x="144" y="445"/>
                    </a:lnTo>
                    <a:lnTo>
                      <a:pt x="150" y="459"/>
                    </a:lnTo>
                    <a:lnTo>
                      <a:pt x="157" y="474"/>
                    </a:lnTo>
                    <a:lnTo>
                      <a:pt x="168" y="487"/>
                    </a:lnTo>
                    <a:lnTo>
                      <a:pt x="170" y="496"/>
                    </a:lnTo>
                    <a:lnTo>
                      <a:pt x="149" y="466"/>
                    </a:lnTo>
                    <a:lnTo>
                      <a:pt x="135" y="456"/>
                    </a:lnTo>
                    <a:lnTo>
                      <a:pt x="119" y="448"/>
                    </a:lnTo>
                    <a:lnTo>
                      <a:pt x="104" y="445"/>
                    </a:lnTo>
                    <a:lnTo>
                      <a:pt x="92" y="447"/>
                    </a:lnTo>
                    <a:lnTo>
                      <a:pt x="80" y="457"/>
                    </a:lnTo>
                    <a:lnTo>
                      <a:pt x="75" y="475"/>
                    </a:lnTo>
                    <a:lnTo>
                      <a:pt x="73" y="491"/>
                    </a:lnTo>
                    <a:lnTo>
                      <a:pt x="65" y="509"/>
                    </a:lnTo>
                    <a:lnTo>
                      <a:pt x="55" y="549"/>
                    </a:lnTo>
                    <a:lnTo>
                      <a:pt x="53" y="566"/>
                    </a:lnTo>
                    <a:lnTo>
                      <a:pt x="53" y="586"/>
                    </a:lnTo>
                    <a:lnTo>
                      <a:pt x="61" y="602"/>
                    </a:lnTo>
                    <a:lnTo>
                      <a:pt x="77" y="623"/>
                    </a:lnTo>
                    <a:lnTo>
                      <a:pt x="80" y="635"/>
                    </a:lnTo>
                    <a:lnTo>
                      <a:pt x="84" y="645"/>
                    </a:lnTo>
                    <a:lnTo>
                      <a:pt x="89" y="651"/>
                    </a:lnTo>
                    <a:lnTo>
                      <a:pt x="97" y="656"/>
                    </a:lnTo>
                    <a:lnTo>
                      <a:pt x="100" y="654"/>
                    </a:lnTo>
                    <a:lnTo>
                      <a:pt x="103" y="657"/>
                    </a:lnTo>
                    <a:lnTo>
                      <a:pt x="108" y="684"/>
                    </a:lnTo>
                    <a:lnTo>
                      <a:pt x="107" y="700"/>
                    </a:lnTo>
                    <a:lnTo>
                      <a:pt x="102" y="713"/>
                    </a:lnTo>
                    <a:lnTo>
                      <a:pt x="95" y="674"/>
                    </a:lnTo>
                    <a:lnTo>
                      <a:pt x="69" y="663"/>
                    </a:lnTo>
                    <a:lnTo>
                      <a:pt x="55" y="662"/>
                    </a:lnTo>
                    <a:lnTo>
                      <a:pt x="46" y="673"/>
                    </a:lnTo>
                    <a:lnTo>
                      <a:pt x="36" y="706"/>
                    </a:lnTo>
                    <a:lnTo>
                      <a:pt x="31" y="721"/>
                    </a:lnTo>
                    <a:lnTo>
                      <a:pt x="18" y="714"/>
                    </a:lnTo>
                    <a:lnTo>
                      <a:pt x="15" y="689"/>
                    </a:lnTo>
                    <a:lnTo>
                      <a:pt x="15" y="666"/>
                    </a:lnTo>
                    <a:lnTo>
                      <a:pt x="21" y="623"/>
                    </a:lnTo>
                    <a:lnTo>
                      <a:pt x="26" y="565"/>
                    </a:lnTo>
                    <a:lnTo>
                      <a:pt x="32" y="554"/>
                    </a:lnTo>
                    <a:lnTo>
                      <a:pt x="31" y="539"/>
                    </a:lnTo>
                    <a:lnTo>
                      <a:pt x="23" y="522"/>
                    </a:lnTo>
                    <a:lnTo>
                      <a:pt x="17" y="499"/>
                    </a:lnTo>
                    <a:lnTo>
                      <a:pt x="17" y="479"/>
                    </a:lnTo>
                    <a:lnTo>
                      <a:pt x="22" y="463"/>
                    </a:lnTo>
                    <a:lnTo>
                      <a:pt x="28" y="425"/>
                    </a:lnTo>
                    <a:lnTo>
                      <a:pt x="28" y="394"/>
                    </a:lnTo>
                    <a:lnTo>
                      <a:pt x="32" y="392"/>
                    </a:lnTo>
                    <a:lnTo>
                      <a:pt x="30" y="386"/>
                    </a:lnTo>
                    <a:lnTo>
                      <a:pt x="30" y="375"/>
                    </a:lnTo>
                    <a:lnTo>
                      <a:pt x="28" y="360"/>
                    </a:lnTo>
                    <a:lnTo>
                      <a:pt x="25" y="348"/>
                    </a:lnTo>
                    <a:lnTo>
                      <a:pt x="25" y="331"/>
                    </a:lnTo>
                    <a:lnTo>
                      <a:pt x="31" y="297"/>
                    </a:lnTo>
                    <a:lnTo>
                      <a:pt x="31" y="284"/>
                    </a:lnTo>
                    <a:lnTo>
                      <a:pt x="21" y="260"/>
                    </a:lnTo>
                    <a:lnTo>
                      <a:pt x="11" y="249"/>
                    </a:lnTo>
                    <a:lnTo>
                      <a:pt x="4" y="243"/>
                    </a:lnTo>
                    <a:lnTo>
                      <a:pt x="6" y="237"/>
                    </a:lnTo>
                    <a:lnTo>
                      <a:pt x="3" y="226"/>
                    </a:lnTo>
                    <a:lnTo>
                      <a:pt x="0" y="205"/>
                    </a:lnTo>
                    <a:lnTo>
                      <a:pt x="0" y="188"/>
                    </a:lnTo>
                    <a:lnTo>
                      <a:pt x="10" y="160"/>
                    </a:lnTo>
                    <a:lnTo>
                      <a:pt x="12" y="125"/>
                    </a:lnTo>
                    <a:lnTo>
                      <a:pt x="11" y="108"/>
                    </a:lnTo>
                    <a:lnTo>
                      <a:pt x="9" y="96"/>
                    </a:lnTo>
                    <a:lnTo>
                      <a:pt x="14" y="85"/>
                    </a:lnTo>
                    <a:lnTo>
                      <a:pt x="25" y="79"/>
                    </a:lnTo>
                    <a:lnTo>
                      <a:pt x="31" y="81"/>
                    </a:lnTo>
                    <a:lnTo>
                      <a:pt x="37" y="87"/>
                    </a:lnTo>
                    <a:lnTo>
                      <a:pt x="48" y="86"/>
                    </a:lnTo>
                    <a:lnTo>
                      <a:pt x="50" y="81"/>
                    </a:lnTo>
                    <a:lnTo>
                      <a:pt x="48" y="75"/>
                    </a:lnTo>
                    <a:lnTo>
                      <a:pt x="50" y="66"/>
                    </a:lnTo>
                    <a:lnTo>
                      <a:pt x="57" y="66"/>
                    </a:lnTo>
                    <a:lnTo>
                      <a:pt x="59" y="64"/>
                    </a:lnTo>
                    <a:lnTo>
                      <a:pt x="54" y="52"/>
                    </a:lnTo>
                    <a:lnTo>
                      <a:pt x="49" y="33"/>
                    </a:lnTo>
                    <a:lnTo>
                      <a:pt x="39" y="16"/>
                    </a:lnTo>
                    <a:lnTo>
                      <a:pt x="38" y="9"/>
                    </a:lnTo>
                    <a:lnTo>
                      <a:pt x="41" y="6"/>
                    </a:lnTo>
                    <a:lnTo>
                      <a:pt x="47" y="6"/>
                    </a:lnTo>
                    <a:lnTo>
                      <a:pt x="52" y="3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rgbClr val="C9C7C3"/>
                  </a:solidFill>
                </a:endParaRPr>
              </a:p>
            </p:txBody>
          </p:sp>
          <p:sp>
            <p:nvSpPr>
              <p:cNvPr id="335" name="Freeform 132"/>
              <p:cNvSpPr>
                <a:spLocks noChangeAspect="1"/>
              </p:cNvSpPr>
              <p:nvPr/>
            </p:nvSpPr>
            <p:spPr bwMode="gray">
              <a:xfrm>
                <a:off x="2817" y="1091"/>
                <a:ext cx="1786" cy="901"/>
              </a:xfrm>
              <a:custGeom>
                <a:avLst/>
                <a:gdLst/>
                <a:ahLst/>
                <a:cxnLst>
                  <a:cxn ang="0">
                    <a:pos x="3264" y="3913"/>
                  </a:cxn>
                  <a:cxn ang="0">
                    <a:pos x="4333" y="3788"/>
                  </a:cxn>
                  <a:cxn ang="0">
                    <a:pos x="5307" y="3536"/>
                  </a:cxn>
                  <a:cxn ang="0">
                    <a:pos x="5833" y="4138"/>
                  </a:cxn>
                  <a:cxn ang="0">
                    <a:pos x="6066" y="4138"/>
                  </a:cxn>
                  <a:cxn ang="0">
                    <a:pos x="6189" y="3482"/>
                  </a:cxn>
                  <a:cxn ang="0">
                    <a:pos x="5968" y="3336"/>
                  </a:cxn>
                  <a:cxn ang="0">
                    <a:pos x="6672" y="2912"/>
                  </a:cxn>
                  <a:cxn ang="0">
                    <a:pos x="6999" y="2815"/>
                  </a:cxn>
                  <a:cxn ang="0">
                    <a:pos x="7448" y="2593"/>
                  </a:cxn>
                  <a:cxn ang="0">
                    <a:pos x="7045" y="3206"/>
                  </a:cxn>
                  <a:cxn ang="0">
                    <a:pos x="7368" y="3293"/>
                  </a:cxn>
                  <a:cxn ang="0">
                    <a:pos x="7505" y="2864"/>
                  </a:cxn>
                  <a:cxn ang="0">
                    <a:pos x="7925" y="2760"/>
                  </a:cxn>
                  <a:cxn ang="0">
                    <a:pos x="8227" y="2553"/>
                  </a:cxn>
                  <a:cxn ang="0">
                    <a:pos x="8363" y="2256"/>
                  </a:cxn>
                  <a:cxn ang="0">
                    <a:pos x="8646" y="2287"/>
                  </a:cxn>
                  <a:cxn ang="0">
                    <a:pos x="8841" y="2201"/>
                  </a:cxn>
                  <a:cxn ang="0">
                    <a:pos x="8685" y="1981"/>
                  </a:cxn>
                  <a:cxn ang="0">
                    <a:pos x="8538" y="1863"/>
                  </a:cxn>
                  <a:cxn ang="0">
                    <a:pos x="7819" y="1608"/>
                  </a:cxn>
                  <a:cxn ang="0">
                    <a:pos x="7284" y="1590"/>
                  </a:cxn>
                  <a:cxn ang="0">
                    <a:pos x="6685" y="1267"/>
                  </a:cxn>
                  <a:cxn ang="0">
                    <a:pos x="6173" y="1286"/>
                  </a:cxn>
                  <a:cxn ang="0">
                    <a:pos x="5674" y="1395"/>
                  </a:cxn>
                  <a:cxn ang="0">
                    <a:pos x="5597" y="1031"/>
                  </a:cxn>
                  <a:cxn ang="0">
                    <a:pos x="5210" y="1036"/>
                  </a:cxn>
                  <a:cxn ang="0">
                    <a:pos x="4698" y="872"/>
                  </a:cxn>
                  <a:cxn ang="0">
                    <a:pos x="4354" y="1003"/>
                  </a:cxn>
                  <a:cxn ang="0">
                    <a:pos x="4584" y="721"/>
                  </a:cxn>
                  <a:cxn ang="0">
                    <a:pos x="4684" y="394"/>
                  </a:cxn>
                  <a:cxn ang="0">
                    <a:pos x="4372" y="204"/>
                  </a:cxn>
                  <a:cxn ang="0">
                    <a:pos x="4025" y="232"/>
                  </a:cxn>
                  <a:cxn ang="0">
                    <a:pos x="3791" y="419"/>
                  </a:cxn>
                  <a:cxn ang="0">
                    <a:pos x="3374" y="550"/>
                  </a:cxn>
                  <a:cxn ang="0">
                    <a:pos x="3254" y="832"/>
                  </a:cxn>
                  <a:cxn ang="0">
                    <a:pos x="2949" y="1149"/>
                  </a:cxn>
                  <a:cxn ang="0">
                    <a:pos x="2945" y="1235"/>
                  </a:cxn>
                  <a:cxn ang="0">
                    <a:pos x="2627" y="1222"/>
                  </a:cxn>
                  <a:cxn ang="0">
                    <a:pos x="2758" y="1734"/>
                  </a:cxn>
                  <a:cxn ang="0">
                    <a:pos x="2590" y="1842"/>
                  </a:cxn>
                  <a:cxn ang="0">
                    <a:pos x="2499" y="1888"/>
                  </a:cxn>
                  <a:cxn ang="0">
                    <a:pos x="2297" y="1040"/>
                  </a:cxn>
                  <a:cxn ang="0">
                    <a:pos x="2235" y="1800"/>
                  </a:cxn>
                  <a:cxn ang="0">
                    <a:pos x="1570" y="1757"/>
                  </a:cxn>
                  <a:cxn ang="0">
                    <a:pos x="1175" y="1897"/>
                  </a:cxn>
                  <a:cxn ang="0">
                    <a:pos x="933" y="2056"/>
                  </a:cxn>
                  <a:cxn ang="0">
                    <a:pos x="501" y="2289"/>
                  </a:cxn>
                  <a:cxn ang="0">
                    <a:pos x="306" y="2013"/>
                  </a:cxn>
                  <a:cxn ang="0">
                    <a:pos x="589" y="1783"/>
                  </a:cxn>
                  <a:cxn ang="0">
                    <a:pos x="191" y="1600"/>
                  </a:cxn>
                  <a:cxn ang="0">
                    <a:pos x="215" y="2548"/>
                  </a:cxn>
                  <a:cxn ang="0">
                    <a:pos x="14" y="3054"/>
                  </a:cxn>
                  <a:cxn ang="0">
                    <a:pos x="241" y="3470"/>
                  </a:cxn>
                  <a:cxn ang="0">
                    <a:pos x="440" y="3762"/>
                  </a:cxn>
                  <a:cxn ang="0">
                    <a:pos x="644" y="4043"/>
                  </a:cxn>
                  <a:cxn ang="0">
                    <a:pos x="898" y="4398"/>
                  </a:cxn>
                  <a:cxn ang="0">
                    <a:pos x="1107" y="4133"/>
                  </a:cxn>
                  <a:cxn ang="0">
                    <a:pos x="1169" y="3800"/>
                  </a:cxn>
                  <a:cxn ang="0">
                    <a:pos x="1520" y="3752"/>
                  </a:cxn>
                  <a:cxn ang="0">
                    <a:pos x="1831" y="3572"/>
                  </a:cxn>
                  <a:cxn ang="0">
                    <a:pos x="2183" y="3384"/>
                  </a:cxn>
                  <a:cxn ang="0">
                    <a:pos x="2523" y="3466"/>
                  </a:cxn>
                </a:cxnLst>
                <a:rect l="0" t="0" r="r" b="b"/>
                <a:pathLst>
                  <a:path w="8931" h="4504">
                    <a:moveTo>
                      <a:pt x="2688" y="3454"/>
                    </a:moveTo>
                    <a:lnTo>
                      <a:pt x="2691" y="3461"/>
                    </a:lnTo>
                    <a:lnTo>
                      <a:pt x="2695" y="3463"/>
                    </a:lnTo>
                    <a:lnTo>
                      <a:pt x="2768" y="3530"/>
                    </a:lnTo>
                    <a:lnTo>
                      <a:pt x="2887" y="3748"/>
                    </a:lnTo>
                    <a:lnTo>
                      <a:pt x="2902" y="3737"/>
                    </a:lnTo>
                    <a:lnTo>
                      <a:pt x="2904" y="3730"/>
                    </a:lnTo>
                    <a:lnTo>
                      <a:pt x="2904" y="3723"/>
                    </a:lnTo>
                    <a:lnTo>
                      <a:pt x="2915" y="3709"/>
                    </a:lnTo>
                    <a:lnTo>
                      <a:pt x="2923" y="3708"/>
                    </a:lnTo>
                    <a:lnTo>
                      <a:pt x="2928" y="3714"/>
                    </a:lnTo>
                    <a:lnTo>
                      <a:pt x="2936" y="3717"/>
                    </a:lnTo>
                    <a:lnTo>
                      <a:pt x="2950" y="3725"/>
                    </a:lnTo>
                    <a:lnTo>
                      <a:pt x="2946" y="3732"/>
                    </a:lnTo>
                    <a:lnTo>
                      <a:pt x="2951" y="3739"/>
                    </a:lnTo>
                    <a:lnTo>
                      <a:pt x="2956" y="3740"/>
                    </a:lnTo>
                    <a:lnTo>
                      <a:pt x="2961" y="3753"/>
                    </a:lnTo>
                    <a:lnTo>
                      <a:pt x="2985" y="3751"/>
                    </a:lnTo>
                    <a:lnTo>
                      <a:pt x="3003" y="3756"/>
                    </a:lnTo>
                    <a:lnTo>
                      <a:pt x="3010" y="3753"/>
                    </a:lnTo>
                    <a:lnTo>
                      <a:pt x="3026" y="3753"/>
                    </a:lnTo>
                    <a:lnTo>
                      <a:pt x="3028" y="3746"/>
                    </a:lnTo>
                    <a:lnTo>
                      <a:pt x="3033" y="3740"/>
                    </a:lnTo>
                    <a:lnTo>
                      <a:pt x="3042" y="3741"/>
                    </a:lnTo>
                    <a:lnTo>
                      <a:pt x="3049" y="3741"/>
                    </a:lnTo>
                    <a:lnTo>
                      <a:pt x="3053" y="3734"/>
                    </a:lnTo>
                    <a:lnTo>
                      <a:pt x="3060" y="3729"/>
                    </a:lnTo>
                    <a:lnTo>
                      <a:pt x="3075" y="3734"/>
                    </a:lnTo>
                    <a:lnTo>
                      <a:pt x="3082" y="3737"/>
                    </a:lnTo>
                    <a:lnTo>
                      <a:pt x="3086" y="3745"/>
                    </a:lnTo>
                    <a:lnTo>
                      <a:pt x="3093" y="3748"/>
                    </a:lnTo>
                    <a:lnTo>
                      <a:pt x="3103" y="3761"/>
                    </a:lnTo>
                    <a:lnTo>
                      <a:pt x="3112" y="3764"/>
                    </a:lnTo>
                    <a:lnTo>
                      <a:pt x="3114" y="3772"/>
                    </a:lnTo>
                    <a:lnTo>
                      <a:pt x="3112" y="3779"/>
                    </a:lnTo>
                    <a:lnTo>
                      <a:pt x="3113" y="3788"/>
                    </a:lnTo>
                    <a:lnTo>
                      <a:pt x="3117" y="3795"/>
                    </a:lnTo>
                    <a:lnTo>
                      <a:pt x="3125" y="3796"/>
                    </a:lnTo>
                    <a:lnTo>
                      <a:pt x="3146" y="3807"/>
                    </a:lnTo>
                    <a:lnTo>
                      <a:pt x="3150" y="3815"/>
                    </a:lnTo>
                    <a:lnTo>
                      <a:pt x="3150" y="3822"/>
                    </a:lnTo>
                    <a:lnTo>
                      <a:pt x="3157" y="3826"/>
                    </a:lnTo>
                    <a:lnTo>
                      <a:pt x="3162" y="3831"/>
                    </a:lnTo>
                    <a:lnTo>
                      <a:pt x="3170" y="3845"/>
                    </a:lnTo>
                    <a:lnTo>
                      <a:pt x="3176" y="3849"/>
                    </a:lnTo>
                    <a:lnTo>
                      <a:pt x="3193" y="3852"/>
                    </a:lnTo>
                    <a:lnTo>
                      <a:pt x="3199" y="3857"/>
                    </a:lnTo>
                    <a:lnTo>
                      <a:pt x="3208" y="3859"/>
                    </a:lnTo>
                    <a:lnTo>
                      <a:pt x="3215" y="3860"/>
                    </a:lnTo>
                    <a:lnTo>
                      <a:pt x="3224" y="3860"/>
                    </a:lnTo>
                    <a:lnTo>
                      <a:pt x="3226" y="3853"/>
                    </a:lnTo>
                    <a:lnTo>
                      <a:pt x="3231" y="3847"/>
                    </a:lnTo>
                    <a:lnTo>
                      <a:pt x="3246" y="3841"/>
                    </a:lnTo>
                    <a:lnTo>
                      <a:pt x="3248" y="3849"/>
                    </a:lnTo>
                    <a:lnTo>
                      <a:pt x="3252" y="3857"/>
                    </a:lnTo>
                    <a:lnTo>
                      <a:pt x="3259" y="3861"/>
                    </a:lnTo>
                    <a:lnTo>
                      <a:pt x="3267" y="3875"/>
                    </a:lnTo>
                    <a:lnTo>
                      <a:pt x="3273" y="3880"/>
                    </a:lnTo>
                    <a:lnTo>
                      <a:pt x="3277" y="3887"/>
                    </a:lnTo>
                    <a:lnTo>
                      <a:pt x="3264" y="3913"/>
                    </a:lnTo>
                    <a:lnTo>
                      <a:pt x="3289" y="3920"/>
                    </a:lnTo>
                    <a:lnTo>
                      <a:pt x="3305" y="3904"/>
                    </a:lnTo>
                    <a:lnTo>
                      <a:pt x="3310" y="3904"/>
                    </a:lnTo>
                    <a:lnTo>
                      <a:pt x="3322" y="3882"/>
                    </a:lnTo>
                    <a:lnTo>
                      <a:pt x="3338" y="3865"/>
                    </a:lnTo>
                    <a:lnTo>
                      <a:pt x="3356" y="3858"/>
                    </a:lnTo>
                    <a:lnTo>
                      <a:pt x="3375" y="3852"/>
                    </a:lnTo>
                    <a:lnTo>
                      <a:pt x="3394" y="3839"/>
                    </a:lnTo>
                    <a:lnTo>
                      <a:pt x="3414" y="3823"/>
                    </a:lnTo>
                    <a:lnTo>
                      <a:pt x="3439" y="3811"/>
                    </a:lnTo>
                    <a:lnTo>
                      <a:pt x="3464" y="3789"/>
                    </a:lnTo>
                    <a:lnTo>
                      <a:pt x="3505" y="3777"/>
                    </a:lnTo>
                    <a:lnTo>
                      <a:pt x="3530" y="3766"/>
                    </a:lnTo>
                    <a:lnTo>
                      <a:pt x="3553" y="3763"/>
                    </a:lnTo>
                    <a:lnTo>
                      <a:pt x="3575" y="3767"/>
                    </a:lnTo>
                    <a:lnTo>
                      <a:pt x="3591" y="3773"/>
                    </a:lnTo>
                    <a:lnTo>
                      <a:pt x="3604" y="3784"/>
                    </a:lnTo>
                    <a:lnTo>
                      <a:pt x="3623" y="3780"/>
                    </a:lnTo>
                    <a:lnTo>
                      <a:pt x="3644" y="3779"/>
                    </a:lnTo>
                    <a:lnTo>
                      <a:pt x="3661" y="3782"/>
                    </a:lnTo>
                    <a:lnTo>
                      <a:pt x="3692" y="3811"/>
                    </a:lnTo>
                    <a:lnTo>
                      <a:pt x="3697" y="3818"/>
                    </a:lnTo>
                    <a:lnTo>
                      <a:pt x="3714" y="3821"/>
                    </a:lnTo>
                    <a:lnTo>
                      <a:pt x="3761" y="3814"/>
                    </a:lnTo>
                    <a:lnTo>
                      <a:pt x="3774" y="3820"/>
                    </a:lnTo>
                    <a:lnTo>
                      <a:pt x="3818" y="3821"/>
                    </a:lnTo>
                    <a:lnTo>
                      <a:pt x="3856" y="3816"/>
                    </a:lnTo>
                    <a:lnTo>
                      <a:pt x="3866" y="3811"/>
                    </a:lnTo>
                    <a:lnTo>
                      <a:pt x="3866" y="3803"/>
                    </a:lnTo>
                    <a:lnTo>
                      <a:pt x="3862" y="3791"/>
                    </a:lnTo>
                    <a:lnTo>
                      <a:pt x="3865" y="3777"/>
                    </a:lnTo>
                    <a:lnTo>
                      <a:pt x="3875" y="3761"/>
                    </a:lnTo>
                    <a:lnTo>
                      <a:pt x="3875" y="3745"/>
                    </a:lnTo>
                    <a:lnTo>
                      <a:pt x="3864" y="3730"/>
                    </a:lnTo>
                    <a:lnTo>
                      <a:pt x="3860" y="3712"/>
                    </a:lnTo>
                    <a:lnTo>
                      <a:pt x="3862" y="3694"/>
                    </a:lnTo>
                    <a:lnTo>
                      <a:pt x="3878" y="3680"/>
                    </a:lnTo>
                    <a:lnTo>
                      <a:pt x="3892" y="3664"/>
                    </a:lnTo>
                    <a:lnTo>
                      <a:pt x="3910" y="3649"/>
                    </a:lnTo>
                    <a:lnTo>
                      <a:pt x="3921" y="3632"/>
                    </a:lnTo>
                    <a:lnTo>
                      <a:pt x="3935" y="3631"/>
                    </a:lnTo>
                    <a:lnTo>
                      <a:pt x="3955" y="3637"/>
                    </a:lnTo>
                    <a:lnTo>
                      <a:pt x="3969" y="3648"/>
                    </a:lnTo>
                    <a:lnTo>
                      <a:pt x="4006" y="3658"/>
                    </a:lnTo>
                    <a:lnTo>
                      <a:pt x="4017" y="3672"/>
                    </a:lnTo>
                    <a:lnTo>
                      <a:pt x="4041" y="3678"/>
                    </a:lnTo>
                    <a:lnTo>
                      <a:pt x="4065" y="3681"/>
                    </a:lnTo>
                    <a:lnTo>
                      <a:pt x="4082" y="3688"/>
                    </a:lnTo>
                    <a:lnTo>
                      <a:pt x="4092" y="3704"/>
                    </a:lnTo>
                    <a:lnTo>
                      <a:pt x="4097" y="3734"/>
                    </a:lnTo>
                    <a:lnTo>
                      <a:pt x="4097" y="3755"/>
                    </a:lnTo>
                    <a:lnTo>
                      <a:pt x="4102" y="3755"/>
                    </a:lnTo>
                    <a:lnTo>
                      <a:pt x="4117" y="3769"/>
                    </a:lnTo>
                    <a:lnTo>
                      <a:pt x="4140" y="3785"/>
                    </a:lnTo>
                    <a:lnTo>
                      <a:pt x="4174" y="3796"/>
                    </a:lnTo>
                    <a:lnTo>
                      <a:pt x="4202" y="3790"/>
                    </a:lnTo>
                    <a:lnTo>
                      <a:pt x="4229" y="3775"/>
                    </a:lnTo>
                    <a:lnTo>
                      <a:pt x="4254" y="3763"/>
                    </a:lnTo>
                    <a:lnTo>
                      <a:pt x="4285" y="3771"/>
                    </a:lnTo>
                    <a:lnTo>
                      <a:pt x="4333" y="3788"/>
                    </a:lnTo>
                    <a:lnTo>
                      <a:pt x="4343" y="3800"/>
                    </a:lnTo>
                    <a:lnTo>
                      <a:pt x="4344" y="3800"/>
                    </a:lnTo>
                    <a:lnTo>
                      <a:pt x="4350" y="3805"/>
                    </a:lnTo>
                    <a:lnTo>
                      <a:pt x="4372" y="3817"/>
                    </a:lnTo>
                    <a:lnTo>
                      <a:pt x="4393" y="3823"/>
                    </a:lnTo>
                    <a:lnTo>
                      <a:pt x="4414" y="3832"/>
                    </a:lnTo>
                    <a:lnTo>
                      <a:pt x="4428" y="3852"/>
                    </a:lnTo>
                    <a:lnTo>
                      <a:pt x="4455" y="3868"/>
                    </a:lnTo>
                    <a:lnTo>
                      <a:pt x="4487" y="3873"/>
                    </a:lnTo>
                    <a:lnTo>
                      <a:pt x="4510" y="3880"/>
                    </a:lnTo>
                    <a:lnTo>
                      <a:pt x="4528" y="3881"/>
                    </a:lnTo>
                    <a:lnTo>
                      <a:pt x="4553" y="3879"/>
                    </a:lnTo>
                    <a:lnTo>
                      <a:pt x="4571" y="3887"/>
                    </a:lnTo>
                    <a:lnTo>
                      <a:pt x="4627" y="3868"/>
                    </a:lnTo>
                    <a:lnTo>
                      <a:pt x="4661" y="3860"/>
                    </a:lnTo>
                    <a:lnTo>
                      <a:pt x="4688" y="3855"/>
                    </a:lnTo>
                    <a:lnTo>
                      <a:pt x="4725" y="3826"/>
                    </a:lnTo>
                    <a:lnTo>
                      <a:pt x="4749" y="3810"/>
                    </a:lnTo>
                    <a:lnTo>
                      <a:pt x="4774" y="3801"/>
                    </a:lnTo>
                    <a:lnTo>
                      <a:pt x="4799" y="3811"/>
                    </a:lnTo>
                    <a:lnTo>
                      <a:pt x="4817" y="3826"/>
                    </a:lnTo>
                    <a:lnTo>
                      <a:pt x="4838" y="3830"/>
                    </a:lnTo>
                    <a:lnTo>
                      <a:pt x="4855" y="3826"/>
                    </a:lnTo>
                    <a:lnTo>
                      <a:pt x="4869" y="3818"/>
                    </a:lnTo>
                    <a:lnTo>
                      <a:pt x="4875" y="3821"/>
                    </a:lnTo>
                    <a:lnTo>
                      <a:pt x="4886" y="3823"/>
                    </a:lnTo>
                    <a:lnTo>
                      <a:pt x="4899" y="3833"/>
                    </a:lnTo>
                    <a:lnTo>
                      <a:pt x="4931" y="3843"/>
                    </a:lnTo>
                    <a:lnTo>
                      <a:pt x="4956" y="3855"/>
                    </a:lnTo>
                    <a:lnTo>
                      <a:pt x="4967" y="3853"/>
                    </a:lnTo>
                    <a:lnTo>
                      <a:pt x="4982" y="3842"/>
                    </a:lnTo>
                    <a:lnTo>
                      <a:pt x="5032" y="3811"/>
                    </a:lnTo>
                    <a:lnTo>
                      <a:pt x="5033" y="3804"/>
                    </a:lnTo>
                    <a:lnTo>
                      <a:pt x="5031" y="3791"/>
                    </a:lnTo>
                    <a:lnTo>
                      <a:pt x="5034" y="3779"/>
                    </a:lnTo>
                    <a:lnTo>
                      <a:pt x="5045" y="3766"/>
                    </a:lnTo>
                    <a:lnTo>
                      <a:pt x="5052" y="3755"/>
                    </a:lnTo>
                    <a:lnTo>
                      <a:pt x="5059" y="3725"/>
                    </a:lnTo>
                    <a:lnTo>
                      <a:pt x="5064" y="3703"/>
                    </a:lnTo>
                    <a:lnTo>
                      <a:pt x="5071" y="3686"/>
                    </a:lnTo>
                    <a:lnTo>
                      <a:pt x="5090" y="3676"/>
                    </a:lnTo>
                    <a:lnTo>
                      <a:pt x="5114" y="3649"/>
                    </a:lnTo>
                    <a:lnTo>
                      <a:pt x="5114" y="3644"/>
                    </a:lnTo>
                    <a:lnTo>
                      <a:pt x="5109" y="3633"/>
                    </a:lnTo>
                    <a:lnTo>
                      <a:pt x="5111" y="3606"/>
                    </a:lnTo>
                    <a:lnTo>
                      <a:pt x="5104" y="3602"/>
                    </a:lnTo>
                    <a:lnTo>
                      <a:pt x="5093" y="3602"/>
                    </a:lnTo>
                    <a:lnTo>
                      <a:pt x="5075" y="3607"/>
                    </a:lnTo>
                    <a:lnTo>
                      <a:pt x="5071" y="3602"/>
                    </a:lnTo>
                    <a:lnTo>
                      <a:pt x="5076" y="3589"/>
                    </a:lnTo>
                    <a:lnTo>
                      <a:pt x="5100" y="3565"/>
                    </a:lnTo>
                    <a:lnTo>
                      <a:pt x="5108" y="3553"/>
                    </a:lnTo>
                    <a:lnTo>
                      <a:pt x="5124" y="3541"/>
                    </a:lnTo>
                    <a:lnTo>
                      <a:pt x="5158" y="3535"/>
                    </a:lnTo>
                    <a:lnTo>
                      <a:pt x="5199" y="3520"/>
                    </a:lnTo>
                    <a:lnTo>
                      <a:pt x="5224" y="3521"/>
                    </a:lnTo>
                    <a:lnTo>
                      <a:pt x="5259" y="3515"/>
                    </a:lnTo>
                    <a:lnTo>
                      <a:pt x="5271" y="3515"/>
                    </a:lnTo>
                    <a:lnTo>
                      <a:pt x="5290" y="3524"/>
                    </a:lnTo>
                    <a:lnTo>
                      <a:pt x="5307" y="3536"/>
                    </a:lnTo>
                    <a:lnTo>
                      <a:pt x="5318" y="3548"/>
                    </a:lnTo>
                    <a:lnTo>
                      <a:pt x="5334" y="3552"/>
                    </a:lnTo>
                    <a:lnTo>
                      <a:pt x="5353" y="3549"/>
                    </a:lnTo>
                    <a:lnTo>
                      <a:pt x="5369" y="3553"/>
                    </a:lnTo>
                    <a:lnTo>
                      <a:pt x="5383" y="3559"/>
                    </a:lnTo>
                    <a:lnTo>
                      <a:pt x="5391" y="3573"/>
                    </a:lnTo>
                    <a:lnTo>
                      <a:pt x="5403" y="3591"/>
                    </a:lnTo>
                    <a:lnTo>
                      <a:pt x="5404" y="3604"/>
                    </a:lnTo>
                    <a:lnTo>
                      <a:pt x="5412" y="3611"/>
                    </a:lnTo>
                    <a:lnTo>
                      <a:pt x="5421" y="3617"/>
                    </a:lnTo>
                    <a:lnTo>
                      <a:pt x="5423" y="3626"/>
                    </a:lnTo>
                    <a:lnTo>
                      <a:pt x="5424" y="3621"/>
                    </a:lnTo>
                    <a:lnTo>
                      <a:pt x="5426" y="3634"/>
                    </a:lnTo>
                    <a:lnTo>
                      <a:pt x="5431" y="3649"/>
                    </a:lnTo>
                    <a:lnTo>
                      <a:pt x="5434" y="3670"/>
                    </a:lnTo>
                    <a:lnTo>
                      <a:pt x="5442" y="3687"/>
                    </a:lnTo>
                    <a:lnTo>
                      <a:pt x="5447" y="3704"/>
                    </a:lnTo>
                    <a:lnTo>
                      <a:pt x="5468" y="3744"/>
                    </a:lnTo>
                    <a:lnTo>
                      <a:pt x="5474" y="3785"/>
                    </a:lnTo>
                    <a:lnTo>
                      <a:pt x="5483" y="3804"/>
                    </a:lnTo>
                    <a:lnTo>
                      <a:pt x="5482" y="3809"/>
                    </a:lnTo>
                    <a:lnTo>
                      <a:pt x="5483" y="3810"/>
                    </a:lnTo>
                    <a:lnTo>
                      <a:pt x="5485" y="3828"/>
                    </a:lnTo>
                    <a:lnTo>
                      <a:pt x="5485" y="3849"/>
                    </a:lnTo>
                    <a:lnTo>
                      <a:pt x="5498" y="3860"/>
                    </a:lnTo>
                    <a:lnTo>
                      <a:pt x="5521" y="3863"/>
                    </a:lnTo>
                    <a:lnTo>
                      <a:pt x="5542" y="3855"/>
                    </a:lnTo>
                    <a:lnTo>
                      <a:pt x="5558" y="3863"/>
                    </a:lnTo>
                    <a:lnTo>
                      <a:pt x="5577" y="3865"/>
                    </a:lnTo>
                    <a:lnTo>
                      <a:pt x="5595" y="3874"/>
                    </a:lnTo>
                    <a:lnTo>
                      <a:pt x="5627" y="3902"/>
                    </a:lnTo>
                    <a:lnTo>
                      <a:pt x="5642" y="3909"/>
                    </a:lnTo>
                    <a:lnTo>
                      <a:pt x="5654" y="3911"/>
                    </a:lnTo>
                    <a:lnTo>
                      <a:pt x="5658" y="3918"/>
                    </a:lnTo>
                    <a:lnTo>
                      <a:pt x="5658" y="3923"/>
                    </a:lnTo>
                    <a:lnTo>
                      <a:pt x="5660" y="3922"/>
                    </a:lnTo>
                    <a:lnTo>
                      <a:pt x="5661" y="3938"/>
                    </a:lnTo>
                    <a:lnTo>
                      <a:pt x="5668" y="3947"/>
                    </a:lnTo>
                    <a:lnTo>
                      <a:pt x="5667" y="3963"/>
                    </a:lnTo>
                    <a:lnTo>
                      <a:pt x="5668" y="3981"/>
                    </a:lnTo>
                    <a:lnTo>
                      <a:pt x="5678" y="3997"/>
                    </a:lnTo>
                    <a:lnTo>
                      <a:pt x="5684" y="4010"/>
                    </a:lnTo>
                    <a:lnTo>
                      <a:pt x="5703" y="4009"/>
                    </a:lnTo>
                    <a:lnTo>
                      <a:pt x="5722" y="4015"/>
                    </a:lnTo>
                    <a:lnTo>
                      <a:pt x="5740" y="4013"/>
                    </a:lnTo>
                    <a:lnTo>
                      <a:pt x="5771" y="3998"/>
                    </a:lnTo>
                    <a:lnTo>
                      <a:pt x="5805" y="3976"/>
                    </a:lnTo>
                    <a:lnTo>
                      <a:pt x="5823" y="3974"/>
                    </a:lnTo>
                    <a:lnTo>
                      <a:pt x="5856" y="3956"/>
                    </a:lnTo>
                    <a:lnTo>
                      <a:pt x="5888" y="3947"/>
                    </a:lnTo>
                    <a:lnTo>
                      <a:pt x="5889" y="3950"/>
                    </a:lnTo>
                    <a:lnTo>
                      <a:pt x="5881" y="3963"/>
                    </a:lnTo>
                    <a:lnTo>
                      <a:pt x="5881" y="3983"/>
                    </a:lnTo>
                    <a:lnTo>
                      <a:pt x="5886" y="3999"/>
                    </a:lnTo>
                    <a:lnTo>
                      <a:pt x="5883" y="4019"/>
                    </a:lnTo>
                    <a:lnTo>
                      <a:pt x="5871" y="4029"/>
                    </a:lnTo>
                    <a:lnTo>
                      <a:pt x="5857" y="4042"/>
                    </a:lnTo>
                    <a:lnTo>
                      <a:pt x="5855" y="4063"/>
                    </a:lnTo>
                    <a:lnTo>
                      <a:pt x="5841" y="4096"/>
                    </a:lnTo>
                    <a:lnTo>
                      <a:pt x="5833" y="4138"/>
                    </a:lnTo>
                    <a:lnTo>
                      <a:pt x="5814" y="4176"/>
                    </a:lnTo>
                    <a:lnTo>
                      <a:pt x="5801" y="4194"/>
                    </a:lnTo>
                    <a:lnTo>
                      <a:pt x="5796" y="4214"/>
                    </a:lnTo>
                    <a:lnTo>
                      <a:pt x="5784" y="4224"/>
                    </a:lnTo>
                    <a:lnTo>
                      <a:pt x="5779" y="4220"/>
                    </a:lnTo>
                    <a:lnTo>
                      <a:pt x="5728" y="4208"/>
                    </a:lnTo>
                    <a:lnTo>
                      <a:pt x="5715" y="4215"/>
                    </a:lnTo>
                    <a:lnTo>
                      <a:pt x="5679" y="4250"/>
                    </a:lnTo>
                    <a:lnTo>
                      <a:pt x="5687" y="4263"/>
                    </a:lnTo>
                    <a:lnTo>
                      <a:pt x="5693" y="4290"/>
                    </a:lnTo>
                    <a:lnTo>
                      <a:pt x="5693" y="4349"/>
                    </a:lnTo>
                    <a:lnTo>
                      <a:pt x="5677" y="4374"/>
                    </a:lnTo>
                    <a:lnTo>
                      <a:pt x="5657" y="4391"/>
                    </a:lnTo>
                    <a:lnTo>
                      <a:pt x="5657" y="4409"/>
                    </a:lnTo>
                    <a:lnTo>
                      <a:pt x="5657" y="4415"/>
                    </a:lnTo>
                    <a:lnTo>
                      <a:pt x="5661" y="4423"/>
                    </a:lnTo>
                    <a:lnTo>
                      <a:pt x="5669" y="4419"/>
                    </a:lnTo>
                    <a:lnTo>
                      <a:pt x="5667" y="4412"/>
                    </a:lnTo>
                    <a:lnTo>
                      <a:pt x="5665" y="4407"/>
                    </a:lnTo>
                    <a:lnTo>
                      <a:pt x="5673" y="4404"/>
                    </a:lnTo>
                    <a:lnTo>
                      <a:pt x="5693" y="4406"/>
                    </a:lnTo>
                    <a:lnTo>
                      <a:pt x="5699" y="4396"/>
                    </a:lnTo>
                    <a:lnTo>
                      <a:pt x="5705" y="4390"/>
                    </a:lnTo>
                    <a:lnTo>
                      <a:pt x="5709" y="4382"/>
                    </a:lnTo>
                    <a:lnTo>
                      <a:pt x="5721" y="4369"/>
                    </a:lnTo>
                    <a:lnTo>
                      <a:pt x="5728" y="4345"/>
                    </a:lnTo>
                    <a:lnTo>
                      <a:pt x="5730" y="4354"/>
                    </a:lnTo>
                    <a:lnTo>
                      <a:pt x="5737" y="4355"/>
                    </a:lnTo>
                    <a:lnTo>
                      <a:pt x="5732" y="4365"/>
                    </a:lnTo>
                    <a:lnTo>
                      <a:pt x="5736" y="4370"/>
                    </a:lnTo>
                    <a:lnTo>
                      <a:pt x="5748" y="4361"/>
                    </a:lnTo>
                    <a:lnTo>
                      <a:pt x="5754" y="4359"/>
                    </a:lnTo>
                    <a:lnTo>
                      <a:pt x="5754" y="4366"/>
                    </a:lnTo>
                    <a:lnTo>
                      <a:pt x="5753" y="4374"/>
                    </a:lnTo>
                    <a:lnTo>
                      <a:pt x="5753" y="4385"/>
                    </a:lnTo>
                    <a:lnTo>
                      <a:pt x="5755" y="4387"/>
                    </a:lnTo>
                    <a:lnTo>
                      <a:pt x="5764" y="4387"/>
                    </a:lnTo>
                    <a:lnTo>
                      <a:pt x="5774" y="4390"/>
                    </a:lnTo>
                    <a:lnTo>
                      <a:pt x="5784" y="4396"/>
                    </a:lnTo>
                    <a:lnTo>
                      <a:pt x="5787" y="4395"/>
                    </a:lnTo>
                    <a:lnTo>
                      <a:pt x="5794" y="4398"/>
                    </a:lnTo>
                    <a:lnTo>
                      <a:pt x="5806" y="4401"/>
                    </a:lnTo>
                    <a:lnTo>
                      <a:pt x="5828" y="4393"/>
                    </a:lnTo>
                    <a:lnTo>
                      <a:pt x="5835" y="4393"/>
                    </a:lnTo>
                    <a:lnTo>
                      <a:pt x="5846" y="4387"/>
                    </a:lnTo>
                    <a:lnTo>
                      <a:pt x="5860" y="4376"/>
                    </a:lnTo>
                    <a:lnTo>
                      <a:pt x="5903" y="4347"/>
                    </a:lnTo>
                    <a:lnTo>
                      <a:pt x="5916" y="4332"/>
                    </a:lnTo>
                    <a:lnTo>
                      <a:pt x="5925" y="4318"/>
                    </a:lnTo>
                    <a:lnTo>
                      <a:pt x="5939" y="4299"/>
                    </a:lnTo>
                    <a:lnTo>
                      <a:pt x="5940" y="4290"/>
                    </a:lnTo>
                    <a:lnTo>
                      <a:pt x="5947" y="4279"/>
                    </a:lnTo>
                    <a:lnTo>
                      <a:pt x="5957" y="4269"/>
                    </a:lnTo>
                    <a:lnTo>
                      <a:pt x="5968" y="4263"/>
                    </a:lnTo>
                    <a:lnTo>
                      <a:pt x="5982" y="4240"/>
                    </a:lnTo>
                    <a:lnTo>
                      <a:pt x="5989" y="4232"/>
                    </a:lnTo>
                    <a:lnTo>
                      <a:pt x="6000" y="4215"/>
                    </a:lnTo>
                    <a:lnTo>
                      <a:pt x="6050" y="4161"/>
                    </a:lnTo>
                    <a:lnTo>
                      <a:pt x="6055" y="4148"/>
                    </a:lnTo>
                    <a:lnTo>
                      <a:pt x="6066" y="4138"/>
                    </a:lnTo>
                    <a:lnTo>
                      <a:pt x="6069" y="4134"/>
                    </a:lnTo>
                    <a:lnTo>
                      <a:pt x="6083" y="4106"/>
                    </a:lnTo>
                    <a:lnTo>
                      <a:pt x="6095" y="4070"/>
                    </a:lnTo>
                    <a:lnTo>
                      <a:pt x="6102" y="4056"/>
                    </a:lnTo>
                    <a:lnTo>
                      <a:pt x="6123" y="4031"/>
                    </a:lnTo>
                    <a:lnTo>
                      <a:pt x="6140" y="4001"/>
                    </a:lnTo>
                    <a:lnTo>
                      <a:pt x="6160" y="3979"/>
                    </a:lnTo>
                    <a:lnTo>
                      <a:pt x="6169" y="3967"/>
                    </a:lnTo>
                    <a:lnTo>
                      <a:pt x="6172" y="3961"/>
                    </a:lnTo>
                    <a:lnTo>
                      <a:pt x="6179" y="3957"/>
                    </a:lnTo>
                    <a:lnTo>
                      <a:pt x="6188" y="3949"/>
                    </a:lnTo>
                    <a:lnTo>
                      <a:pt x="6192" y="3924"/>
                    </a:lnTo>
                    <a:lnTo>
                      <a:pt x="6194" y="3912"/>
                    </a:lnTo>
                    <a:lnTo>
                      <a:pt x="6193" y="3902"/>
                    </a:lnTo>
                    <a:lnTo>
                      <a:pt x="6195" y="3890"/>
                    </a:lnTo>
                    <a:lnTo>
                      <a:pt x="6204" y="3871"/>
                    </a:lnTo>
                    <a:lnTo>
                      <a:pt x="6205" y="3861"/>
                    </a:lnTo>
                    <a:lnTo>
                      <a:pt x="6201" y="3827"/>
                    </a:lnTo>
                    <a:lnTo>
                      <a:pt x="6210" y="3816"/>
                    </a:lnTo>
                    <a:lnTo>
                      <a:pt x="6209" y="3810"/>
                    </a:lnTo>
                    <a:lnTo>
                      <a:pt x="6205" y="3806"/>
                    </a:lnTo>
                    <a:lnTo>
                      <a:pt x="6199" y="3778"/>
                    </a:lnTo>
                    <a:lnTo>
                      <a:pt x="6199" y="3757"/>
                    </a:lnTo>
                    <a:lnTo>
                      <a:pt x="6205" y="3747"/>
                    </a:lnTo>
                    <a:lnTo>
                      <a:pt x="6208" y="3734"/>
                    </a:lnTo>
                    <a:lnTo>
                      <a:pt x="6209" y="3713"/>
                    </a:lnTo>
                    <a:lnTo>
                      <a:pt x="6214" y="3712"/>
                    </a:lnTo>
                    <a:lnTo>
                      <a:pt x="6214" y="3705"/>
                    </a:lnTo>
                    <a:lnTo>
                      <a:pt x="6219" y="3702"/>
                    </a:lnTo>
                    <a:lnTo>
                      <a:pt x="6216" y="3696"/>
                    </a:lnTo>
                    <a:lnTo>
                      <a:pt x="6228" y="3676"/>
                    </a:lnTo>
                    <a:lnTo>
                      <a:pt x="6236" y="3671"/>
                    </a:lnTo>
                    <a:lnTo>
                      <a:pt x="6241" y="3661"/>
                    </a:lnTo>
                    <a:lnTo>
                      <a:pt x="6247" y="3653"/>
                    </a:lnTo>
                    <a:lnTo>
                      <a:pt x="6248" y="3643"/>
                    </a:lnTo>
                    <a:lnTo>
                      <a:pt x="6253" y="3631"/>
                    </a:lnTo>
                    <a:lnTo>
                      <a:pt x="6233" y="3610"/>
                    </a:lnTo>
                    <a:lnTo>
                      <a:pt x="6241" y="3591"/>
                    </a:lnTo>
                    <a:lnTo>
                      <a:pt x="6238" y="3578"/>
                    </a:lnTo>
                    <a:lnTo>
                      <a:pt x="6235" y="3565"/>
                    </a:lnTo>
                    <a:lnTo>
                      <a:pt x="6225" y="3559"/>
                    </a:lnTo>
                    <a:lnTo>
                      <a:pt x="6214" y="3549"/>
                    </a:lnTo>
                    <a:lnTo>
                      <a:pt x="6203" y="3551"/>
                    </a:lnTo>
                    <a:lnTo>
                      <a:pt x="6190" y="3542"/>
                    </a:lnTo>
                    <a:lnTo>
                      <a:pt x="6176" y="3537"/>
                    </a:lnTo>
                    <a:lnTo>
                      <a:pt x="6168" y="3538"/>
                    </a:lnTo>
                    <a:lnTo>
                      <a:pt x="6174" y="3532"/>
                    </a:lnTo>
                    <a:lnTo>
                      <a:pt x="6188" y="3532"/>
                    </a:lnTo>
                    <a:lnTo>
                      <a:pt x="6200" y="3542"/>
                    </a:lnTo>
                    <a:lnTo>
                      <a:pt x="6209" y="3543"/>
                    </a:lnTo>
                    <a:lnTo>
                      <a:pt x="6219" y="3542"/>
                    </a:lnTo>
                    <a:lnTo>
                      <a:pt x="6237" y="3554"/>
                    </a:lnTo>
                    <a:lnTo>
                      <a:pt x="6241" y="3551"/>
                    </a:lnTo>
                    <a:lnTo>
                      <a:pt x="6249" y="3540"/>
                    </a:lnTo>
                    <a:lnTo>
                      <a:pt x="6248" y="3529"/>
                    </a:lnTo>
                    <a:lnTo>
                      <a:pt x="6241" y="3526"/>
                    </a:lnTo>
                    <a:lnTo>
                      <a:pt x="6215" y="3508"/>
                    </a:lnTo>
                    <a:lnTo>
                      <a:pt x="6203" y="3495"/>
                    </a:lnTo>
                    <a:lnTo>
                      <a:pt x="6192" y="3487"/>
                    </a:lnTo>
                    <a:lnTo>
                      <a:pt x="6189" y="3482"/>
                    </a:lnTo>
                    <a:lnTo>
                      <a:pt x="6189" y="3468"/>
                    </a:lnTo>
                    <a:lnTo>
                      <a:pt x="6182" y="3461"/>
                    </a:lnTo>
                    <a:lnTo>
                      <a:pt x="6173" y="3454"/>
                    </a:lnTo>
                    <a:lnTo>
                      <a:pt x="6163" y="3450"/>
                    </a:lnTo>
                    <a:lnTo>
                      <a:pt x="6161" y="3445"/>
                    </a:lnTo>
                    <a:lnTo>
                      <a:pt x="6161" y="3440"/>
                    </a:lnTo>
                    <a:lnTo>
                      <a:pt x="6158" y="3440"/>
                    </a:lnTo>
                    <a:lnTo>
                      <a:pt x="6150" y="3440"/>
                    </a:lnTo>
                    <a:lnTo>
                      <a:pt x="6135" y="3446"/>
                    </a:lnTo>
                    <a:lnTo>
                      <a:pt x="6124" y="3446"/>
                    </a:lnTo>
                    <a:lnTo>
                      <a:pt x="6103" y="3438"/>
                    </a:lnTo>
                    <a:lnTo>
                      <a:pt x="6103" y="3457"/>
                    </a:lnTo>
                    <a:lnTo>
                      <a:pt x="6106" y="3459"/>
                    </a:lnTo>
                    <a:lnTo>
                      <a:pt x="6103" y="3467"/>
                    </a:lnTo>
                    <a:lnTo>
                      <a:pt x="6101" y="3483"/>
                    </a:lnTo>
                    <a:lnTo>
                      <a:pt x="6093" y="3504"/>
                    </a:lnTo>
                    <a:lnTo>
                      <a:pt x="6082" y="3510"/>
                    </a:lnTo>
                    <a:lnTo>
                      <a:pt x="6086" y="3495"/>
                    </a:lnTo>
                    <a:lnTo>
                      <a:pt x="6095" y="3481"/>
                    </a:lnTo>
                    <a:lnTo>
                      <a:pt x="6090" y="3471"/>
                    </a:lnTo>
                    <a:lnTo>
                      <a:pt x="6071" y="3493"/>
                    </a:lnTo>
                    <a:lnTo>
                      <a:pt x="6058" y="3500"/>
                    </a:lnTo>
                    <a:lnTo>
                      <a:pt x="6038" y="3505"/>
                    </a:lnTo>
                    <a:lnTo>
                      <a:pt x="6023" y="3504"/>
                    </a:lnTo>
                    <a:lnTo>
                      <a:pt x="6023" y="3499"/>
                    </a:lnTo>
                    <a:lnTo>
                      <a:pt x="6032" y="3495"/>
                    </a:lnTo>
                    <a:lnTo>
                      <a:pt x="6038" y="3488"/>
                    </a:lnTo>
                    <a:lnTo>
                      <a:pt x="6045" y="3477"/>
                    </a:lnTo>
                    <a:lnTo>
                      <a:pt x="6043" y="3470"/>
                    </a:lnTo>
                    <a:lnTo>
                      <a:pt x="6033" y="3465"/>
                    </a:lnTo>
                    <a:lnTo>
                      <a:pt x="6028" y="3455"/>
                    </a:lnTo>
                    <a:lnTo>
                      <a:pt x="6034" y="3452"/>
                    </a:lnTo>
                    <a:lnTo>
                      <a:pt x="6043" y="3443"/>
                    </a:lnTo>
                    <a:lnTo>
                      <a:pt x="6044" y="3438"/>
                    </a:lnTo>
                    <a:lnTo>
                      <a:pt x="6028" y="3439"/>
                    </a:lnTo>
                    <a:lnTo>
                      <a:pt x="6018" y="3445"/>
                    </a:lnTo>
                    <a:lnTo>
                      <a:pt x="6015" y="3454"/>
                    </a:lnTo>
                    <a:lnTo>
                      <a:pt x="6021" y="3462"/>
                    </a:lnTo>
                    <a:lnTo>
                      <a:pt x="6018" y="3470"/>
                    </a:lnTo>
                    <a:lnTo>
                      <a:pt x="6010" y="3479"/>
                    </a:lnTo>
                    <a:lnTo>
                      <a:pt x="6001" y="3479"/>
                    </a:lnTo>
                    <a:lnTo>
                      <a:pt x="5996" y="3487"/>
                    </a:lnTo>
                    <a:lnTo>
                      <a:pt x="5994" y="3484"/>
                    </a:lnTo>
                    <a:lnTo>
                      <a:pt x="5993" y="3466"/>
                    </a:lnTo>
                    <a:lnTo>
                      <a:pt x="5995" y="3455"/>
                    </a:lnTo>
                    <a:lnTo>
                      <a:pt x="5996" y="3444"/>
                    </a:lnTo>
                    <a:lnTo>
                      <a:pt x="5997" y="3434"/>
                    </a:lnTo>
                    <a:lnTo>
                      <a:pt x="5996" y="3430"/>
                    </a:lnTo>
                    <a:lnTo>
                      <a:pt x="5997" y="3417"/>
                    </a:lnTo>
                    <a:lnTo>
                      <a:pt x="5995" y="3408"/>
                    </a:lnTo>
                    <a:lnTo>
                      <a:pt x="5985" y="3406"/>
                    </a:lnTo>
                    <a:lnTo>
                      <a:pt x="5962" y="3412"/>
                    </a:lnTo>
                    <a:lnTo>
                      <a:pt x="5939" y="3413"/>
                    </a:lnTo>
                    <a:lnTo>
                      <a:pt x="5929" y="3405"/>
                    </a:lnTo>
                    <a:lnTo>
                      <a:pt x="5910" y="3396"/>
                    </a:lnTo>
                    <a:lnTo>
                      <a:pt x="5910" y="3390"/>
                    </a:lnTo>
                    <a:lnTo>
                      <a:pt x="5915" y="3376"/>
                    </a:lnTo>
                    <a:lnTo>
                      <a:pt x="5942" y="3354"/>
                    </a:lnTo>
                    <a:lnTo>
                      <a:pt x="5950" y="3350"/>
                    </a:lnTo>
                    <a:lnTo>
                      <a:pt x="5968" y="3336"/>
                    </a:lnTo>
                    <a:lnTo>
                      <a:pt x="5977" y="3320"/>
                    </a:lnTo>
                    <a:lnTo>
                      <a:pt x="5983" y="3314"/>
                    </a:lnTo>
                    <a:lnTo>
                      <a:pt x="5989" y="3312"/>
                    </a:lnTo>
                    <a:lnTo>
                      <a:pt x="5999" y="3305"/>
                    </a:lnTo>
                    <a:lnTo>
                      <a:pt x="6047" y="3260"/>
                    </a:lnTo>
                    <a:lnTo>
                      <a:pt x="6056" y="3241"/>
                    </a:lnTo>
                    <a:lnTo>
                      <a:pt x="6065" y="3235"/>
                    </a:lnTo>
                    <a:lnTo>
                      <a:pt x="6069" y="3226"/>
                    </a:lnTo>
                    <a:lnTo>
                      <a:pt x="6070" y="3218"/>
                    </a:lnTo>
                    <a:lnTo>
                      <a:pt x="6076" y="3212"/>
                    </a:lnTo>
                    <a:lnTo>
                      <a:pt x="6083" y="3202"/>
                    </a:lnTo>
                    <a:lnTo>
                      <a:pt x="6087" y="3194"/>
                    </a:lnTo>
                    <a:lnTo>
                      <a:pt x="6093" y="3196"/>
                    </a:lnTo>
                    <a:lnTo>
                      <a:pt x="6099" y="3182"/>
                    </a:lnTo>
                    <a:lnTo>
                      <a:pt x="6114" y="3169"/>
                    </a:lnTo>
                    <a:lnTo>
                      <a:pt x="6130" y="3145"/>
                    </a:lnTo>
                    <a:lnTo>
                      <a:pt x="6140" y="3147"/>
                    </a:lnTo>
                    <a:lnTo>
                      <a:pt x="6158" y="3127"/>
                    </a:lnTo>
                    <a:lnTo>
                      <a:pt x="6166" y="3111"/>
                    </a:lnTo>
                    <a:lnTo>
                      <a:pt x="6169" y="3112"/>
                    </a:lnTo>
                    <a:lnTo>
                      <a:pt x="6182" y="3101"/>
                    </a:lnTo>
                    <a:lnTo>
                      <a:pt x="6193" y="3095"/>
                    </a:lnTo>
                    <a:lnTo>
                      <a:pt x="6201" y="3078"/>
                    </a:lnTo>
                    <a:lnTo>
                      <a:pt x="6204" y="3063"/>
                    </a:lnTo>
                    <a:lnTo>
                      <a:pt x="6219" y="3043"/>
                    </a:lnTo>
                    <a:lnTo>
                      <a:pt x="6258" y="3011"/>
                    </a:lnTo>
                    <a:lnTo>
                      <a:pt x="6270" y="2994"/>
                    </a:lnTo>
                    <a:lnTo>
                      <a:pt x="6280" y="2976"/>
                    </a:lnTo>
                    <a:lnTo>
                      <a:pt x="6298" y="2960"/>
                    </a:lnTo>
                    <a:lnTo>
                      <a:pt x="6316" y="2946"/>
                    </a:lnTo>
                    <a:lnTo>
                      <a:pt x="6345" y="2932"/>
                    </a:lnTo>
                    <a:lnTo>
                      <a:pt x="6400" y="2927"/>
                    </a:lnTo>
                    <a:lnTo>
                      <a:pt x="6436" y="2927"/>
                    </a:lnTo>
                    <a:lnTo>
                      <a:pt x="6456" y="2924"/>
                    </a:lnTo>
                    <a:lnTo>
                      <a:pt x="6464" y="2927"/>
                    </a:lnTo>
                    <a:lnTo>
                      <a:pt x="6475" y="2925"/>
                    </a:lnTo>
                    <a:lnTo>
                      <a:pt x="6488" y="2929"/>
                    </a:lnTo>
                    <a:lnTo>
                      <a:pt x="6495" y="2929"/>
                    </a:lnTo>
                    <a:lnTo>
                      <a:pt x="6495" y="2941"/>
                    </a:lnTo>
                    <a:lnTo>
                      <a:pt x="6500" y="2950"/>
                    </a:lnTo>
                    <a:lnTo>
                      <a:pt x="6507" y="2951"/>
                    </a:lnTo>
                    <a:lnTo>
                      <a:pt x="6518" y="2949"/>
                    </a:lnTo>
                    <a:lnTo>
                      <a:pt x="6521" y="2944"/>
                    </a:lnTo>
                    <a:lnTo>
                      <a:pt x="6522" y="2923"/>
                    </a:lnTo>
                    <a:lnTo>
                      <a:pt x="6527" y="2919"/>
                    </a:lnTo>
                    <a:lnTo>
                      <a:pt x="6585" y="2943"/>
                    </a:lnTo>
                    <a:lnTo>
                      <a:pt x="6602" y="2940"/>
                    </a:lnTo>
                    <a:lnTo>
                      <a:pt x="6602" y="2932"/>
                    </a:lnTo>
                    <a:lnTo>
                      <a:pt x="6610" y="2927"/>
                    </a:lnTo>
                    <a:lnTo>
                      <a:pt x="6630" y="2928"/>
                    </a:lnTo>
                    <a:lnTo>
                      <a:pt x="6638" y="2937"/>
                    </a:lnTo>
                    <a:lnTo>
                      <a:pt x="6641" y="2944"/>
                    </a:lnTo>
                    <a:lnTo>
                      <a:pt x="6646" y="2945"/>
                    </a:lnTo>
                    <a:lnTo>
                      <a:pt x="6660" y="2941"/>
                    </a:lnTo>
                    <a:lnTo>
                      <a:pt x="6660" y="2932"/>
                    </a:lnTo>
                    <a:lnTo>
                      <a:pt x="6656" y="2932"/>
                    </a:lnTo>
                    <a:lnTo>
                      <a:pt x="6651" y="2923"/>
                    </a:lnTo>
                    <a:lnTo>
                      <a:pt x="6660" y="2918"/>
                    </a:lnTo>
                    <a:lnTo>
                      <a:pt x="6673" y="2918"/>
                    </a:lnTo>
                    <a:lnTo>
                      <a:pt x="6672" y="2912"/>
                    </a:lnTo>
                    <a:lnTo>
                      <a:pt x="6667" y="2905"/>
                    </a:lnTo>
                    <a:lnTo>
                      <a:pt x="6668" y="2898"/>
                    </a:lnTo>
                    <a:lnTo>
                      <a:pt x="6679" y="2891"/>
                    </a:lnTo>
                    <a:lnTo>
                      <a:pt x="6692" y="2890"/>
                    </a:lnTo>
                    <a:lnTo>
                      <a:pt x="6705" y="2892"/>
                    </a:lnTo>
                    <a:lnTo>
                      <a:pt x="6737" y="2905"/>
                    </a:lnTo>
                    <a:lnTo>
                      <a:pt x="6747" y="2905"/>
                    </a:lnTo>
                    <a:lnTo>
                      <a:pt x="6760" y="2913"/>
                    </a:lnTo>
                    <a:lnTo>
                      <a:pt x="6762" y="2918"/>
                    </a:lnTo>
                    <a:lnTo>
                      <a:pt x="6770" y="2921"/>
                    </a:lnTo>
                    <a:lnTo>
                      <a:pt x="6775" y="2908"/>
                    </a:lnTo>
                    <a:lnTo>
                      <a:pt x="6785" y="2906"/>
                    </a:lnTo>
                    <a:lnTo>
                      <a:pt x="6798" y="2910"/>
                    </a:lnTo>
                    <a:lnTo>
                      <a:pt x="6808" y="2916"/>
                    </a:lnTo>
                    <a:lnTo>
                      <a:pt x="6817" y="2927"/>
                    </a:lnTo>
                    <a:lnTo>
                      <a:pt x="6822" y="2937"/>
                    </a:lnTo>
                    <a:lnTo>
                      <a:pt x="6841" y="2940"/>
                    </a:lnTo>
                    <a:lnTo>
                      <a:pt x="6845" y="2948"/>
                    </a:lnTo>
                    <a:lnTo>
                      <a:pt x="6833" y="2953"/>
                    </a:lnTo>
                    <a:lnTo>
                      <a:pt x="6817" y="2954"/>
                    </a:lnTo>
                    <a:lnTo>
                      <a:pt x="6795" y="2954"/>
                    </a:lnTo>
                    <a:lnTo>
                      <a:pt x="6784" y="2959"/>
                    </a:lnTo>
                    <a:lnTo>
                      <a:pt x="6785" y="2965"/>
                    </a:lnTo>
                    <a:lnTo>
                      <a:pt x="6800" y="2984"/>
                    </a:lnTo>
                    <a:lnTo>
                      <a:pt x="6816" y="2986"/>
                    </a:lnTo>
                    <a:lnTo>
                      <a:pt x="6829" y="2984"/>
                    </a:lnTo>
                    <a:lnTo>
                      <a:pt x="6843" y="2981"/>
                    </a:lnTo>
                    <a:lnTo>
                      <a:pt x="6849" y="2971"/>
                    </a:lnTo>
                    <a:lnTo>
                      <a:pt x="6859" y="2966"/>
                    </a:lnTo>
                    <a:lnTo>
                      <a:pt x="6866" y="2973"/>
                    </a:lnTo>
                    <a:lnTo>
                      <a:pt x="6878" y="2978"/>
                    </a:lnTo>
                    <a:lnTo>
                      <a:pt x="6886" y="2972"/>
                    </a:lnTo>
                    <a:lnTo>
                      <a:pt x="6892" y="2962"/>
                    </a:lnTo>
                    <a:lnTo>
                      <a:pt x="6905" y="2960"/>
                    </a:lnTo>
                    <a:lnTo>
                      <a:pt x="6907" y="2953"/>
                    </a:lnTo>
                    <a:lnTo>
                      <a:pt x="6919" y="2946"/>
                    </a:lnTo>
                    <a:lnTo>
                      <a:pt x="6935" y="2951"/>
                    </a:lnTo>
                    <a:lnTo>
                      <a:pt x="6942" y="2962"/>
                    </a:lnTo>
                    <a:lnTo>
                      <a:pt x="6951" y="2962"/>
                    </a:lnTo>
                    <a:lnTo>
                      <a:pt x="6963" y="2959"/>
                    </a:lnTo>
                    <a:lnTo>
                      <a:pt x="6967" y="2950"/>
                    </a:lnTo>
                    <a:lnTo>
                      <a:pt x="6981" y="2951"/>
                    </a:lnTo>
                    <a:lnTo>
                      <a:pt x="6988" y="2956"/>
                    </a:lnTo>
                    <a:lnTo>
                      <a:pt x="6991" y="2950"/>
                    </a:lnTo>
                    <a:lnTo>
                      <a:pt x="7001" y="2950"/>
                    </a:lnTo>
                    <a:lnTo>
                      <a:pt x="7002" y="2943"/>
                    </a:lnTo>
                    <a:lnTo>
                      <a:pt x="7000" y="2933"/>
                    </a:lnTo>
                    <a:lnTo>
                      <a:pt x="6993" y="2922"/>
                    </a:lnTo>
                    <a:lnTo>
                      <a:pt x="6972" y="2913"/>
                    </a:lnTo>
                    <a:lnTo>
                      <a:pt x="6951" y="2917"/>
                    </a:lnTo>
                    <a:lnTo>
                      <a:pt x="6952" y="2910"/>
                    </a:lnTo>
                    <a:lnTo>
                      <a:pt x="6958" y="2902"/>
                    </a:lnTo>
                    <a:lnTo>
                      <a:pt x="6950" y="2879"/>
                    </a:lnTo>
                    <a:lnTo>
                      <a:pt x="6953" y="2875"/>
                    </a:lnTo>
                    <a:lnTo>
                      <a:pt x="6959" y="2879"/>
                    </a:lnTo>
                    <a:lnTo>
                      <a:pt x="6962" y="2879"/>
                    </a:lnTo>
                    <a:lnTo>
                      <a:pt x="6975" y="2849"/>
                    </a:lnTo>
                    <a:lnTo>
                      <a:pt x="6983" y="2837"/>
                    </a:lnTo>
                    <a:lnTo>
                      <a:pt x="6986" y="2827"/>
                    </a:lnTo>
                    <a:lnTo>
                      <a:pt x="6999" y="2815"/>
                    </a:lnTo>
                    <a:lnTo>
                      <a:pt x="7011" y="2809"/>
                    </a:lnTo>
                    <a:lnTo>
                      <a:pt x="7047" y="2776"/>
                    </a:lnTo>
                    <a:lnTo>
                      <a:pt x="7047" y="2767"/>
                    </a:lnTo>
                    <a:lnTo>
                      <a:pt x="7051" y="2757"/>
                    </a:lnTo>
                    <a:lnTo>
                      <a:pt x="7074" y="2731"/>
                    </a:lnTo>
                    <a:lnTo>
                      <a:pt x="7083" y="2723"/>
                    </a:lnTo>
                    <a:lnTo>
                      <a:pt x="7088" y="2697"/>
                    </a:lnTo>
                    <a:lnTo>
                      <a:pt x="7099" y="2690"/>
                    </a:lnTo>
                    <a:lnTo>
                      <a:pt x="7118" y="2670"/>
                    </a:lnTo>
                    <a:lnTo>
                      <a:pt x="7128" y="2666"/>
                    </a:lnTo>
                    <a:lnTo>
                      <a:pt x="7137" y="2659"/>
                    </a:lnTo>
                    <a:lnTo>
                      <a:pt x="7165" y="2661"/>
                    </a:lnTo>
                    <a:lnTo>
                      <a:pt x="7205" y="2653"/>
                    </a:lnTo>
                    <a:lnTo>
                      <a:pt x="7211" y="2648"/>
                    </a:lnTo>
                    <a:lnTo>
                      <a:pt x="7215" y="2642"/>
                    </a:lnTo>
                    <a:lnTo>
                      <a:pt x="7221" y="2643"/>
                    </a:lnTo>
                    <a:lnTo>
                      <a:pt x="7235" y="2652"/>
                    </a:lnTo>
                    <a:lnTo>
                      <a:pt x="7241" y="2659"/>
                    </a:lnTo>
                    <a:lnTo>
                      <a:pt x="7244" y="2670"/>
                    </a:lnTo>
                    <a:lnTo>
                      <a:pt x="7260" y="2669"/>
                    </a:lnTo>
                    <a:lnTo>
                      <a:pt x="7270" y="2658"/>
                    </a:lnTo>
                    <a:lnTo>
                      <a:pt x="7290" y="2638"/>
                    </a:lnTo>
                    <a:lnTo>
                      <a:pt x="7281" y="2685"/>
                    </a:lnTo>
                    <a:lnTo>
                      <a:pt x="7273" y="2693"/>
                    </a:lnTo>
                    <a:lnTo>
                      <a:pt x="7269" y="2703"/>
                    </a:lnTo>
                    <a:lnTo>
                      <a:pt x="7263" y="2712"/>
                    </a:lnTo>
                    <a:lnTo>
                      <a:pt x="7263" y="2725"/>
                    </a:lnTo>
                    <a:lnTo>
                      <a:pt x="7269" y="2733"/>
                    </a:lnTo>
                    <a:lnTo>
                      <a:pt x="7268" y="2741"/>
                    </a:lnTo>
                    <a:lnTo>
                      <a:pt x="7263" y="2745"/>
                    </a:lnTo>
                    <a:lnTo>
                      <a:pt x="7260" y="2752"/>
                    </a:lnTo>
                    <a:lnTo>
                      <a:pt x="7265" y="2756"/>
                    </a:lnTo>
                    <a:lnTo>
                      <a:pt x="7280" y="2749"/>
                    </a:lnTo>
                    <a:lnTo>
                      <a:pt x="7292" y="2746"/>
                    </a:lnTo>
                    <a:lnTo>
                      <a:pt x="7281" y="2771"/>
                    </a:lnTo>
                    <a:lnTo>
                      <a:pt x="7278" y="2787"/>
                    </a:lnTo>
                    <a:lnTo>
                      <a:pt x="7279" y="2797"/>
                    </a:lnTo>
                    <a:lnTo>
                      <a:pt x="7286" y="2793"/>
                    </a:lnTo>
                    <a:lnTo>
                      <a:pt x="7300" y="2781"/>
                    </a:lnTo>
                    <a:lnTo>
                      <a:pt x="7309" y="2781"/>
                    </a:lnTo>
                    <a:lnTo>
                      <a:pt x="7345" y="2734"/>
                    </a:lnTo>
                    <a:lnTo>
                      <a:pt x="7355" y="2728"/>
                    </a:lnTo>
                    <a:lnTo>
                      <a:pt x="7367" y="2713"/>
                    </a:lnTo>
                    <a:lnTo>
                      <a:pt x="7378" y="2704"/>
                    </a:lnTo>
                    <a:lnTo>
                      <a:pt x="7399" y="2680"/>
                    </a:lnTo>
                    <a:lnTo>
                      <a:pt x="7414" y="2679"/>
                    </a:lnTo>
                    <a:lnTo>
                      <a:pt x="7420" y="2675"/>
                    </a:lnTo>
                    <a:lnTo>
                      <a:pt x="7422" y="2666"/>
                    </a:lnTo>
                    <a:lnTo>
                      <a:pt x="7430" y="2671"/>
                    </a:lnTo>
                    <a:lnTo>
                      <a:pt x="7429" y="2680"/>
                    </a:lnTo>
                    <a:lnTo>
                      <a:pt x="7431" y="2688"/>
                    </a:lnTo>
                    <a:lnTo>
                      <a:pt x="7438" y="2687"/>
                    </a:lnTo>
                    <a:lnTo>
                      <a:pt x="7447" y="2669"/>
                    </a:lnTo>
                    <a:lnTo>
                      <a:pt x="7437" y="2666"/>
                    </a:lnTo>
                    <a:lnTo>
                      <a:pt x="7434" y="2656"/>
                    </a:lnTo>
                    <a:lnTo>
                      <a:pt x="7437" y="2642"/>
                    </a:lnTo>
                    <a:lnTo>
                      <a:pt x="7438" y="2627"/>
                    </a:lnTo>
                    <a:lnTo>
                      <a:pt x="7438" y="2618"/>
                    </a:lnTo>
                    <a:lnTo>
                      <a:pt x="7448" y="2601"/>
                    </a:lnTo>
                    <a:lnTo>
                      <a:pt x="7448" y="2593"/>
                    </a:lnTo>
                    <a:lnTo>
                      <a:pt x="7452" y="2583"/>
                    </a:lnTo>
                    <a:lnTo>
                      <a:pt x="7467" y="2569"/>
                    </a:lnTo>
                    <a:lnTo>
                      <a:pt x="7511" y="2553"/>
                    </a:lnTo>
                    <a:lnTo>
                      <a:pt x="7526" y="2557"/>
                    </a:lnTo>
                    <a:lnTo>
                      <a:pt x="7542" y="2572"/>
                    </a:lnTo>
                    <a:lnTo>
                      <a:pt x="7535" y="2585"/>
                    </a:lnTo>
                    <a:lnTo>
                      <a:pt x="7524" y="2582"/>
                    </a:lnTo>
                    <a:lnTo>
                      <a:pt x="7506" y="2596"/>
                    </a:lnTo>
                    <a:lnTo>
                      <a:pt x="7496" y="2607"/>
                    </a:lnTo>
                    <a:lnTo>
                      <a:pt x="7494" y="2623"/>
                    </a:lnTo>
                    <a:lnTo>
                      <a:pt x="7490" y="2631"/>
                    </a:lnTo>
                    <a:lnTo>
                      <a:pt x="7489" y="2644"/>
                    </a:lnTo>
                    <a:lnTo>
                      <a:pt x="7489" y="2670"/>
                    </a:lnTo>
                    <a:lnTo>
                      <a:pt x="7478" y="2681"/>
                    </a:lnTo>
                    <a:lnTo>
                      <a:pt x="7477" y="2688"/>
                    </a:lnTo>
                    <a:lnTo>
                      <a:pt x="7478" y="2699"/>
                    </a:lnTo>
                    <a:lnTo>
                      <a:pt x="7480" y="2706"/>
                    </a:lnTo>
                    <a:lnTo>
                      <a:pt x="7479" y="2718"/>
                    </a:lnTo>
                    <a:lnTo>
                      <a:pt x="7472" y="2728"/>
                    </a:lnTo>
                    <a:lnTo>
                      <a:pt x="7465" y="2731"/>
                    </a:lnTo>
                    <a:lnTo>
                      <a:pt x="7464" y="2738"/>
                    </a:lnTo>
                    <a:lnTo>
                      <a:pt x="7463" y="2749"/>
                    </a:lnTo>
                    <a:lnTo>
                      <a:pt x="7472" y="2755"/>
                    </a:lnTo>
                    <a:lnTo>
                      <a:pt x="7472" y="2762"/>
                    </a:lnTo>
                    <a:lnTo>
                      <a:pt x="7462" y="2771"/>
                    </a:lnTo>
                    <a:lnTo>
                      <a:pt x="7451" y="2777"/>
                    </a:lnTo>
                    <a:lnTo>
                      <a:pt x="7440" y="2774"/>
                    </a:lnTo>
                    <a:lnTo>
                      <a:pt x="7427" y="2779"/>
                    </a:lnTo>
                    <a:lnTo>
                      <a:pt x="7415" y="2797"/>
                    </a:lnTo>
                    <a:lnTo>
                      <a:pt x="7402" y="2798"/>
                    </a:lnTo>
                    <a:lnTo>
                      <a:pt x="7376" y="2809"/>
                    </a:lnTo>
                    <a:lnTo>
                      <a:pt x="7372" y="2814"/>
                    </a:lnTo>
                    <a:lnTo>
                      <a:pt x="7372" y="2826"/>
                    </a:lnTo>
                    <a:lnTo>
                      <a:pt x="7367" y="2838"/>
                    </a:lnTo>
                    <a:lnTo>
                      <a:pt x="7356" y="2848"/>
                    </a:lnTo>
                    <a:lnTo>
                      <a:pt x="7343" y="2864"/>
                    </a:lnTo>
                    <a:lnTo>
                      <a:pt x="7318" y="2897"/>
                    </a:lnTo>
                    <a:lnTo>
                      <a:pt x="7293" y="2911"/>
                    </a:lnTo>
                    <a:lnTo>
                      <a:pt x="7286" y="2929"/>
                    </a:lnTo>
                    <a:lnTo>
                      <a:pt x="7276" y="2934"/>
                    </a:lnTo>
                    <a:lnTo>
                      <a:pt x="7258" y="2960"/>
                    </a:lnTo>
                    <a:lnTo>
                      <a:pt x="7255" y="2978"/>
                    </a:lnTo>
                    <a:lnTo>
                      <a:pt x="7236" y="3002"/>
                    </a:lnTo>
                    <a:lnTo>
                      <a:pt x="7225" y="3019"/>
                    </a:lnTo>
                    <a:lnTo>
                      <a:pt x="7210" y="3031"/>
                    </a:lnTo>
                    <a:lnTo>
                      <a:pt x="7195" y="3047"/>
                    </a:lnTo>
                    <a:lnTo>
                      <a:pt x="7182" y="3066"/>
                    </a:lnTo>
                    <a:lnTo>
                      <a:pt x="7162" y="3075"/>
                    </a:lnTo>
                    <a:lnTo>
                      <a:pt x="7144" y="3075"/>
                    </a:lnTo>
                    <a:lnTo>
                      <a:pt x="7137" y="3085"/>
                    </a:lnTo>
                    <a:lnTo>
                      <a:pt x="7128" y="3096"/>
                    </a:lnTo>
                    <a:lnTo>
                      <a:pt x="7108" y="3091"/>
                    </a:lnTo>
                    <a:lnTo>
                      <a:pt x="7098" y="3093"/>
                    </a:lnTo>
                    <a:lnTo>
                      <a:pt x="7103" y="3105"/>
                    </a:lnTo>
                    <a:lnTo>
                      <a:pt x="7106" y="3124"/>
                    </a:lnTo>
                    <a:lnTo>
                      <a:pt x="7093" y="3164"/>
                    </a:lnTo>
                    <a:lnTo>
                      <a:pt x="7077" y="3174"/>
                    </a:lnTo>
                    <a:lnTo>
                      <a:pt x="7065" y="3186"/>
                    </a:lnTo>
                    <a:lnTo>
                      <a:pt x="7051" y="3193"/>
                    </a:lnTo>
                    <a:lnTo>
                      <a:pt x="7045" y="3206"/>
                    </a:lnTo>
                    <a:lnTo>
                      <a:pt x="7040" y="3229"/>
                    </a:lnTo>
                    <a:lnTo>
                      <a:pt x="7028" y="3279"/>
                    </a:lnTo>
                    <a:lnTo>
                      <a:pt x="7027" y="3328"/>
                    </a:lnTo>
                    <a:lnTo>
                      <a:pt x="7028" y="3352"/>
                    </a:lnTo>
                    <a:lnTo>
                      <a:pt x="7031" y="3374"/>
                    </a:lnTo>
                    <a:lnTo>
                      <a:pt x="7032" y="3403"/>
                    </a:lnTo>
                    <a:lnTo>
                      <a:pt x="7036" y="3418"/>
                    </a:lnTo>
                    <a:lnTo>
                      <a:pt x="7040" y="3459"/>
                    </a:lnTo>
                    <a:lnTo>
                      <a:pt x="7042" y="3463"/>
                    </a:lnTo>
                    <a:lnTo>
                      <a:pt x="7044" y="3467"/>
                    </a:lnTo>
                    <a:lnTo>
                      <a:pt x="7051" y="3503"/>
                    </a:lnTo>
                    <a:lnTo>
                      <a:pt x="7056" y="3524"/>
                    </a:lnTo>
                    <a:lnTo>
                      <a:pt x="7058" y="3551"/>
                    </a:lnTo>
                    <a:lnTo>
                      <a:pt x="7061" y="3573"/>
                    </a:lnTo>
                    <a:lnTo>
                      <a:pt x="7066" y="3596"/>
                    </a:lnTo>
                    <a:lnTo>
                      <a:pt x="7075" y="3617"/>
                    </a:lnTo>
                    <a:lnTo>
                      <a:pt x="7081" y="3640"/>
                    </a:lnTo>
                    <a:lnTo>
                      <a:pt x="7081" y="3685"/>
                    </a:lnTo>
                    <a:lnTo>
                      <a:pt x="7082" y="3705"/>
                    </a:lnTo>
                    <a:lnTo>
                      <a:pt x="7092" y="3729"/>
                    </a:lnTo>
                    <a:lnTo>
                      <a:pt x="7094" y="3742"/>
                    </a:lnTo>
                    <a:lnTo>
                      <a:pt x="7108" y="3728"/>
                    </a:lnTo>
                    <a:lnTo>
                      <a:pt x="7120" y="3718"/>
                    </a:lnTo>
                    <a:lnTo>
                      <a:pt x="7131" y="3704"/>
                    </a:lnTo>
                    <a:lnTo>
                      <a:pt x="7139" y="3691"/>
                    </a:lnTo>
                    <a:lnTo>
                      <a:pt x="7150" y="3682"/>
                    </a:lnTo>
                    <a:lnTo>
                      <a:pt x="7172" y="3656"/>
                    </a:lnTo>
                    <a:lnTo>
                      <a:pt x="7184" y="3626"/>
                    </a:lnTo>
                    <a:lnTo>
                      <a:pt x="7185" y="3613"/>
                    </a:lnTo>
                    <a:lnTo>
                      <a:pt x="7184" y="3595"/>
                    </a:lnTo>
                    <a:lnTo>
                      <a:pt x="7188" y="3589"/>
                    </a:lnTo>
                    <a:lnTo>
                      <a:pt x="7192" y="3573"/>
                    </a:lnTo>
                    <a:lnTo>
                      <a:pt x="7187" y="3569"/>
                    </a:lnTo>
                    <a:lnTo>
                      <a:pt x="7192" y="3561"/>
                    </a:lnTo>
                    <a:lnTo>
                      <a:pt x="7198" y="3562"/>
                    </a:lnTo>
                    <a:lnTo>
                      <a:pt x="7203" y="3567"/>
                    </a:lnTo>
                    <a:lnTo>
                      <a:pt x="7212" y="3556"/>
                    </a:lnTo>
                    <a:lnTo>
                      <a:pt x="7228" y="3545"/>
                    </a:lnTo>
                    <a:lnTo>
                      <a:pt x="7252" y="3536"/>
                    </a:lnTo>
                    <a:lnTo>
                      <a:pt x="7269" y="3542"/>
                    </a:lnTo>
                    <a:lnTo>
                      <a:pt x="7268" y="3536"/>
                    </a:lnTo>
                    <a:lnTo>
                      <a:pt x="7264" y="3529"/>
                    </a:lnTo>
                    <a:lnTo>
                      <a:pt x="7262" y="3516"/>
                    </a:lnTo>
                    <a:lnTo>
                      <a:pt x="7262" y="3479"/>
                    </a:lnTo>
                    <a:lnTo>
                      <a:pt x="7263" y="3463"/>
                    </a:lnTo>
                    <a:lnTo>
                      <a:pt x="7273" y="3450"/>
                    </a:lnTo>
                    <a:lnTo>
                      <a:pt x="7301" y="3423"/>
                    </a:lnTo>
                    <a:lnTo>
                      <a:pt x="7319" y="3413"/>
                    </a:lnTo>
                    <a:lnTo>
                      <a:pt x="7335" y="3409"/>
                    </a:lnTo>
                    <a:lnTo>
                      <a:pt x="7341" y="3418"/>
                    </a:lnTo>
                    <a:lnTo>
                      <a:pt x="7354" y="3418"/>
                    </a:lnTo>
                    <a:lnTo>
                      <a:pt x="7366" y="3414"/>
                    </a:lnTo>
                    <a:lnTo>
                      <a:pt x="7382" y="3398"/>
                    </a:lnTo>
                    <a:lnTo>
                      <a:pt x="7384" y="3390"/>
                    </a:lnTo>
                    <a:lnTo>
                      <a:pt x="7365" y="3362"/>
                    </a:lnTo>
                    <a:lnTo>
                      <a:pt x="7360" y="3347"/>
                    </a:lnTo>
                    <a:lnTo>
                      <a:pt x="7357" y="3335"/>
                    </a:lnTo>
                    <a:lnTo>
                      <a:pt x="7359" y="3322"/>
                    </a:lnTo>
                    <a:lnTo>
                      <a:pt x="7362" y="3305"/>
                    </a:lnTo>
                    <a:lnTo>
                      <a:pt x="7368" y="3293"/>
                    </a:lnTo>
                    <a:lnTo>
                      <a:pt x="7372" y="3279"/>
                    </a:lnTo>
                    <a:lnTo>
                      <a:pt x="7381" y="3267"/>
                    </a:lnTo>
                    <a:lnTo>
                      <a:pt x="7397" y="3256"/>
                    </a:lnTo>
                    <a:lnTo>
                      <a:pt x="7394" y="3247"/>
                    </a:lnTo>
                    <a:lnTo>
                      <a:pt x="7391" y="3242"/>
                    </a:lnTo>
                    <a:lnTo>
                      <a:pt x="7389" y="3237"/>
                    </a:lnTo>
                    <a:lnTo>
                      <a:pt x="7405" y="3231"/>
                    </a:lnTo>
                    <a:lnTo>
                      <a:pt x="7422" y="3229"/>
                    </a:lnTo>
                    <a:lnTo>
                      <a:pt x="7429" y="3222"/>
                    </a:lnTo>
                    <a:lnTo>
                      <a:pt x="7431" y="3226"/>
                    </a:lnTo>
                    <a:lnTo>
                      <a:pt x="7424" y="3237"/>
                    </a:lnTo>
                    <a:lnTo>
                      <a:pt x="7416" y="3242"/>
                    </a:lnTo>
                    <a:lnTo>
                      <a:pt x="7413" y="3251"/>
                    </a:lnTo>
                    <a:lnTo>
                      <a:pt x="7422" y="3271"/>
                    </a:lnTo>
                    <a:lnTo>
                      <a:pt x="7431" y="3274"/>
                    </a:lnTo>
                    <a:lnTo>
                      <a:pt x="7435" y="3274"/>
                    </a:lnTo>
                    <a:lnTo>
                      <a:pt x="7445" y="3258"/>
                    </a:lnTo>
                    <a:lnTo>
                      <a:pt x="7447" y="3247"/>
                    </a:lnTo>
                    <a:lnTo>
                      <a:pt x="7442" y="3212"/>
                    </a:lnTo>
                    <a:lnTo>
                      <a:pt x="7437" y="3203"/>
                    </a:lnTo>
                    <a:lnTo>
                      <a:pt x="7421" y="3206"/>
                    </a:lnTo>
                    <a:lnTo>
                      <a:pt x="7419" y="3202"/>
                    </a:lnTo>
                    <a:lnTo>
                      <a:pt x="7419" y="3180"/>
                    </a:lnTo>
                    <a:lnTo>
                      <a:pt x="7416" y="3159"/>
                    </a:lnTo>
                    <a:lnTo>
                      <a:pt x="7418" y="3147"/>
                    </a:lnTo>
                    <a:lnTo>
                      <a:pt x="7421" y="3137"/>
                    </a:lnTo>
                    <a:lnTo>
                      <a:pt x="7434" y="3126"/>
                    </a:lnTo>
                    <a:lnTo>
                      <a:pt x="7445" y="3106"/>
                    </a:lnTo>
                    <a:lnTo>
                      <a:pt x="7443" y="3097"/>
                    </a:lnTo>
                    <a:lnTo>
                      <a:pt x="7413" y="3079"/>
                    </a:lnTo>
                    <a:lnTo>
                      <a:pt x="7400" y="3083"/>
                    </a:lnTo>
                    <a:lnTo>
                      <a:pt x="7397" y="3096"/>
                    </a:lnTo>
                    <a:lnTo>
                      <a:pt x="7394" y="3100"/>
                    </a:lnTo>
                    <a:lnTo>
                      <a:pt x="7387" y="3097"/>
                    </a:lnTo>
                    <a:lnTo>
                      <a:pt x="7381" y="3093"/>
                    </a:lnTo>
                    <a:lnTo>
                      <a:pt x="7377" y="3081"/>
                    </a:lnTo>
                    <a:lnTo>
                      <a:pt x="7377" y="3063"/>
                    </a:lnTo>
                    <a:lnTo>
                      <a:pt x="7381" y="3051"/>
                    </a:lnTo>
                    <a:lnTo>
                      <a:pt x="7386" y="3032"/>
                    </a:lnTo>
                    <a:lnTo>
                      <a:pt x="7393" y="3019"/>
                    </a:lnTo>
                    <a:lnTo>
                      <a:pt x="7407" y="2999"/>
                    </a:lnTo>
                    <a:lnTo>
                      <a:pt x="7420" y="2983"/>
                    </a:lnTo>
                    <a:lnTo>
                      <a:pt x="7427" y="2970"/>
                    </a:lnTo>
                    <a:lnTo>
                      <a:pt x="7426" y="2960"/>
                    </a:lnTo>
                    <a:lnTo>
                      <a:pt x="7430" y="2954"/>
                    </a:lnTo>
                    <a:lnTo>
                      <a:pt x="7440" y="2957"/>
                    </a:lnTo>
                    <a:lnTo>
                      <a:pt x="7437" y="2950"/>
                    </a:lnTo>
                    <a:lnTo>
                      <a:pt x="7437" y="2943"/>
                    </a:lnTo>
                    <a:lnTo>
                      <a:pt x="7446" y="2938"/>
                    </a:lnTo>
                    <a:lnTo>
                      <a:pt x="7450" y="2932"/>
                    </a:lnTo>
                    <a:lnTo>
                      <a:pt x="7446" y="2918"/>
                    </a:lnTo>
                    <a:lnTo>
                      <a:pt x="7447" y="2905"/>
                    </a:lnTo>
                    <a:lnTo>
                      <a:pt x="7454" y="2892"/>
                    </a:lnTo>
                    <a:lnTo>
                      <a:pt x="7456" y="2881"/>
                    </a:lnTo>
                    <a:lnTo>
                      <a:pt x="7462" y="2875"/>
                    </a:lnTo>
                    <a:lnTo>
                      <a:pt x="7472" y="2871"/>
                    </a:lnTo>
                    <a:lnTo>
                      <a:pt x="7485" y="2862"/>
                    </a:lnTo>
                    <a:lnTo>
                      <a:pt x="7492" y="2867"/>
                    </a:lnTo>
                    <a:lnTo>
                      <a:pt x="7496" y="2876"/>
                    </a:lnTo>
                    <a:lnTo>
                      <a:pt x="7505" y="2864"/>
                    </a:lnTo>
                    <a:lnTo>
                      <a:pt x="7517" y="2855"/>
                    </a:lnTo>
                    <a:lnTo>
                      <a:pt x="7527" y="2865"/>
                    </a:lnTo>
                    <a:lnTo>
                      <a:pt x="7532" y="2879"/>
                    </a:lnTo>
                    <a:lnTo>
                      <a:pt x="7542" y="2881"/>
                    </a:lnTo>
                    <a:lnTo>
                      <a:pt x="7547" y="2864"/>
                    </a:lnTo>
                    <a:lnTo>
                      <a:pt x="7547" y="2852"/>
                    </a:lnTo>
                    <a:lnTo>
                      <a:pt x="7556" y="2840"/>
                    </a:lnTo>
                    <a:lnTo>
                      <a:pt x="7563" y="2836"/>
                    </a:lnTo>
                    <a:lnTo>
                      <a:pt x="7581" y="2830"/>
                    </a:lnTo>
                    <a:lnTo>
                      <a:pt x="7588" y="2824"/>
                    </a:lnTo>
                    <a:lnTo>
                      <a:pt x="7598" y="2809"/>
                    </a:lnTo>
                    <a:lnTo>
                      <a:pt x="7604" y="2803"/>
                    </a:lnTo>
                    <a:lnTo>
                      <a:pt x="7609" y="2806"/>
                    </a:lnTo>
                    <a:lnTo>
                      <a:pt x="7612" y="2814"/>
                    </a:lnTo>
                    <a:lnTo>
                      <a:pt x="7607" y="2821"/>
                    </a:lnTo>
                    <a:lnTo>
                      <a:pt x="7610" y="2841"/>
                    </a:lnTo>
                    <a:lnTo>
                      <a:pt x="7606" y="2855"/>
                    </a:lnTo>
                    <a:lnTo>
                      <a:pt x="7606" y="2864"/>
                    </a:lnTo>
                    <a:lnTo>
                      <a:pt x="7604" y="2870"/>
                    </a:lnTo>
                    <a:lnTo>
                      <a:pt x="7602" y="2875"/>
                    </a:lnTo>
                    <a:lnTo>
                      <a:pt x="7602" y="2880"/>
                    </a:lnTo>
                    <a:lnTo>
                      <a:pt x="7606" y="2880"/>
                    </a:lnTo>
                    <a:lnTo>
                      <a:pt x="7618" y="2863"/>
                    </a:lnTo>
                    <a:lnTo>
                      <a:pt x="7647" y="2835"/>
                    </a:lnTo>
                    <a:lnTo>
                      <a:pt x="7649" y="2828"/>
                    </a:lnTo>
                    <a:lnTo>
                      <a:pt x="7647" y="2819"/>
                    </a:lnTo>
                    <a:lnTo>
                      <a:pt x="7650" y="2815"/>
                    </a:lnTo>
                    <a:lnTo>
                      <a:pt x="7658" y="2822"/>
                    </a:lnTo>
                    <a:lnTo>
                      <a:pt x="7667" y="2814"/>
                    </a:lnTo>
                    <a:lnTo>
                      <a:pt x="7678" y="2812"/>
                    </a:lnTo>
                    <a:lnTo>
                      <a:pt x="7694" y="2800"/>
                    </a:lnTo>
                    <a:lnTo>
                      <a:pt x="7706" y="2799"/>
                    </a:lnTo>
                    <a:lnTo>
                      <a:pt x="7714" y="2790"/>
                    </a:lnTo>
                    <a:lnTo>
                      <a:pt x="7720" y="2795"/>
                    </a:lnTo>
                    <a:lnTo>
                      <a:pt x="7726" y="2794"/>
                    </a:lnTo>
                    <a:lnTo>
                      <a:pt x="7755" y="2795"/>
                    </a:lnTo>
                    <a:lnTo>
                      <a:pt x="7770" y="2799"/>
                    </a:lnTo>
                    <a:lnTo>
                      <a:pt x="7781" y="2804"/>
                    </a:lnTo>
                    <a:lnTo>
                      <a:pt x="7795" y="2815"/>
                    </a:lnTo>
                    <a:lnTo>
                      <a:pt x="7800" y="2827"/>
                    </a:lnTo>
                    <a:lnTo>
                      <a:pt x="7819" y="2857"/>
                    </a:lnTo>
                    <a:lnTo>
                      <a:pt x="7820" y="2863"/>
                    </a:lnTo>
                    <a:lnTo>
                      <a:pt x="7833" y="2865"/>
                    </a:lnTo>
                    <a:lnTo>
                      <a:pt x="7836" y="2863"/>
                    </a:lnTo>
                    <a:lnTo>
                      <a:pt x="7836" y="2846"/>
                    </a:lnTo>
                    <a:lnTo>
                      <a:pt x="7848" y="2820"/>
                    </a:lnTo>
                    <a:lnTo>
                      <a:pt x="7848" y="2814"/>
                    </a:lnTo>
                    <a:lnTo>
                      <a:pt x="7845" y="2811"/>
                    </a:lnTo>
                    <a:lnTo>
                      <a:pt x="7852" y="2809"/>
                    </a:lnTo>
                    <a:lnTo>
                      <a:pt x="7865" y="2800"/>
                    </a:lnTo>
                    <a:lnTo>
                      <a:pt x="7871" y="2799"/>
                    </a:lnTo>
                    <a:lnTo>
                      <a:pt x="7875" y="2792"/>
                    </a:lnTo>
                    <a:lnTo>
                      <a:pt x="7879" y="2795"/>
                    </a:lnTo>
                    <a:lnTo>
                      <a:pt x="7886" y="2795"/>
                    </a:lnTo>
                    <a:lnTo>
                      <a:pt x="7899" y="2778"/>
                    </a:lnTo>
                    <a:lnTo>
                      <a:pt x="7903" y="2777"/>
                    </a:lnTo>
                    <a:lnTo>
                      <a:pt x="7903" y="2772"/>
                    </a:lnTo>
                    <a:lnTo>
                      <a:pt x="7913" y="2765"/>
                    </a:lnTo>
                    <a:lnTo>
                      <a:pt x="7921" y="2763"/>
                    </a:lnTo>
                    <a:lnTo>
                      <a:pt x="7925" y="2760"/>
                    </a:lnTo>
                    <a:lnTo>
                      <a:pt x="7931" y="2758"/>
                    </a:lnTo>
                    <a:lnTo>
                      <a:pt x="7932" y="2754"/>
                    </a:lnTo>
                    <a:lnTo>
                      <a:pt x="7931" y="2749"/>
                    </a:lnTo>
                    <a:lnTo>
                      <a:pt x="7926" y="2744"/>
                    </a:lnTo>
                    <a:lnTo>
                      <a:pt x="7927" y="2739"/>
                    </a:lnTo>
                    <a:lnTo>
                      <a:pt x="7936" y="2746"/>
                    </a:lnTo>
                    <a:lnTo>
                      <a:pt x="7941" y="2749"/>
                    </a:lnTo>
                    <a:lnTo>
                      <a:pt x="7946" y="2745"/>
                    </a:lnTo>
                    <a:lnTo>
                      <a:pt x="7948" y="2733"/>
                    </a:lnTo>
                    <a:lnTo>
                      <a:pt x="7946" y="2727"/>
                    </a:lnTo>
                    <a:lnTo>
                      <a:pt x="7957" y="2727"/>
                    </a:lnTo>
                    <a:lnTo>
                      <a:pt x="7968" y="2719"/>
                    </a:lnTo>
                    <a:lnTo>
                      <a:pt x="7970" y="2719"/>
                    </a:lnTo>
                    <a:lnTo>
                      <a:pt x="7973" y="2714"/>
                    </a:lnTo>
                    <a:lnTo>
                      <a:pt x="7968" y="2703"/>
                    </a:lnTo>
                    <a:lnTo>
                      <a:pt x="7972" y="2701"/>
                    </a:lnTo>
                    <a:lnTo>
                      <a:pt x="7978" y="2706"/>
                    </a:lnTo>
                    <a:lnTo>
                      <a:pt x="7981" y="2706"/>
                    </a:lnTo>
                    <a:lnTo>
                      <a:pt x="7988" y="2702"/>
                    </a:lnTo>
                    <a:lnTo>
                      <a:pt x="7992" y="2696"/>
                    </a:lnTo>
                    <a:lnTo>
                      <a:pt x="7996" y="2688"/>
                    </a:lnTo>
                    <a:lnTo>
                      <a:pt x="8000" y="2688"/>
                    </a:lnTo>
                    <a:lnTo>
                      <a:pt x="8002" y="2684"/>
                    </a:lnTo>
                    <a:lnTo>
                      <a:pt x="8004" y="2671"/>
                    </a:lnTo>
                    <a:lnTo>
                      <a:pt x="8006" y="2664"/>
                    </a:lnTo>
                    <a:lnTo>
                      <a:pt x="8012" y="2665"/>
                    </a:lnTo>
                    <a:lnTo>
                      <a:pt x="8017" y="2674"/>
                    </a:lnTo>
                    <a:lnTo>
                      <a:pt x="8022" y="2675"/>
                    </a:lnTo>
                    <a:lnTo>
                      <a:pt x="8027" y="2672"/>
                    </a:lnTo>
                    <a:lnTo>
                      <a:pt x="8040" y="2660"/>
                    </a:lnTo>
                    <a:lnTo>
                      <a:pt x="8067" y="2652"/>
                    </a:lnTo>
                    <a:lnTo>
                      <a:pt x="8075" y="2644"/>
                    </a:lnTo>
                    <a:lnTo>
                      <a:pt x="8090" y="2637"/>
                    </a:lnTo>
                    <a:lnTo>
                      <a:pt x="8093" y="2629"/>
                    </a:lnTo>
                    <a:lnTo>
                      <a:pt x="8094" y="2623"/>
                    </a:lnTo>
                    <a:lnTo>
                      <a:pt x="8094" y="2616"/>
                    </a:lnTo>
                    <a:lnTo>
                      <a:pt x="8103" y="2614"/>
                    </a:lnTo>
                    <a:lnTo>
                      <a:pt x="8102" y="2618"/>
                    </a:lnTo>
                    <a:lnTo>
                      <a:pt x="8099" y="2625"/>
                    </a:lnTo>
                    <a:lnTo>
                      <a:pt x="8103" y="2625"/>
                    </a:lnTo>
                    <a:lnTo>
                      <a:pt x="8126" y="2612"/>
                    </a:lnTo>
                    <a:lnTo>
                      <a:pt x="8133" y="2612"/>
                    </a:lnTo>
                    <a:lnTo>
                      <a:pt x="8146" y="2605"/>
                    </a:lnTo>
                    <a:lnTo>
                      <a:pt x="8182" y="2579"/>
                    </a:lnTo>
                    <a:lnTo>
                      <a:pt x="8209" y="2569"/>
                    </a:lnTo>
                    <a:lnTo>
                      <a:pt x="8212" y="2566"/>
                    </a:lnTo>
                    <a:lnTo>
                      <a:pt x="8210" y="2563"/>
                    </a:lnTo>
                    <a:lnTo>
                      <a:pt x="8205" y="2559"/>
                    </a:lnTo>
                    <a:lnTo>
                      <a:pt x="8199" y="2543"/>
                    </a:lnTo>
                    <a:lnTo>
                      <a:pt x="8196" y="2534"/>
                    </a:lnTo>
                    <a:lnTo>
                      <a:pt x="8200" y="2530"/>
                    </a:lnTo>
                    <a:lnTo>
                      <a:pt x="8204" y="2536"/>
                    </a:lnTo>
                    <a:lnTo>
                      <a:pt x="8209" y="2548"/>
                    </a:lnTo>
                    <a:lnTo>
                      <a:pt x="8215" y="2557"/>
                    </a:lnTo>
                    <a:lnTo>
                      <a:pt x="8219" y="2557"/>
                    </a:lnTo>
                    <a:lnTo>
                      <a:pt x="8219" y="2563"/>
                    </a:lnTo>
                    <a:lnTo>
                      <a:pt x="8221" y="2566"/>
                    </a:lnTo>
                    <a:lnTo>
                      <a:pt x="8232" y="2567"/>
                    </a:lnTo>
                    <a:lnTo>
                      <a:pt x="8231" y="2559"/>
                    </a:lnTo>
                    <a:lnTo>
                      <a:pt x="8227" y="2553"/>
                    </a:lnTo>
                    <a:lnTo>
                      <a:pt x="8233" y="2553"/>
                    </a:lnTo>
                    <a:lnTo>
                      <a:pt x="8237" y="2561"/>
                    </a:lnTo>
                    <a:lnTo>
                      <a:pt x="8243" y="2568"/>
                    </a:lnTo>
                    <a:lnTo>
                      <a:pt x="8253" y="2568"/>
                    </a:lnTo>
                    <a:lnTo>
                      <a:pt x="8266" y="2573"/>
                    </a:lnTo>
                    <a:lnTo>
                      <a:pt x="8275" y="2582"/>
                    </a:lnTo>
                    <a:lnTo>
                      <a:pt x="8290" y="2591"/>
                    </a:lnTo>
                    <a:lnTo>
                      <a:pt x="8306" y="2596"/>
                    </a:lnTo>
                    <a:lnTo>
                      <a:pt x="8309" y="2594"/>
                    </a:lnTo>
                    <a:lnTo>
                      <a:pt x="8313" y="2582"/>
                    </a:lnTo>
                    <a:lnTo>
                      <a:pt x="8320" y="2580"/>
                    </a:lnTo>
                    <a:lnTo>
                      <a:pt x="8334" y="2558"/>
                    </a:lnTo>
                    <a:lnTo>
                      <a:pt x="8338" y="2545"/>
                    </a:lnTo>
                    <a:lnTo>
                      <a:pt x="8334" y="2535"/>
                    </a:lnTo>
                    <a:lnTo>
                      <a:pt x="8324" y="2526"/>
                    </a:lnTo>
                    <a:lnTo>
                      <a:pt x="8311" y="2521"/>
                    </a:lnTo>
                    <a:lnTo>
                      <a:pt x="8308" y="2518"/>
                    </a:lnTo>
                    <a:lnTo>
                      <a:pt x="8307" y="2512"/>
                    </a:lnTo>
                    <a:lnTo>
                      <a:pt x="8309" y="2512"/>
                    </a:lnTo>
                    <a:lnTo>
                      <a:pt x="8316" y="2509"/>
                    </a:lnTo>
                    <a:lnTo>
                      <a:pt x="8327" y="2510"/>
                    </a:lnTo>
                    <a:lnTo>
                      <a:pt x="8332" y="2507"/>
                    </a:lnTo>
                    <a:lnTo>
                      <a:pt x="8324" y="2491"/>
                    </a:lnTo>
                    <a:lnTo>
                      <a:pt x="8317" y="2491"/>
                    </a:lnTo>
                    <a:lnTo>
                      <a:pt x="8308" y="2478"/>
                    </a:lnTo>
                    <a:lnTo>
                      <a:pt x="8301" y="2464"/>
                    </a:lnTo>
                    <a:lnTo>
                      <a:pt x="8297" y="2443"/>
                    </a:lnTo>
                    <a:lnTo>
                      <a:pt x="8295" y="2435"/>
                    </a:lnTo>
                    <a:lnTo>
                      <a:pt x="8291" y="2396"/>
                    </a:lnTo>
                    <a:lnTo>
                      <a:pt x="8280" y="2402"/>
                    </a:lnTo>
                    <a:lnTo>
                      <a:pt x="8271" y="2390"/>
                    </a:lnTo>
                    <a:lnTo>
                      <a:pt x="8270" y="2384"/>
                    </a:lnTo>
                    <a:lnTo>
                      <a:pt x="8280" y="2381"/>
                    </a:lnTo>
                    <a:lnTo>
                      <a:pt x="8284" y="2384"/>
                    </a:lnTo>
                    <a:lnTo>
                      <a:pt x="8280" y="2369"/>
                    </a:lnTo>
                    <a:lnTo>
                      <a:pt x="8273" y="2347"/>
                    </a:lnTo>
                    <a:lnTo>
                      <a:pt x="8266" y="2359"/>
                    </a:lnTo>
                    <a:lnTo>
                      <a:pt x="8260" y="2363"/>
                    </a:lnTo>
                    <a:lnTo>
                      <a:pt x="8249" y="2358"/>
                    </a:lnTo>
                    <a:lnTo>
                      <a:pt x="8242" y="2349"/>
                    </a:lnTo>
                    <a:lnTo>
                      <a:pt x="8231" y="2346"/>
                    </a:lnTo>
                    <a:lnTo>
                      <a:pt x="8222" y="2335"/>
                    </a:lnTo>
                    <a:lnTo>
                      <a:pt x="8221" y="2321"/>
                    </a:lnTo>
                    <a:lnTo>
                      <a:pt x="8221" y="2311"/>
                    </a:lnTo>
                    <a:lnTo>
                      <a:pt x="8222" y="2300"/>
                    </a:lnTo>
                    <a:lnTo>
                      <a:pt x="8230" y="2292"/>
                    </a:lnTo>
                    <a:lnTo>
                      <a:pt x="8239" y="2300"/>
                    </a:lnTo>
                    <a:lnTo>
                      <a:pt x="8258" y="2305"/>
                    </a:lnTo>
                    <a:lnTo>
                      <a:pt x="8268" y="2298"/>
                    </a:lnTo>
                    <a:lnTo>
                      <a:pt x="8266" y="2302"/>
                    </a:lnTo>
                    <a:lnTo>
                      <a:pt x="8271" y="2309"/>
                    </a:lnTo>
                    <a:lnTo>
                      <a:pt x="8289" y="2305"/>
                    </a:lnTo>
                    <a:lnTo>
                      <a:pt x="8285" y="2314"/>
                    </a:lnTo>
                    <a:lnTo>
                      <a:pt x="8286" y="2319"/>
                    </a:lnTo>
                    <a:lnTo>
                      <a:pt x="8298" y="2310"/>
                    </a:lnTo>
                    <a:lnTo>
                      <a:pt x="8306" y="2299"/>
                    </a:lnTo>
                    <a:lnTo>
                      <a:pt x="8320" y="2292"/>
                    </a:lnTo>
                    <a:lnTo>
                      <a:pt x="8335" y="2288"/>
                    </a:lnTo>
                    <a:lnTo>
                      <a:pt x="8355" y="2263"/>
                    </a:lnTo>
                    <a:lnTo>
                      <a:pt x="8363" y="2256"/>
                    </a:lnTo>
                    <a:lnTo>
                      <a:pt x="8363" y="2254"/>
                    </a:lnTo>
                    <a:lnTo>
                      <a:pt x="8377" y="2243"/>
                    </a:lnTo>
                    <a:lnTo>
                      <a:pt x="8393" y="2219"/>
                    </a:lnTo>
                    <a:lnTo>
                      <a:pt x="8395" y="2204"/>
                    </a:lnTo>
                    <a:lnTo>
                      <a:pt x="8404" y="2193"/>
                    </a:lnTo>
                    <a:lnTo>
                      <a:pt x="8403" y="2179"/>
                    </a:lnTo>
                    <a:lnTo>
                      <a:pt x="8390" y="2170"/>
                    </a:lnTo>
                    <a:lnTo>
                      <a:pt x="8373" y="2149"/>
                    </a:lnTo>
                    <a:lnTo>
                      <a:pt x="8372" y="2130"/>
                    </a:lnTo>
                    <a:lnTo>
                      <a:pt x="8370" y="2115"/>
                    </a:lnTo>
                    <a:lnTo>
                      <a:pt x="8378" y="2115"/>
                    </a:lnTo>
                    <a:lnTo>
                      <a:pt x="8384" y="2111"/>
                    </a:lnTo>
                    <a:lnTo>
                      <a:pt x="8389" y="2119"/>
                    </a:lnTo>
                    <a:lnTo>
                      <a:pt x="8402" y="2112"/>
                    </a:lnTo>
                    <a:lnTo>
                      <a:pt x="8400" y="2088"/>
                    </a:lnTo>
                    <a:lnTo>
                      <a:pt x="8408" y="2095"/>
                    </a:lnTo>
                    <a:lnTo>
                      <a:pt x="8410" y="2085"/>
                    </a:lnTo>
                    <a:lnTo>
                      <a:pt x="8413" y="2096"/>
                    </a:lnTo>
                    <a:lnTo>
                      <a:pt x="8424" y="2110"/>
                    </a:lnTo>
                    <a:lnTo>
                      <a:pt x="8431" y="2107"/>
                    </a:lnTo>
                    <a:lnTo>
                      <a:pt x="8437" y="2095"/>
                    </a:lnTo>
                    <a:lnTo>
                      <a:pt x="8440" y="2085"/>
                    </a:lnTo>
                    <a:lnTo>
                      <a:pt x="8446" y="2084"/>
                    </a:lnTo>
                    <a:lnTo>
                      <a:pt x="8447" y="2087"/>
                    </a:lnTo>
                    <a:lnTo>
                      <a:pt x="8443" y="2106"/>
                    </a:lnTo>
                    <a:lnTo>
                      <a:pt x="8445" y="2120"/>
                    </a:lnTo>
                    <a:lnTo>
                      <a:pt x="8436" y="2126"/>
                    </a:lnTo>
                    <a:lnTo>
                      <a:pt x="8430" y="2126"/>
                    </a:lnTo>
                    <a:lnTo>
                      <a:pt x="8422" y="2123"/>
                    </a:lnTo>
                    <a:lnTo>
                      <a:pt x="8427" y="2137"/>
                    </a:lnTo>
                    <a:lnTo>
                      <a:pt x="8432" y="2147"/>
                    </a:lnTo>
                    <a:lnTo>
                      <a:pt x="8437" y="2158"/>
                    </a:lnTo>
                    <a:lnTo>
                      <a:pt x="8443" y="2159"/>
                    </a:lnTo>
                    <a:lnTo>
                      <a:pt x="8448" y="2173"/>
                    </a:lnTo>
                    <a:lnTo>
                      <a:pt x="8448" y="2190"/>
                    </a:lnTo>
                    <a:lnTo>
                      <a:pt x="8459" y="2195"/>
                    </a:lnTo>
                    <a:lnTo>
                      <a:pt x="8473" y="2195"/>
                    </a:lnTo>
                    <a:lnTo>
                      <a:pt x="8491" y="2200"/>
                    </a:lnTo>
                    <a:lnTo>
                      <a:pt x="8511" y="2193"/>
                    </a:lnTo>
                    <a:lnTo>
                      <a:pt x="8516" y="2185"/>
                    </a:lnTo>
                    <a:lnTo>
                      <a:pt x="8526" y="2184"/>
                    </a:lnTo>
                    <a:lnTo>
                      <a:pt x="8546" y="2187"/>
                    </a:lnTo>
                    <a:lnTo>
                      <a:pt x="8556" y="2185"/>
                    </a:lnTo>
                    <a:lnTo>
                      <a:pt x="8564" y="2192"/>
                    </a:lnTo>
                    <a:lnTo>
                      <a:pt x="8569" y="2200"/>
                    </a:lnTo>
                    <a:lnTo>
                      <a:pt x="8578" y="2200"/>
                    </a:lnTo>
                    <a:lnTo>
                      <a:pt x="8589" y="2204"/>
                    </a:lnTo>
                    <a:lnTo>
                      <a:pt x="8588" y="2222"/>
                    </a:lnTo>
                    <a:lnTo>
                      <a:pt x="8593" y="2233"/>
                    </a:lnTo>
                    <a:lnTo>
                      <a:pt x="8593" y="2247"/>
                    </a:lnTo>
                    <a:lnTo>
                      <a:pt x="8591" y="2259"/>
                    </a:lnTo>
                    <a:lnTo>
                      <a:pt x="8613" y="2278"/>
                    </a:lnTo>
                    <a:lnTo>
                      <a:pt x="8618" y="2286"/>
                    </a:lnTo>
                    <a:lnTo>
                      <a:pt x="8619" y="2293"/>
                    </a:lnTo>
                    <a:lnTo>
                      <a:pt x="8630" y="2294"/>
                    </a:lnTo>
                    <a:lnTo>
                      <a:pt x="8640" y="2299"/>
                    </a:lnTo>
                    <a:lnTo>
                      <a:pt x="8645" y="2298"/>
                    </a:lnTo>
                    <a:lnTo>
                      <a:pt x="8637" y="2292"/>
                    </a:lnTo>
                    <a:lnTo>
                      <a:pt x="8644" y="2281"/>
                    </a:lnTo>
                    <a:lnTo>
                      <a:pt x="8646" y="2287"/>
                    </a:lnTo>
                    <a:lnTo>
                      <a:pt x="8656" y="2288"/>
                    </a:lnTo>
                    <a:lnTo>
                      <a:pt x="8656" y="2272"/>
                    </a:lnTo>
                    <a:lnTo>
                      <a:pt x="8660" y="2266"/>
                    </a:lnTo>
                    <a:lnTo>
                      <a:pt x="8661" y="2270"/>
                    </a:lnTo>
                    <a:lnTo>
                      <a:pt x="8660" y="2286"/>
                    </a:lnTo>
                    <a:lnTo>
                      <a:pt x="8652" y="2295"/>
                    </a:lnTo>
                    <a:lnTo>
                      <a:pt x="8668" y="2309"/>
                    </a:lnTo>
                    <a:lnTo>
                      <a:pt x="8678" y="2309"/>
                    </a:lnTo>
                    <a:lnTo>
                      <a:pt x="8684" y="2313"/>
                    </a:lnTo>
                    <a:lnTo>
                      <a:pt x="8682" y="2319"/>
                    </a:lnTo>
                    <a:lnTo>
                      <a:pt x="8693" y="2329"/>
                    </a:lnTo>
                    <a:lnTo>
                      <a:pt x="8693" y="2340"/>
                    </a:lnTo>
                    <a:lnTo>
                      <a:pt x="8705" y="2340"/>
                    </a:lnTo>
                    <a:lnTo>
                      <a:pt x="8709" y="2330"/>
                    </a:lnTo>
                    <a:lnTo>
                      <a:pt x="8707" y="2345"/>
                    </a:lnTo>
                    <a:lnTo>
                      <a:pt x="8718" y="2348"/>
                    </a:lnTo>
                    <a:lnTo>
                      <a:pt x="8727" y="2343"/>
                    </a:lnTo>
                    <a:lnTo>
                      <a:pt x="8731" y="2331"/>
                    </a:lnTo>
                    <a:lnTo>
                      <a:pt x="8732" y="2317"/>
                    </a:lnTo>
                    <a:lnTo>
                      <a:pt x="8737" y="2324"/>
                    </a:lnTo>
                    <a:lnTo>
                      <a:pt x="8736" y="2332"/>
                    </a:lnTo>
                    <a:lnTo>
                      <a:pt x="8728" y="2351"/>
                    </a:lnTo>
                    <a:lnTo>
                      <a:pt x="8736" y="2358"/>
                    </a:lnTo>
                    <a:lnTo>
                      <a:pt x="8744" y="2360"/>
                    </a:lnTo>
                    <a:lnTo>
                      <a:pt x="8749" y="2359"/>
                    </a:lnTo>
                    <a:lnTo>
                      <a:pt x="8757" y="2352"/>
                    </a:lnTo>
                    <a:lnTo>
                      <a:pt x="8757" y="2335"/>
                    </a:lnTo>
                    <a:lnTo>
                      <a:pt x="8747" y="2333"/>
                    </a:lnTo>
                    <a:lnTo>
                      <a:pt x="8746" y="2329"/>
                    </a:lnTo>
                    <a:lnTo>
                      <a:pt x="8755" y="2326"/>
                    </a:lnTo>
                    <a:lnTo>
                      <a:pt x="8764" y="2331"/>
                    </a:lnTo>
                    <a:lnTo>
                      <a:pt x="8773" y="2341"/>
                    </a:lnTo>
                    <a:lnTo>
                      <a:pt x="8785" y="2337"/>
                    </a:lnTo>
                    <a:lnTo>
                      <a:pt x="8776" y="2319"/>
                    </a:lnTo>
                    <a:lnTo>
                      <a:pt x="8776" y="2315"/>
                    </a:lnTo>
                    <a:lnTo>
                      <a:pt x="8770" y="2309"/>
                    </a:lnTo>
                    <a:lnTo>
                      <a:pt x="8758" y="2311"/>
                    </a:lnTo>
                    <a:lnTo>
                      <a:pt x="8758" y="2309"/>
                    </a:lnTo>
                    <a:lnTo>
                      <a:pt x="8752" y="2305"/>
                    </a:lnTo>
                    <a:lnTo>
                      <a:pt x="8750" y="2300"/>
                    </a:lnTo>
                    <a:lnTo>
                      <a:pt x="8761" y="2299"/>
                    </a:lnTo>
                    <a:lnTo>
                      <a:pt x="8764" y="2293"/>
                    </a:lnTo>
                    <a:lnTo>
                      <a:pt x="8758" y="2287"/>
                    </a:lnTo>
                    <a:lnTo>
                      <a:pt x="8744" y="2290"/>
                    </a:lnTo>
                    <a:lnTo>
                      <a:pt x="8753" y="2283"/>
                    </a:lnTo>
                    <a:lnTo>
                      <a:pt x="8765" y="2283"/>
                    </a:lnTo>
                    <a:lnTo>
                      <a:pt x="8770" y="2278"/>
                    </a:lnTo>
                    <a:lnTo>
                      <a:pt x="8769" y="2270"/>
                    </a:lnTo>
                    <a:lnTo>
                      <a:pt x="8779" y="2276"/>
                    </a:lnTo>
                    <a:lnTo>
                      <a:pt x="8801" y="2256"/>
                    </a:lnTo>
                    <a:lnTo>
                      <a:pt x="8796" y="2249"/>
                    </a:lnTo>
                    <a:lnTo>
                      <a:pt x="8790" y="2236"/>
                    </a:lnTo>
                    <a:lnTo>
                      <a:pt x="8780" y="2238"/>
                    </a:lnTo>
                    <a:lnTo>
                      <a:pt x="8769" y="2233"/>
                    </a:lnTo>
                    <a:lnTo>
                      <a:pt x="8795" y="2232"/>
                    </a:lnTo>
                    <a:lnTo>
                      <a:pt x="8792" y="2220"/>
                    </a:lnTo>
                    <a:lnTo>
                      <a:pt x="8796" y="2209"/>
                    </a:lnTo>
                    <a:lnTo>
                      <a:pt x="8811" y="2197"/>
                    </a:lnTo>
                    <a:lnTo>
                      <a:pt x="8824" y="2195"/>
                    </a:lnTo>
                    <a:lnTo>
                      <a:pt x="8841" y="2201"/>
                    </a:lnTo>
                    <a:lnTo>
                      <a:pt x="8852" y="2201"/>
                    </a:lnTo>
                    <a:lnTo>
                      <a:pt x="8857" y="2195"/>
                    </a:lnTo>
                    <a:lnTo>
                      <a:pt x="8854" y="2186"/>
                    </a:lnTo>
                    <a:lnTo>
                      <a:pt x="8839" y="2176"/>
                    </a:lnTo>
                    <a:lnTo>
                      <a:pt x="8835" y="2160"/>
                    </a:lnTo>
                    <a:lnTo>
                      <a:pt x="8840" y="2153"/>
                    </a:lnTo>
                    <a:lnTo>
                      <a:pt x="8850" y="2166"/>
                    </a:lnTo>
                    <a:lnTo>
                      <a:pt x="8861" y="2173"/>
                    </a:lnTo>
                    <a:lnTo>
                      <a:pt x="8867" y="2182"/>
                    </a:lnTo>
                    <a:lnTo>
                      <a:pt x="8881" y="2184"/>
                    </a:lnTo>
                    <a:lnTo>
                      <a:pt x="8883" y="2174"/>
                    </a:lnTo>
                    <a:lnTo>
                      <a:pt x="8882" y="2164"/>
                    </a:lnTo>
                    <a:lnTo>
                      <a:pt x="8886" y="2142"/>
                    </a:lnTo>
                    <a:lnTo>
                      <a:pt x="8898" y="2137"/>
                    </a:lnTo>
                    <a:lnTo>
                      <a:pt x="8906" y="2126"/>
                    </a:lnTo>
                    <a:lnTo>
                      <a:pt x="8916" y="2125"/>
                    </a:lnTo>
                    <a:lnTo>
                      <a:pt x="8926" y="2127"/>
                    </a:lnTo>
                    <a:lnTo>
                      <a:pt x="8931" y="2116"/>
                    </a:lnTo>
                    <a:lnTo>
                      <a:pt x="8921" y="2114"/>
                    </a:lnTo>
                    <a:lnTo>
                      <a:pt x="8917" y="2116"/>
                    </a:lnTo>
                    <a:lnTo>
                      <a:pt x="8909" y="2110"/>
                    </a:lnTo>
                    <a:lnTo>
                      <a:pt x="8902" y="2109"/>
                    </a:lnTo>
                    <a:lnTo>
                      <a:pt x="8904" y="2101"/>
                    </a:lnTo>
                    <a:lnTo>
                      <a:pt x="8895" y="2091"/>
                    </a:lnTo>
                    <a:lnTo>
                      <a:pt x="8883" y="2104"/>
                    </a:lnTo>
                    <a:lnTo>
                      <a:pt x="8878" y="2098"/>
                    </a:lnTo>
                    <a:lnTo>
                      <a:pt x="8886" y="2093"/>
                    </a:lnTo>
                    <a:lnTo>
                      <a:pt x="8886" y="2089"/>
                    </a:lnTo>
                    <a:lnTo>
                      <a:pt x="8874" y="2078"/>
                    </a:lnTo>
                    <a:lnTo>
                      <a:pt x="8862" y="2071"/>
                    </a:lnTo>
                    <a:lnTo>
                      <a:pt x="8856" y="2058"/>
                    </a:lnTo>
                    <a:lnTo>
                      <a:pt x="8841" y="2046"/>
                    </a:lnTo>
                    <a:lnTo>
                      <a:pt x="8834" y="2035"/>
                    </a:lnTo>
                    <a:lnTo>
                      <a:pt x="8834" y="2026"/>
                    </a:lnTo>
                    <a:lnTo>
                      <a:pt x="8823" y="2020"/>
                    </a:lnTo>
                    <a:lnTo>
                      <a:pt x="8819" y="2013"/>
                    </a:lnTo>
                    <a:lnTo>
                      <a:pt x="8817" y="2002"/>
                    </a:lnTo>
                    <a:lnTo>
                      <a:pt x="8769" y="1992"/>
                    </a:lnTo>
                    <a:lnTo>
                      <a:pt x="8759" y="1996"/>
                    </a:lnTo>
                    <a:lnTo>
                      <a:pt x="8781" y="2002"/>
                    </a:lnTo>
                    <a:lnTo>
                      <a:pt x="8777" y="2009"/>
                    </a:lnTo>
                    <a:lnTo>
                      <a:pt x="8766" y="2010"/>
                    </a:lnTo>
                    <a:lnTo>
                      <a:pt x="8755" y="2008"/>
                    </a:lnTo>
                    <a:lnTo>
                      <a:pt x="8737" y="1997"/>
                    </a:lnTo>
                    <a:lnTo>
                      <a:pt x="8741" y="2010"/>
                    </a:lnTo>
                    <a:lnTo>
                      <a:pt x="8737" y="2019"/>
                    </a:lnTo>
                    <a:lnTo>
                      <a:pt x="8732" y="2019"/>
                    </a:lnTo>
                    <a:lnTo>
                      <a:pt x="8728" y="2009"/>
                    </a:lnTo>
                    <a:lnTo>
                      <a:pt x="8723" y="2002"/>
                    </a:lnTo>
                    <a:lnTo>
                      <a:pt x="8726" y="1992"/>
                    </a:lnTo>
                    <a:lnTo>
                      <a:pt x="8734" y="1990"/>
                    </a:lnTo>
                    <a:lnTo>
                      <a:pt x="8723" y="1983"/>
                    </a:lnTo>
                    <a:lnTo>
                      <a:pt x="8717" y="1983"/>
                    </a:lnTo>
                    <a:lnTo>
                      <a:pt x="8715" y="1977"/>
                    </a:lnTo>
                    <a:lnTo>
                      <a:pt x="8707" y="1975"/>
                    </a:lnTo>
                    <a:lnTo>
                      <a:pt x="8709" y="1982"/>
                    </a:lnTo>
                    <a:lnTo>
                      <a:pt x="8704" y="1993"/>
                    </a:lnTo>
                    <a:lnTo>
                      <a:pt x="8700" y="1991"/>
                    </a:lnTo>
                    <a:lnTo>
                      <a:pt x="8698" y="1985"/>
                    </a:lnTo>
                    <a:lnTo>
                      <a:pt x="8685" y="1981"/>
                    </a:lnTo>
                    <a:lnTo>
                      <a:pt x="8674" y="1982"/>
                    </a:lnTo>
                    <a:lnTo>
                      <a:pt x="8663" y="1987"/>
                    </a:lnTo>
                    <a:lnTo>
                      <a:pt x="8668" y="1994"/>
                    </a:lnTo>
                    <a:lnTo>
                      <a:pt x="8671" y="1987"/>
                    </a:lnTo>
                    <a:lnTo>
                      <a:pt x="8683" y="1983"/>
                    </a:lnTo>
                    <a:lnTo>
                      <a:pt x="8684" y="1988"/>
                    </a:lnTo>
                    <a:lnTo>
                      <a:pt x="8677" y="1992"/>
                    </a:lnTo>
                    <a:lnTo>
                      <a:pt x="8690" y="1997"/>
                    </a:lnTo>
                    <a:lnTo>
                      <a:pt x="8690" y="2023"/>
                    </a:lnTo>
                    <a:lnTo>
                      <a:pt x="8685" y="2046"/>
                    </a:lnTo>
                    <a:lnTo>
                      <a:pt x="8693" y="2048"/>
                    </a:lnTo>
                    <a:lnTo>
                      <a:pt x="8696" y="2044"/>
                    </a:lnTo>
                    <a:lnTo>
                      <a:pt x="8700" y="2047"/>
                    </a:lnTo>
                    <a:lnTo>
                      <a:pt x="8706" y="2060"/>
                    </a:lnTo>
                    <a:lnTo>
                      <a:pt x="8706" y="2069"/>
                    </a:lnTo>
                    <a:lnTo>
                      <a:pt x="8704" y="2079"/>
                    </a:lnTo>
                    <a:lnTo>
                      <a:pt x="8696" y="2080"/>
                    </a:lnTo>
                    <a:lnTo>
                      <a:pt x="8693" y="2088"/>
                    </a:lnTo>
                    <a:lnTo>
                      <a:pt x="8693" y="2080"/>
                    </a:lnTo>
                    <a:lnTo>
                      <a:pt x="8695" y="2076"/>
                    </a:lnTo>
                    <a:lnTo>
                      <a:pt x="8695" y="2061"/>
                    </a:lnTo>
                    <a:lnTo>
                      <a:pt x="8683" y="2056"/>
                    </a:lnTo>
                    <a:lnTo>
                      <a:pt x="8673" y="2057"/>
                    </a:lnTo>
                    <a:lnTo>
                      <a:pt x="8671" y="2047"/>
                    </a:lnTo>
                    <a:lnTo>
                      <a:pt x="8672" y="2041"/>
                    </a:lnTo>
                    <a:lnTo>
                      <a:pt x="8660" y="2034"/>
                    </a:lnTo>
                    <a:lnTo>
                      <a:pt x="8655" y="2025"/>
                    </a:lnTo>
                    <a:lnTo>
                      <a:pt x="8657" y="2013"/>
                    </a:lnTo>
                    <a:lnTo>
                      <a:pt x="8656" y="2002"/>
                    </a:lnTo>
                    <a:lnTo>
                      <a:pt x="8650" y="1987"/>
                    </a:lnTo>
                    <a:lnTo>
                      <a:pt x="8647" y="1971"/>
                    </a:lnTo>
                    <a:lnTo>
                      <a:pt x="8642" y="1949"/>
                    </a:lnTo>
                    <a:lnTo>
                      <a:pt x="8637" y="1940"/>
                    </a:lnTo>
                    <a:lnTo>
                      <a:pt x="8640" y="1932"/>
                    </a:lnTo>
                    <a:lnTo>
                      <a:pt x="8647" y="1940"/>
                    </a:lnTo>
                    <a:lnTo>
                      <a:pt x="8648" y="1951"/>
                    </a:lnTo>
                    <a:lnTo>
                      <a:pt x="8651" y="1947"/>
                    </a:lnTo>
                    <a:lnTo>
                      <a:pt x="8647" y="1938"/>
                    </a:lnTo>
                    <a:lnTo>
                      <a:pt x="8623" y="1920"/>
                    </a:lnTo>
                    <a:lnTo>
                      <a:pt x="8619" y="1906"/>
                    </a:lnTo>
                    <a:lnTo>
                      <a:pt x="8618" y="1897"/>
                    </a:lnTo>
                    <a:lnTo>
                      <a:pt x="8592" y="1884"/>
                    </a:lnTo>
                    <a:lnTo>
                      <a:pt x="8588" y="1886"/>
                    </a:lnTo>
                    <a:lnTo>
                      <a:pt x="8592" y="1897"/>
                    </a:lnTo>
                    <a:lnTo>
                      <a:pt x="8599" y="1910"/>
                    </a:lnTo>
                    <a:lnTo>
                      <a:pt x="8605" y="1916"/>
                    </a:lnTo>
                    <a:lnTo>
                      <a:pt x="8610" y="1916"/>
                    </a:lnTo>
                    <a:lnTo>
                      <a:pt x="8615" y="1923"/>
                    </a:lnTo>
                    <a:lnTo>
                      <a:pt x="8617" y="1932"/>
                    </a:lnTo>
                    <a:lnTo>
                      <a:pt x="8608" y="1928"/>
                    </a:lnTo>
                    <a:lnTo>
                      <a:pt x="8578" y="1906"/>
                    </a:lnTo>
                    <a:lnTo>
                      <a:pt x="8569" y="1904"/>
                    </a:lnTo>
                    <a:lnTo>
                      <a:pt x="8559" y="1897"/>
                    </a:lnTo>
                    <a:lnTo>
                      <a:pt x="8564" y="1891"/>
                    </a:lnTo>
                    <a:lnTo>
                      <a:pt x="8574" y="1889"/>
                    </a:lnTo>
                    <a:lnTo>
                      <a:pt x="8575" y="1879"/>
                    </a:lnTo>
                    <a:lnTo>
                      <a:pt x="8577" y="1874"/>
                    </a:lnTo>
                    <a:lnTo>
                      <a:pt x="8556" y="1869"/>
                    </a:lnTo>
                    <a:lnTo>
                      <a:pt x="8545" y="1869"/>
                    </a:lnTo>
                    <a:lnTo>
                      <a:pt x="8538" y="1863"/>
                    </a:lnTo>
                    <a:lnTo>
                      <a:pt x="8527" y="1859"/>
                    </a:lnTo>
                    <a:lnTo>
                      <a:pt x="8532" y="1852"/>
                    </a:lnTo>
                    <a:lnTo>
                      <a:pt x="8537" y="1851"/>
                    </a:lnTo>
                    <a:lnTo>
                      <a:pt x="8534" y="1845"/>
                    </a:lnTo>
                    <a:lnTo>
                      <a:pt x="8532" y="1836"/>
                    </a:lnTo>
                    <a:lnTo>
                      <a:pt x="8515" y="1836"/>
                    </a:lnTo>
                    <a:lnTo>
                      <a:pt x="8517" y="1829"/>
                    </a:lnTo>
                    <a:lnTo>
                      <a:pt x="8510" y="1818"/>
                    </a:lnTo>
                    <a:lnTo>
                      <a:pt x="8501" y="1820"/>
                    </a:lnTo>
                    <a:lnTo>
                      <a:pt x="8501" y="1816"/>
                    </a:lnTo>
                    <a:lnTo>
                      <a:pt x="8489" y="1808"/>
                    </a:lnTo>
                    <a:lnTo>
                      <a:pt x="8470" y="1816"/>
                    </a:lnTo>
                    <a:lnTo>
                      <a:pt x="8469" y="1810"/>
                    </a:lnTo>
                    <a:lnTo>
                      <a:pt x="8472" y="1802"/>
                    </a:lnTo>
                    <a:lnTo>
                      <a:pt x="8470" y="1795"/>
                    </a:lnTo>
                    <a:lnTo>
                      <a:pt x="8465" y="1787"/>
                    </a:lnTo>
                    <a:lnTo>
                      <a:pt x="8453" y="1776"/>
                    </a:lnTo>
                    <a:lnTo>
                      <a:pt x="8463" y="1789"/>
                    </a:lnTo>
                    <a:lnTo>
                      <a:pt x="8448" y="1782"/>
                    </a:lnTo>
                    <a:lnTo>
                      <a:pt x="8442" y="1782"/>
                    </a:lnTo>
                    <a:lnTo>
                      <a:pt x="8433" y="1773"/>
                    </a:lnTo>
                    <a:lnTo>
                      <a:pt x="8431" y="1752"/>
                    </a:lnTo>
                    <a:lnTo>
                      <a:pt x="8425" y="1740"/>
                    </a:lnTo>
                    <a:lnTo>
                      <a:pt x="8419" y="1740"/>
                    </a:lnTo>
                    <a:lnTo>
                      <a:pt x="8394" y="1729"/>
                    </a:lnTo>
                    <a:lnTo>
                      <a:pt x="8387" y="1721"/>
                    </a:lnTo>
                    <a:lnTo>
                      <a:pt x="8375" y="1722"/>
                    </a:lnTo>
                    <a:lnTo>
                      <a:pt x="8363" y="1716"/>
                    </a:lnTo>
                    <a:lnTo>
                      <a:pt x="8363" y="1716"/>
                    </a:lnTo>
                    <a:lnTo>
                      <a:pt x="8317" y="1666"/>
                    </a:lnTo>
                    <a:lnTo>
                      <a:pt x="8295" y="1652"/>
                    </a:lnTo>
                    <a:lnTo>
                      <a:pt x="8282" y="1648"/>
                    </a:lnTo>
                    <a:lnTo>
                      <a:pt x="8276" y="1637"/>
                    </a:lnTo>
                    <a:lnTo>
                      <a:pt x="8271" y="1641"/>
                    </a:lnTo>
                    <a:lnTo>
                      <a:pt x="8234" y="1622"/>
                    </a:lnTo>
                    <a:lnTo>
                      <a:pt x="8220" y="1606"/>
                    </a:lnTo>
                    <a:lnTo>
                      <a:pt x="8212" y="1609"/>
                    </a:lnTo>
                    <a:lnTo>
                      <a:pt x="8191" y="1599"/>
                    </a:lnTo>
                    <a:lnTo>
                      <a:pt x="8179" y="1598"/>
                    </a:lnTo>
                    <a:lnTo>
                      <a:pt x="8150" y="1569"/>
                    </a:lnTo>
                    <a:lnTo>
                      <a:pt x="8137" y="1567"/>
                    </a:lnTo>
                    <a:lnTo>
                      <a:pt x="8086" y="1566"/>
                    </a:lnTo>
                    <a:lnTo>
                      <a:pt x="8081" y="1571"/>
                    </a:lnTo>
                    <a:lnTo>
                      <a:pt x="8066" y="1574"/>
                    </a:lnTo>
                    <a:lnTo>
                      <a:pt x="8056" y="1568"/>
                    </a:lnTo>
                    <a:lnTo>
                      <a:pt x="8042" y="1563"/>
                    </a:lnTo>
                    <a:lnTo>
                      <a:pt x="8028" y="1567"/>
                    </a:lnTo>
                    <a:lnTo>
                      <a:pt x="8005" y="1565"/>
                    </a:lnTo>
                    <a:lnTo>
                      <a:pt x="7992" y="1571"/>
                    </a:lnTo>
                    <a:lnTo>
                      <a:pt x="7978" y="1568"/>
                    </a:lnTo>
                    <a:lnTo>
                      <a:pt x="7952" y="1553"/>
                    </a:lnTo>
                    <a:lnTo>
                      <a:pt x="7945" y="1556"/>
                    </a:lnTo>
                    <a:lnTo>
                      <a:pt x="7877" y="1539"/>
                    </a:lnTo>
                    <a:lnTo>
                      <a:pt x="7850" y="1539"/>
                    </a:lnTo>
                    <a:lnTo>
                      <a:pt x="7840" y="1545"/>
                    </a:lnTo>
                    <a:lnTo>
                      <a:pt x="7839" y="1557"/>
                    </a:lnTo>
                    <a:lnTo>
                      <a:pt x="7843" y="1567"/>
                    </a:lnTo>
                    <a:lnTo>
                      <a:pt x="7841" y="1589"/>
                    </a:lnTo>
                    <a:lnTo>
                      <a:pt x="7824" y="1595"/>
                    </a:lnTo>
                    <a:lnTo>
                      <a:pt x="7819" y="1608"/>
                    </a:lnTo>
                    <a:lnTo>
                      <a:pt x="7849" y="1615"/>
                    </a:lnTo>
                    <a:lnTo>
                      <a:pt x="7860" y="1651"/>
                    </a:lnTo>
                    <a:lnTo>
                      <a:pt x="7866" y="1657"/>
                    </a:lnTo>
                    <a:lnTo>
                      <a:pt x="7866" y="1666"/>
                    </a:lnTo>
                    <a:lnTo>
                      <a:pt x="7871" y="1689"/>
                    </a:lnTo>
                    <a:lnTo>
                      <a:pt x="7840" y="1725"/>
                    </a:lnTo>
                    <a:lnTo>
                      <a:pt x="7820" y="1739"/>
                    </a:lnTo>
                    <a:lnTo>
                      <a:pt x="7797" y="1738"/>
                    </a:lnTo>
                    <a:lnTo>
                      <a:pt x="7790" y="1733"/>
                    </a:lnTo>
                    <a:lnTo>
                      <a:pt x="7782" y="1711"/>
                    </a:lnTo>
                    <a:lnTo>
                      <a:pt x="7777" y="1700"/>
                    </a:lnTo>
                    <a:lnTo>
                      <a:pt x="7762" y="1690"/>
                    </a:lnTo>
                    <a:lnTo>
                      <a:pt x="7760" y="1684"/>
                    </a:lnTo>
                    <a:lnTo>
                      <a:pt x="7750" y="1678"/>
                    </a:lnTo>
                    <a:lnTo>
                      <a:pt x="7727" y="1675"/>
                    </a:lnTo>
                    <a:lnTo>
                      <a:pt x="7721" y="1670"/>
                    </a:lnTo>
                    <a:lnTo>
                      <a:pt x="7719" y="1663"/>
                    </a:lnTo>
                    <a:lnTo>
                      <a:pt x="7717" y="1655"/>
                    </a:lnTo>
                    <a:lnTo>
                      <a:pt x="7720" y="1625"/>
                    </a:lnTo>
                    <a:lnTo>
                      <a:pt x="7716" y="1614"/>
                    </a:lnTo>
                    <a:lnTo>
                      <a:pt x="7698" y="1608"/>
                    </a:lnTo>
                    <a:lnTo>
                      <a:pt x="7700" y="1598"/>
                    </a:lnTo>
                    <a:lnTo>
                      <a:pt x="7707" y="1595"/>
                    </a:lnTo>
                    <a:lnTo>
                      <a:pt x="7706" y="1590"/>
                    </a:lnTo>
                    <a:lnTo>
                      <a:pt x="7693" y="1582"/>
                    </a:lnTo>
                    <a:lnTo>
                      <a:pt x="7685" y="1584"/>
                    </a:lnTo>
                    <a:lnTo>
                      <a:pt x="7679" y="1590"/>
                    </a:lnTo>
                    <a:lnTo>
                      <a:pt x="7650" y="1627"/>
                    </a:lnTo>
                    <a:lnTo>
                      <a:pt x="7641" y="1628"/>
                    </a:lnTo>
                    <a:lnTo>
                      <a:pt x="7635" y="1626"/>
                    </a:lnTo>
                    <a:lnTo>
                      <a:pt x="7613" y="1626"/>
                    </a:lnTo>
                    <a:lnTo>
                      <a:pt x="7591" y="1614"/>
                    </a:lnTo>
                    <a:lnTo>
                      <a:pt x="7559" y="1610"/>
                    </a:lnTo>
                    <a:lnTo>
                      <a:pt x="7547" y="1614"/>
                    </a:lnTo>
                    <a:lnTo>
                      <a:pt x="7544" y="1617"/>
                    </a:lnTo>
                    <a:lnTo>
                      <a:pt x="7542" y="1614"/>
                    </a:lnTo>
                    <a:lnTo>
                      <a:pt x="7518" y="1616"/>
                    </a:lnTo>
                    <a:lnTo>
                      <a:pt x="7504" y="1606"/>
                    </a:lnTo>
                    <a:lnTo>
                      <a:pt x="7489" y="1582"/>
                    </a:lnTo>
                    <a:lnTo>
                      <a:pt x="7469" y="1594"/>
                    </a:lnTo>
                    <a:lnTo>
                      <a:pt x="7438" y="1590"/>
                    </a:lnTo>
                    <a:lnTo>
                      <a:pt x="7420" y="1600"/>
                    </a:lnTo>
                    <a:lnTo>
                      <a:pt x="7405" y="1594"/>
                    </a:lnTo>
                    <a:lnTo>
                      <a:pt x="7398" y="1594"/>
                    </a:lnTo>
                    <a:lnTo>
                      <a:pt x="7393" y="1599"/>
                    </a:lnTo>
                    <a:lnTo>
                      <a:pt x="7389" y="1606"/>
                    </a:lnTo>
                    <a:lnTo>
                      <a:pt x="7382" y="1606"/>
                    </a:lnTo>
                    <a:lnTo>
                      <a:pt x="7378" y="1623"/>
                    </a:lnTo>
                    <a:lnTo>
                      <a:pt x="7362" y="1622"/>
                    </a:lnTo>
                    <a:lnTo>
                      <a:pt x="7356" y="1635"/>
                    </a:lnTo>
                    <a:lnTo>
                      <a:pt x="7346" y="1646"/>
                    </a:lnTo>
                    <a:lnTo>
                      <a:pt x="7338" y="1643"/>
                    </a:lnTo>
                    <a:lnTo>
                      <a:pt x="7339" y="1626"/>
                    </a:lnTo>
                    <a:lnTo>
                      <a:pt x="7336" y="1616"/>
                    </a:lnTo>
                    <a:lnTo>
                      <a:pt x="7327" y="1620"/>
                    </a:lnTo>
                    <a:lnTo>
                      <a:pt x="7322" y="1617"/>
                    </a:lnTo>
                    <a:lnTo>
                      <a:pt x="7314" y="1605"/>
                    </a:lnTo>
                    <a:lnTo>
                      <a:pt x="7306" y="1596"/>
                    </a:lnTo>
                    <a:lnTo>
                      <a:pt x="7293" y="1590"/>
                    </a:lnTo>
                    <a:lnTo>
                      <a:pt x="7284" y="1590"/>
                    </a:lnTo>
                    <a:lnTo>
                      <a:pt x="7273" y="1590"/>
                    </a:lnTo>
                    <a:lnTo>
                      <a:pt x="7268" y="1582"/>
                    </a:lnTo>
                    <a:lnTo>
                      <a:pt x="7250" y="1578"/>
                    </a:lnTo>
                    <a:lnTo>
                      <a:pt x="7250" y="1569"/>
                    </a:lnTo>
                    <a:lnTo>
                      <a:pt x="7270" y="1509"/>
                    </a:lnTo>
                    <a:lnTo>
                      <a:pt x="7270" y="1497"/>
                    </a:lnTo>
                    <a:lnTo>
                      <a:pt x="7268" y="1486"/>
                    </a:lnTo>
                    <a:lnTo>
                      <a:pt x="7268" y="1480"/>
                    </a:lnTo>
                    <a:lnTo>
                      <a:pt x="7258" y="1459"/>
                    </a:lnTo>
                    <a:lnTo>
                      <a:pt x="7258" y="1455"/>
                    </a:lnTo>
                    <a:lnTo>
                      <a:pt x="7247" y="1444"/>
                    </a:lnTo>
                    <a:lnTo>
                      <a:pt x="7238" y="1431"/>
                    </a:lnTo>
                    <a:lnTo>
                      <a:pt x="7232" y="1426"/>
                    </a:lnTo>
                    <a:lnTo>
                      <a:pt x="7222" y="1409"/>
                    </a:lnTo>
                    <a:lnTo>
                      <a:pt x="7212" y="1402"/>
                    </a:lnTo>
                    <a:lnTo>
                      <a:pt x="7204" y="1393"/>
                    </a:lnTo>
                    <a:lnTo>
                      <a:pt x="7192" y="1388"/>
                    </a:lnTo>
                    <a:lnTo>
                      <a:pt x="7152" y="1384"/>
                    </a:lnTo>
                    <a:lnTo>
                      <a:pt x="7139" y="1379"/>
                    </a:lnTo>
                    <a:lnTo>
                      <a:pt x="7112" y="1378"/>
                    </a:lnTo>
                    <a:lnTo>
                      <a:pt x="7090" y="1382"/>
                    </a:lnTo>
                    <a:lnTo>
                      <a:pt x="7064" y="1380"/>
                    </a:lnTo>
                    <a:lnTo>
                      <a:pt x="7051" y="1383"/>
                    </a:lnTo>
                    <a:lnTo>
                      <a:pt x="7047" y="1388"/>
                    </a:lnTo>
                    <a:lnTo>
                      <a:pt x="7024" y="1385"/>
                    </a:lnTo>
                    <a:lnTo>
                      <a:pt x="7017" y="1393"/>
                    </a:lnTo>
                    <a:lnTo>
                      <a:pt x="7006" y="1393"/>
                    </a:lnTo>
                    <a:lnTo>
                      <a:pt x="6979" y="1386"/>
                    </a:lnTo>
                    <a:lnTo>
                      <a:pt x="6973" y="1388"/>
                    </a:lnTo>
                    <a:lnTo>
                      <a:pt x="6964" y="1396"/>
                    </a:lnTo>
                    <a:lnTo>
                      <a:pt x="6951" y="1400"/>
                    </a:lnTo>
                    <a:lnTo>
                      <a:pt x="6941" y="1395"/>
                    </a:lnTo>
                    <a:lnTo>
                      <a:pt x="6920" y="1396"/>
                    </a:lnTo>
                    <a:lnTo>
                      <a:pt x="6913" y="1400"/>
                    </a:lnTo>
                    <a:lnTo>
                      <a:pt x="6905" y="1397"/>
                    </a:lnTo>
                    <a:lnTo>
                      <a:pt x="6881" y="1410"/>
                    </a:lnTo>
                    <a:lnTo>
                      <a:pt x="6870" y="1410"/>
                    </a:lnTo>
                    <a:lnTo>
                      <a:pt x="6861" y="1417"/>
                    </a:lnTo>
                    <a:lnTo>
                      <a:pt x="6855" y="1409"/>
                    </a:lnTo>
                    <a:lnTo>
                      <a:pt x="6837" y="1393"/>
                    </a:lnTo>
                    <a:lnTo>
                      <a:pt x="6823" y="1391"/>
                    </a:lnTo>
                    <a:lnTo>
                      <a:pt x="6817" y="1386"/>
                    </a:lnTo>
                    <a:lnTo>
                      <a:pt x="6840" y="1379"/>
                    </a:lnTo>
                    <a:lnTo>
                      <a:pt x="6848" y="1368"/>
                    </a:lnTo>
                    <a:lnTo>
                      <a:pt x="6850" y="1354"/>
                    </a:lnTo>
                    <a:lnTo>
                      <a:pt x="6814" y="1323"/>
                    </a:lnTo>
                    <a:lnTo>
                      <a:pt x="6811" y="1315"/>
                    </a:lnTo>
                    <a:lnTo>
                      <a:pt x="6808" y="1307"/>
                    </a:lnTo>
                    <a:lnTo>
                      <a:pt x="6786" y="1310"/>
                    </a:lnTo>
                    <a:lnTo>
                      <a:pt x="6769" y="1316"/>
                    </a:lnTo>
                    <a:lnTo>
                      <a:pt x="6759" y="1316"/>
                    </a:lnTo>
                    <a:lnTo>
                      <a:pt x="6755" y="1307"/>
                    </a:lnTo>
                    <a:lnTo>
                      <a:pt x="6755" y="1299"/>
                    </a:lnTo>
                    <a:lnTo>
                      <a:pt x="6737" y="1288"/>
                    </a:lnTo>
                    <a:lnTo>
                      <a:pt x="6732" y="1276"/>
                    </a:lnTo>
                    <a:lnTo>
                      <a:pt x="6725" y="1275"/>
                    </a:lnTo>
                    <a:lnTo>
                      <a:pt x="6706" y="1264"/>
                    </a:lnTo>
                    <a:lnTo>
                      <a:pt x="6701" y="1271"/>
                    </a:lnTo>
                    <a:lnTo>
                      <a:pt x="6692" y="1272"/>
                    </a:lnTo>
                    <a:lnTo>
                      <a:pt x="6685" y="1267"/>
                    </a:lnTo>
                    <a:lnTo>
                      <a:pt x="6671" y="1264"/>
                    </a:lnTo>
                    <a:lnTo>
                      <a:pt x="6665" y="1266"/>
                    </a:lnTo>
                    <a:lnTo>
                      <a:pt x="6665" y="1260"/>
                    </a:lnTo>
                    <a:lnTo>
                      <a:pt x="6684" y="1232"/>
                    </a:lnTo>
                    <a:lnTo>
                      <a:pt x="6690" y="1227"/>
                    </a:lnTo>
                    <a:lnTo>
                      <a:pt x="6703" y="1237"/>
                    </a:lnTo>
                    <a:lnTo>
                      <a:pt x="6709" y="1245"/>
                    </a:lnTo>
                    <a:lnTo>
                      <a:pt x="6722" y="1237"/>
                    </a:lnTo>
                    <a:lnTo>
                      <a:pt x="6722" y="1226"/>
                    </a:lnTo>
                    <a:lnTo>
                      <a:pt x="6721" y="1217"/>
                    </a:lnTo>
                    <a:lnTo>
                      <a:pt x="6708" y="1181"/>
                    </a:lnTo>
                    <a:lnTo>
                      <a:pt x="6689" y="1169"/>
                    </a:lnTo>
                    <a:lnTo>
                      <a:pt x="6678" y="1162"/>
                    </a:lnTo>
                    <a:lnTo>
                      <a:pt x="6662" y="1159"/>
                    </a:lnTo>
                    <a:lnTo>
                      <a:pt x="6656" y="1153"/>
                    </a:lnTo>
                    <a:lnTo>
                      <a:pt x="6636" y="1143"/>
                    </a:lnTo>
                    <a:lnTo>
                      <a:pt x="6617" y="1147"/>
                    </a:lnTo>
                    <a:lnTo>
                      <a:pt x="6615" y="1151"/>
                    </a:lnTo>
                    <a:lnTo>
                      <a:pt x="6612" y="1144"/>
                    </a:lnTo>
                    <a:lnTo>
                      <a:pt x="6603" y="1143"/>
                    </a:lnTo>
                    <a:lnTo>
                      <a:pt x="6575" y="1143"/>
                    </a:lnTo>
                    <a:lnTo>
                      <a:pt x="6565" y="1148"/>
                    </a:lnTo>
                    <a:lnTo>
                      <a:pt x="6540" y="1142"/>
                    </a:lnTo>
                    <a:lnTo>
                      <a:pt x="6528" y="1131"/>
                    </a:lnTo>
                    <a:lnTo>
                      <a:pt x="6512" y="1131"/>
                    </a:lnTo>
                    <a:lnTo>
                      <a:pt x="6490" y="1109"/>
                    </a:lnTo>
                    <a:lnTo>
                      <a:pt x="6484" y="1111"/>
                    </a:lnTo>
                    <a:lnTo>
                      <a:pt x="6443" y="1106"/>
                    </a:lnTo>
                    <a:lnTo>
                      <a:pt x="6419" y="1092"/>
                    </a:lnTo>
                    <a:lnTo>
                      <a:pt x="6378" y="1089"/>
                    </a:lnTo>
                    <a:lnTo>
                      <a:pt x="6365" y="1084"/>
                    </a:lnTo>
                    <a:lnTo>
                      <a:pt x="6319" y="1086"/>
                    </a:lnTo>
                    <a:lnTo>
                      <a:pt x="6264" y="1079"/>
                    </a:lnTo>
                    <a:lnTo>
                      <a:pt x="6257" y="1073"/>
                    </a:lnTo>
                    <a:lnTo>
                      <a:pt x="6252" y="1066"/>
                    </a:lnTo>
                    <a:lnTo>
                      <a:pt x="6242" y="1060"/>
                    </a:lnTo>
                    <a:lnTo>
                      <a:pt x="6232" y="1058"/>
                    </a:lnTo>
                    <a:lnTo>
                      <a:pt x="6225" y="1057"/>
                    </a:lnTo>
                    <a:lnTo>
                      <a:pt x="6217" y="1068"/>
                    </a:lnTo>
                    <a:lnTo>
                      <a:pt x="6216" y="1074"/>
                    </a:lnTo>
                    <a:lnTo>
                      <a:pt x="6226" y="1084"/>
                    </a:lnTo>
                    <a:lnTo>
                      <a:pt x="6227" y="1093"/>
                    </a:lnTo>
                    <a:lnTo>
                      <a:pt x="6235" y="1105"/>
                    </a:lnTo>
                    <a:lnTo>
                      <a:pt x="6227" y="1109"/>
                    </a:lnTo>
                    <a:lnTo>
                      <a:pt x="6216" y="1119"/>
                    </a:lnTo>
                    <a:lnTo>
                      <a:pt x="6211" y="1127"/>
                    </a:lnTo>
                    <a:lnTo>
                      <a:pt x="6206" y="1152"/>
                    </a:lnTo>
                    <a:lnTo>
                      <a:pt x="6199" y="1167"/>
                    </a:lnTo>
                    <a:lnTo>
                      <a:pt x="6192" y="1176"/>
                    </a:lnTo>
                    <a:lnTo>
                      <a:pt x="6179" y="1179"/>
                    </a:lnTo>
                    <a:lnTo>
                      <a:pt x="6166" y="1191"/>
                    </a:lnTo>
                    <a:lnTo>
                      <a:pt x="6158" y="1205"/>
                    </a:lnTo>
                    <a:lnTo>
                      <a:pt x="6157" y="1212"/>
                    </a:lnTo>
                    <a:lnTo>
                      <a:pt x="6163" y="1226"/>
                    </a:lnTo>
                    <a:lnTo>
                      <a:pt x="6165" y="1234"/>
                    </a:lnTo>
                    <a:lnTo>
                      <a:pt x="6155" y="1235"/>
                    </a:lnTo>
                    <a:lnTo>
                      <a:pt x="6156" y="1255"/>
                    </a:lnTo>
                    <a:lnTo>
                      <a:pt x="6161" y="1269"/>
                    </a:lnTo>
                    <a:lnTo>
                      <a:pt x="6171" y="1280"/>
                    </a:lnTo>
                    <a:lnTo>
                      <a:pt x="6173" y="1286"/>
                    </a:lnTo>
                    <a:lnTo>
                      <a:pt x="6173" y="1298"/>
                    </a:lnTo>
                    <a:lnTo>
                      <a:pt x="6171" y="1307"/>
                    </a:lnTo>
                    <a:lnTo>
                      <a:pt x="6161" y="1307"/>
                    </a:lnTo>
                    <a:lnTo>
                      <a:pt x="6141" y="1294"/>
                    </a:lnTo>
                    <a:lnTo>
                      <a:pt x="6135" y="1313"/>
                    </a:lnTo>
                    <a:lnTo>
                      <a:pt x="6120" y="1307"/>
                    </a:lnTo>
                    <a:lnTo>
                      <a:pt x="6115" y="1314"/>
                    </a:lnTo>
                    <a:lnTo>
                      <a:pt x="6113" y="1309"/>
                    </a:lnTo>
                    <a:lnTo>
                      <a:pt x="6093" y="1325"/>
                    </a:lnTo>
                    <a:lnTo>
                      <a:pt x="6088" y="1334"/>
                    </a:lnTo>
                    <a:lnTo>
                      <a:pt x="6080" y="1340"/>
                    </a:lnTo>
                    <a:lnTo>
                      <a:pt x="6076" y="1352"/>
                    </a:lnTo>
                    <a:lnTo>
                      <a:pt x="6065" y="1351"/>
                    </a:lnTo>
                    <a:lnTo>
                      <a:pt x="6060" y="1357"/>
                    </a:lnTo>
                    <a:lnTo>
                      <a:pt x="6054" y="1350"/>
                    </a:lnTo>
                    <a:lnTo>
                      <a:pt x="6047" y="1348"/>
                    </a:lnTo>
                    <a:lnTo>
                      <a:pt x="6042" y="1343"/>
                    </a:lnTo>
                    <a:lnTo>
                      <a:pt x="6042" y="1334"/>
                    </a:lnTo>
                    <a:lnTo>
                      <a:pt x="6033" y="1331"/>
                    </a:lnTo>
                    <a:lnTo>
                      <a:pt x="6029" y="1320"/>
                    </a:lnTo>
                    <a:lnTo>
                      <a:pt x="6021" y="1314"/>
                    </a:lnTo>
                    <a:lnTo>
                      <a:pt x="6013" y="1314"/>
                    </a:lnTo>
                    <a:lnTo>
                      <a:pt x="5985" y="1293"/>
                    </a:lnTo>
                    <a:lnTo>
                      <a:pt x="5972" y="1294"/>
                    </a:lnTo>
                    <a:lnTo>
                      <a:pt x="5956" y="1288"/>
                    </a:lnTo>
                    <a:lnTo>
                      <a:pt x="5950" y="1281"/>
                    </a:lnTo>
                    <a:lnTo>
                      <a:pt x="5941" y="1280"/>
                    </a:lnTo>
                    <a:lnTo>
                      <a:pt x="5929" y="1272"/>
                    </a:lnTo>
                    <a:lnTo>
                      <a:pt x="5898" y="1276"/>
                    </a:lnTo>
                    <a:lnTo>
                      <a:pt x="5887" y="1294"/>
                    </a:lnTo>
                    <a:lnTo>
                      <a:pt x="5886" y="1304"/>
                    </a:lnTo>
                    <a:lnTo>
                      <a:pt x="5888" y="1318"/>
                    </a:lnTo>
                    <a:lnTo>
                      <a:pt x="5887" y="1324"/>
                    </a:lnTo>
                    <a:lnTo>
                      <a:pt x="5877" y="1309"/>
                    </a:lnTo>
                    <a:lnTo>
                      <a:pt x="5872" y="1314"/>
                    </a:lnTo>
                    <a:lnTo>
                      <a:pt x="5845" y="1309"/>
                    </a:lnTo>
                    <a:lnTo>
                      <a:pt x="5834" y="1314"/>
                    </a:lnTo>
                    <a:lnTo>
                      <a:pt x="5824" y="1312"/>
                    </a:lnTo>
                    <a:lnTo>
                      <a:pt x="5811" y="1292"/>
                    </a:lnTo>
                    <a:lnTo>
                      <a:pt x="5802" y="1287"/>
                    </a:lnTo>
                    <a:lnTo>
                      <a:pt x="5792" y="1264"/>
                    </a:lnTo>
                    <a:lnTo>
                      <a:pt x="5783" y="1254"/>
                    </a:lnTo>
                    <a:lnTo>
                      <a:pt x="5775" y="1232"/>
                    </a:lnTo>
                    <a:lnTo>
                      <a:pt x="5774" y="1217"/>
                    </a:lnTo>
                    <a:lnTo>
                      <a:pt x="5773" y="1214"/>
                    </a:lnTo>
                    <a:lnTo>
                      <a:pt x="5767" y="1218"/>
                    </a:lnTo>
                    <a:lnTo>
                      <a:pt x="5762" y="1232"/>
                    </a:lnTo>
                    <a:lnTo>
                      <a:pt x="5744" y="1275"/>
                    </a:lnTo>
                    <a:lnTo>
                      <a:pt x="5737" y="1289"/>
                    </a:lnTo>
                    <a:lnTo>
                      <a:pt x="5736" y="1307"/>
                    </a:lnTo>
                    <a:lnTo>
                      <a:pt x="5733" y="1319"/>
                    </a:lnTo>
                    <a:lnTo>
                      <a:pt x="5735" y="1353"/>
                    </a:lnTo>
                    <a:lnTo>
                      <a:pt x="5727" y="1358"/>
                    </a:lnTo>
                    <a:lnTo>
                      <a:pt x="5719" y="1380"/>
                    </a:lnTo>
                    <a:lnTo>
                      <a:pt x="5712" y="1388"/>
                    </a:lnTo>
                    <a:lnTo>
                      <a:pt x="5710" y="1406"/>
                    </a:lnTo>
                    <a:lnTo>
                      <a:pt x="5700" y="1418"/>
                    </a:lnTo>
                    <a:lnTo>
                      <a:pt x="5697" y="1433"/>
                    </a:lnTo>
                    <a:lnTo>
                      <a:pt x="5684" y="1427"/>
                    </a:lnTo>
                    <a:lnTo>
                      <a:pt x="5674" y="1395"/>
                    </a:lnTo>
                    <a:lnTo>
                      <a:pt x="5671" y="1393"/>
                    </a:lnTo>
                    <a:lnTo>
                      <a:pt x="5669" y="1405"/>
                    </a:lnTo>
                    <a:lnTo>
                      <a:pt x="5662" y="1406"/>
                    </a:lnTo>
                    <a:lnTo>
                      <a:pt x="5656" y="1397"/>
                    </a:lnTo>
                    <a:lnTo>
                      <a:pt x="5649" y="1399"/>
                    </a:lnTo>
                    <a:lnTo>
                      <a:pt x="5641" y="1394"/>
                    </a:lnTo>
                    <a:lnTo>
                      <a:pt x="5636" y="1386"/>
                    </a:lnTo>
                    <a:lnTo>
                      <a:pt x="5636" y="1379"/>
                    </a:lnTo>
                    <a:lnTo>
                      <a:pt x="5627" y="1368"/>
                    </a:lnTo>
                    <a:lnTo>
                      <a:pt x="5620" y="1375"/>
                    </a:lnTo>
                    <a:lnTo>
                      <a:pt x="5618" y="1369"/>
                    </a:lnTo>
                    <a:lnTo>
                      <a:pt x="5613" y="1364"/>
                    </a:lnTo>
                    <a:lnTo>
                      <a:pt x="5609" y="1354"/>
                    </a:lnTo>
                    <a:lnTo>
                      <a:pt x="5607" y="1340"/>
                    </a:lnTo>
                    <a:lnTo>
                      <a:pt x="5599" y="1336"/>
                    </a:lnTo>
                    <a:lnTo>
                      <a:pt x="5596" y="1340"/>
                    </a:lnTo>
                    <a:lnTo>
                      <a:pt x="5596" y="1332"/>
                    </a:lnTo>
                    <a:lnTo>
                      <a:pt x="5588" y="1318"/>
                    </a:lnTo>
                    <a:lnTo>
                      <a:pt x="5586" y="1303"/>
                    </a:lnTo>
                    <a:lnTo>
                      <a:pt x="5582" y="1299"/>
                    </a:lnTo>
                    <a:lnTo>
                      <a:pt x="5582" y="1288"/>
                    </a:lnTo>
                    <a:lnTo>
                      <a:pt x="5579" y="1282"/>
                    </a:lnTo>
                    <a:lnTo>
                      <a:pt x="5576" y="1270"/>
                    </a:lnTo>
                    <a:lnTo>
                      <a:pt x="5575" y="1273"/>
                    </a:lnTo>
                    <a:lnTo>
                      <a:pt x="5565" y="1280"/>
                    </a:lnTo>
                    <a:lnTo>
                      <a:pt x="5559" y="1272"/>
                    </a:lnTo>
                    <a:lnTo>
                      <a:pt x="5561" y="1264"/>
                    </a:lnTo>
                    <a:lnTo>
                      <a:pt x="5559" y="1255"/>
                    </a:lnTo>
                    <a:lnTo>
                      <a:pt x="5555" y="1251"/>
                    </a:lnTo>
                    <a:lnTo>
                      <a:pt x="5554" y="1245"/>
                    </a:lnTo>
                    <a:lnTo>
                      <a:pt x="5553" y="1229"/>
                    </a:lnTo>
                    <a:lnTo>
                      <a:pt x="5572" y="1200"/>
                    </a:lnTo>
                    <a:lnTo>
                      <a:pt x="5577" y="1205"/>
                    </a:lnTo>
                    <a:lnTo>
                      <a:pt x="5582" y="1203"/>
                    </a:lnTo>
                    <a:lnTo>
                      <a:pt x="5579" y="1199"/>
                    </a:lnTo>
                    <a:lnTo>
                      <a:pt x="5580" y="1192"/>
                    </a:lnTo>
                    <a:lnTo>
                      <a:pt x="5591" y="1187"/>
                    </a:lnTo>
                    <a:lnTo>
                      <a:pt x="5597" y="1180"/>
                    </a:lnTo>
                    <a:lnTo>
                      <a:pt x="5591" y="1181"/>
                    </a:lnTo>
                    <a:lnTo>
                      <a:pt x="5591" y="1178"/>
                    </a:lnTo>
                    <a:lnTo>
                      <a:pt x="5596" y="1173"/>
                    </a:lnTo>
                    <a:lnTo>
                      <a:pt x="5593" y="1169"/>
                    </a:lnTo>
                    <a:lnTo>
                      <a:pt x="5593" y="1159"/>
                    </a:lnTo>
                    <a:lnTo>
                      <a:pt x="5603" y="1141"/>
                    </a:lnTo>
                    <a:lnTo>
                      <a:pt x="5581" y="1125"/>
                    </a:lnTo>
                    <a:lnTo>
                      <a:pt x="5582" y="1120"/>
                    </a:lnTo>
                    <a:lnTo>
                      <a:pt x="5590" y="1111"/>
                    </a:lnTo>
                    <a:lnTo>
                      <a:pt x="5580" y="1104"/>
                    </a:lnTo>
                    <a:lnTo>
                      <a:pt x="5582" y="1094"/>
                    </a:lnTo>
                    <a:lnTo>
                      <a:pt x="5588" y="1090"/>
                    </a:lnTo>
                    <a:lnTo>
                      <a:pt x="5588" y="1077"/>
                    </a:lnTo>
                    <a:lnTo>
                      <a:pt x="5591" y="1074"/>
                    </a:lnTo>
                    <a:lnTo>
                      <a:pt x="5587" y="1072"/>
                    </a:lnTo>
                    <a:lnTo>
                      <a:pt x="5586" y="1066"/>
                    </a:lnTo>
                    <a:lnTo>
                      <a:pt x="5587" y="1058"/>
                    </a:lnTo>
                    <a:lnTo>
                      <a:pt x="5585" y="1050"/>
                    </a:lnTo>
                    <a:lnTo>
                      <a:pt x="5592" y="1049"/>
                    </a:lnTo>
                    <a:lnTo>
                      <a:pt x="5593" y="1045"/>
                    </a:lnTo>
                    <a:lnTo>
                      <a:pt x="5595" y="1038"/>
                    </a:lnTo>
                    <a:lnTo>
                      <a:pt x="5597" y="1031"/>
                    </a:lnTo>
                    <a:lnTo>
                      <a:pt x="5593" y="1028"/>
                    </a:lnTo>
                    <a:lnTo>
                      <a:pt x="5593" y="1022"/>
                    </a:lnTo>
                    <a:lnTo>
                      <a:pt x="5577" y="1012"/>
                    </a:lnTo>
                    <a:lnTo>
                      <a:pt x="5572" y="1001"/>
                    </a:lnTo>
                    <a:lnTo>
                      <a:pt x="5565" y="992"/>
                    </a:lnTo>
                    <a:lnTo>
                      <a:pt x="5565" y="985"/>
                    </a:lnTo>
                    <a:lnTo>
                      <a:pt x="5541" y="971"/>
                    </a:lnTo>
                    <a:lnTo>
                      <a:pt x="5542" y="964"/>
                    </a:lnTo>
                    <a:lnTo>
                      <a:pt x="5541" y="957"/>
                    </a:lnTo>
                    <a:lnTo>
                      <a:pt x="5528" y="955"/>
                    </a:lnTo>
                    <a:lnTo>
                      <a:pt x="5523" y="952"/>
                    </a:lnTo>
                    <a:lnTo>
                      <a:pt x="5527" y="948"/>
                    </a:lnTo>
                    <a:lnTo>
                      <a:pt x="5521" y="939"/>
                    </a:lnTo>
                    <a:lnTo>
                      <a:pt x="5504" y="932"/>
                    </a:lnTo>
                    <a:lnTo>
                      <a:pt x="5494" y="936"/>
                    </a:lnTo>
                    <a:lnTo>
                      <a:pt x="5478" y="933"/>
                    </a:lnTo>
                    <a:lnTo>
                      <a:pt x="5461" y="925"/>
                    </a:lnTo>
                    <a:lnTo>
                      <a:pt x="5457" y="930"/>
                    </a:lnTo>
                    <a:lnTo>
                      <a:pt x="5455" y="938"/>
                    </a:lnTo>
                    <a:lnTo>
                      <a:pt x="5447" y="938"/>
                    </a:lnTo>
                    <a:lnTo>
                      <a:pt x="5437" y="950"/>
                    </a:lnTo>
                    <a:lnTo>
                      <a:pt x="5435" y="947"/>
                    </a:lnTo>
                    <a:lnTo>
                      <a:pt x="5434" y="941"/>
                    </a:lnTo>
                    <a:lnTo>
                      <a:pt x="5415" y="918"/>
                    </a:lnTo>
                    <a:lnTo>
                      <a:pt x="5408" y="925"/>
                    </a:lnTo>
                    <a:lnTo>
                      <a:pt x="5399" y="920"/>
                    </a:lnTo>
                    <a:lnTo>
                      <a:pt x="5392" y="922"/>
                    </a:lnTo>
                    <a:lnTo>
                      <a:pt x="5385" y="912"/>
                    </a:lnTo>
                    <a:lnTo>
                      <a:pt x="5380" y="916"/>
                    </a:lnTo>
                    <a:lnTo>
                      <a:pt x="5373" y="910"/>
                    </a:lnTo>
                    <a:lnTo>
                      <a:pt x="5370" y="918"/>
                    </a:lnTo>
                    <a:lnTo>
                      <a:pt x="5361" y="910"/>
                    </a:lnTo>
                    <a:lnTo>
                      <a:pt x="5361" y="904"/>
                    </a:lnTo>
                    <a:lnTo>
                      <a:pt x="5359" y="895"/>
                    </a:lnTo>
                    <a:lnTo>
                      <a:pt x="5354" y="891"/>
                    </a:lnTo>
                    <a:lnTo>
                      <a:pt x="5350" y="896"/>
                    </a:lnTo>
                    <a:lnTo>
                      <a:pt x="5339" y="883"/>
                    </a:lnTo>
                    <a:lnTo>
                      <a:pt x="5333" y="885"/>
                    </a:lnTo>
                    <a:lnTo>
                      <a:pt x="5323" y="879"/>
                    </a:lnTo>
                    <a:lnTo>
                      <a:pt x="5305" y="875"/>
                    </a:lnTo>
                    <a:lnTo>
                      <a:pt x="5292" y="866"/>
                    </a:lnTo>
                    <a:lnTo>
                      <a:pt x="5286" y="866"/>
                    </a:lnTo>
                    <a:lnTo>
                      <a:pt x="5285" y="873"/>
                    </a:lnTo>
                    <a:lnTo>
                      <a:pt x="5285" y="880"/>
                    </a:lnTo>
                    <a:lnTo>
                      <a:pt x="5286" y="890"/>
                    </a:lnTo>
                    <a:lnTo>
                      <a:pt x="5284" y="895"/>
                    </a:lnTo>
                    <a:lnTo>
                      <a:pt x="5268" y="893"/>
                    </a:lnTo>
                    <a:lnTo>
                      <a:pt x="5258" y="877"/>
                    </a:lnTo>
                    <a:lnTo>
                      <a:pt x="5257" y="883"/>
                    </a:lnTo>
                    <a:lnTo>
                      <a:pt x="5256" y="900"/>
                    </a:lnTo>
                    <a:lnTo>
                      <a:pt x="5247" y="942"/>
                    </a:lnTo>
                    <a:lnTo>
                      <a:pt x="5252" y="944"/>
                    </a:lnTo>
                    <a:lnTo>
                      <a:pt x="5249" y="950"/>
                    </a:lnTo>
                    <a:lnTo>
                      <a:pt x="5248" y="955"/>
                    </a:lnTo>
                    <a:lnTo>
                      <a:pt x="5251" y="970"/>
                    </a:lnTo>
                    <a:lnTo>
                      <a:pt x="5264" y="1003"/>
                    </a:lnTo>
                    <a:lnTo>
                      <a:pt x="5260" y="1011"/>
                    </a:lnTo>
                    <a:lnTo>
                      <a:pt x="5252" y="1019"/>
                    </a:lnTo>
                    <a:lnTo>
                      <a:pt x="5225" y="1024"/>
                    </a:lnTo>
                    <a:lnTo>
                      <a:pt x="5210" y="1036"/>
                    </a:lnTo>
                    <a:lnTo>
                      <a:pt x="5204" y="1031"/>
                    </a:lnTo>
                    <a:lnTo>
                      <a:pt x="5200" y="1038"/>
                    </a:lnTo>
                    <a:lnTo>
                      <a:pt x="5195" y="1034"/>
                    </a:lnTo>
                    <a:lnTo>
                      <a:pt x="5179" y="1038"/>
                    </a:lnTo>
                    <a:lnTo>
                      <a:pt x="5168" y="1033"/>
                    </a:lnTo>
                    <a:lnTo>
                      <a:pt x="5161" y="1033"/>
                    </a:lnTo>
                    <a:lnTo>
                      <a:pt x="5136" y="1038"/>
                    </a:lnTo>
                    <a:lnTo>
                      <a:pt x="5131" y="1041"/>
                    </a:lnTo>
                    <a:lnTo>
                      <a:pt x="5112" y="1030"/>
                    </a:lnTo>
                    <a:lnTo>
                      <a:pt x="5082" y="1023"/>
                    </a:lnTo>
                    <a:lnTo>
                      <a:pt x="5074" y="1022"/>
                    </a:lnTo>
                    <a:lnTo>
                      <a:pt x="5074" y="1030"/>
                    </a:lnTo>
                    <a:lnTo>
                      <a:pt x="5071" y="1035"/>
                    </a:lnTo>
                    <a:lnTo>
                      <a:pt x="5042" y="1015"/>
                    </a:lnTo>
                    <a:lnTo>
                      <a:pt x="5023" y="1011"/>
                    </a:lnTo>
                    <a:lnTo>
                      <a:pt x="4994" y="995"/>
                    </a:lnTo>
                    <a:lnTo>
                      <a:pt x="4989" y="987"/>
                    </a:lnTo>
                    <a:lnTo>
                      <a:pt x="4989" y="980"/>
                    </a:lnTo>
                    <a:lnTo>
                      <a:pt x="4989" y="974"/>
                    </a:lnTo>
                    <a:lnTo>
                      <a:pt x="4990" y="969"/>
                    </a:lnTo>
                    <a:lnTo>
                      <a:pt x="4988" y="955"/>
                    </a:lnTo>
                    <a:lnTo>
                      <a:pt x="4990" y="948"/>
                    </a:lnTo>
                    <a:lnTo>
                      <a:pt x="4996" y="944"/>
                    </a:lnTo>
                    <a:lnTo>
                      <a:pt x="5007" y="944"/>
                    </a:lnTo>
                    <a:lnTo>
                      <a:pt x="5009" y="938"/>
                    </a:lnTo>
                    <a:lnTo>
                      <a:pt x="5015" y="938"/>
                    </a:lnTo>
                    <a:lnTo>
                      <a:pt x="5012" y="931"/>
                    </a:lnTo>
                    <a:lnTo>
                      <a:pt x="5005" y="925"/>
                    </a:lnTo>
                    <a:lnTo>
                      <a:pt x="4978" y="926"/>
                    </a:lnTo>
                    <a:lnTo>
                      <a:pt x="4967" y="920"/>
                    </a:lnTo>
                    <a:lnTo>
                      <a:pt x="4948" y="925"/>
                    </a:lnTo>
                    <a:lnTo>
                      <a:pt x="4924" y="920"/>
                    </a:lnTo>
                    <a:lnTo>
                      <a:pt x="4912" y="912"/>
                    </a:lnTo>
                    <a:lnTo>
                      <a:pt x="4900" y="912"/>
                    </a:lnTo>
                    <a:lnTo>
                      <a:pt x="4888" y="907"/>
                    </a:lnTo>
                    <a:lnTo>
                      <a:pt x="4875" y="907"/>
                    </a:lnTo>
                    <a:lnTo>
                      <a:pt x="4858" y="899"/>
                    </a:lnTo>
                    <a:lnTo>
                      <a:pt x="4837" y="895"/>
                    </a:lnTo>
                    <a:lnTo>
                      <a:pt x="4818" y="900"/>
                    </a:lnTo>
                    <a:lnTo>
                      <a:pt x="4818" y="909"/>
                    </a:lnTo>
                    <a:lnTo>
                      <a:pt x="4792" y="918"/>
                    </a:lnTo>
                    <a:lnTo>
                      <a:pt x="4779" y="921"/>
                    </a:lnTo>
                    <a:lnTo>
                      <a:pt x="4756" y="918"/>
                    </a:lnTo>
                    <a:lnTo>
                      <a:pt x="4721" y="932"/>
                    </a:lnTo>
                    <a:lnTo>
                      <a:pt x="4736" y="957"/>
                    </a:lnTo>
                    <a:lnTo>
                      <a:pt x="4738" y="969"/>
                    </a:lnTo>
                    <a:lnTo>
                      <a:pt x="4735" y="974"/>
                    </a:lnTo>
                    <a:lnTo>
                      <a:pt x="4713" y="990"/>
                    </a:lnTo>
                    <a:lnTo>
                      <a:pt x="4698" y="984"/>
                    </a:lnTo>
                    <a:lnTo>
                      <a:pt x="4700" y="976"/>
                    </a:lnTo>
                    <a:lnTo>
                      <a:pt x="4715" y="979"/>
                    </a:lnTo>
                    <a:lnTo>
                      <a:pt x="4719" y="969"/>
                    </a:lnTo>
                    <a:lnTo>
                      <a:pt x="4703" y="964"/>
                    </a:lnTo>
                    <a:lnTo>
                      <a:pt x="4705" y="955"/>
                    </a:lnTo>
                    <a:lnTo>
                      <a:pt x="4700" y="947"/>
                    </a:lnTo>
                    <a:lnTo>
                      <a:pt x="4711" y="922"/>
                    </a:lnTo>
                    <a:lnTo>
                      <a:pt x="4710" y="907"/>
                    </a:lnTo>
                    <a:lnTo>
                      <a:pt x="4705" y="894"/>
                    </a:lnTo>
                    <a:lnTo>
                      <a:pt x="4700" y="889"/>
                    </a:lnTo>
                    <a:lnTo>
                      <a:pt x="4698" y="872"/>
                    </a:lnTo>
                    <a:lnTo>
                      <a:pt x="4690" y="858"/>
                    </a:lnTo>
                    <a:lnTo>
                      <a:pt x="4678" y="832"/>
                    </a:lnTo>
                    <a:lnTo>
                      <a:pt x="4684" y="861"/>
                    </a:lnTo>
                    <a:lnTo>
                      <a:pt x="4682" y="878"/>
                    </a:lnTo>
                    <a:lnTo>
                      <a:pt x="4674" y="891"/>
                    </a:lnTo>
                    <a:lnTo>
                      <a:pt x="4658" y="896"/>
                    </a:lnTo>
                    <a:lnTo>
                      <a:pt x="4628" y="894"/>
                    </a:lnTo>
                    <a:lnTo>
                      <a:pt x="4619" y="896"/>
                    </a:lnTo>
                    <a:lnTo>
                      <a:pt x="4617" y="891"/>
                    </a:lnTo>
                    <a:lnTo>
                      <a:pt x="4596" y="874"/>
                    </a:lnTo>
                    <a:lnTo>
                      <a:pt x="4592" y="862"/>
                    </a:lnTo>
                    <a:lnTo>
                      <a:pt x="4591" y="848"/>
                    </a:lnTo>
                    <a:lnTo>
                      <a:pt x="4596" y="837"/>
                    </a:lnTo>
                    <a:lnTo>
                      <a:pt x="4598" y="847"/>
                    </a:lnTo>
                    <a:lnTo>
                      <a:pt x="4607" y="832"/>
                    </a:lnTo>
                    <a:lnTo>
                      <a:pt x="4608" y="826"/>
                    </a:lnTo>
                    <a:lnTo>
                      <a:pt x="4584" y="834"/>
                    </a:lnTo>
                    <a:lnTo>
                      <a:pt x="4576" y="842"/>
                    </a:lnTo>
                    <a:lnTo>
                      <a:pt x="4574" y="851"/>
                    </a:lnTo>
                    <a:lnTo>
                      <a:pt x="4570" y="855"/>
                    </a:lnTo>
                    <a:lnTo>
                      <a:pt x="4565" y="845"/>
                    </a:lnTo>
                    <a:lnTo>
                      <a:pt x="4553" y="840"/>
                    </a:lnTo>
                    <a:lnTo>
                      <a:pt x="4542" y="831"/>
                    </a:lnTo>
                    <a:lnTo>
                      <a:pt x="4527" y="834"/>
                    </a:lnTo>
                    <a:lnTo>
                      <a:pt x="4515" y="839"/>
                    </a:lnTo>
                    <a:lnTo>
                      <a:pt x="4512" y="852"/>
                    </a:lnTo>
                    <a:lnTo>
                      <a:pt x="4496" y="875"/>
                    </a:lnTo>
                    <a:lnTo>
                      <a:pt x="4495" y="884"/>
                    </a:lnTo>
                    <a:lnTo>
                      <a:pt x="4500" y="899"/>
                    </a:lnTo>
                    <a:lnTo>
                      <a:pt x="4507" y="911"/>
                    </a:lnTo>
                    <a:lnTo>
                      <a:pt x="4514" y="907"/>
                    </a:lnTo>
                    <a:lnTo>
                      <a:pt x="4509" y="905"/>
                    </a:lnTo>
                    <a:lnTo>
                      <a:pt x="4509" y="896"/>
                    </a:lnTo>
                    <a:lnTo>
                      <a:pt x="4515" y="902"/>
                    </a:lnTo>
                    <a:lnTo>
                      <a:pt x="4534" y="902"/>
                    </a:lnTo>
                    <a:lnTo>
                      <a:pt x="4542" y="893"/>
                    </a:lnTo>
                    <a:lnTo>
                      <a:pt x="4552" y="888"/>
                    </a:lnTo>
                    <a:lnTo>
                      <a:pt x="4557" y="879"/>
                    </a:lnTo>
                    <a:lnTo>
                      <a:pt x="4565" y="884"/>
                    </a:lnTo>
                    <a:lnTo>
                      <a:pt x="4573" y="901"/>
                    </a:lnTo>
                    <a:lnTo>
                      <a:pt x="4542" y="916"/>
                    </a:lnTo>
                    <a:lnTo>
                      <a:pt x="4536" y="930"/>
                    </a:lnTo>
                    <a:lnTo>
                      <a:pt x="4531" y="927"/>
                    </a:lnTo>
                    <a:lnTo>
                      <a:pt x="4506" y="948"/>
                    </a:lnTo>
                    <a:lnTo>
                      <a:pt x="4495" y="948"/>
                    </a:lnTo>
                    <a:lnTo>
                      <a:pt x="4478" y="926"/>
                    </a:lnTo>
                    <a:lnTo>
                      <a:pt x="4490" y="949"/>
                    </a:lnTo>
                    <a:lnTo>
                      <a:pt x="4487" y="952"/>
                    </a:lnTo>
                    <a:lnTo>
                      <a:pt x="4480" y="945"/>
                    </a:lnTo>
                    <a:lnTo>
                      <a:pt x="4482" y="953"/>
                    </a:lnTo>
                    <a:lnTo>
                      <a:pt x="4479" y="960"/>
                    </a:lnTo>
                    <a:lnTo>
                      <a:pt x="4444" y="971"/>
                    </a:lnTo>
                    <a:lnTo>
                      <a:pt x="4432" y="970"/>
                    </a:lnTo>
                    <a:lnTo>
                      <a:pt x="4430" y="979"/>
                    </a:lnTo>
                    <a:lnTo>
                      <a:pt x="4432" y="986"/>
                    </a:lnTo>
                    <a:lnTo>
                      <a:pt x="4414" y="982"/>
                    </a:lnTo>
                    <a:lnTo>
                      <a:pt x="4394" y="1001"/>
                    </a:lnTo>
                    <a:lnTo>
                      <a:pt x="4389" y="998"/>
                    </a:lnTo>
                    <a:lnTo>
                      <a:pt x="4361" y="996"/>
                    </a:lnTo>
                    <a:lnTo>
                      <a:pt x="4354" y="1003"/>
                    </a:lnTo>
                    <a:lnTo>
                      <a:pt x="4326" y="996"/>
                    </a:lnTo>
                    <a:lnTo>
                      <a:pt x="4315" y="1004"/>
                    </a:lnTo>
                    <a:lnTo>
                      <a:pt x="4316" y="1018"/>
                    </a:lnTo>
                    <a:lnTo>
                      <a:pt x="4323" y="1036"/>
                    </a:lnTo>
                    <a:lnTo>
                      <a:pt x="4358" y="1054"/>
                    </a:lnTo>
                    <a:lnTo>
                      <a:pt x="4350" y="1056"/>
                    </a:lnTo>
                    <a:lnTo>
                      <a:pt x="4340" y="1054"/>
                    </a:lnTo>
                    <a:lnTo>
                      <a:pt x="4317" y="1044"/>
                    </a:lnTo>
                    <a:lnTo>
                      <a:pt x="4308" y="1038"/>
                    </a:lnTo>
                    <a:lnTo>
                      <a:pt x="4301" y="1047"/>
                    </a:lnTo>
                    <a:lnTo>
                      <a:pt x="4294" y="1052"/>
                    </a:lnTo>
                    <a:lnTo>
                      <a:pt x="4288" y="1065"/>
                    </a:lnTo>
                    <a:lnTo>
                      <a:pt x="4278" y="1071"/>
                    </a:lnTo>
                    <a:lnTo>
                      <a:pt x="4267" y="1072"/>
                    </a:lnTo>
                    <a:lnTo>
                      <a:pt x="4253" y="1082"/>
                    </a:lnTo>
                    <a:lnTo>
                      <a:pt x="4242" y="1090"/>
                    </a:lnTo>
                    <a:lnTo>
                      <a:pt x="4229" y="1109"/>
                    </a:lnTo>
                    <a:lnTo>
                      <a:pt x="4232" y="1104"/>
                    </a:lnTo>
                    <a:lnTo>
                      <a:pt x="4229" y="1101"/>
                    </a:lnTo>
                    <a:lnTo>
                      <a:pt x="4215" y="1105"/>
                    </a:lnTo>
                    <a:lnTo>
                      <a:pt x="4213" y="1111"/>
                    </a:lnTo>
                    <a:lnTo>
                      <a:pt x="4206" y="1110"/>
                    </a:lnTo>
                    <a:lnTo>
                      <a:pt x="4205" y="1103"/>
                    </a:lnTo>
                    <a:lnTo>
                      <a:pt x="4227" y="1083"/>
                    </a:lnTo>
                    <a:lnTo>
                      <a:pt x="4236" y="1078"/>
                    </a:lnTo>
                    <a:lnTo>
                      <a:pt x="4240" y="1072"/>
                    </a:lnTo>
                    <a:lnTo>
                      <a:pt x="4252" y="1063"/>
                    </a:lnTo>
                    <a:lnTo>
                      <a:pt x="4263" y="1067"/>
                    </a:lnTo>
                    <a:lnTo>
                      <a:pt x="4276" y="1055"/>
                    </a:lnTo>
                    <a:lnTo>
                      <a:pt x="4285" y="1044"/>
                    </a:lnTo>
                    <a:lnTo>
                      <a:pt x="4301" y="1008"/>
                    </a:lnTo>
                    <a:lnTo>
                      <a:pt x="4306" y="1002"/>
                    </a:lnTo>
                    <a:lnTo>
                      <a:pt x="4306" y="997"/>
                    </a:lnTo>
                    <a:lnTo>
                      <a:pt x="4310" y="987"/>
                    </a:lnTo>
                    <a:lnTo>
                      <a:pt x="4316" y="972"/>
                    </a:lnTo>
                    <a:lnTo>
                      <a:pt x="4326" y="974"/>
                    </a:lnTo>
                    <a:lnTo>
                      <a:pt x="4349" y="965"/>
                    </a:lnTo>
                    <a:lnTo>
                      <a:pt x="4351" y="952"/>
                    </a:lnTo>
                    <a:lnTo>
                      <a:pt x="4365" y="928"/>
                    </a:lnTo>
                    <a:lnTo>
                      <a:pt x="4369" y="911"/>
                    </a:lnTo>
                    <a:lnTo>
                      <a:pt x="4409" y="910"/>
                    </a:lnTo>
                    <a:lnTo>
                      <a:pt x="4419" y="907"/>
                    </a:lnTo>
                    <a:lnTo>
                      <a:pt x="4425" y="915"/>
                    </a:lnTo>
                    <a:lnTo>
                      <a:pt x="4445" y="875"/>
                    </a:lnTo>
                    <a:lnTo>
                      <a:pt x="4452" y="864"/>
                    </a:lnTo>
                    <a:lnTo>
                      <a:pt x="4456" y="848"/>
                    </a:lnTo>
                    <a:lnTo>
                      <a:pt x="4484" y="820"/>
                    </a:lnTo>
                    <a:lnTo>
                      <a:pt x="4500" y="813"/>
                    </a:lnTo>
                    <a:lnTo>
                      <a:pt x="4511" y="802"/>
                    </a:lnTo>
                    <a:lnTo>
                      <a:pt x="4520" y="788"/>
                    </a:lnTo>
                    <a:lnTo>
                      <a:pt x="4526" y="767"/>
                    </a:lnTo>
                    <a:lnTo>
                      <a:pt x="4547" y="748"/>
                    </a:lnTo>
                    <a:lnTo>
                      <a:pt x="4545" y="743"/>
                    </a:lnTo>
                    <a:lnTo>
                      <a:pt x="4548" y="735"/>
                    </a:lnTo>
                    <a:lnTo>
                      <a:pt x="4559" y="733"/>
                    </a:lnTo>
                    <a:lnTo>
                      <a:pt x="4566" y="727"/>
                    </a:lnTo>
                    <a:lnTo>
                      <a:pt x="4563" y="724"/>
                    </a:lnTo>
                    <a:lnTo>
                      <a:pt x="4569" y="722"/>
                    </a:lnTo>
                    <a:lnTo>
                      <a:pt x="4573" y="726"/>
                    </a:lnTo>
                    <a:lnTo>
                      <a:pt x="4584" y="721"/>
                    </a:lnTo>
                    <a:lnTo>
                      <a:pt x="4587" y="707"/>
                    </a:lnTo>
                    <a:lnTo>
                      <a:pt x="4592" y="708"/>
                    </a:lnTo>
                    <a:lnTo>
                      <a:pt x="4607" y="692"/>
                    </a:lnTo>
                    <a:lnTo>
                      <a:pt x="4625" y="703"/>
                    </a:lnTo>
                    <a:lnTo>
                      <a:pt x="4627" y="695"/>
                    </a:lnTo>
                    <a:lnTo>
                      <a:pt x="4630" y="686"/>
                    </a:lnTo>
                    <a:lnTo>
                      <a:pt x="4625" y="678"/>
                    </a:lnTo>
                    <a:lnTo>
                      <a:pt x="4657" y="665"/>
                    </a:lnTo>
                    <a:lnTo>
                      <a:pt x="4643" y="662"/>
                    </a:lnTo>
                    <a:lnTo>
                      <a:pt x="4645" y="656"/>
                    </a:lnTo>
                    <a:lnTo>
                      <a:pt x="4667" y="645"/>
                    </a:lnTo>
                    <a:lnTo>
                      <a:pt x="4665" y="656"/>
                    </a:lnTo>
                    <a:lnTo>
                      <a:pt x="4672" y="645"/>
                    </a:lnTo>
                    <a:lnTo>
                      <a:pt x="4678" y="643"/>
                    </a:lnTo>
                    <a:lnTo>
                      <a:pt x="4684" y="636"/>
                    </a:lnTo>
                    <a:lnTo>
                      <a:pt x="4679" y="631"/>
                    </a:lnTo>
                    <a:lnTo>
                      <a:pt x="4688" y="622"/>
                    </a:lnTo>
                    <a:lnTo>
                      <a:pt x="4698" y="624"/>
                    </a:lnTo>
                    <a:lnTo>
                      <a:pt x="4704" y="611"/>
                    </a:lnTo>
                    <a:lnTo>
                      <a:pt x="4708" y="599"/>
                    </a:lnTo>
                    <a:lnTo>
                      <a:pt x="4708" y="595"/>
                    </a:lnTo>
                    <a:lnTo>
                      <a:pt x="4719" y="582"/>
                    </a:lnTo>
                    <a:lnTo>
                      <a:pt x="4722" y="573"/>
                    </a:lnTo>
                    <a:lnTo>
                      <a:pt x="4729" y="567"/>
                    </a:lnTo>
                    <a:lnTo>
                      <a:pt x="4729" y="549"/>
                    </a:lnTo>
                    <a:lnTo>
                      <a:pt x="4726" y="548"/>
                    </a:lnTo>
                    <a:lnTo>
                      <a:pt x="4722" y="534"/>
                    </a:lnTo>
                    <a:lnTo>
                      <a:pt x="4731" y="538"/>
                    </a:lnTo>
                    <a:lnTo>
                      <a:pt x="4730" y="518"/>
                    </a:lnTo>
                    <a:lnTo>
                      <a:pt x="4716" y="518"/>
                    </a:lnTo>
                    <a:lnTo>
                      <a:pt x="4703" y="506"/>
                    </a:lnTo>
                    <a:lnTo>
                      <a:pt x="4701" y="491"/>
                    </a:lnTo>
                    <a:lnTo>
                      <a:pt x="4692" y="492"/>
                    </a:lnTo>
                    <a:lnTo>
                      <a:pt x="4689" y="502"/>
                    </a:lnTo>
                    <a:lnTo>
                      <a:pt x="4686" y="507"/>
                    </a:lnTo>
                    <a:lnTo>
                      <a:pt x="4681" y="497"/>
                    </a:lnTo>
                    <a:lnTo>
                      <a:pt x="4681" y="493"/>
                    </a:lnTo>
                    <a:lnTo>
                      <a:pt x="4676" y="481"/>
                    </a:lnTo>
                    <a:lnTo>
                      <a:pt x="4679" y="475"/>
                    </a:lnTo>
                    <a:lnTo>
                      <a:pt x="4666" y="464"/>
                    </a:lnTo>
                    <a:lnTo>
                      <a:pt x="4660" y="454"/>
                    </a:lnTo>
                    <a:lnTo>
                      <a:pt x="4662" y="447"/>
                    </a:lnTo>
                    <a:lnTo>
                      <a:pt x="4670" y="449"/>
                    </a:lnTo>
                    <a:lnTo>
                      <a:pt x="4687" y="470"/>
                    </a:lnTo>
                    <a:lnTo>
                      <a:pt x="4717" y="490"/>
                    </a:lnTo>
                    <a:lnTo>
                      <a:pt x="4711" y="507"/>
                    </a:lnTo>
                    <a:lnTo>
                      <a:pt x="4717" y="505"/>
                    </a:lnTo>
                    <a:lnTo>
                      <a:pt x="4724" y="493"/>
                    </a:lnTo>
                    <a:lnTo>
                      <a:pt x="4736" y="455"/>
                    </a:lnTo>
                    <a:lnTo>
                      <a:pt x="4736" y="441"/>
                    </a:lnTo>
                    <a:lnTo>
                      <a:pt x="4732" y="428"/>
                    </a:lnTo>
                    <a:lnTo>
                      <a:pt x="4726" y="432"/>
                    </a:lnTo>
                    <a:lnTo>
                      <a:pt x="4717" y="428"/>
                    </a:lnTo>
                    <a:lnTo>
                      <a:pt x="4713" y="400"/>
                    </a:lnTo>
                    <a:lnTo>
                      <a:pt x="4714" y="389"/>
                    </a:lnTo>
                    <a:lnTo>
                      <a:pt x="4698" y="360"/>
                    </a:lnTo>
                    <a:lnTo>
                      <a:pt x="4689" y="364"/>
                    </a:lnTo>
                    <a:lnTo>
                      <a:pt x="4695" y="378"/>
                    </a:lnTo>
                    <a:lnTo>
                      <a:pt x="4686" y="387"/>
                    </a:lnTo>
                    <a:lnTo>
                      <a:pt x="4684" y="394"/>
                    </a:lnTo>
                    <a:lnTo>
                      <a:pt x="4679" y="394"/>
                    </a:lnTo>
                    <a:lnTo>
                      <a:pt x="4672" y="374"/>
                    </a:lnTo>
                    <a:lnTo>
                      <a:pt x="4662" y="362"/>
                    </a:lnTo>
                    <a:lnTo>
                      <a:pt x="4670" y="358"/>
                    </a:lnTo>
                    <a:lnTo>
                      <a:pt x="4671" y="349"/>
                    </a:lnTo>
                    <a:lnTo>
                      <a:pt x="4673" y="341"/>
                    </a:lnTo>
                    <a:lnTo>
                      <a:pt x="4647" y="315"/>
                    </a:lnTo>
                    <a:lnTo>
                      <a:pt x="4640" y="318"/>
                    </a:lnTo>
                    <a:lnTo>
                      <a:pt x="4639" y="306"/>
                    </a:lnTo>
                    <a:lnTo>
                      <a:pt x="4624" y="283"/>
                    </a:lnTo>
                    <a:lnTo>
                      <a:pt x="4603" y="271"/>
                    </a:lnTo>
                    <a:lnTo>
                      <a:pt x="4607" y="266"/>
                    </a:lnTo>
                    <a:lnTo>
                      <a:pt x="4603" y="258"/>
                    </a:lnTo>
                    <a:lnTo>
                      <a:pt x="4593" y="255"/>
                    </a:lnTo>
                    <a:lnTo>
                      <a:pt x="4588" y="261"/>
                    </a:lnTo>
                    <a:lnTo>
                      <a:pt x="4585" y="255"/>
                    </a:lnTo>
                    <a:lnTo>
                      <a:pt x="4586" y="244"/>
                    </a:lnTo>
                    <a:lnTo>
                      <a:pt x="4569" y="248"/>
                    </a:lnTo>
                    <a:lnTo>
                      <a:pt x="4539" y="242"/>
                    </a:lnTo>
                    <a:lnTo>
                      <a:pt x="4523" y="255"/>
                    </a:lnTo>
                    <a:lnTo>
                      <a:pt x="4518" y="253"/>
                    </a:lnTo>
                    <a:lnTo>
                      <a:pt x="4509" y="255"/>
                    </a:lnTo>
                    <a:lnTo>
                      <a:pt x="4489" y="238"/>
                    </a:lnTo>
                    <a:lnTo>
                      <a:pt x="4477" y="248"/>
                    </a:lnTo>
                    <a:lnTo>
                      <a:pt x="4469" y="247"/>
                    </a:lnTo>
                    <a:lnTo>
                      <a:pt x="4441" y="253"/>
                    </a:lnTo>
                    <a:lnTo>
                      <a:pt x="4435" y="247"/>
                    </a:lnTo>
                    <a:lnTo>
                      <a:pt x="4426" y="255"/>
                    </a:lnTo>
                    <a:lnTo>
                      <a:pt x="4428" y="248"/>
                    </a:lnTo>
                    <a:lnTo>
                      <a:pt x="4432" y="242"/>
                    </a:lnTo>
                    <a:lnTo>
                      <a:pt x="4430" y="238"/>
                    </a:lnTo>
                    <a:lnTo>
                      <a:pt x="4424" y="237"/>
                    </a:lnTo>
                    <a:lnTo>
                      <a:pt x="4421" y="244"/>
                    </a:lnTo>
                    <a:lnTo>
                      <a:pt x="4410" y="247"/>
                    </a:lnTo>
                    <a:lnTo>
                      <a:pt x="4409" y="258"/>
                    </a:lnTo>
                    <a:lnTo>
                      <a:pt x="4405" y="264"/>
                    </a:lnTo>
                    <a:lnTo>
                      <a:pt x="4416" y="261"/>
                    </a:lnTo>
                    <a:lnTo>
                      <a:pt x="4409" y="272"/>
                    </a:lnTo>
                    <a:lnTo>
                      <a:pt x="4403" y="272"/>
                    </a:lnTo>
                    <a:lnTo>
                      <a:pt x="4402" y="283"/>
                    </a:lnTo>
                    <a:lnTo>
                      <a:pt x="4397" y="294"/>
                    </a:lnTo>
                    <a:lnTo>
                      <a:pt x="4386" y="299"/>
                    </a:lnTo>
                    <a:lnTo>
                      <a:pt x="4382" y="296"/>
                    </a:lnTo>
                    <a:lnTo>
                      <a:pt x="4380" y="307"/>
                    </a:lnTo>
                    <a:lnTo>
                      <a:pt x="4356" y="306"/>
                    </a:lnTo>
                    <a:lnTo>
                      <a:pt x="4349" y="312"/>
                    </a:lnTo>
                    <a:lnTo>
                      <a:pt x="4334" y="306"/>
                    </a:lnTo>
                    <a:lnTo>
                      <a:pt x="4313" y="306"/>
                    </a:lnTo>
                    <a:lnTo>
                      <a:pt x="4313" y="301"/>
                    </a:lnTo>
                    <a:lnTo>
                      <a:pt x="4311" y="299"/>
                    </a:lnTo>
                    <a:lnTo>
                      <a:pt x="4329" y="288"/>
                    </a:lnTo>
                    <a:lnTo>
                      <a:pt x="4333" y="292"/>
                    </a:lnTo>
                    <a:lnTo>
                      <a:pt x="4343" y="264"/>
                    </a:lnTo>
                    <a:lnTo>
                      <a:pt x="4349" y="253"/>
                    </a:lnTo>
                    <a:lnTo>
                      <a:pt x="4353" y="242"/>
                    </a:lnTo>
                    <a:lnTo>
                      <a:pt x="4367" y="238"/>
                    </a:lnTo>
                    <a:lnTo>
                      <a:pt x="4377" y="216"/>
                    </a:lnTo>
                    <a:lnTo>
                      <a:pt x="4373" y="213"/>
                    </a:lnTo>
                    <a:lnTo>
                      <a:pt x="4370" y="207"/>
                    </a:lnTo>
                    <a:lnTo>
                      <a:pt x="4372" y="204"/>
                    </a:lnTo>
                    <a:lnTo>
                      <a:pt x="4380" y="204"/>
                    </a:lnTo>
                    <a:lnTo>
                      <a:pt x="4380" y="197"/>
                    </a:lnTo>
                    <a:lnTo>
                      <a:pt x="4373" y="195"/>
                    </a:lnTo>
                    <a:lnTo>
                      <a:pt x="4373" y="188"/>
                    </a:lnTo>
                    <a:lnTo>
                      <a:pt x="4375" y="183"/>
                    </a:lnTo>
                    <a:lnTo>
                      <a:pt x="4349" y="175"/>
                    </a:lnTo>
                    <a:lnTo>
                      <a:pt x="4344" y="178"/>
                    </a:lnTo>
                    <a:lnTo>
                      <a:pt x="4338" y="168"/>
                    </a:lnTo>
                    <a:lnTo>
                      <a:pt x="4329" y="166"/>
                    </a:lnTo>
                    <a:lnTo>
                      <a:pt x="4321" y="166"/>
                    </a:lnTo>
                    <a:lnTo>
                      <a:pt x="4312" y="173"/>
                    </a:lnTo>
                    <a:lnTo>
                      <a:pt x="4306" y="164"/>
                    </a:lnTo>
                    <a:lnTo>
                      <a:pt x="4289" y="173"/>
                    </a:lnTo>
                    <a:lnTo>
                      <a:pt x="4294" y="157"/>
                    </a:lnTo>
                    <a:lnTo>
                      <a:pt x="4292" y="143"/>
                    </a:lnTo>
                    <a:lnTo>
                      <a:pt x="4286" y="162"/>
                    </a:lnTo>
                    <a:lnTo>
                      <a:pt x="4268" y="161"/>
                    </a:lnTo>
                    <a:lnTo>
                      <a:pt x="4211" y="189"/>
                    </a:lnTo>
                    <a:lnTo>
                      <a:pt x="4224" y="169"/>
                    </a:lnTo>
                    <a:lnTo>
                      <a:pt x="4231" y="166"/>
                    </a:lnTo>
                    <a:lnTo>
                      <a:pt x="4256" y="126"/>
                    </a:lnTo>
                    <a:lnTo>
                      <a:pt x="4268" y="116"/>
                    </a:lnTo>
                    <a:lnTo>
                      <a:pt x="4276" y="115"/>
                    </a:lnTo>
                    <a:lnTo>
                      <a:pt x="4286" y="98"/>
                    </a:lnTo>
                    <a:lnTo>
                      <a:pt x="4286" y="91"/>
                    </a:lnTo>
                    <a:lnTo>
                      <a:pt x="4301" y="88"/>
                    </a:lnTo>
                    <a:lnTo>
                      <a:pt x="4310" y="95"/>
                    </a:lnTo>
                    <a:lnTo>
                      <a:pt x="4301" y="82"/>
                    </a:lnTo>
                    <a:lnTo>
                      <a:pt x="4290" y="43"/>
                    </a:lnTo>
                    <a:lnTo>
                      <a:pt x="4281" y="39"/>
                    </a:lnTo>
                    <a:lnTo>
                      <a:pt x="4276" y="48"/>
                    </a:lnTo>
                    <a:lnTo>
                      <a:pt x="4259" y="45"/>
                    </a:lnTo>
                    <a:lnTo>
                      <a:pt x="4242" y="34"/>
                    </a:lnTo>
                    <a:lnTo>
                      <a:pt x="4226" y="7"/>
                    </a:lnTo>
                    <a:lnTo>
                      <a:pt x="4219" y="17"/>
                    </a:lnTo>
                    <a:lnTo>
                      <a:pt x="4213" y="14"/>
                    </a:lnTo>
                    <a:lnTo>
                      <a:pt x="4211" y="12"/>
                    </a:lnTo>
                    <a:lnTo>
                      <a:pt x="4211" y="5"/>
                    </a:lnTo>
                    <a:lnTo>
                      <a:pt x="4203" y="0"/>
                    </a:lnTo>
                    <a:lnTo>
                      <a:pt x="4193" y="2"/>
                    </a:lnTo>
                    <a:lnTo>
                      <a:pt x="4178" y="14"/>
                    </a:lnTo>
                    <a:lnTo>
                      <a:pt x="4172" y="24"/>
                    </a:lnTo>
                    <a:lnTo>
                      <a:pt x="4166" y="27"/>
                    </a:lnTo>
                    <a:lnTo>
                      <a:pt x="4143" y="22"/>
                    </a:lnTo>
                    <a:lnTo>
                      <a:pt x="4139" y="35"/>
                    </a:lnTo>
                    <a:lnTo>
                      <a:pt x="4122" y="51"/>
                    </a:lnTo>
                    <a:lnTo>
                      <a:pt x="4098" y="88"/>
                    </a:lnTo>
                    <a:lnTo>
                      <a:pt x="4093" y="102"/>
                    </a:lnTo>
                    <a:lnTo>
                      <a:pt x="4073" y="120"/>
                    </a:lnTo>
                    <a:lnTo>
                      <a:pt x="4070" y="126"/>
                    </a:lnTo>
                    <a:lnTo>
                      <a:pt x="4049" y="157"/>
                    </a:lnTo>
                    <a:lnTo>
                      <a:pt x="4043" y="168"/>
                    </a:lnTo>
                    <a:lnTo>
                      <a:pt x="4042" y="178"/>
                    </a:lnTo>
                    <a:lnTo>
                      <a:pt x="4042" y="185"/>
                    </a:lnTo>
                    <a:lnTo>
                      <a:pt x="4039" y="194"/>
                    </a:lnTo>
                    <a:lnTo>
                      <a:pt x="4033" y="194"/>
                    </a:lnTo>
                    <a:lnTo>
                      <a:pt x="4032" y="201"/>
                    </a:lnTo>
                    <a:lnTo>
                      <a:pt x="4023" y="220"/>
                    </a:lnTo>
                    <a:lnTo>
                      <a:pt x="4025" y="222"/>
                    </a:lnTo>
                    <a:lnTo>
                      <a:pt x="4025" y="232"/>
                    </a:lnTo>
                    <a:lnTo>
                      <a:pt x="4030" y="238"/>
                    </a:lnTo>
                    <a:lnTo>
                      <a:pt x="4043" y="244"/>
                    </a:lnTo>
                    <a:lnTo>
                      <a:pt x="4046" y="258"/>
                    </a:lnTo>
                    <a:lnTo>
                      <a:pt x="4052" y="263"/>
                    </a:lnTo>
                    <a:lnTo>
                      <a:pt x="4050" y="267"/>
                    </a:lnTo>
                    <a:lnTo>
                      <a:pt x="4039" y="265"/>
                    </a:lnTo>
                    <a:lnTo>
                      <a:pt x="4037" y="258"/>
                    </a:lnTo>
                    <a:lnTo>
                      <a:pt x="4037" y="282"/>
                    </a:lnTo>
                    <a:lnTo>
                      <a:pt x="4041" y="285"/>
                    </a:lnTo>
                    <a:lnTo>
                      <a:pt x="4039" y="286"/>
                    </a:lnTo>
                    <a:lnTo>
                      <a:pt x="4010" y="303"/>
                    </a:lnTo>
                    <a:lnTo>
                      <a:pt x="3995" y="307"/>
                    </a:lnTo>
                    <a:lnTo>
                      <a:pt x="3975" y="306"/>
                    </a:lnTo>
                    <a:lnTo>
                      <a:pt x="3962" y="312"/>
                    </a:lnTo>
                    <a:lnTo>
                      <a:pt x="3913" y="302"/>
                    </a:lnTo>
                    <a:lnTo>
                      <a:pt x="3915" y="310"/>
                    </a:lnTo>
                    <a:lnTo>
                      <a:pt x="3915" y="315"/>
                    </a:lnTo>
                    <a:lnTo>
                      <a:pt x="3921" y="321"/>
                    </a:lnTo>
                    <a:lnTo>
                      <a:pt x="3923" y="334"/>
                    </a:lnTo>
                    <a:lnTo>
                      <a:pt x="3934" y="335"/>
                    </a:lnTo>
                    <a:lnTo>
                      <a:pt x="3941" y="344"/>
                    </a:lnTo>
                    <a:lnTo>
                      <a:pt x="3941" y="351"/>
                    </a:lnTo>
                    <a:lnTo>
                      <a:pt x="3960" y="351"/>
                    </a:lnTo>
                    <a:lnTo>
                      <a:pt x="3967" y="356"/>
                    </a:lnTo>
                    <a:lnTo>
                      <a:pt x="3968" y="364"/>
                    </a:lnTo>
                    <a:lnTo>
                      <a:pt x="3963" y="377"/>
                    </a:lnTo>
                    <a:lnTo>
                      <a:pt x="3963" y="396"/>
                    </a:lnTo>
                    <a:lnTo>
                      <a:pt x="3960" y="406"/>
                    </a:lnTo>
                    <a:lnTo>
                      <a:pt x="3947" y="401"/>
                    </a:lnTo>
                    <a:lnTo>
                      <a:pt x="3947" y="389"/>
                    </a:lnTo>
                    <a:lnTo>
                      <a:pt x="3944" y="384"/>
                    </a:lnTo>
                    <a:lnTo>
                      <a:pt x="3923" y="380"/>
                    </a:lnTo>
                    <a:lnTo>
                      <a:pt x="3923" y="377"/>
                    </a:lnTo>
                    <a:lnTo>
                      <a:pt x="3926" y="366"/>
                    </a:lnTo>
                    <a:lnTo>
                      <a:pt x="3924" y="361"/>
                    </a:lnTo>
                    <a:lnTo>
                      <a:pt x="3907" y="364"/>
                    </a:lnTo>
                    <a:lnTo>
                      <a:pt x="3908" y="353"/>
                    </a:lnTo>
                    <a:lnTo>
                      <a:pt x="3902" y="352"/>
                    </a:lnTo>
                    <a:lnTo>
                      <a:pt x="3865" y="379"/>
                    </a:lnTo>
                    <a:lnTo>
                      <a:pt x="3869" y="389"/>
                    </a:lnTo>
                    <a:lnTo>
                      <a:pt x="3869" y="396"/>
                    </a:lnTo>
                    <a:lnTo>
                      <a:pt x="3864" y="396"/>
                    </a:lnTo>
                    <a:lnTo>
                      <a:pt x="3860" y="390"/>
                    </a:lnTo>
                    <a:lnTo>
                      <a:pt x="3849" y="393"/>
                    </a:lnTo>
                    <a:lnTo>
                      <a:pt x="3844" y="404"/>
                    </a:lnTo>
                    <a:lnTo>
                      <a:pt x="3851" y="405"/>
                    </a:lnTo>
                    <a:lnTo>
                      <a:pt x="3854" y="409"/>
                    </a:lnTo>
                    <a:lnTo>
                      <a:pt x="3855" y="417"/>
                    </a:lnTo>
                    <a:lnTo>
                      <a:pt x="3850" y="419"/>
                    </a:lnTo>
                    <a:lnTo>
                      <a:pt x="3838" y="415"/>
                    </a:lnTo>
                    <a:lnTo>
                      <a:pt x="3821" y="428"/>
                    </a:lnTo>
                    <a:lnTo>
                      <a:pt x="3821" y="415"/>
                    </a:lnTo>
                    <a:lnTo>
                      <a:pt x="3819" y="411"/>
                    </a:lnTo>
                    <a:lnTo>
                      <a:pt x="3815" y="415"/>
                    </a:lnTo>
                    <a:lnTo>
                      <a:pt x="3805" y="431"/>
                    </a:lnTo>
                    <a:lnTo>
                      <a:pt x="3797" y="431"/>
                    </a:lnTo>
                    <a:lnTo>
                      <a:pt x="3784" y="442"/>
                    </a:lnTo>
                    <a:lnTo>
                      <a:pt x="3780" y="439"/>
                    </a:lnTo>
                    <a:lnTo>
                      <a:pt x="3790" y="427"/>
                    </a:lnTo>
                    <a:lnTo>
                      <a:pt x="3791" y="419"/>
                    </a:lnTo>
                    <a:lnTo>
                      <a:pt x="3780" y="417"/>
                    </a:lnTo>
                    <a:lnTo>
                      <a:pt x="3779" y="411"/>
                    </a:lnTo>
                    <a:lnTo>
                      <a:pt x="3774" y="419"/>
                    </a:lnTo>
                    <a:lnTo>
                      <a:pt x="3756" y="423"/>
                    </a:lnTo>
                    <a:lnTo>
                      <a:pt x="3748" y="438"/>
                    </a:lnTo>
                    <a:lnTo>
                      <a:pt x="3740" y="442"/>
                    </a:lnTo>
                    <a:lnTo>
                      <a:pt x="3736" y="436"/>
                    </a:lnTo>
                    <a:lnTo>
                      <a:pt x="3756" y="414"/>
                    </a:lnTo>
                    <a:lnTo>
                      <a:pt x="3761" y="393"/>
                    </a:lnTo>
                    <a:lnTo>
                      <a:pt x="3745" y="380"/>
                    </a:lnTo>
                    <a:lnTo>
                      <a:pt x="3716" y="382"/>
                    </a:lnTo>
                    <a:lnTo>
                      <a:pt x="3711" y="385"/>
                    </a:lnTo>
                    <a:lnTo>
                      <a:pt x="3710" y="393"/>
                    </a:lnTo>
                    <a:lnTo>
                      <a:pt x="3678" y="383"/>
                    </a:lnTo>
                    <a:lnTo>
                      <a:pt x="3676" y="390"/>
                    </a:lnTo>
                    <a:lnTo>
                      <a:pt x="3665" y="399"/>
                    </a:lnTo>
                    <a:lnTo>
                      <a:pt x="3657" y="389"/>
                    </a:lnTo>
                    <a:lnTo>
                      <a:pt x="3629" y="390"/>
                    </a:lnTo>
                    <a:lnTo>
                      <a:pt x="3628" y="394"/>
                    </a:lnTo>
                    <a:lnTo>
                      <a:pt x="3635" y="399"/>
                    </a:lnTo>
                    <a:lnTo>
                      <a:pt x="3635" y="403"/>
                    </a:lnTo>
                    <a:lnTo>
                      <a:pt x="3609" y="409"/>
                    </a:lnTo>
                    <a:lnTo>
                      <a:pt x="3608" y="405"/>
                    </a:lnTo>
                    <a:lnTo>
                      <a:pt x="3611" y="398"/>
                    </a:lnTo>
                    <a:lnTo>
                      <a:pt x="3604" y="399"/>
                    </a:lnTo>
                    <a:lnTo>
                      <a:pt x="3590" y="412"/>
                    </a:lnTo>
                    <a:lnTo>
                      <a:pt x="3586" y="401"/>
                    </a:lnTo>
                    <a:lnTo>
                      <a:pt x="3581" y="405"/>
                    </a:lnTo>
                    <a:lnTo>
                      <a:pt x="3581" y="423"/>
                    </a:lnTo>
                    <a:lnTo>
                      <a:pt x="3585" y="427"/>
                    </a:lnTo>
                    <a:lnTo>
                      <a:pt x="3604" y="417"/>
                    </a:lnTo>
                    <a:lnTo>
                      <a:pt x="3607" y="428"/>
                    </a:lnTo>
                    <a:lnTo>
                      <a:pt x="3611" y="435"/>
                    </a:lnTo>
                    <a:lnTo>
                      <a:pt x="3612" y="432"/>
                    </a:lnTo>
                    <a:lnTo>
                      <a:pt x="3612" y="426"/>
                    </a:lnTo>
                    <a:lnTo>
                      <a:pt x="3619" y="423"/>
                    </a:lnTo>
                    <a:lnTo>
                      <a:pt x="3618" y="428"/>
                    </a:lnTo>
                    <a:lnTo>
                      <a:pt x="3620" y="435"/>
                    </a:lnTo>
                    <a:lnTo>
                      <a:pt x="3614" y="446"/>
                    </a:lnTo>
                    <a:lnTo>
                      <a:pt x="3549" y="471"/>
                    </a:lnTo>
                    <a:lnTo>
                      <a:pt x="3520" y="475"/>
                    </a:lnTo>
                    <a:lnTo>
                      <a:pt x="3516" y="473"/>
                    </a:lnTo>
                    <a:lnTo>
                      <a:pt x="3514" y="481"/>
                    </a:lnTo>
                    <a:lnTo>
                      <a:pt x="3514" y="492"/>
                    </a:lnTo>
                    <a:lnTo>
                      <a:pt x="3514" y="489"/>
                    </a:lnTo>
                    <a:lnTo>
                      <a:pt x="3501" y="487"/>
                    </a:lnTo>
                    <a:lnTo>
                      <a:pt x="3488" y="496"/>
                    </a:lnTo>
                    <a:lnTo>
                      <a:pt x="3473" y="490"/>
                    </a:lnTo>
                    <a:lnTo>
                      <a:pt x="3455" y="502"/>
                    </a:lnTo>
                    <a:lnTo>
                      <a:pt x="3436" y="502"/>
                    </a:lnTo>
                    <a:lnTo>
                      <a:pt x="3420" y="516"/>
                    </a:lnTo>
                    <a:lnTo>
                      <a:pt x="3434" y="524"/>
                    </a:lnTo>
                    <a:lnTo>
                      <a:pt x="3415" y="529"/>
                    </a:lnTo>
                    <a:lnTo>
                      <a:pt x="3401" y="541"/>
                    </a:lnTo>
                    <a:lnTo>
                      <a:pt x="3385" y="528"/>
                    </a:lnTo>
                    <a:lnTo>
                      <a:pt x="3378" y="536"/>
                    </a:lnTo>
                    <a:lnTo>
                      <a:pt x="3366" y="539"/>
                    </a:lnTo>
                    <a:lnTo>
                      <a:pt x="3365" y="544"/>
                    </a:lnTo>
                    <a:lnTo>
                      <a:pt x="3371" y="544"/>
                    </a:lnTo>
                    <a:lnTo>
                      <a:pt x="3374" y="550"/>
                    </a:lnTo>
                    <a:lnTo>
                      <a:pt x="3355" y="555"/>
                    </a:lnTo>
                    <a:lnTo>
                      <a:pt x="3354" y="562"/>
                    </a:lnTo>
                    <a:lnTo>
                      <a:pt x="3344" y="566"/>
                    </a:lnTo>
                    <a:lnTo>
                      <a:pt x="3333" y="584"/>
                    </a:lnTo>
                    <a:lnTo>
                      <a:pt x="3322" y="593"/>
                    </a:lnTo>
                    <a:lnTo>
                      <a:pt x="3321" y="598"/>
                    </a:lnTo>
                    <a:lnTo>
                      <a:pt x="3322" y="604"/>
                    </a:lnTo>
                    <a:lnTo>
                      <a:pt x="3319" y="608"/>
                    </a:lnTo>
                    <a:lnTo>
                      <a:pt x="3305" y="614"/>
                    </a:lnTo>
                    <a:lnTo>
                      <a:pt x="3300" y="605"/>
                    </a:lnTo>
                    <a:lnTo>
                      <a:pt x="3292" y="604"/>
                    </a:lnTo>
                    <a:lnTo>
                      <a:pt x="3269" y="602"/>
                    </a:lnTo>
                    <a:lnTo>
                      <a:pt x="3261" y="606"/>
                    </a:lnTo>
                    <a:lnTo>
                      <a:pt x="3256" y="611"/>
                    </a:lnTo>
                    <a:lnTo>
                      <a:pt x="3262" y="618"/>
                    </a:lnTo>
                    <a:lnTo>
                      <a:pt x="3279" y="625"/>
                    </a:lnTo>
                    <a:lnTo>
                      <a:pt x="3301" y="626"/>
                    </a:lnTo>
                    <a:lnTo>
                      <a:pt x="3297" y="633"/>
                    </a:lnTo>
                    <a:lnTo>
                      <a:pt x="3288" y="642"/>
                    </a:lnTo>
                    <a:lnTo>
                      <a:pt x="3281" y="640"/>
                    </a:lnTo>
                    <a:lnTo>
                      <a:pt x="3279" y="633"/>
                    </a:lnTo>
                    <a:lnTo>
                      <a:pt x="3272" y="640"/>
                    </a:lnTo>
                    <a:lnTo>
                      <a:pt x="3274" y="645"/>
                    </a:lnTo>
                    <a:lnTo>
                      <a:pt x="3268" y="659"/>
                    </a:lnTo>
                    <a:lnTo>
                      <a:pt x="3262" y="667"/>
                    </a:lnTo>
                    <a:lnTo>
                      <a:pt x="3256" y="683"/>
                    </a:lnTo>
                    <a:lnTo>
                      <a:pt x="3249" y="683"/>
                    </a:lnTo>
                    <a:lnTo>
                      <a:pt x="3247" y="694"/>
                    </a:lnTo>
                    <a:lnTo>
                      <a:pt x="3253" y="702"/>
                    </a:lnTo>
                    <a:lnTo>
                      <a:pt x="3246" y="708"/>
                    </a:lnTo>
                    <a:lnTo>
                      <a:pt x="3236" y="691"/>
                    </a:lnTo>
                    <a:lnTo>
                      <a:pt x="3222" y="684"/>
                    </a:lnTo>
                    <a:lnTo>
                      <a:pt x="3221" y="674"/>
                    </a:lnTo>
                    <a:lnTo>
                      <a:pt x="3204" y="667"/>
                    </a:lnTo>
                    <a:lnTo>
                      <a:pt x="3203" y="668"/>
                    </a:lnTo>
                    <a:lnTo>
                      <a:pt x="3209" y="681"/>
                    </a:lnTo>
                    <a:lnTo>
                      <a:pt x="3194" y="690"/>
                    </a:lnTo>
                    <a:lnTo>
                      <a:pt x="3197" y="699"/>
                    </a:lnTo>
                    <a:lnTo>
                      <a:pt x="3192" y="701"/>
                    </a:lnTo>
                    <a:lnTo>
                      <a:pt x="3193" y="707"/>
                    </a:lnTo>
                    <a:lnTo>
                      <a:pt x="3222" y="711"/>
                    </a:lnTo>
                    <a:lnTo>
                      <a:pt x="3229" y="717"/>
                    </a:lnTo>
                    <a:lnTo>
                      <a:pt x="3242" y="724"/>
                    </a:lnTo>
                    <a:lnTo>
                      <a:pt x="3238" y="728"/>
                    </a:lnTo>
                    <a:lnTo>
                      <a:pt x="3238" y="735"/>
                    </a:lnTo>
                    <a:lnTo>
                      <a:pt x="3242" y="739"/>
                    </a:lnTo>
                    <a:lnTo>
                      <a:pt x="3240" y="743"/>
                    </a:lnTo>
                    <a:lnTo>
                      <a:pt x="3227" y="740"/>
                    </a:lnTo>
                    <a:lnTo>
                      <a:pt x="3224" y="744"/>
                    </a:lnTo>
                    <a:lnTo>
                      <a:pt x="3211" y="750"/>
                    </a:lnTo>
                    <a:lnTo>
                      <a:pt x="3215" y="756"/>
                    </a:lnTo>
                    <a:lnTo>
                      <a:pt x="3204" y="756"/>
                    </a:lnTo>
                    <a:lnTo>
                      <a:pt x="3202" y="761"/>
                    </a:lnTo>
                    <a:lnTo>
                      <a:pt x="3203" y="771"/>
                    </a:lnTo>
                    <a:lnTo>
                      <a:pt x="3209" y="777"/>
                    </a:lnTo>
                    <a:lnTo>
                      <a:pt x="3246" y="788"/>
                    </a:lnTo>
                    <a:lnTo>
                      <a:pt x="3249" y="814"/>
                    </a:lnTo>
                    <a:lnTo>
                      <a:pt x="3253" y="821"/>
                    </a:lnTo>
                    <a:lnTo>
                      <a:pt x="3259" y="826"/>
                    </a:lnTo>
                    <a:lnTo>
                      <a:pt x="3254" y="832"/>
                    </a:lnTo>
                    <a:lnTo>
                      <a:pt x="3242" y="828"/>
                    </a:lnTo>
                    <a:lnTo>
                      <a:pt x="3242" y="831"/>
                    </a:lnTo>
                    <a:lnTo>
                      <a:pt x="3245" y="839"/>
                    </a:lnTo>
                    <a:lnTo>
                      <a:pt x="3240" y="841"/>
                    </a:lnTo>
                    <a:lnTo>
                      <a:pt x="3242" y="847"/>
                    </a:lnTo>
                    <a:lnTo>
                      <a:pt x="3247" y="850"/>
                    </a:lnTo>
                    <a:lnTo>
                      <a:pt x="3247" y="856"/>
                    </a:lnTo>
                    <a:lnTo>
                      <a:pt x="3237" y="861"/>
                    </a:lnTo>
                    <a:lnTo>
                      <a:pt x="3215" y="863"/>
                    </a:lnTo>
                    <a:lnTo>
                      <a:pt x="3202" y="872"/>
                    </a:lnTo>
                    <a:lnTo>
                      <a:pt x="3189" y="871"/>
                    </a:lnTo>
                    <a:lnTo>
                      <a:pt x="3182" y="874"/>
                    </a:lnTo>
                    <a:lnTo>
                      <a:pt x="3179" y="883"/>
                    </a:lnTo>
                    <a:lnTo>
                      <a:pt x="3166" y="894"/>
                    </a:lnTo>
                    <a:lnTo>
                      <a:pt x="3148" y="889"/>
                    </a:lnTo>
                    <a:lnTo>
                      <a:pt x="3145" y="883"/>
                    </a:lnTo>
                    <a:lnTo>
                      <a:pt x="3143" y="883"/>
                    </a:lnTo>
                    <a:lnTo>
                      <a:pt x="3130" y="888"/>
                    </a:lnTo>
                    <a:lnTo>
                      <a:pt x="3105" y="893"/>
                    </a:lnTo>
                    <a:lnTo>
                      <a:pt x="3082" y="900"/>
                    </a:lnTo>
                    <a:lnTo>
                      <a:pt x="3035" y="906"/>
                    </a:lnTo>
                    <a:lnTo>
                      <a:pt x="3026" y="900"/>
                    </a:lnTo>
                    <a:lnTo>
                      <a:pt x="3007" y="904"/>
                    </a:lnTo>
                    <a:lnTo>
                      <a:pt x="2989" y="901"/>
                    </a:lnTo>
                    <a:lnTo>
                      <a:pt x="2952" y="912"/>
                    </a:lnTo>
                    <a:lnTo>
                      <a:pt x="2952" y="917"/>
                    </a:lnTo>
                    <a:lnTo>
                      <a:pt x="2950" y="920"/>
                    </a:lnTo>
                    <a:lnTo>
                      <a:pt x="2939" y="914"/>
                    </a:lnTo>
                    <a:lnTo>
                      <a:pt x="2929" y="918"/>
                    </a:lnTo>
                    <a:lnTo>
                      <a:pt x="2928" y="922"/>
                    </a:lnTo>
                    <a:lnTo>
                      <a:pt x="2912" y="926"/>
                    </a:lnTo>
                    <a:lnTo>
                      <a:pt x="2913" y="936"/>
                    </a:lnTo>
                    <a:lnTo>
                      <a:pt x="2917" y="944"/>
                    </a:lnTo>
                    <a:lnTo>
                      <a:pt x="2920" y="943"/>
                    </a:lnTo>
                    <a:lnTo>
                      <a:pt x="2921" y="938"/>
                    </a:lnTo>
                    <a:lnTo>
                      <a:pt x="2926" y="939"/>
                    </a:lnTo>
                    <a:lnTo>
                      <a:pt x="2924" y="947"/>
                    </a:lnTo>
                    <a:lnTo>
                      <a:pt x="2912" y="958"/>
                    </a:lnTo>
                    <a:lnTo>
                      <a:pt x="2912" y="964"/>
                    </a:lnTo>
                    <a:lnTo>
                      <a:pt x="2904" y="960"/>
                    </a:lnTo>
                    <a:lnTo>
                      <a:pt x="2901" y="966"/>
                    </a:lnTo>
                    <a:lnTo>
                      <a:pt x="2904" y="975"/>
                    </a:lnTo>
                    <a:lnTo>
                      <a:pt x="2913" y="977"/>
                    </a:lnTo>
                    <a:lnTo>
                      <a:pt x="2913" y="987"/>
                    </a:lnTo>
                    <a:lnTo>
                      <a:pt x="2901" y="996"/>
                    </a:lnTo>
                    <a:lnTo>
                      <a:pt x="2918" y="1009"/>
                    </a:lnTo>
                    <a:lnTo>
                      <a:pt x="2917" y="1014"/>
                    </a:lnTo>
                    <a:lnTo>
                      <a:pt x="2923" y="1019"/>
                    </a:lnTo>
                    <a:lnTo>
                      <a:pt x="2926" y="1018"/>
                    </a:lnTo>
                    <a:lnTo>
                      <a:pt x="2931" y="1040"/>
                    </a:lnTo>
                    <a:lnTo>
                      <a:pt x="2937" y="1046"/>
                    </a:lnTo>
                    <a:lnTo>
                      <a:pt x="2934" y="1052"/>
                    </a:lnTo>
                    <a:lnTo>
                      <a:pt x="2933" y="1058"/>
                    </a:lnTo>
                    <a:lnTo>
                      <a:pt x="2929" y="1066"/>
                    </a:lnTo>
                    <a:lnTo>
                      <a:pt x="2924" y="1082"/>
                    </a:lnTo>
                    <a:lnTo>
                      <a:pt x="2925" y="1097"/>
                    </a:lnTo>
                    <a:lnTo>
                      <a:pt x="2930" y="1105"/>
                    </a:lnTo>
                    <a:lnTo>
                      <a:pt x="2930" y="1122"/>
                    </a:lnTo>
                    <a:lnTo>
                      <a:pt x="2935" y="1133"/>
                    </a:lnTo>
                    <a:lnTo>
                      <a:pt x="2949" y="1149"/>
                    </a:lnTo>
                    <a:lnTo>
                      <a:pt x="2962" y="1153"/>
                    </a:lnTo>
                    <a:lnTo>
                      <a:pt x="2987" y="1157"/>
                    </a:lnTo>
                    <a:lnTo>
                      <a:pt x="3001" y="1168"/>
                    </a:lnTo>
                    <a:lnTo>
                      <a:pt x="3009" y="1168"/>
                    </a:lnTo>
                    <a:lnTo>
                      <a:pt x="3015" y="1184"/>
                    </a:lnTo>
                    <a:lnTo>
                      <a:pt x="3010" y="1196"/>
                    </a:lnTo>
                    <a:lnTo>
                      <a:pt x="3006" y="1200"/>
                    </a:lnTo>
                    <a:lnTo>
                      <a:pt x="3017" y="1203"/>
                    </a:lnTo>
                    <a:lnTo>
                      <a:pt x="3023" y="1211"/>
                    </a:lnTo>
                    <a:lnTo>
                      <a:pt x="3031" y="1227"/>
                    </a:lnTo>
                    <a:lnTo>
                      <a:pt x="3041" y="1233"/>
                    </a:lnTo>
                    <a:lnTo>
                      <a:pt x="3060" y="1239"/>
                    </a:lnTo>
                    <a:lnTo>
                      <a:pt x="3069" y="1246"/>
                    </a:lnTo>
                    <a:lnTo>
                      <a:pt x="3073" y="1239"/>
                    </a:lnTo>
                    <a:lnTo>
                      <a:pt x="3076" y="1254"/>
                    </a:lnTo>
                    <a:lnTo>
                      <a:pt x="3084" y="1272"/>
                    </a:lnTo>
                    <a:lnTo>
                      <a:pt x="3084" y="1282"/>
                    </a:lnTo>
                    <a:lnTo>
                      <a:pt x="3080" y="1302"/>
                    </a:lnTo>
                    <a:lnTo>
                      <a:pt x="3069" y="1312"/>
                    </a:lnTo>
                    <a:lnTo>
                      <a:pt x="3068" y="1329"/>
                    </a:lnTo>
                    <a:lnTo>
                      <a:pt x="3060" y="1343"/>
                    </a:lnTo>
                    <a:lnTo>
                      <a:pt x="3064" y="1358"/>
                    </a:lnTo>
                    <a:lnTo>
                      <a:pt x="3063" y="1372"/>
                    </a:lnTo>
                    <a:lnTo>
                      <a:pt x="3079" y="1394"/>
                    </a:lnTo>
                    <a:lnTo>
                      <a:pt x="3082" y="1426"/>
                    </a:lnTo>
                    <a:lnTo>
                      <a:pt x="3087" y="1440"/>
                    </a:lnTo>
                    <a:lnTo>
                      <a:pt x="3090" y="1459"/>
                    </a:lnTo>
                    <a:lnTo>
                      <a:pt x="3090" y="1474"/>
                    </a:lnTo>
                    <a:lnTo>
                      <a:pt x="3085" y="1487"/>
                    </a:lnTo>
                    <a:lnTo>
                      <a:pt x="3075" y="1501"/>
                    </a:lnTo>
                    <a:lnTo>
                      <a:pt x="3063" y="1504"/>
                    </a:lnTo>
                    <a:lnTo>
                      <a:pt x="3055" y="1501"/>
                    </a:lnTo>
                    <a:lnTo>
                      <a:pt x="3054" y="1509"/>
                    </a:lnTo>
                    <a:lnTo>
                      <a:pt x="3063" y="1530"/>
                    </a:lnTo>
                    <a:lnTo>
                      <a:pt x="3059" y="1539"/>
                    </a:lnTo>
                    <a:lnTo>
                      <a:pt x="3035" y="1529"/>
                    </a:lnTo>
                    <a:lnTo>
                      <a:pt x="3017" y="1528"/>
                    </a:lnTo>
                    <a:lnTo>
                      <a:pt x="3006" y="1517"/>
                    </a:lnTo>
                    <a:lnTo>
                      <a:pt x="3004" y="1504"/>
                    </a:lnTo>
                    <a:lnTo>
                      <a:pt x="3004" y="1458"/>
                    </a:lnTo>
                    <a:lnTo>
                      <a:pt x="3012" y="1428"/>
                    </a:lnTo>
                    <a:lnTo>
                      <a:pt x="3009" y="1422"/>
                    </a:lnTo>
                    <a:lnTo>
                      <a:pt x="3007" y="1393"/>
                    </a:lnTo>
                    <a:lnTo>
                      <a:pt x="3010" y="1379"/>
                    </a:lnTo>
                    <a:lnTo>
                      <a:pt x="3009" y="1362"/>
                    </a:lnTo>
                    <a:lnTo>
                      <a:pt x="3007" y="1352"/>
                    </a:lnTo>
                    <a:lnTo>
                      <a:pt x="3015" y="1340"/>
                    </a:lnTo>
                    <a:lnTo>
                      <a:pt x="3047" y="1319"/>
                    </a:lnTo>
                    <a:lnTo>
                      <a:pt x="3049" y="1313"/>
                    </a:lnTo>
                    <a:lnTo>
                      <a:pt x="3049" y="1300"/>
                    </a:lnTo>
                    <a:lnTo>
                      <a:pt x="3052" y="1288"/>
                    </a:lnTo>
                    <a:lnTo>
                      <a:pt x="3060" y="1287"/>
                    </a:lnTo>
                    <a:lnTo>
                      <a:pt x="3063" y="1270"/>
                    </a:lnTo>
                    <a:lnTo>
                      <a:pt x="3039" y="1254"/>
                    </a:lnTo>
                    <a:lnTo>
                      <a:pt x="3010" y="1264"/>
                    </a:lnTo>
                    <a:lnTo>
                      <a:pt x="2982" y="1267"/>
                    </a:lnTo>
                    <a:lnTo>
                      <a:pt x="2966" y="1260"/>
                    </a:lnTo>
                    <a:lnTo>
                      <a:pt x="2955" y="1248"/>
                    </a:lnTo>
                    <a:lnTo>
                      <a:pt x="2952" y="1250"/>
                    </a:lnTo>
                    <a:lnTo>
                      <a:pt x="2945" y="1235"/>
                    </a:lnTo>
                    <a:lnTo>
                      <a:pt x="2931" y="1219"/>
                    </a:lnTo>
                    <a:lnTo>
                      <a:pt x="2928" y="1212"/>
                    </a:lnTo>
                    <a:lnTo>
                      <a:pt x="2928" y="1203"/>
                    </a:lnTo>
                    <a:lnTo>
                      <a:pt x="2902" y="1191"/>
                    </a:lnTo>
                    <a:lnTo>
                      <a:pt x="2880" y="1174"/>
                    </a:lnTo>
                    <a:lnTo>
                      <a:pt x="2871" y="1163"/>
                    </a:lnTo>
                    <a:lnTo>
                      <a:pt x="2844" y="1149"/>
                    </a:lnTo>
                    <a:lnTo>
                      <a:pt x="2792" y="1148"/>
                    </a:lnTo>
                    <a:lnTo>
                      <a:pt x="2777" y="1151"/>
                    </a:lnTo>
                    <a:lnTo>
                      <a:pt x="2763" y="1171"/>
                    </a:lnTo>
                    <a:lnTo>
                      <a:pt x="2741" y="1181"/>
                    </a:lnTo>
                    <a:lnTo>
                      <a:pt x="2737" y="1201"/>
                    </a:lnTo>
                    <a:lnTo>
                      <a:pt x="2764" y="1202"/>
                    </a:lnTo>
                    <a:lnTo>
                      <a:pt x="2778" y="1213"/>
                    </a:lnTo>
                    <a:lnTo>
                      <a:pt x="2773" y="1227"/>
                    </a:lnTo>
                    <a:lnTo>
                      <a:pt x="2763" y="1240"/>
                    </a:lnTo>
                    <a:lnTo>
                      <a:pt x="2743" y="1246"/>
                    </a:lnTo>
                    <a:lnTo>
                      <a:pt x="2729" y="1259"/>
                    </a:lnTo>
                    <a:lnTo>
                      <a:pt x="2708" y="1265"/>
                    </a:lnTo>
                    <a:lnTo>
                      <a:pt x="2708" y="1249"/>
                    </a:lnTo>
                    <a:lnTo>
                      <a:pt x="2692" y="1233"/>
                    </a:lnTo>
                    <a:lnTo>
                      <a:pt x="2683" y="1217"/>
                    </a:lnTo>
                    <a:lnTo>
                      <a:pt x="2672" y="1218"/>
                    </a:lnTo>
                    <a:lnTo>
                      <a:pt x="2662" y="1232"/>
                    </a:lnTo>
                    <a:lnTo>
                      <a:pt x="2668" y="1239"/>
                    </a:lnTo>
                    <a:lnTo>
                      <a:pt x="2673" y="1260"/>
                    </a:lnTo>
                    <a:lnTo>
                      <a:pt x="2678" y="1275"/>
                    </a:lnTo>
                    <a:lnTo>
                      <a:pt x="2681" y="1287"/>
                    </a:lnTo>
                    <a:lnTo>
                      <a:pt x="2687" y="1289"/>
                    </a:lnTo>
                    <a:lnTo>
                      <a:pt x="2709" y="1308"/>
                    </a:lnTo>
                    <a:lnTo>
                      <a:pt x="2724" y="1314"/>
                    </a:lnTo>
                    <a:lnTo>
                      <a:pt x="2732" y="1326"/>
                    </a:lnTo>
                    <a:lnTo>
                      <a:pt x="2741" y="1327"/>
                    </a:lnTo>
                    <a:lnTo>
                      <a:pt x="2747" y="1335"/>
                    </a:lnTo>
                    <a:lnTo>
                      <a:pt x="2757" y="1329"/>
                    </a:lnTo>
                    <a:lnTo>
                      <a:pt x="2767" y="1319"/>
                    </a:lnTo>
                    <a:lnTo>
                      <a:pt x="2764" y="1334"/>
                    </a:lnTo>
                    <a:lnTo>
                      <a:pt x="2769" y="1341"/>
                    </a:lnTo>
                    <a:lnTo>
                      <a:pt x="2780" y="1337"/>
                    </a:lnTo>
                    <a:lnTo>
                      <a:pt x="2781" y="1367"/>
                    </a:lnTo>
                    <a:lnTo>
                      <a:pt x="2795" y="1383"/>
                    </a:lnTo>
                    <a:lnTo>
                      <a:pt x="2795" y="1393"/>
                    </a:lnTo>
                    <a:lnTo>
                      <a:pt x="2779" y="1390"/>
                    </a:lnTo>
                    <a:lnTo>
                      <a:pt x="2769" y="1384"/>
                    </a:lnTo>
                    <a:lnTo>
                      <a:pt x="2762" y="1377"/>
                    </a:lnTo>
                    <a:lnTo>
                      <a:pt x="2758" y="1367"/>
                    </a:lnTo>
                    <a:lnTo>
                      <a:pt x="2748" y="1358"/>
                    </a:lnTo>
                    <a:lnTo>
                      <a:pt x="2713" y="1354"/>
                    </a:lnTo>
                    <a:lnTo>
                      <a:pt x="2702" y="1348"/>
                    </a:lnTo>
                    <a:lnTo>
                      <a:pt x="2668" y="1345"/>
                    </a:lnTo>
                    <a:lnTo>
                      <a:pt x="2636" y="1332"/>
                    </a:lnTo>
                    <a:lnTo>
                      <a:pt x="2627" y="1325"/>
                    </a:lnTo>
                    <a:lnTo>
                      <a:pt x="2617" y="1310"/>
                    </a:lnTo>
                    <a:lnTo>
                      <a:pt x="2619" y="1307"/>
                    </a:lnTo>
                    <a:lnTo>
                      <a:pt x="2633" y="1304"/>
                    </a:lnTo>
                    <a:lnTo>
                      <a:pt x="2634" y="1299"/>
                    </a:lnTo>
                    <a:lnTo>
                      <a:pt x="2633" y="1278"/>
                    </a:lnTo>
                    <a:lnTo>
                      <a:pt x="2622" y="1256"/>
                    </a:lnTo>
                    <a:lnTo>
                      <a:pt x="2621" y="1246"/>
                    </a:lnTo>
                    <a:lnTo>
                      <a:pt x="2627" y="1222"/>
                    </a:lnTo>
                    <a:lnTo>
                      <a:pt x="2618" y="1211"/>
                    </a:lnTo>
                    <a:lnTo>
                      <a:pt x="2627" y="1202"/>
                    </a:lnTo>
                    <a:lnTo>
                      <a:pt x="2641" y="1163"/>
                    </a:lnTo>
                    <a:lnTo>
                      <a:pt x="2634" y="1137"/>
                    </a:lnTo>
                    <a:lnTo>
                      <a:pt x="2632" y="1120"/>
                    </a:lnTo>
                    <a:lnTo>
                      <a:pt x="2640" y="1115"/>
                    </a:lnTo>
                    <a:lnTo>
                      <a:pt x="2630" y="1100"/>
                    </a:lnTo>
                    <a:lnTo>
                      <a:pt x="2628" y="1090"/>
                    </a:lnTo>
                    <a:lnTo>
                      <a:pt x="2629" y="1082"/>
                    </a:lnTo>
                    <a:lnTo>
                      <a:pt x="2613" y="1066"/>
                    </a:lnTo>
                    <a:lnTo>
                      <a:pt x="2608" y="1055"/>
                    </a:lnTo>
                    <a:lnTo>
                      <a:pt x="2593" y="1063"/>
                    </a:lnTo>
                    <a:lnTo>
                      <a:pt x="2595" y="1074"/>
                    </a:lnTo>
                    <a:lnTo>
                      <a:pt x="2602" y="1094"/>
                    </a:lnTo>
                    <a:lnTo>
                      <a:pt x="2607" y="1115"/>
                    </a:lnTo>
                    <a:lnTo>
                      <a:pt x="2607" y="1160"/>
                    </a:lnTo>
                    <a:lnTo>
                      <a:pt x="2598" y="1176"/>
                    </a:lnTo>
                    <a:lnTo>
                      <a:pt x="2566" y="1207"/>
                    </a:lnTo>
                    <a:lnTo>
                      <a:pt x="2546" y="1217"/>
                    </a:lnTo>
                    <a:lnTo>
                      <a:pt x="2516" y="1239"/>
                    </a:lnTo>
                    <a:lnTo>
                      <a:pt x="2517" y="1253"/>
                    </a:lnTo>
                    <a:lnTo>
                      <a:pt x="2517" y="1261"/>
                    </a:lnTo>
                    <a:lnTo>
                      <a:pt x="2514" y="1272"/>
                    </a:lnTo>
                    <a:lnTo>
                      <a:pt x="2498" y="1289"/>
                    </a:lnTo>
                    <a:lnTo>
                      <a:pt x="2498" y="1298"/>
                    </a:lnTo>
                    <a:lnTo>
                      <a:pt x="2519" y="1321"/>
                    </a:lnTo>
                    <a:lnTo>
                      <a:pt x="2532" y="1343"/>
                    </a:lnTo>
                    <a:lnTo>
                      <a:pt x="2541" y="1362"/>
                    </a:lnTo>
                    <a:lnTo>
                      <a:pt x="2547" y="1395"/>
                    </a:lnTo>
                    <a:lnTo>
                      <a:pt x="2560" y="1417"/>
                    </a:lnTo>
                    <a:lnTo>
                      <a:pt x="2569" y="1438"/>
                    </a:lnTo>
                    <a:lnTo>
                      <a:pt x="2569" y="1448"/>
                    </a:lnTo>
                    <a:lnTo>
                      <a:pt x="2565" y="1468"/>
                    </a:lnTo>
                    <a:lnTo>
                      <a:pt x="2557" y="1488"/>
                    </a:lnTo>
                    <a:lnTo>
                      <a:pt x="2555" y="1496"/>
                    </a:lnTo>
                    <a:lnTo>
                      <a:pt x="2541" y="1514"/>
                    </a:lnTo>
                    <a:lnTo>
                      <a:pt x="2538" y="1528"/>
                    </a:lnTo>
                    <a:lnTo>
                      <a:pt x="2539" y="1545"/>
                    </a:lnTo>
                    <a:lnTo>
                      <a:pt x="2532" y="1555"/>
                    </a:lnTo>
                    <a:lnTo>
                      <a:pt x="2530" y="1568"/>
                    </a:lnTo>
                    <a:lnTo>
                      <a:pt x="2527" y="1588"/>
                    </a:lnTo>
                    <a:lnTo>
                      <a:pt x="2541" y="1611"/>
                    </a:lnTo>
                    <a:lnTo>
                      <a:pt x="2548" y="1632"/>
                    </a:lnTo>
                    <a:lnTo>
                      <a:pt x="2546" y="1647"/>
                    </a:lnTo>
                    <a:lnTo>
                      <a:pt x="2539" y="1664"/>
                    </a:lnTo>
                    <a:lnTo>
                      <a:pt x="2538" y="1673"/>
                    </a:lnTo>
                    <a:lnTo>
                      <a:pt x="2547" y="1689"/>
                    </a:lnTo>
                    <a:lnTo>
                      <a:pt x="2559" y="1691"/>
                    </a:lnTo>
                    <a:lnTo>
                      <a:pt x="2575" y="1686"/>
                    </a:lnTo>
                    <a:lnTo>
                      <a:pt x="2586" y="1686"/>
                    </a:lnTo>
                    <a:lnTo>
                      <a:pt x="2600" y="1691"/>
                    </a:lnTo>
                    <a:lnTo>
                      <a:pt x="2616" y="1694"/>
                    </a:lnTo>
                    <a:lnTo>
                      <a:pt x="2618" y="1685"/>
                    </a:lnTo>
                    <a:lnTo>
                      <a:pt x="2641" y="1670"/>
                    </a:lnTo>
                    <a:lnTo>
                      <a:pt x="2665" y="1670"/>
                    </a:lnTo>
                    <a:lnTo>
                      <a:pt x="2698" y="1690"/>
                    </a:lnTo>
                    <a:lnTo>
                      <a:pt x="2708" y="1700"/>
                    </a:lnTo>
                    <a:lnTo>
                      <a:pt x="2734" y="1716"/>
                    </a:lnTo>
                    <a:lnTo>
                      <a:pt x="2753" y="1724"/>
                    </a:lnTo>
                    <a:lnTo>
                      <a:pt x="2758" y="1734"/>
                    </a:lnTo>
                    <a:lnTo>
                      <a:pt x="2758" y="1750"/>
                    </a:lnTo>
                    <a:lnTo>
                      <a:pt x="2757" y="1761"/>
                    </a:lnTo>
                    <a:lnTo>
                      <a:pt x="2775" y="1802"/>
                    </a:lnTo>
                    <a:lnTo>
                      <a:pt x="2779" y="1802"/>
                    </a:lnTo>
                    <a:lnTo>
                      <a:pt x="2780" y="1814"/>
                    </a:lnTo>
                    <a:lnTo>
                      <a:pt x="2774" y="1822"/>
                    </a:lnTo>
                    <a:lnTo>
                      <a:pt x="2761" y="1824"/>
                    </a:lnTo>
                    <a:lnTo>
                      <a:pt x="2750" y="1832"/>
                    </a:lnTo>
                    <a:lnTo>
                      <a:pt x="2746" y="1845"/>
                    </a:lnTo>
                    <a:lnTo>
                      <a:pt x="2745" y="1868"/>
                    </a:lnTo>
                    <a:lnTo>
                      <a:pt x="2747" y="1886"/>
                    </a:lnTo>
                    <a:lnTo>
                      <a:pt x="2751" y="1896"/>
                    </a:lnTo>
                    <a:lnTo>
                      <a:pt x="2763" y="1894"/>
                    </a:lnTo>
                    <a:lnTo>
                      <a:pt x="2781" y="1904"/>
                    </a:lnTo>
                    <a:lnTo>
                      <a:pt x="2800" y="1902"/>
                    </a:lnTo>
                    <a:lnTo>
                      <a:pt x="2820" y="1915"/>
                    </a:lnTo>
                    <a:lnTo>
                      <a:pt x="2817" y="1918"/>
                    </a:lnTo>
                    <a:lnTo>
                      <a:pt x="2792" y="1923"/>
                    </a:lnTo>
                    <a:lnTo>
                      <a:pt x="2779" y="1920"/>
                    </a:lnTo>
                    <a:lnTo>
                      <a:pt x="2754" y="1921"/>
                    </a:lnTo>
                    <a:lnTo>
                      <a:pt x="2752" y="1912"/>
                    </a:lnTo>
                    <a:lnTo>
                      <a:pt x="2748" y="1905"/>
                    </a:lnTo>
                    <a:lnTo>
                      <a:pt x="2727" y="1894"/>
                    </a:lnTo>
                    <a:lnTo>
                      <a:pt x="2726" y="1883"/>
                    </a:lnTo>
                    <a:lnTo>
                      <a:pt x="2730" y="1878"/>
                    </a:lnTo>
                    <a:lnTo>
                      <a:pt x="2732" y="1868"/>
                    </a:lnTo>
                    <a:lnTo>
                      <a:pt x="2731" y="1857"/>
                    </a:lnTo>
                    <a:lnTo>
                      <a:pt x="2732" y="1842"/>
                    </a:lnTo>
                    <a:lnTo>
                      <a:pt x="2740" y="1825"/>
                    </a:lnTo>
                    <a:lnTo>
                      <a:pt x="2736" y="1821"/>
                    </a:lnTo>
                    <a:lnTo>
                      <a:pt x="2730" y="1824"/>
                    </a:lnTo>
                    <a:lnTo>
                      <a:pt x="2729" y="1814"/>
                    </a:lnTo>
                    <a:lnTo>
                      <a:pt x="2732" y="1800"/>
                    </a:lnTo>
                    <a:lnTo>
                      <a:pt x="2734" y="1798"/>
                    </a:lnTo>
                    <a:lnTo>
                      <a:pt x="2732" y="1791"/>
                    </a:lnTo>
                    <a:lnTo>
                      <a:pt x="2735" y="1783"/>
                    </a:lnTo>
                    <a:lnTo>
                      <a:pt x="2732" y="1776"/>
                    </a:lnTo>
                    <a:lnTo>
                      <a:pt x="2726" y="1767"/>
                    </a:lnTo>
                    <a:lnTo>
                      <a:pt x="2718" y="1762"/>
                    </a:lnTo>
                    <a:lnTo>
                      <a:pt x="2713" y="1754"/>
                    </a:lnTo>
                    <a:lnTo>
                      <a:pt x="2703" y="1749"/>
                    </a:lnTo>
                    <a:lnTo>
                      <a:pt x="2699" y="1739"/>
                    </a:lnTo>
                    <a:lnTo>
                      <a:pt x="2700" y="1727"/>
                    </a:lnTo>
                    <a:lnTo>
                      <a:pt x="2694" y="1708"/>
                    </a:lnTo>
                    <a:lnTo>
                      <a:pt x="2667" y="1712"/>
                    </a:lnTo>
                    <a:lnTo>
                      <a:pt x="2652" y="1718"/>
                    </a:lnTo>
                    <a:lnTo>
                      <a:pt x="2621" y="1724"/>
                    </a:lnTo>
                    <a:lnTo>
                      <a:pt x="2602" y="1737"/>
                    </a:lnTo>
                    <a:lnTo>
                      <a:pt x="2582" y="1744"/>
                    </a:lnTo>
                    <a:lnTo>
                      <a:pt x="2574" y="1750"/>
                    </a:lnTo>
                    <a:lnTo>
                      <a:pt x="2574" y="1760"/>
                    </a:lnTo>
                    <a:lnTo>
                      <a:pt x="2576" y="1772"/>
                    </a:lnTo>
                    <a:lnTo>
                      <a:pt x="2573" y="1786"/>
                    </a:lnTo>
                    <a:lnTo>
                      <a:pt x="2566" y="1794"/>
                    </a:lnTo>
                    <a:lnTo>
                      <a:pt x="2570" y="1805"/>
                    </a:lnTo>
                    <a:lnTo>
                      <a:pt x="2575" y="1808"/>
                    </a:lnTo>
                    <a:lnTo>
                      <a:pt x="2579" y="1818"/>
                    </a:lnTo>
                    <a:lnTo>
                      <a:pt x="2585" y="1825"/>
                    </a:lnTo>
                    <a:lnTo>
                      <a:pt x="2584" y="1835"/>
                    </a:lnTo>
                    <a:lnTo>
                      <a:pt x="2590" y="1842"/>
                    </a:lnTo>
                    <a:lnTo>
                      <a:pt x="2593" y="1854"/>
                    </a:lnTo>
                    <a:lnTo>
                      <a:pt x="2595" y="1873"/>
                    </a:lnTo>
                    <a:lnTo>
                      <a:pt x="2590" y="1900"/>
                    </a:lnTo>
                    <a:lnTo>
                      <a:pt x="2576" y="1911"/>
                    </a:lnTo>
                    <a:lnTo>
                      <a:pt x="2547" y="1948"/>
                    </a:lnTo>
                    <a:lnTo>
                      <a:pt x="2544" y="1954"/>
                    </a:lnTo>
                    <a:lnTo>
                      <a:pt x="2544" y="1969"/>
                    </a:lnTo>
                    <a:lnTo>
                      <a:pt x="2541" y="1988"/>
                    </a:lnTo>
                    <a:lnTo>
                      <a:pt x="2525" y="2013"/>
                    </a:lnTo>
                    <a:lnTo>
                      <a:pt x="2515" y="2023"/>
                    </a:lnTo>
                    <a:lnTo>
                      <a:pt x="2499" y="2031"/>
                    </a:lnTo>
                    <a:lnTo>
                      <a:pt x="2490" y="2042"/>
                    </a:lnTo>
                    <a:lnTo>
                      <a:pt x="2462" y="2053"/>
                    </a:lnTo>
                    <a:lnTo>
                      <a:pt x="2457" y="2061"/>
                    </a:lnTo>
                    <a:lnTo>
                      <a:pt x="2465" y="2078"/>
                    </a:lnTo>
                    <a:lnTo>
                      <a:pt x="2458" y="2098"/>
                    </a:lnTo>
                    <a:lnTo>
                      <a:pt x="2445" y="2103"/>
                    </a:lnTo>
                    <a:lnTo>
                      <a:pt x="2407" y="2085"/>
                    </a:lnTo>
                    <a:lnTo>
                      <a:pt x="2387" y="2083"/>
                    </a:lnTo>
                    <a:lnTo>
                      <a:pt x="2374" y="2087"/>
                    </a:lnTo>
                    <a:lnTo>
                      <a:pt x="2363" y="2088"/>
                    </a:lnTo>
                    <a:lnTo>
                      <a:pt x="2338" y="2083"/>
                    </a:lnTo>
                    <a:lnTo>
                      <a:pt x="2334" y="2080"/>
                    </a:lnTo>
                    <a:lnTo>
                      <a:pt x="2334" y="2071"/>
                    </a:lnTo>
                    <a:lnTo>
                      <a:pt x="2337" y="2064"/>
                    </a:lnTo>
                    <a:lnTo>
                      <a:pt x="2334" y="2040"/>
                    </a:lnTo>
                    <a:lnTo>
                      <a:pt x="2321" y="2037"/>
                    </a:lnTo>
                    <a:lnTo>
                      <a:pt x="2318" y="2030"/>
                    </a:lnTo>
                    <a:lnTo>
                      <a:pt x="2321" y="2026"/>
                    </a:lnTo>
                    <a:lnTo>
                      <a:pt x="2332" y="2021"/>
                    </a:lnTo>
                    <a:lnTo>
                      <a:pt x="2343" y="2030"/>
                    </a:lnTo>
                    <a:lnTo>
                      <a:pt x="2347" y="2037"/>
                    </a:lnTo>
                    <a:lnTo>
                      <a:pt x="2360" y="2037"/>
                    </a:lnTo>
                    <a:lnTo>
                      <a:pt x="2366" y="2028"/>
                    </a:lnTo>
                    <a:lnTo>
                      <a:pt x="2375" y="2028"/>
                    </a:lnTo>
                    <a:lnTo>
                      <a:pt x="2385" y="2012"/>
                    </a:lnTo>
                    <a:lnTo>
                      <a:pt x="2393" y="2018"/>
                    </a:lnTo>
                    <a:lnTo>
                      <a:pt x="2407" y="2012"/>
                    </a:lnTo>
                    <a:lnTo>
                      <a:pt x="2409" y="2005"/>
                    </a:lnTo>
                    <a:lnTo>
                      <a:pt x="2415" y="2003"/>
                    </a:lnTo>
                    <a:lnTo>
                      <a:pt x="2424" y="2004"/>
                    </a:lnTo>
                    <a:lnTo>
                      <a:pt x="2439" y="2001"/>
                    </a:lnTo>
                    <a:lnTo>
                      <a:pt x="2445" y="1992"/>
                    </a:lnTo>
                    <a:lnTo>
                      <a:pt x="2439" y="1983"/>
                    </a:lnTo>
                    <a:lnTo>
                      <a:pt x="2422" y="1983"/>
                    </a:lnTo>
                    <a:lnTo>
                      <a:pt x="2415" y="1988"/>
                    </a:lnTo>
                    <a:lnTo>
                      <a:pt x="2407" y="1982"/>
                    </a:lnTo>
                    <a:lnTo>
                      <a:pt x="2408" y="1969"/>
                    </a:lnTo>
                    <a:lnTo>
                      <a:pt x="2428" y="1981"/>
                    </a:lnTo>
                    <a:lnTo>
                      <a:pt x="2449" y="1977"/>
                    </a:lnTo>
                    <a:lnTo>
                      <a:pt x="2451" y="1974"/>
                    </a:lnTo>
                    <a:lnTo>
                      <a:pt x="2452" y="1956"/>
                    </a:lnTo>
                    <a:lnTo>
                      <a:pt x="2461" y="1956"/>
                    </a:lnTo>
                    <a:lnTo>
                      <a:pt x="2468" y="1947"/>
                    </a:lnTo>
                    <a:lnTo>
                      <a:pt x="2469" y="1937"/>
                    </a:lnTo>
                    <a:lnTo>
                      <a:pt x="2474" y="1924"/>
                    </a:lnTo>
                    <a:lnTo>
                      <a:pt x="2477" y="1915"/>
                    </a:lnTo>
                    <a:lnTo>
                      <a:pt x="2494" y="1906"/>
                    </a:lnTo>
                    <a:lnTo>
                      <a:pt x="2503" y="1895"/>
                    </a:lnTo>
                    <a:lnTo>
                      <a:pt x="2499" y="1888"/>
                    </a:lnTo>
                    <a:lnTo>
                      <a:pt x="2504" y="1878"/>
                    </a:lnTo>
                    <a:lnTo>
                      <a:pt x="2501" y="1843"/>
                    </a:lnTo>
                    <a:lnTo>
                      <a:pt x="2501" y="1832"/>
                    </a:lnTo>
                    <a:lnTo>
                      <a:pt x="2506" y="1815"/>
                    </a:lnTo>
                    <a:lnTo>
                      <a:pt x="2521" y="1792"/>
                    </a:lnTo>
                    <a:lnTo>
                      <a:pt x="2520" y="1762"/>
                    </a:lnTo>
                    <a:lnTo>
                      <a:pt x="2490" y="1735"/>
                    </a:lnTo>
                    <a:lnTo>
                      <a:pt x="2468" y="1701"/>
                    </a:lnTo>
                    <a:lnTo>
                      <a:pt x="2468" y="1684"/>
                    </a:lnTo>
                    <a:lnTo>
                      <a:pt x="2472" y="1670"/>
                    </a:lnTo>
                    <a:lnTo>
                      <a:pt x="2473" y="1657"/>
                    </a:lnTo>
                    <a:lnTo>
                      <a:pt x="2471" y="1643"/>
                    </a:lnTo>
                    <a:lnTo>
                      <a:pt x="2478" y="1630"/>
                    </a:lnTo>
                    <a:lnTo>
                      <a:pt x="2473" y="1606"/>
                    </a:lnTo>
                    <a:lnTo>
                      <a:pt x="2479" y="1592"/>
                    </a:lnTo>
                    <a:lnTo>
                      <a:pt x="2479" y="1571"/>
                    </a:lnTo>
                    <a:lnTo>
                      <a:pt x="2476" y="1565"/>
                    </a:lnTo>
                    <a:lnTo>
                      <a:pt x="2476" y="1558"/>
                    </a:lnTo>
                    <a:lnTo>
                      <a:pt x="2473" y="1555"/>
                    </a:lnTo>
                    <a:lnTo>
                      <a:pt x="2472" y="1545"/>
                    </a:lnTo>
                    <a:lnTo>
                      <a:pt x="2474" y="1530"/>
                    </a:lnTo>
                    <a:lnTo>
                      <a:pt x="2473" y="1524"/>
                    </a:lnTo>
                    <a:lnTo>
                      <a:pt x="2467" y="1518"/>
                    </a:lnTo>
                    <a:lnTo>
                      <a:pt x="2465" y="1504"/>
                    </a:lnTo>
                    <a:lnTo>
                      <a:pt x="2469" y="1492"/>
                    </a:lnTo>
                    <a:lnTo>
                      <a:pt x="2482" y="1482"/>
                    </a:lnTo>
                    <a:lnTo>
                      <a:pt x="2483" y="1475"/>
                    </a:lnTo>
                    <a:lnTo>
                      <a:pt x="2480" y="1442"/>
                    </a:lnTo>
                    <a:lnTo>
                      <a:pt x="2485" y="1427"/>
                    </a:lnTo>
                    <a:lnTo>
                      <a:pt x="2485" y="1406"/>
                    </a:lnTo>
                    <a:lnTo>
                      <a:pt x="2471" y="1373"/>
                    </a:lnTo>
                    <a:lnTo>
                      <a:pt x="2473" y="1350"/>
                    </a:lnTo>
                    <a:lnTo>
                      <a:pt x="2453" y="1334"/>
                    </a:lnTo>
                    <a:lnTo>
                      <a:pt x="2442" y="1321"/>
                    </a:lnTo>
                    <a:lnTo>
                      <a:pt x="2429" y="1297"/>
                    </a:lnTo>
                    <a:lnTo>
                      <a:pt x="2430" y="1283"/>
                    </a:lnTo>
                    <a:lnTo>
                      <a:pt x="2431" y="1281"/>
                    </a:lnTo>
                    <a:lnTo>
                      <a:pt x="2447" y="1271"/>
                    </a:lnTo>
                    <a:lnTo>
                      <a:pt x="2450" y="1260"/>
                    </a:lnTo>
                    <a:lnTo>
                      <a:pt x="2457" y="1250"/>
                    </a:lnTo>
                    <a:lnTo>
                      <a:pt x="2457" y="1243"/>
                    </a:lnTo>
                    <a:lnTo>
                      <a:pt x="2456" y="1233"/>
                    </a:lnTo>
                    <a:lnTo>
                      <a:pt x="2465" y="1217"/>
                    </a:lnTo>
                    <a:lnTo>
                      <a:pt x="2472" y="1187"/>
                    </a:lnTo>
                    <a:lnTo>
                      <a:pt x="2478" y="1173"/>
                    </a:lnTo>
                    <a:lnTo>
                      <a:pt x="2480" y="1147"/>
                    </a:lnTo>
                    <a:lnTo>
                      <a:pt x="2477" y="1132"/>
                    </a:lnTo>
                    <a:lnTo>
                      <a:pt x="2476" y="1114"/>
                    </a:lnTo>
                    <a:lnTo>
                      <a:pt x="2477" y="1092"/>
                    </a:lnTo>
                    <a:lnTo>
                      <a:pt x="2473" y="1084"/>
                    </a:lnTo>
                    <a:lnTo>
                      <a:pt x="2477" y="1079"/>
                    </a:lnTo>
                    <a:lnTo>
                      <a:pt x="2476" y="1078"/>
                    </a:lnTo>
                    <a:lnTo>
                      <a:pt x="2434" y="1058"/>
                    </a:lnTo>
                    <a:lnTo>
                      <a:pt x="2419" y="1046"/>
                    </a:lnTo>
                    <a:lnTo>
                      <a:pt x="2376" y="1052"/>
                    </a:lnTo>
                    <a:lnTo>
                      <a:pt x="2359" y="1050"/>
                    </a:lnTo>
                    <a:lnTo>
                      <a:pt x="2331" y="1051"/>
                    </a:lnTo>
                    <a:lnTo>
                      <a:pt x="2318" y="1045"/>
                    </a:lnTo>
                    <a:lnTo>
                      <a:pt x="2326" y="1038"/>
                    </a:lnTo>
                    <a:lnTo>
                      <a:pt x="2297" y="1040"/>
                    </a:lnTo>
                    <a:lnTo>
                      <a:pt x="2293" y="1050"/>
                    </a:lnTo>
                    <a:lnTo>
                      <a:pt x="2293" y="1056"/>
                    </a:lnTo>
                    <a:lnTo>
                      <a:pt x="2288" y="1071"/>
                    </a:lnTo>
                    <a:lnTo>
                      <a:pt x="2279" y="1084"/>
                    </a:lnTo>
                    <a:lnTo>
                      <a:pt x="2273" y="1103"/>
                    </a:lnTo>
                    <a:lnTo>
                      <a:pt x="2265" y="1143"/>
                    </a:lnTo>
                    <a:lnTo>
                      <a:pt x="2261" y="1164"/>
                    </a:lnTo>
                    <a:lnTo>
                      <a:pt x="2254" y="1176"/>
                    </a:lnTo>
                    <a:lnTo>
                      <a:pt x="2248" y="1228"/>
                    </a:lnTo>
                    <a:lnTo>
                      <a:pt x="2243" y="1246"/>
                    </a:lnTo>
                    <a:lnTo>
                      <a:pt x="2225" y="1282"/>
                    </a:lnTo>
                    <a:lnTo>
                      <a:pt x="2204" y="1305"/>
                    </a:lnTo>
                    <a:lnTo>
                      <a:pt x="2186" y="1323"/>
                    </a:lnTo>
                    <a:lnTo>
                      <a:pt x="2159" y="1336"/>
                    </a:lnTo>
                    <a:lnTo>
                      <a:pt x="2152" y="1369"/>
                    </a:lnTo>
                    <a:lnTo>
                      <a:pt x="2152" y="1374"/>
                    </a:lnTo>
                    <a:lnTo>
                      <a:pt x="2156" y="1375"/>
                    </a:lnTo>
                    <a:lnTo>
                      <a:pt x="2167" y="1358"/>
                    </a:lnTo>
                    <a:lnTo>
                      <a:pt x="2171" y="1361"/>
                    </a:lnTo>
                    <a:lnTo>
                      <a:pt x="2171" y="1375"/>
                    </a:lnTo>
                    <a:lnTo>
                      <a:pt x="2166" y="1385"/>
                    </a:lnTo>
                    <a:lnTo>
                      <a:pt x="2148" y="1397"/>
                    </a:lnTo>
                    <a:lnTo>
                      <a:pt x="2143" y="1415"/>
                    </a:lnTo>
                    <a:lnTo>
                      <a:pt x="2149" y="1428"/>
                    </a:lnTo>
                    <a:lnTo>
                      <a:pt x="2162" y="1422"/>
                    </a:lnTo>
                    <a:lnTo>
                      <a:pt x="2171" y="1415"/>
                    </a:lnTo>
                    <a:lnTo>
                      <a:pt x="2186" y="1416"/>
                    </a:lnTo>
                    <a:lnTo>
                      <a:pt x="2192" y="1432"/>
                    </a:lnTo>
                    <a:lnTo>
                      <a:pt x="2187" y="1445"/>
                    </a:lnTo>
                    <a:lnTo>
                      <a:pt x="2187" y="1487"/>
                    </a:lnTo>
                    <a:lnTo>
                      <a:pt x="2178" y="1499"/>
                    </a:lnTo>
                    <a:lnTo>
                      <a:pt x="2181" y="1522"/>
                    </a:lnTo>
                    <a:lnTo>
                      <a:pt x="2187" y="1534"/>
                    </a:lnTo>
                    <a:lnTo>
                      <a:pt x="2181" y="1550"/>
                    </a:lnTo>
                    <a:lnTo>
                      <a:pt x="2170" y="1550"/>
                    </a:lnTo>
                    <a:lnTo>
                      <a:pt x="2164" y="1540"/>
                    </a:lnTo>
                    <a:lnTo>
                      <a:pt x="2161" y="1563"/>
                    </a:lnTo>
                    <a:lnTo>
                      <a:pt x="2161" y="1606"/>
                    </a:lnTo>
                    <a:lnTo>
                      <a:pt x="2168" y="1621"/>
                    </a:lnTo>
                    <a:lnTo>
                      <a:pt x="2168" y="1606"/>
                    </a:lnTo>
                    <a:lnTo>
                      <a:pt x="2182" y="1601"/>
                    </a:lnTo>
                    <a:lnTo>
                      <a:pt x="2205" y="1616"/>
                    </a:lnTo>
                    <a:lnTo>
                      <a:pt x="2218" y="1628"/>
                    </a:lnTo>
                    <a:lnTo>
                      <a:pt x="2225" y="1625"/>
                    </a:lnTo>
                    <a:lnTo>
                      <a:pt x="2230" y="1625"/>
                    </a:lnTo>
                    <a:lnTo>
                      <a:pt x="2227" y="1647"/>
                    </a:lnTo>
                    <a:lnTo>
                      <a:pt x="2236" y="1671"/>
                    </a:lnTo>
                    <a:lnTo>
                      <a:pt x="2243" y="1686"/>
                    </a:lnTo>
                    <a:lnTo>
                      <a:pt x="2251" y="1706"/>
                    </a:lnTo>
                    <a:lnTo>
                      <a:pt x="2267" y="1717"/>
                    </a:lnTo>
                    <a:lnTo>
                      <a:pt x="2279" y="1713"/>
                    </a:lnTo>
                    <a:lnTo>
                      <a:pt x="2279" y="1719"/>
                    </a:lnTo>
                    <a:lnTo>
                      <a:pt x="2285" y="1727"/>
                    </a:lnTo>
                    <a:lnTo>
                      <a:pt x="2274" y="1743"/>
                    </a:lnTo>
                    <a:lnTo>
                      <a:pt x="2264" y="1776"/>
                    </a:lnTo>
                    <a:lnTo>
                      <a:pt x="2256" y="1799"/>
                    </a:lnTo>
                    <a:lnTo>
                      <a:pt x="2253" y="1811"/>
                    </a:lnTo>
                    <a:lnTo>
                      <a:pt x="2238" y="1822"/>
                    </a:lnTo>
                    <a:lnTo>
                      <a:pt x="2234" y="1814"/>
                    </a:lnTo>
                    <a:lnTo>
                      <a:pt x="2235" y="1800"/>
                    </a:lnTo>
                    <a:lnTo>
                      <a:pt x="2225" y="1787"/>
                    </a:lnTo>
                    <a:lnTo>
                      <a:pt x="2207" y="1776"/>
                    </a:lnTo>
                    <a:lnTo>
                      <a:pt x="2172" y="1733"/>
                    </a:lnTo>
                    <a:lnTo>
                      <a:pt x="2161" y="1724"/>
                    </a:lnTo>
                    <a:lnTo>
                      <a:pt x="2144" y="1721"/>
                    </a:lnTo>
                    <a:lnTo>
                      <a:pt x="2119" y="1701"/>
                    </a:lnTo>
                    <a:lnTo>
                      <a:pt x="2092" y="1691"/>
                    </a:lnTo>
                    <a:lnTo>
                      <a:pt x="2094" y="1682"/>
                    </a:lnTo>
                    <a:lnTo>
                      <a:pt x="2101" y="1682"/>
                    </a:lnTo>
                    <a:lnTo>
                      <a:pt x="2097" y="1679"/>
                    </a:lnTo>
                    <a:lnTo>
                      <a:pt x="2079" y="1675"/>
                    </a:lnTo>
                    <a:lnTo>
                      <a:pt x="2057" y="1658"/>
                    </a:lnTo>
                    <a:lnTo>
                      <a:pt x="2043" y="1652"/>
                    </a:lnTo>
                    <a:lnTo>
                      <a:pt x="2011" y="1622"/>
                    </a:lnTo>
                    <a:lnTo>
                      <a:pt x="1993" y="1617"/>
                    </a:lnTo>
                    <a:lnTo>
                      <a:pt x="1965" y="1603"/>
                    </a:lnTo>
                    <a:lnTo>
                      <a:pt x="1956" y="1603"/>
                    </a:lnTo>
                    <a:lnTo>
                      <a:pt x="1936" y="1589"/>
                    </a:lnTo>
                    <a:lnTo>
                      <a:pt x="1922" y="1590"/>
                    </a:lnTo>
                    <a:lnTo>
                      <a:pt x="1869" y="1587"/>
                    </a:lnTo>
                    <a:lnTo>
                      <a:pt x="1865" y="1581"/>
                    </a:lnTo>
                    <a:lnTo>
                      <a:pt x="1848" y="1573"/>
                    </a:lnTo>
                    <a:lnTo>
                      <a:pt x="1834" y="1573"/>
                    </a:lnTo>
                    <a:lnTo>
                      <a:pt x="1829" y="1577"/>
                    </a:lnTo>
                    <a:lnTo>
                      <a:pt x="1828" y="1587"/>
                    </a:lnTo>
                    <a:lnTo>
                      <a:pt x="1823" y="1595"/>
                    </a:lnTo>
                    <a:lnTo>
                      <a:pt x="1802" y="1609"/>
                    </a:lnTo>
                    <a:lnTo>
                      <a:pt x="1804" y="1617"/>
                    </a:lnTo>
                    <a:lnTo>
                      <a:pt x="1810" y="1635"/>
                    </a:lnTo>
                    <a:lnTo>
                      <a:pt x="1823" y="1655"/>
                    </a:lnTo>
                    <a:lnTo>
                      <a:pt x="1833" y="1690"/>
                    </a:lnTo>
                    <a:lnTo>
                      <a:pt x="1832" y="1682"/>
                    </a:lnTo>
                    <a:lnTo>
                      <a:pt x="1837" y="1684"/>
                    </a:lnTo>
                    <a:lnTo>
                      <a:pt x="1832" y="1718"/>
                    </a:lnTo>
                    <a:lnTo>
                      <a:pt x="1829" y="1724"/>
                    </a:lnTo>
                    <a:lnTo>
                      <a:pt x="1810" y="1746"/>
                    </a:lnTo>
                    <a:lnTo>
                      <a:pt x="1779" y="1750"/>
                    </a:lnTo>
                    <a:lnTo>
                      <a:pt x="1778" y="1765"/>
                    </a:lnTo>
                    <a:lnTo>
                      <a:pt x="1783" y="1773"/>
                    </a:lnTo>
                    <a:lnTo>
                      <a:pt x="1784" y="1783"/>
                    </a:lnTo>
                    <a:lnTo>
                      <a:pt x="1773" y="1799"/>
                    </a:lnTo>
                    <a:lnTo>
                      <a:pt x="1761" y="1805"/>
                    </a:lnTo>
                    <a:lnTo>
                      <a:pt x="1747" y="1798"/>
                    </a:lnTo>
                    <a:lnTo>
                      <a:pt x="1736" y="1787"/>
                    </a:lnTo>
                    <a:lnTo>
                      <a:pt x="1736" y="1770"/>
                    </a:lnTo>
                    <a:lnTo>
                      <a:pt x="1741" y="1759"/>
                    </a:lnTo>
                    <a:lnTo>
                      <a:pt x="1747" y="1750"/>
                    </a:lnTo>
                    <a:lnTo>
                      <a:pt x="1754" y="1745"/>
                    </a:lnTo>
                    <a:lnTo>
                      <a:pt x="1732" y="1713"/>
                    </a:lnTo>
                    <a:lnTo>
                      <a:pt x="1735" y="1705"/>
                    </a:lnTo>
                    <a:lnTo>
                      <a:pt x="1724" y="1703"/>
                    </a:lnTo>
                    <a:lnTo>
                      <a:pt x="1684" y="1721"/>
                    </a:lnTo>
                    <a:lnTo>
                      <a:pt x="1675" y="1737"/>
                    </a:lnTo>
                    <a:lnTo>
                      <a:pt x="1660" y="1743"/>
                    </a:lnTo>
                    <a:lnTo>
                      <a:pt x="1640" y="1773"/>
                    </a:lnTo>
                    <a:lnTo>
                      <a:pt x="1628" y="1775"/>
                    </a:lnTo>
                    <a:lnTo>
                      <a:pt x="1622" y="1766"/>
                    </a:lnTo>
                    <a:lnTo>
                      <a:pt x="1606" y="1762"/>
                    </a:lnTo>
                    <a:lnTo>
                      <a:pt x="1587" y="1767"/>
                    </a:lnTo>
                    <a:lnTo>
                      <a:pt x="1570" y="1757"/>
                    </a:lnTo>
                    <a:lnTo>
                      <a:pt x="1547" y="1772"/>
                    </a:lnTo>
                    <a:lnTo>
                      <a:pt x="1536" y="1771"/>
                    </a:lnTo>
                    <a:lnTo>
                      <a:pt x="1512" y="1792"/>
                    </a:lnTo>
                    <a:lnTo>
                      <a:pt x="1508" y="1802"/>
                    </a:lnTo>
                    <a:lnTo>
                      <a:pt x="1506" y="1822"/>
                    </a:lnTo>
                    <a:lnTo>
                      <a:pt x="1504" y="1831"/>
                    </a:lnTo>
                    <a:lnTo>
                      <a:pt x="1495" y="1831"/>
                    </a:lnTo>
                    <a:lnTo>
                      <a:pt x="1487" y="1824"/>
                    </a:lnTo>
                    <a:lnTo>
                      <a:pt x="1478" y="1813"/>
                    </a:lnTo>
                    <a:lnTo>
                      <a:pt x="1474" y="1816"/>
                    </a:lnTo>
                    <a:lnTo>
                      <a:pt x="1467" y="1821"/>
                    </a:lnTo>
                    <a:lnTo>
                      <a:pt x="1456" y="1807"/>
                    </a:lnTo>
                    <a:lnTo>
                      <a:pt x="1456" y="1779"/>
                    </a:lnTo>
                    <a:lnTo>
                      <a:pt x="1450" y="1773"/>
                    </a:lnTo>
                    <a:lnTo>
                      <a:pt x="1450" y="1766"/>
                    </a:lnTo>
                    <a:lnTo>
                      <a:pt x="1457" y="1751"/>
                    </a:lnTo>
                    <a:lnTo>
                      <a:pt x="1458" y="1737"/>
                    </a:lnTo>
                    <a:lnTo>
                      <a:pt x="1452" y="1724"/>
                    </a:lnTo>
                    <a:lnTo>
                      <a:pt x="1447" y="1722"/>
                    </a:lnTo>
                    <a:lnTo>
                      <a:pt x="1446" y="1730"/>
                    </a:lnTo>
                    <a:lnTo>
                      <a:pt x="1442" y="1730"/>
                    </a:lnTo>
                    <a:lnTo>
                      <a:pt x="1444" y="1721"/>
                    </a:lnTo>
                    <a:lnTo>
                      <a:pt x="1451" y="1716"/>
                    </a:lnTo>
                    <a:lnTo>
                      <a:pt x="1477" y="1713"/>
                    </a:lnTo>
                    <a:lnTo>
                      <a:pt x="1488" y="1707"/>
                    </a:lnTo>
                    <a:lnTo>
                      <a:pt x="1490" y="1705"/>
                    </a:lnTo>
                    <a:lnTo>
                      <a:pt x="1484" y="1707"/>
                    </a:lnTo>
                    <a:lnTo>
                      <a:pt x="1467" y="1712"/>
                    </a:lnTo>
                    <a:lnTo>
                      <a:pt x="1460" y="1711"/>
                    </a:lnTo>
                    <a:lnTo>
                      <a:pt x="1445" y="1712"/>
                    </a:lnTo>
                    <a:lnTo>
                      <a:pt x="1423" y="1723"/>
                    </a:lnTo>
                    <a:lnTo>
                      <a:pt x="1424" y="1730"/>
                    </a:lnTo>
                    <a:lnTo>
                      <a:pt x="1415" y="1734"/>
                    </a:lnTo>
                    <a:lnTo>
                      <a:pt x="1413" y="1738"/>
                    </a:lnTo>
                    <a:lnTo>
                      <a:pt x="1417" y="1751"/>
                    </a:lnTo>
                    <a:lnTo>
                      <a:pt x="1417" y="1759"/>
                    </a:lnTo>
                    <a:lnTo>
                      <a:pt x="1406" y="1765"/>
                    </a:lnTo>
                    <a:lnTo>
                      <a:pt x="1397" y="1760"/>
                    </a:lnTo>
                    <a:lnTo>
                      <a:pt x="1393" y="1751"/>
                    </a:lnTo>
                    <a:lnTo>
                      <a:pt x="1398" y="1743"/>
                    </a:lnTo>
                    <a:lnTo>
                      <a:pt x="1391" y="1743"/>
                    </a:lnTo>
                    <a:lnTo>
                      <a:pt x="1369" y="1767"/>
                    </a:lnTo>
                    <a:lnTo>
                      <a:pt x="1377" y="1766"/>
                    </a:lnTo>
                    <a:lnTo>
                      <a:pt x="1381" y="1775"/>
                    </a:lnTo>
                    <a:lnTo>
                      <a:pt x="1381" y="1783"/>
                    </a:lnTo>
                    <a:lnTo>
                      <a:pt x="1380" y="1793"/>
                    </a:lnTo>
                    <a:lnTo>
                      <a:pt x="1371" y="1800"/>
                    </a:lnTo>
                    <a:lnTo>
                      <a:pt x="1366" y="1803"/>
                    </a:lnTo>
                    <a:lnTo>
                      <a:pt x="1361" y="1789"/>
                    </a:lnTo>
                    <a:lnTo>
                      <a:pt x="1354" y="1777"/>
                    </a:lnTo>
                    <a:lnTo>
                      <a:pt x="1326" y="1786"/>
                    </a:lnTo>
                    <a:lnTo>
                      <a:pt x="1328" y="1789"/>
                    </a:lnTo>
                    <a:lnTo>
                      <a:pt x="1291" y="1807"/>
                    </a:lnTo>
                    <a:lnTo>
                      <a:pt x="1288" y="1804"/>
                    </a:lnTo>
                    <a:lnTo>
                      <a:pt x="1282" y="1807"/>
                    </a:lnTo>
                    <a:lnTo>
                      <a:pt x="1254" y="1832"/>
                    </a:lnTo>
                    <a:lnTo>
                      <a:pt x="1181" y="1880"/>
                    </a:lnTo>
                    <a:lnTo>
                      <a:pt x="1172" y="1880"/>
                    </a:lnTo>
                    <a:lnTo>
                      <a:pt x="1171" y="1895"/>
                    </a:lnTo>
                    <a:lnTo>
                      <a:pt x="1175" y="1897"/>
                    </a:lnTo>
                    <a:lnTo>
                      <a:pt x="1166" y="1905"/>
                    </a:lnTo>
                    <a:lnTo>
                      <a:pt x="1144" y="1908"/>
                    </a:lnTo>
                    <a:lnTo>
                      <a:pt x="1135" y="1916"/>
                    </a:lnTo>
                    <a:lnTo>
                      <a:pt x="1129" y="1913"/>
                    </a:lnTo>
                    <a:lnTo>
                      <a:pt x="1123" y="1927"/>
                    </a:lnTo>
                    <a:lnTo>
                      <a:pt x="1114" y="1958"/>
                    </a:lnTo>
                    <a:lnTo>
                      <a:pt x="1111" y="1970"/>
                    </a:lnTo>
                    <a:lnTo>
                      <a:pt x="1113" y="1996"/>
                    </a:lnTo>
                    <a:lnTo>
                      <a:pt x="1106" y="2008"/>
                    </a:lnTo>
                    <a:lnTo>
                      <a:pt x="1090" y="2017"/>
                    </a:lnTo>
                    <a:lnTo>
                      <a:pt x="1079" y="2015"/>
                    </a:lnTo>
                    <a:lnTo>
                      <a:pt x="1058" y="2024"/>
                    </a:lnTo>
                    <a:lnTo>
                      <a:pt x="1053" y="2044"/>
                    </a:lnTo>
                    <a:lnTo>
                      <a:pt x="1048" y="2030"/>
                    </a:lnTo>
                    <a:lnTo>
                      <a:pt x="1047" y="2015"/>
                    </a:lnTo>
                    <a:lnTo>
                      <a:pt x="1033" y="2023"/>
                    </a:lnTo>
                    <a:lnTo>
                      <a:pt x="1024" y="2023"/>
                    </a:lnTo>
                    <a:lnTo>
                      <a:pt x="1015" y="2017"/>
                    </a:lnTo>
                    <a:lnTo>
                      <a:pt x="1004" y="1997"/>
                    </a:lnTo>
                    <a:lnTo>
                      <a:pt x="1000" y="1985"/>
                    </a:lnTo>
                    <a:lnTo>
                      <a:pt x="978" y="1960"/>
                    </a:lnTo>
                    <a:lnTo>
                      <a:pt x="968" y="1950"/>
                    </a:lnTo>
                    <a:lnTo>
                      <a:pt x="963" y="1935"/>
                    </a:lnTo>
                    <a:lnTo>
                      <a:pt x="962" y="1921"/>
                    </a:lnTo>
                    <a:lnTo>
                      <a:pt x="973" y="1920"/>
                    </a:lnTo>
                    <a:lnTo>
                      <a:pt x="981" y="1910"/>
                    </a:lnTo>
                    <a:lnTo>
                      <a:pt x="984" y="1896"/>
                    </a:lnTo>
                    <a:lnTo>
                      <a:pt x="999" y="1891"/>
                    </a:lnTo>
                    <a:lnTo>
                      <a:pt x="1054" y="1880"/>
                    </a:lnTo>
                    <a:lnTo>
                      <a:pt x="1046" y="1863"/>
                    </a:lnTo>
                    <a:lnTo>
                      <a:pt x="1044" y="1845"/>
                    </a:lnTo>
                    <a:lnTo>
                      <a:pt x="1041" y="1826"/>
                    </a:lnTo>
                    <a:lnTo>
                      <a:pt x="1031" y="1832"/>
                    </a:lnTo>
                    <a:lnTo>
                      <a:pt x="1021" y="1814"/>
                    </a:lnTo>
                    <a:lnTo>
                      <a:pt x="1015" y="1809"/>
                    </a:lnTo>
                    <a:lnTo>
                      <a:pt x="1015" y="1792"/>
                    </a:lnTo>
                    <a:lnTo>
                      <a:pt x="1004" y="1783"/>
                    </a:lnTo>
                    <a:lnTo>
                      <a:pt x="978" y="1776"/>
                    </a:lnTo>
                    <a:lnTo>
                      <a:pt x="955" y="1776"/>
                    </a:lnTo>
                    <a:lnTo>
                      <a:pt x="930" y="1773"/>
                    </a:lnTo>
                    <a:lnTo>
                      <a:pt x="919" y="1777"/>
                    </a:lnTo>
                    <a:lnTo>
                      <a:pt x="909" y="1775"/>
                    </a:lnTo>
                    <a:lnTo>
                      <a:pt x="868" y="1754"/>
                    </a:lnTo>
                    <a:lnTo>
                      <a:pt x="870" y="1764"/>
                    </a:lnTo>
                    <a:lnTo>
                      <a:pt x="917" y="1805"/>
                    </a:lnTo>
                    <a:lnTo>
                      <a:pt x="917" y="1838"/>
                    </a:lnTo>
                    <a:lnTo>
                      <a:pt x="919" y="1853"/>
                    </a:lnTo>
                    <a:lnTo>
                      <a:pt x="914" y="1873"/>
                    </a:lnTo>
                    <a:lnTo>
                      <a:pt x="915" y="1890"/>
                    </a:lnTo>
                    <a:lnTo>
                      <a:pt x="901" y="1939"/>
                    </a:lnTo>
                    <a:lnTo>
                      <a:pt x="901" y="1953"/>
                    </a:lnTo>
                    <a:lnTo>
                      <a:pt x="902" y="1970"/>
                    </a:lnTo>
                    <a:lnTo>
                      <a:pt x="907" y="1975"/>
                    </a:lnTo>
                    <a:lnTo>
                      <a:pt x="919" y="1975"/>
                    </a:lnTo>
                    <a:lnTo>
                      <a:pt x="929" y="1982"/>
                    </a:lnTo>
                    <a:lnTo>
                      <a:pt x="938" y="2002"/>
                    </a:lnTo>
                    <a:lnTo>
                      <a:pt x="938" y="2013"/>
                    </a:lnTo>
                    <a:lnTo>
                      <a:pt x="933" y="2026"/>
                    </a:lnTo>
                    <a:lnTo>
                      <a:pt x="936" y="2037"/>
                    </a:lnTo>
                    <a:lnTo>
                      <a:pt x="933" y="2056"/>
                    </a:lnTo>
                    <a:lnTo>
                      <a:pt x="922" y="2072"/>
                    </a:lnTo>
                    <a:lnTo>
                      <a:pt x="915" y="2096"/>
                    </a:lnTo>
                    <a:lnTo>
                      <a:pt x="922" y="2114"/>
                    </a:lnTo>
                    <a:lnTo>
                      <a:pt x="918" y="2149"/>
                    </a:lnTo>
                    <a:lnTo>
                      <a:pt x="908" y="2134"/>
                    </a:lnTo>
                    <a:lnTo>
                      <a:pt x="906" y="2123"/>
                    </a:lnTo>
                    <a:lnTo>
                      <a:pt x="898" y="2114"/>
                    </a:lnTo>
                    <a:lnTo>
                      <a:pt x="890" y="2115"/>
                    </a:lnTo>
                    <a:lnTo>
                      <a:pt x="877" y="2126"/>
                    </a:lnTo>
                    <a:lnTo>
                      <a:pt x="885" y="2111"/>
                    </a:lnTo>
                    <a:lnTo>
                      <a:pt x="886" y="2099"/>
                    </a:lnTo>
                    <a:lnTo>
                      <a:pt x="869" y="2085"/>
                    </a:lnTo>
                    <a:lnTo>
                      <a:pt x="860" y="2080"/>
                    </a:lnTo>
                    <a:lnTo>
                      <a:pt x="837" y="2080"/>
                    </a:lnTo>
                    <a:lnTo>
                      <a:pt x="816" y="2062"/>
                    </a:lnTo>
                    <a:lnTo>
                      <a:pt x="807" y="2072"/>
                    </a:lnTo>
                    <a:lnTo>
                      <a:pt x="804" y="2083"/>
                    </a:lnTo>
                    <a:lnTo>
                      <a:pt x="788" y="2099"/>
                    </a:lnTo>
                    <a:lnTo>
                      <a:pt x="779" y="2114"/>
                    </a:lnTo>
                    <a:lnTo>
                      <a:pt x="768" y="2126"/>
                    </a:lnTo>
                    <a:lnTo>
                      <a:pt x="743" y="2136"/>
                    </a:lnTo>
                    <a:lnTo>
                      <a:pt x="735" y="2136"/>
                    </a:lnTo>
                    <a:lnTo>
                      <a:pt x="723" y="2144"/>
                    </a:lnTo>
                    <a:lnTo>
                      <a:pt x="716" y="2159"/>
                    </a:lnTo>
                    <a:lnTo>
                      <a:pt x="704" y="2170"/>
                    </a:lnTo>
                    <a:lnTo>
                      <a:pt x="693" y="2180"/>
                    </a:lnTo>
                    <a:lnTo>
                      <a:pt x="681" y="2184"/>
                    </a:lnTo>
                    <a:lnTo>
                      <a:pt x="681" y="2197"/>
                    </a:lnTo>
                    <a:lnTo>
                      <a:pt x="683" y="2223"/>
                    </a:lnTo>
                    <a:lnTo>
                      <a:pt x="696" y="2246"/>
                    </a:lnTo>
                    <a:lnTo>
                      <a:pt x="707" y="2261"/>
                    </a:lnTo>
                    <a:lnTo>
                      <a:pt x="714" y="2276"/>
                    </a:lnTo>
                    <a:lnTo>
                      <a:pt x="727" y="2308"/>
                    </a:lnTo>
                    <a:lnTo>
                      <a:pt x="730" y="2316"/>
                    </a:lnTo>
                    <a:lnTo>
                      <a:pt x="739" y="2330"/>
                    </a:lnTo>
                    <a:lnTo>
                      <a:pt x="739" y="2336"/>
                    </a:lnTo>
                    <a:lnTo>
                      <a:pt x="720" y="2324"/>
                    </a:lnTo>
                    <a:lnTo>
                      <a:pt x="714" y="2326"/>
                    </a:lnTo>
                    <a:lnTo>
                      <a:pt x="686" y="2315"/>
                    </a:lnTo>
                    <a:lnTo>
                      <a:pt x="687" y="2321"/>
                    </a:lnTo>
                    <a:lnTo>
                      <a:pt x="684" y="2325"/>
                    </a:lnTo>
                    <a:lnTo>
                      <a:pt x="671" y="2322"/>
                    </a:lnTo>
                    <a:lnTo>
                      <a:pt x="653" y="2314"/>
                    </a:lnTo>
                    <a:lnTo>
                      <a:pt x="634" y="2300"/>
                    </a:lnTo>
                    <a:lnTo>
                      <a:pt x="619" y="2298"/>
                    </a:lnTo>
                    <a:lnTo>
                      <a:pt x="610" y="2290"/>
                    </a:lnTo>
                    <a:lnTo>
                      <a:pt x="595" y="2304"/>
                    </a:lnTo>
                    <a:lnTo>
                      <a:pt x="587" y="2317"/>
                    </a:lnTo>
                    <a:lnTo>
                      <a:pt x="584" y="2297"/>
                    </a:lnTo>
                    <a:lnTo>
                      <a:pt x="599" y="2288"/>
                    </a:lnTo>
                    <a:lnTo>
                      <a:pt x="586" y="2283"/>
                    </a:lnTo>
                    <a:lnTo>
                      <a:pt x="570" y="2279"/>
                    </a:lnTo>
                    <a:lnTo>
                      <a:pt x="567" y="2266"/>
                    </a:lnTo>
                    <a:lnTo>
                      <a:pt x="549" y="2255"/>
                    </a:lnTo>
                    <a:lnTo>
                      <a:pt x="531" y="2246"/>
                    </a:lnTo>
                    <a:lnTo>
                      <a:pt x="520" y="2244"/>
                    </a:lnTo>
                    <a:lnTo>
                      <a:pt x="517" y="2265"/>
                    </a:lnTo>
                    <a:lnTo>
                      <a:pt x="509" y="2276"/>
                    </a:lnTo>
                    <a:lnTo>
                      <a:pt x="499" y="2279"/>
                    </a:lnTo>
                    <a:lnTo>
                      <a:pt x="501" y="2289"/>
                    </a:lnTo>
                    <a:lnTo>
                      <a:pt x="508" y="2304"/>
                    </a:lnTo>
                    <a:lnTo>
                      <a:pt x="516" y="2309"/>
                    </a:lnTo>
                    <a:lnTo>
                      <a:pt x="527" y="2332"/>
                    </a:lnTo>
                    <a:lnTo>
                      <a:pt x="543" y="2349"/>
                    </a:lnTo>
                    <a:lnTo>
                      <a:pt x="574" y="2336"/>
                    </a:lnTo>
                    <a:lnTo>
                      <a:pt x="580" y="2352"/>
                    </a:lnTo>
                    <a:lnTo>
                      <a:pt x="587" y="2399"/>
                    </a:lnTo>
                    <a:lnTo>
                      <a:pt x="592" y="2407"/>
                    </a:lnTo>
                    <a:lnTo>
                      <a:pt x="575" y="2400"/>
                    </a:lnTo>
                    <a:lnTo>
                      <a:pt x="560" y="2410"/>
                    </a:lnTo>
                    <a:lnTo>
                      <a:pt x="557" y="2417"/>
                    </a:lnTo>
                    <a:lnTo>
                      <a:pt x="557" y="2421"/>
                    </a:lnTo>
                    <a:lnTo>
                      <a:pt x="543" y="2413"/>
                    </a:lnTo>
                    <a:lnTo>
                      <a:pt x="533" y="2411"/>
                    </a:lnTo>
                    <a:lnTo>
                      <a:pt x="501" y="2395"/>
                    </a:lnTo>
                    <a:lnTo>
                      <a:pt x="484" y="2390"/>
                    </a:lnTo>
                    <a:lnTo>
                      <a:pt x="482" y="2383"/>
                    </a:lnTo>
                    <a:lnTo>
                      <a:pt x="474" y="2372"/>
                    </a:lnTo>
                    <a:lnTo>
                      <a:pt x="466" y="2364"/>
                    </a:lnTo>
                    <a:lnTo>
                      <a:pt x="460" y="2354"/>
                    </a:lnTo>
                    <a:lnTo>
                      <a:pt x="450" y="2348"/>
                    </a:lnTo>
                    <a:lnTo>
                      <a:pt x="444" y="2354"/>
                    </a:lnTo>
                    <a:lnTo>
                      <a:pt x="433" y="2356"/>
                    </a:lnTo>
                    <a:lnTo>
                      <a:pt x="415" y="2342"/>
                    </a:lnTo>
                    <a:lnTo>
                      <a:pt x="409" y="2330"/>
                    </a:lnTo>
                    <a:lnTo>
                      <a:pt x="396" y="2337"/>
                    </a:lnTo>
                    <a:lnTo>
                      <a:pt x="398" y="2329"/>
                    </a:lnTo>
                    <a:lnTo>
                      <a:pt x="408" y="2319"/>
                    </a:lnTo>
                    <a:lnTo>
                      <a:pt x="406" y="2299"/>
                    </a:lnTo>
                    <a:lnTo>
                      <a:pt x="408" y="2282"/>
                    </a:lnTo>
                    <a:lnTo>
                      <a:pt x="397" y="2272"/>
                    </a:lnTo>
                    <a:lnTo>
                      <a:pt x="398" y="2257"/>
                    </a:lnTo>
                    <a:lnTo>
                      <a:pt x="380" y="2222"/>
                    </a:lnTo>
                    <a:lnTo>
                      <a:pt x="385" y="2213"/>
                    </a:lnTo>
                    <a:lnTo>
                      <a:pt x="398" y="2209"/>
                    </a:lnTo>
                    <a:lnTo>
                      <a:pt x="402" y="2187"/>
                    </a:lnTo>
                    <a:lnTo>
                      <a:pt x="404" y="2161"/>
                    </a:lnTo>
                    <a:lnTo>
                      <a:pt x="402" y="2150"/>
                    </a:lnTo>
                    <a:lnTo>
                      <a:pt x="395" y="2142"/>
                    </a:lnTo>
                    <a:lnTo>
                      <a:pt x="388" y="2122"/>
                    </a:lnTo>
                    <a:lnTo>
                      <a:pt x="384" y="2116"/>
                    </a:lnTo>
                    <a:lnTo>
                      <a:pt x="368" y="2114"/>
                    </a:lnTo>
                    <a:lnTo>
                      <a:pt x="363" y="2101"/>
                    </a:lnTo>
                    <a:lnTo>
                      <a:pt x="353" y="2100"/>
                    </a:lnTo>
                    <a:lnTo>
                      <a:pt x="336" y="2094"/>
                    </a:lnTo>
                    <a:lnTo>
                      <a:pt x="336" y="2087"/>
                    </a:lnTo>
                    <a:lnTo>
                      <a:pt x="338" y="2078"/>
                    </a:lnTo>
                    <a:lnTo>
                      <a:pt x="336" y="2073"/>
                    </a:lnTo>
                    <a:lnTo>
                      <a:pt x="318" y="2071"/>
                    </a:lnTo>
                    <a:lnTo>
                      <a:pt x="285" y="2041"/>
                    </a:lnTo>
                    <a:lnTo>
                      <a:pt x="291" y="2035"/>
                    </a:lnTo>
                    <a:lnTo>
                      <a:pt x="275" y="2020"/>
                    </a:lnTo>
                    <a:lnTo>
                      <a:pt x="272" y="2004"/>
                    </a:lnTo>
                    <a:lnTo>
                      <a:pt x="264" y="1992"/>
                    </a:lnTo>
                    <a:lnTo>
                      <a:pt x="248" y="1987"/>
                    </a:lnTo>
                    <a:lnTo>
                      <a:pt x="256" y="1980"/>
                    </a:lnTo>
                    <a:lnTo>
                      <a:pt x="275" y="1976"/>
                    </a:lnTo>
                    <a:lnTo>
                      <a:pt x="295" y="1987"/>
                    </a:lnTo>
                    <a:lnTo>
                      <a:pt x="296" y="1999"/>
                    </a:lnTo>
                    <a:lnTo>
                      <a:pt x="306" y="2013"/>
                    </a:lnTo>
                    <a:lnTo>
                      <a:pt x="334" y="2033"/>
                    </a:lnTo>
                    <a:lnTo>
                      <a:pt x="338" y="2030"/>
                    </a:lnTo>
                    <a:lnTo>
                      <a:pt x="342" y="2020"/>
                    </a:lnTo>
                    <a:lnTo>
                      <a:pt x="350" y="2035"/>
                    </a:lnTo>
                    <a:lnTo>
                      <a:pt x="359" y="2042"/>
                    </a:lnTo>
                    <a:lnTo>
                      <a:pt x="365" y="2036"/>
                    </a:lnTo>
                    <a:lnTo>
                      <a:pt x="370" y="2039"/>
                    </a:lnTo>
                    <a:lnTo>
                      <a:pt x="375" y="2033"/>
                    </a:lnTo>
                    <a:lnTo>
                      <a:pt x="381" y="2034"/>
                    </a:lnTo>
                    <a:lnTo>
                      <a:pt x="384" y="2047"/>
                    </a:lnTo>
                    <a:lnTo>
                      <a:pt x="387" y="2060"/>
                    </a:lnTo>
                    <a:lnTo>
                      <a:pt x="402" y="2053"/>
                    </a:lnTo>
                    <a:lnTo>
                      <a:pt x="420" y="2058"/>
                    </a:lnTo>
                    <a:lnTo>
                      <a:pt x="427" y="2068"/>
                    </a:lnTo>
                    <a:lnTo>
                      <a:pt x="439" y="2068"/>
                    </a:lnTo>
                    <a:lnTo>
                      <a:pt x="447" y="2078"/>
                    </a:lnTo>
                    <a:lnTo>
                      <a:pt x="479" y="2087"/>
                    </a:lnTo>
                    <a:lnTo>
                      <a:pt x="494" y="2094"/>
                    </a:lnTo>
                    <a:lnTo>
                      <a:pt x="522" y="2096"/>
                    </a:lnTo>
                    <a:lnTo>
                      <a:pt x="548" y="2106"/>
                    </a:lnTo>
                    <a:lnTo>
                      <a:pt x="557" y="2116"/>
                    </a:lnTo>
                    <a:lnTo>
                      <a:pt x="576" y="2120"/>
                    </a:lnTo>
                    <a:lnTo>
                      <a:pt x="624" y="2123"/>
                    </a:lnTo>
                    <a:lnTo>
                      <a:pt x="637" y="2117"/>
                    </a:lnTo>
                    <a:lnTo>
                      <a:pt x="649" y="2115"/>
                    </a:lnTo>
                    <a:lnTo>
                      <a:pt x="693" y="2095"/>
                    </a:lnTo>
                    <a:lnTo>
                      <a:pt x="703" y="2085"/>
                    </a:lnTo>
                    <a:lnTo>
                      <a:pt x="712" y="2079"/>
                    </a:lnTo>
                    <a:lnTo>
                      <a:pt x="731" y="2057"/>
                    </a:lnTo>
                    <a:lnTo>
                      <a:pt x="752" y="2023"/>
                    </a:lnTo>
                    <a:lnTo>
                      <a:pt x="761" y="1998"/>
                    </a:lnTo>
                    <a:lnTo>
                      <a:pt x="764" y="1975"/>
                    </a:lnTo>
                    <a:lnTo>
                      <a:pt x="755" y="1970"/>
                    </a:lnTo>
                    <a:lnTo>
                      <a:pt x="752" y="1966"/>
                    </a:lnTo>
                    <a:lnTo>
                      <a:pt x="751" y="1944"/>
                    </a:lnTo>
                    <a:lnTo>
                      <a:pt x="746" y="1929"/>
                    </a:lnTo>
                    <a:lnTo>
                      <a:pt x="746" y="1907"/>
                    </a:lnTo>
                    <a:lnTo>
                      <a:pt x="735" y="1892"/>
                    </a:lnTo>
                    <a:lnTo>
                      <a:pt x="724" y="1886"/>
                    </a:lnTo>
                    <a:lnTo>
                      <a:pt x="718" y="1890"/>
                    </a:lnTo>
                    <a:lnTo>
                      <a:pt x="709" y="1883"/>
                    </a:lnTo>
                    <a:lnTo>
                      <a:pt x="710" y="1873"/>
                    </a:lnTo>
                    <a:lnTo>
                      <a:pt x="704" y="1869"/>
                    </a:lnTo>
                    <a:lnTo>
                      <a:pt x="693" y="1854"/>
                    </a:lnTo>
                    <a:lnTo>
                      <a:pt x="689" y="1845"/>
                    </a:lnTo>
                    <a:lnTo>
                      <a:pt x="683" y="1841"/>
                    </a:lnTo>
                    <a:lnTo>
                      <a:pt x="676" y="1835"/>
                    </a:lnTo>
                    <a:lnTo>
                      <a:pt x="681" y="1848"/>
                    </a:lnTo>
                    <a:lnTo>
                      <a:pt x="672" y="1851"/>
                    </a:lnTo>
                    <a:lnTo>
                      <a:pt x="650" y="1835"/>
                    </a:lnTo>
                    <a:lnTo>
                      <a:pt x="642" y="1825"/>
                    </a:lnTo>
                    <a:lnTo>
                      <a:pt x="639" y="1834"/>
                    </a:lnTo>
                    <a:lnTo>
                      <a:pt x="635" y="1827"/>
                    </a:lnTo>
                    <a:lnTo>
                      <a:pt x="632" y="1815"/>
                    </a:lnTo>
                    <a:lnTo>
                      <a:pt x="619" y="1800"/>
                    </a:lnTo>
                    <a:lnTo>
                      <a:pt x="627" y="1818"/>
                    </a:lnTo>
                    <a:lnTo>
                      <a:pt x="606" y="1811"/>
                    </a:lnTo>
                    <a:lnTo>
                      <a:pt x="599" y="1800"/>
                    </a:lnTo>
                    <a:lnTo>
                      <a:pt x="596" y="1793"/>
                    </a:lnTo>
                    <a:lnTo>
                      <a:pt x="589" y="1783"/>
                    </a:lnTo>
                    <a:lnTo>
                      <a:pt x="558" y="1751"/>
                    </a:lnTo>
                    <a:lnTo>
                      <a:pt x="542" y="1739"/>
                    </a:lnTo>
                    <a:lnTo>
                      <a:pt x="535" y="1730"/>
                    </a:lnTo>
                    <a:lnTo>
                      <a:pt x="509" y="1712"/>
                    </a:lnTo>
                    <a:lnTo>
                      <a:pt x="500" y="1701"/>
                    </a:lnTo>
                    <a:lnTo>
                      <a:pt x="466" y="1682"/>
                    </a:lnTo>
                    <a:lnTo>
                      <a:pt x="461" y="1678"/>
                    </a:lnTo>
                    <a:lnTo>
                      <a:pt x="427" y="1669"/>
                    </a:lnTo>
                    <a:lnTo>
                      <a:pt x="429" y="1675"/>
                    </a:lnTo>
                    <a:lnTo>
                      <a:pt x="427" y="1679"/>
                    </a:lnTo>
                    <a:lnTo>
                      <a:pt x="420" y="1679"/>
                    </a:lnTo>
                    <a:lnTo>
                      <a:pt x="403" y="1670"/>
                    </a:lnTo>
                    <a:lnTo>
                      <a:pt x="369" y="1662"/>
                    </a:lnTo>
                    <a:lnTo>
                      <a:pt x="354" y="1655"/>
                    </a:lnTo>
                    <a:lnTo>
                      <a:pt x="350" y="1662"/>
                    </a:lnTo>
                    <a:lnTo>
                      <a:pt x="333" y="1664"/>
                    </a:lnTo>
                    <a:lnTo>
                      <a:pt x="326" y="1670"/>
                    </a:lnTo>
                    <a:lnTo>
                      <a:pt x="322" y="1660"/>
                    </a:lnTo>
                    <a:lnTo>
                      <a:pt x="317" y="1657"/>
                    </a:lnTo>
                    <a:lnTo>
                      <a:pt x="320" y="1644"/>
                    </a:lnTo>
                    <a:lnTo>
                      <a:pt x="317" y="1641"/>
                    </a:lnTo>
                    <a:lnTo>
                      <a:pt x="299" y="1657"/>
                    </a:lnTo>
                    <a:lnTo>
                      <a:pt x="302" y="1637"/>
                    </a:lnTo>
                    <a:lnTo>
                      <a:pt x="293" y="1644"/>
                    </a:lnTo>
                    <a:lnTo>
                      <a:pt x="294" y="1633"/>
                    </a:lnTo>
                    <a:lnTo>
                      <a:pt x="291" y="1632"/>
                    </a:lnTo>
                    <a:lnTo>
                      <a:pt x="283" y="1632"/>
                    </a:lnTo>
                    <a:lnTo>
                      <a:pt x="268" y="1638"/>
                    </a:lnTo>
                    <a:lnTo>
                      <a:pt x="271" y="1631"/>
                    </a:lnTo>
                    <a:lnTo>
                      <a:pt x="269" y="1625"/>
                    </a:lnTo>
                    <a:lnTo>
                      <a:pt x="267" y="1617"/>
                    </a:lnTo>
                    <a:lnTo>
                      <a:pt x="251" y="1619"/>
                    </a:lnTo>
                    <a:lnTo>
                      <a:pt x="257" y="1589"/>
                    </a:lnTo>
                    <a:lnTo>
                      <a:pt x="261" y="1603"/>
                    </a:lnTo>
                    <a:lnTo>
                      <a:pt x="267" y="1606"/>
                    </a:lnTo>
                    <a:lnTo>
                      <a:pt x="273" y="1606"/>
                    </a:lnTo>
                    <a:lnTo>
                      <a:pt x="279" y="1614"/>
                    </a:lnTo>
                    <a:lnTo>
                      <a:pt x="290" y="1612"/>
                    </a:lnTo>
                    <a:lnTo>
                      <a:pt x="299" y="1616"/>
                    </a:lnTo>
                    <a:lnTo>
                      <a:pt x="307" y="1600"/>
                    </a:lnTo>
                    <a:lnTo>
                      <a:pt x="309" y="1589"/>
                    </a:lnTo>
                    <a:lnTo>
                      <a:pt x="290" y="1583"/>
                    </a:lnTo>
                    <a:lnTo>
                      <a:pt x="283" y="1585"/>
                    </a:lnTo>
                    <a:lnTo>
                      <a:pt x="275" y="1579"/>
                    </a:lnTo>
                    <a:lnTo>
                      <a:pt x="274" y="1573"/>
                    </a:lnTo>
                    <a:lnTo>
                      <a:pt x="259" y="1565"/>
                    </a:lnTo>
                    <a:lnTo>
                      <a:pt x="242" y="1558"/>
                    </a:lnTo>
                    <a:lnTo>
                      <a:pt x="248" y="1567"/>
                    </a:lnTo>
                    <a:lnTo>
                      <a:pt x="247" y="1582"/>
                    </a:lnTo>
                    <a:lnTo>
                      <a:pt x="239" y="1583"/>
                    </a:lnTo>
                    <a:lnTo>
                      <a:pt x="235" y="1579"/>
                    </a:lnTo>
                    <a:lnTo>
                      <a:pt x="232" y="1587"/>
                    </a:lnTo>
                    <a:lnTo>
                      <a:pt x="235" y="1598"/>
                    </a:lnTo>
                    <a:lnTo>
                      <a:pt x="231" y="1604"/>
                    </a:lnTo>
                    <a:lnTo>
                      <a:pt x="221" y="1604"/>
                    </a:lnTo>
                    <a:lnTo>
                      <a:pt x="210" y="1593"/>
                    </a:lnTo>
                    <a:lnTo>
                      <a:pt x="191" y="1583"/>
                    </a:lnTo>
                    <a:lnTo>
                      <a:pt x="189" y="1584"/>
                    </a:lnTo>
                    <a:lnTo>
                      <a:pt x="192" y="1589"/>
                    </a:lnTo>
                    <a:lnTo>
                      <a:pt x="191" y="1600"/>
                    </a:lnTo>
                    <a:lnTo>
                      <a:pt x="187" y="1612"/>
                    </a:lnTo>
                    <a:lnTo>
                      <a:pt x="185" y="1617"/>
                    </a:lnTo>
                    <a:lnTo>
                      <a:pt x="172" y="1621"/>
                    </a:lnTo>
                    <a:lnTo>
                      <a:pt x="150" y="1606"/>
                    </a:lnTo>
                    <a:lnTo>
                      <a:pt x="144" y="1637"/>
                    </a:lnTo>
                    <a:lnTo>
                      <a:pt x="138" y="1644"/>
                    </a:lnTo>
                    <a:lnTo>
                      <a:pt x="106" y="1664"/>
                    </a:lnTo>
                    <a:lnTo>
                      <a:pt x="103" y="1669"/>
                    </a:lnTo>
                    <a:lnTo>
                      <a:pt x="102" y="1680"/>
                    </a:lnTo>
                    <a:lnTo>
                      <a:pt x="101" y="1684"/>
                    </a:lnTo>
                    <a:lnTo>
                      <a:pt x="92" y="1692"/>
                    </a:lnTo>
                    <a:lnTo>
                      <a:pt x="90" y="1694"/>
                    </a:lnTo>
                    <a:lnTo>
                      <a:pt x="59" y="1721"/>
                    </a:lnTo>
                    <a:lnTo>
                      <a:pt x="69" y="1725"/>
                    </a:lnTo>
                    <a:lnTo>
                      <a:pt x="69" y="1730"/>
                    </a:lnTo>
                    <a:lnTo>
                      <a:pt x="58" y="1759"/>
                    </a:lnTo>
                    <a:lnTo>
                      <a:pt x="57" y="1768"/>
                    </a:lnTo>
                    <a:lnTo>
                      <a:pt x="59" y="1794"/>
                    </a:lnTo>
                    <a:lnTo>
                      <a:pt x="64" y="1814"/>
                    </a:lnTo>
                    <a:lnTo>
                      <a:pt x="69" y="1821"/>
                    </a:lnTo>
                    <a:lnTo>
                      <a:pt x="79" y="1827"/>
                    </a:lnTo>
                    <a:lnTo>
                      <a:pt x="92" y="1830"/>
                    </a:lnTo>
                    <a:lnTo>
                      <a:pt x="107" y="1837"/>
                    </a:lnTo>
                    <a:lnTo>
                      <a:pt x="127" y="1875"/>
                    </a:lnTo>
                    <a:lnTo>
                      <a:pt x="137" y="1890"/>
                    </a:lnTo>
                    <a:lnTo>
                      <a:pt x="140" y="1912"/>
                    </a:lnTo>
                    <a:lnTo>
                      <a:pt x="122" y="1949"/>
                    </a:lnTo>
                    <a:lnTo>
                      <a:pt x="103" y="1992"/>
                    </a:lnTo>
                    <a:lnTo>
                      <a:pt x="97" y="2005"/>
                    </a:lnTo>
                    <a:lnTo>
                      <a:pt x="99" y="2026"/>
                    </a:lnTo>
                    <a:lnTo>
                      <a:pt x="108" y="2046"/>
                    </a:lnTo>
                    <a:lnTo>
                      <a:pt x="116" y="2063"/>
                    </a:lnTo>
                    <a:lnTo>
                      <a:pt x="118" y="2082"/>
                    </a:lnTo>
                    <a:lnTo>
                      <a:pt x="133" y="2109"/>
                    </a:lnTo>
                    <a:lnTo>
                      <a:pt x="144" y="2143"/>
                    </a:lnTo>
                    <a:lnTo>
                      <a:pt x="146" y="2160"/>
                    </a:lnTo>
                    <a:lnTo>
                      <a:pt x="148" y="2175"/>
                    </a:lnTo>
                    <a:lnTo>
                      <a:pt x="134" y="2187"/>
                    </a:lnTo>
                    <a:lnTo>
                      <a:pt x="132" y="2209"/>
                    </a:lnTo>
                    <a:lnTo>
                      <a:pt x="127" y="2225"/>
                    </a:lnTo>
                    <a:lnTo>
                      <a:pt x="130" y="2235"/>
                    </a:lnTo>
                    <a:lnTo>
                      <a:pt x="132" y="2254"/>
                    </a:lnTo>
                    <a:lnTo>
                      <a:pt x="126" y="2265"/>
                    </a:lnTo>
                    <a:lnTo>
                      <a:pt x="127" y="2286"/>
                    </a:lnTo>
                    <a:lnTo>
                      <a:pt x="143" y="2289"/>
                    </a:lnTo>
                    <a:lnTo>
                      <a:pt x="151" y="2306"/>
                    </a:lnTo>
                    <a:lnTo>
                      <a:pt x="149" y="2327"/>
                    </a:lnTo>
                    <a:lnTo>
                      <a:pt x="156" y="2343"/>
                    </a:lnTo>
                    <a:lnTo>
                      <a:pt x="172" y="2358"/>
                    </a:lnTo>
                    <a:lnTo>
                      <a:pt x="173" y="2378"/>
                    </a:lnTo>
                    <a:lnTo>
                      <a:pt x="167" y="2396"/>
                    </a:lnTo>
                    <a:lnTo>
                      <a:pt x="157" y="2411"/>
                    </a:lnTo>
                    <a:lnTo>
                      <a:pt x="153" y="2427"/>
                    </a:lnTo>
                    <a:lnTo>
                      <a:pt x="159" y="2445"/>
                    </a:lnTo>
                    <a:lnTo>
                      <a:pt x="167" y="2458"/>
                    </a:lnTo>
                    <a:lnTo>
                      <a:pt x="197" y="2481"/>
                    </a:lnTo>
                    <a:lnTo>
                      <a:pt x="202" y="2498"/>
                    </a:lnTo>
                    <a:lnTo>
                      <a:pt x="212" y="2515"/>
                    </a:lnTo>
                    <a:lnTo>
                      <a:pt x="216" y="2509"/>
                    </a:lnTo>
                    <a:lnTo>
                      <a:pt x="215" y="2548"/>
                    </a:lnTo>
                    <a:lnTo>
                      <a:pt x="199" y="2586"/>
                    </a:lnTo>
                    <a:lnTo>
                      <a:pt x="186" y="2606"/>
                    </a:lnTo>
                    <a:lnTo>
                      <a:pt x="134" y="2675"/>
                    </a:lnTo>
                    <a:lnTo>
                      <a:pt x="96" y="2718"/>
                    </a:lnTo>
                    <a:lnTo>
                      <a:pt x="46" y="2767"/>
                    </a:lnTo>
                    <a:lnTo>
                      <a:pt x="10" y="2794"/>
                    </a:lnTo>
                    <a:lnTo>
                      <a:pt x="33" y="2798"/>
                    </a:lnTo>
                    <a:lnTo>
                      <a:pt x="44" y="2785"/>
                    </a:lnTo>
                    <a:lnTo>
                      <a:pt x="63" y="2776"/>
                    </a:lnTo>
                    <a:lnTo>
                      <a:pt x="64" y="2783"/>
                    </a:lnTo>
                    <a:lnTo>
                      <a:pt x="63" y="2788"/>
                    </a:lnTo>
                    <a:lnTo>
                      <a:pt x="63" y="2805"/>
                    </a:lnTo>
                    <a:lnTo>
                      <a:pt x="58" y="2798"/>
                    </a:lnTo>
                    <a:lnTo>
                      <a:pt x="54" y="2797"/>
                    </a:lnTo>
                    <a:lnTo>
                      <a:pt x="54" y="2811"/>
                    </a:lnTo>
                    <a:lnTo>
                      <a:pt x="59" y="2820"/>
                    </a:lnTo>
                    <a:lnTo>
                      <a:pt x="64" y="2821"/>
                    </a:lnTo>
                    <a:lnTo>
                      <a:pt x="70" y="2824"/>
                    </a:lnTo>
                    <a:lnTo>
                      <a:pt x="87" y="2838"/>
                    </a:lnTo>
                    <a:lnTo>
                      <a:pt x="99" y="2838"/>
                    </a:lnTo>
                    <a:lnTo>
                      <a:pt x="117" y="2833"/>
                    </a:lnTo>
                    <a:lnTo>
                      <a:pt x="128" y="2837"/>
                    </a:lnTo>
                    <a:lnTo>
                      <a:pt x="137" y="2844"/>
                    </a:lnTo>
                    <a:lnTo>
                      <a:pt x="137" y="2854"/>
                    </a:lnTo>
                    <a:lnTo>
                      <a:pt x="143" y="2858"/>
                    </a:lnTo>
                    <a:lnTo>
                      <a:pt x="150" y="2859"/>
                    </a:lnTo>
                    <a:lnTo>
                      <a:pt x="151" y="2863"/>
                    </a:lnTo>
                    <a:lnTo>
                      <a:pt x="145" y="2868"/>
                    </a:lnTo>
                    <a:lnTo>
                      <a:pt x="137" y="2868"/>
                    </a:lnTo>
                    <a:lnTo>
                      <a:pt x="110" y="2860"/>
                    </a:lnTo>
                    <a:lnTo>
                      <a:pt x="91" y="2859"/>
                    </a:lnTo>
                    <a:lnTo>
                      <a:pt x="85" y="2865"/>
                    </a:lnTo>
                    <a:lnTo>
                      <a:pt x="83" y="2873"/>
                    </a:lnTo>
                    <a:lnTo>
                      <a:pt x="68" y="2881"/>
                    </a:lnTo>
                    <a:lnTo>
                      <a:pt x="60" y="2876"/>
                    </a:lnTo>
                    <a:lnTo>
                      <a:pt x="54" y="2879"/>
                    </a:lnTo>
                    <a:lnTo>
                      <a:pt x="51" y="2889"/>
                    </a:lnTo>
                    <a:lnTo>
                      <a:pt x="44" y="2892"/>
                    </a:lnTo>
                    <a:lnTo>
                      <a:pt x="38" y="2886"/>
                    </a:lnTo>
                    <a:lnTo>
                      <a:pt x="31" y="2883"/>
                    </a:lnTo>
                    <a:lnTo>
                      <a:pt x="27" y="2891"/>
                    </a:lnTo>
                    <a:lnTo>
                      <a:pt x="30" y="2907"/>
                    </a:lnTo>
                    <a:lnTo>
                      <a:pt x="37" y="2908"/>
                    </a:lnTo>
                    <a:lnTo>
                      <a:pt x="42" y="2914"/>
                    </a:lnTo>
                    <a:lnTo>
                      <a:pt x="44" y="2922"/>
                    </a:lnTo>
                    <a:lnTo>
                      <a:pt x="41" y="2930"/>
                    </a:lnTo>
                    <a:lnTo>
                      <a:pt x="30" y="2941"/>
                    </a:lnTo>
                    <a:lnTo>
                      <a:pt x="21" y="2956"/>
                    </a:lnTo>
                    <a:lnTo>
                      <a:pt x="15" y="2970"/>
                    </a:lnTo>
                    <a:lnTo>
                      <a:pt x="19" y="2983"/>
                    </a:lnTo>
                    <a:lnTo>
                      <a:pt x="16" y="3002"/>
                    </a:lnTo>
                    <a:lnTo>
                      <a:pt x="17" y="3008"/>
                    </a:lnTo>
                    <a:lnTo>
                      <a:pt x="20" y="3013"/>
                    </a:lnTo>
                    <a:lnTo>
                      <a:pt x="20" y="3019"/>
                    </a:lnTo>
                    <a:lnTo>
                      <a:pt x="17" y="3026"/>
                    </a:lnTo>
                    <a:lnTo>
                      <a:pt x="9" y="3035"/>
                    </a:lnTo>
                    <a:lnTo>
                      <a:pt x="4" y="3038"/>
                    </a:lnTo>
                    <a:lnTo>
                      <a:pt x="1" y="3046"/>
                    </a:lnTo>
                    <a:lnTo>
                      <a:pt x="5" y="3053"/>
                    </a:lnTo>
                    <a:lnTo>
                      <a:pt x="14" y="3054"/>
                    </a:lnTo>
                    <a:lnTo>
                      <a:pt x="27" y="3053"/>
                    </a:lnTo>
                    <a:lnTo>
                      <a:pt x="38" y="3070"/>
                    </a:lnTo>
                    <a:lnTo>
                      <a:pt x="37" y="3086"/>
                    </a:lnTo>
                    <a:lnTo>
                      <a:pt x="27" y="3086"/>
                    </a:lnTo>
                    <a:lnTo>
                      <a:pt x="19" y="3075"/>
                    </a:lnTo>
                    <a:lnTo>
                      <a:pt x="10" y="3068"/>
                    </a:lnTo>
                    <a:lnTo>
                      <a:pt x="10" y="3083"/>
                    </a:lnTo>
                    <a:lnTo>
                      <a:pt x="6" y="3090"/>
                    </a:lnTo>
                    <a:lnTo>
                      <a:pt x="0" y="3105"/>
                    </a:lnTo>
                    <a:lnTo>
                      <a:pt x="1" y="3112"/>
                    </a:lnTo>
                    <a:lnTo>
                      <a:pt x="6" y="3118"/>
                    </a:lnTo>
                    <a:lnTo>
                      <a:pt x="10" y="3126"/>
                    </a:lnTo>
                    <a:lnTo>
                      <a:pt x="17" y="3129"/>
                    </a:lnTo>
                    <a:lnTo>
                      <a:pt x="21" y="3137"/>
                    </a:lnTo>
                    <a:lnTo>
                      <a:pt x="22" y="3145"/>
                    </a:lnTo>
                    <a:lnTo>
                      <a:pt x="17" y="3169"/>
                    </a:lnTo>
                    <a:lnTo>
                      <a:pt x="14" y="3176"/>
                    </a:lnTo>
                    <a:lnTo>
                      <a:pt x="22" y="3179"/>
                    </a:lnTo>
                    <a:lnTo>
                      <a:pt x="29" y="3183"/>
                    </a:lnTo>
                    <a:lnTo>
                      <a:pt x="29" y="3191"/>
                    </a:lnTo>
                    <a:lnTo>
                      <a:pt x="42" y="3213"/>
                    </a:lnTo>
                    <a:lnTo>
                      <a:pt x="44" y="3222"/>
                    </a:lnTo>
                    <a:lnTo>
                      <a:pt x="48" y="3229"/>
                    </a:lnTo>
                    <a:lnTo>
                      <a:pt x="48" y="3245"/>
                    </a:lnTo>
                    <a:lnTo>
                      <a:pt x="47" y="3252"/>
                    </a:lnTo>
                    <a:lnTo>
                      <a:pt x="49" y="3260"/>
                    </a:lnTo>
                    <a:lnTo>
                      <a:pt x="65" y="3257"/>
                    </a:lnTo>
                    <a:lnTo>
                      <a:pt x="73" y="3261"/>
                    </a:lnTo>
                    <a:lnTo>
                      <a:pt x="76" y="3268"/>
                    </a:lnTo>
                    <a:lnTo>
                      <a:pt x="92" y="3266"/>
                    </a:lnTo>
                    <a:lnTo>
                      <a:pt x="101" y="3267"/>
                    </a:lnTo>
                    <a:lnTo>
                      <a:pt x="113" y="3276"/>
                    </a:lnTo>
                    <a:lnTo>
                      <a:pt x="111" y="3296"/>
                    </a:lnTo>
                    <a:lnTo>
                      <a:pt x="126" y="3288"/>
                    </a:lnTo>
                    <a:lnTo>
                      <a:pt x="133" y="3287"/>
                    </a:lnTo>
                    <a:lnTo>
                      <a:pt x="139" y="3282"/>
                    </a:lnTo>
                    <a:lnTo>
                      <a:pt x="155" y="3280"/>
                    </a:lnTo>
                    <a:lnTo>
                      <a:pt x="162" y="3282"/>
                    </a:lnTo>
                    <a:lnTo>
                      <a:pt x="170" y="3287"/>
                    </a:lnTo>
                    <a:lnTo>
                      <a:pt x="176" y="3292"/>
                    </a:lnTo>
                    <a:lnTo>
                      <a:pt x="185" y="3305"/>
                    </a:lnTo>
                    <a:lnTo>
                      <a:pt x="193" y="3306"/>
                    </a:lnTo>
                    <a:lnTo>
                      <a:pt x="194" y="3317"/>
                    </a:lnTo>
                    <a:lnTo>
                      <a:pt x="192" y="3325"/>
                    </a:lnTo>
                    <a:lnTo>
                      <a:pt x="192" y="3333"/>
                    </a:lnTo>
                    <a:lnTo>
                      <a:pt x="197" y="3341"/>
                    </a:lnTo>
                    <a:lnTo>
                      <a:pt x="199" y="3348"/>
                    </a:lnTo>
                    <a:lnTo>
                      <a:pt x="198" y="3355"/>
                    </a:lnTo>
                    <a:lnTo>
                      <a:pt x="196" y="3363"/>
                    </a:lnTo>
                    <a:lnTo>
                      <a:pt x="189" y="3368"/>
                    </a:lnTo>
                    <a:lnTo>
                      <a:pt x="187" y="3376"/>
                    </a:lnTo>
                    <a:lnTo>
                      <a:pt x="189" y="3384"/>
                    </a:lnTo>
                    <a:lnTo>
                      <a:pt x="202" y="3395"/>
                    </a:lnTo>
                    <a:lnTo>
                      <a:pt x="205" y="3411"/>
                    </a:lnTo>
                    <a:lnTo>
                      <a:pt x="216" y="3433"/>
                    </a:lnTo>
                    <a:lnTo>
                      <a:pt x="221" y="3439"/>
                    </a:lnTo>
                    <a:lnTo>
                      <a:pt x="236" y="3448"/>
                    </a:lnTo>
                    <a:lnTo>
                      <a:pt x="241" y="3454"/>
                    </a:lnTo>
                    <a:lnTo>
                      <a:pt x="242" y="3462"/>
                    </a:lnTo>
                    <a:lnTo>
                      <a:pt x="241" y="3470"/>
                    </a:lnTo>
                    <a:lnTo>
                      <a:pt x="245" y="3477"/>
                    </a:lnTo>
                    <a:lnTo>
                      <a:pt x="268" y="3475"/>
                    </a:lnTo>
                    <a:lnTo>
                      <a:pt x="274" y="3479"/>
                    </a:lnTo>
                    <a:lnTo>
                      <a:pt x="282" y="3482"/>
                    </a:lnTo>
                    <a:lnTo>
                      <a:pt x="279" y="3489"/>
                    </a:lnTo>
                    <a:lnTo>
                      <a:pt x="284" y="3495"/>
                    </a:lnTo>
                    <a:lnTo>
                      <a:pt x="294" y="3497"/>
                    </a:lnTo>
                    <a:lnTo>
                      <a:pt x="295" y="3510"/>
                    </a:lnTo>
                    <a:lnTo>
                      <a:pt x="288" y="3515"/>
                    </a:lnTo>
                    <a:lnTo>
                      <a:pt x="284" y="3522"/>
                    </a:lnTo>
                    <a:lnTo>
                      <a:pt x="272" y="3532"/>
                    </a:lnTo>
                    <a:lnTo>
                      <a:pt x="264" y="3537"/>
                    </a:lnTo>
                    <a:lnTo>
                      <a:pt x="247" y="3535"/>
                    </a:lnTo>
                    <a:lnTo>
                      <a:pt x="235" y="3524"/>
                    </a:lnTo>
                    <a:lnTo>
                      <a:pt x="228" y="3524"/>
                    </a:lnTo>
                    <a:lnTo>
                      <a:pt x="220" y="3527"/>
                    </a:lnTo>
                    <a:lnTo>
                      <a:pt x="219" y="3535"/>
                    </a:lnTo>
                    <a:lnTo>
                      <a:pt x="212" y="3538"/>
                    </a:lnTo>
                    <a:lnTo>
                      <a:pt x="213" y="3546"/>
                    </a:lnTo>
                    <a:lnTo>
                      <a:pt x="224" y="3557"/>
                    </a:lnTo>
                    <a:lnTo>
                      <a:pt x="226" y="3564"/>
                    </a:lnTo>
                    <a:lnTo>
                      <a:pt x="224" y="3573"/>
                    </a:lnTo>
                    <a:lnTo>
                      <a:pt x="229" y="3578"/>
                    </a:lnTo>
                    <a:lnTo>
                      <a:pt x="228" y="3586"/>
                    </a:lnTo>
                    <a:lnTo>
                      <a:pt x="235" y="3590"/>
                    </a:lnTo>
                    <a:lnTo>
                      <a:pt x="237" y="3597"/>
                    </a:lnTo>
                    <a:lnTo>
                      <a:pt x="236" y="3606"/>
                    </a:lnTo>
                    <a:lnTo>
                      <a:pt x="241" y="3627"/>
                    </a:lnTo>
                    <a:lnTo>
                      <a:pt x="241" y="3627"/>
                    </a:lnTo>
                    <a:lnTo>
                      <a:pt x="247" y="3633"/>
                    </a:lnTo>
                    <a:lnTo>
                      <a:pt x="255" y="3635"/>
                    </a:lnTo>
                    <a:lnTo>
                      <a:pt x="262" y="3632"/>
                    </a:lnTo>
                    <a:lnTo>
                      <a:pt x="267" y="3626"/>
                    </a:lnTo>
                    <a:lnTo>
                      <a:pt x="269" y="3617"/>
                    </a:lnTo>
                    <a:lnTo>
                      <a:pt x="277" y="3612"/>
                    </a:lnTo>
                    <a:lnTo>
                      <a:pt x="293" y="3616"/>
                    </a:lnTo>
                    <a:lnTo>
                      <a:pt x="301" y="3616"/>
                    </a:lnTo>
                    <a:lnTo>
                      <a:pt x="317" y="3611"/>
                    </a:lnTo>
                    <a:lnTo>
                      <a:pt x="333" y="3613"/>
                    </a:lnTo>
                    <a:lnTo>
                      <a:pt x="349" y="3610"/>
                    </a:lnTo>
                    <a:lnTo>
                      <a:pt x="361" y="3619"/>
                    </a:lnTo>
                    <a:lnTo>
                      <a:pt x="366" y="3627"/>
                    </a:lnTo>
                    <a:lnTo>
                      <a:pt x="366" y="3635"/>
                    </a:lnTo>
                    <a:lnTo>
                      <a:pt x="379" y="3647"/>
                    </a:lnTo>
                    <a:lnTo>
                      <a:pt x="384" y="3653"/>
                    </a:lnTo>
                    <a:lnTo>
                      <a:pt x="384" y="3662"/>
                    </a:lnTo>
                    <a:lnTo>
                      <a:pt x="375" y="3666"/>
                    </a:lnTo>
                    <a:lnTo>
                      <a:pt x="368" y="3667"/>
                    </a:lnTo>
                    <a:lnTo>
                      <a:pt x="371" y="3675"/>
                    </a:lnTo>
                    <a:lnTo>
                      <a:pt x="371" y="3682"/>
                    </a:lnTo>
                    <a:lnTo>
                      <a:pt x="375" y="3698"/>
                    </a:lnTo>
                    <a:lnTo>
                      <a:pt x="382" y="3703"/>
                    </a:lnTo>
                    <a:lnTo>
                      <a:pt x="390" y="3705"/>
                    </a:lnTo>
                    <a:lnTo>
                      <a:pt x="406" y="3710"/>
                    </a:lnTo>
                    <a:lnTo>
                      <a:pt x="413" y="3707"/>
                    </a:lnTo>
                    <a:lnTo>
                      <a:pt x="422" y="3707"/>
                    </a:lnTo>
                    <a:lnTo>
                      <a:pt x="424" y="3715"/>
                    </a:lnTo>
                    <a:lnTo>
                      <a:pt x="435" y="3726"/>
                    </a:lnTo>
                    <a:lnTo>
                      <a:pt x="442" y="3753"/>
                    </a:lnTo>
                    <a:lnTo>
                      <a:pt x="440" y="3762"/>
                    </a:lnTo>
                    <a:lnTo>
                      <a:pt x="442" y="3769"/>
                    </a:lnTo>
                    <a:lnTo>
                      <a:pt x="449" y="3774"/>
                    </a:lnTo>
                    <a:lnTo>
                      <a:pt x="456" y="3779"/>
                    </a:lnTo>
                    <a:lnTo>
                      <a:pt x="463" y="3775"/>
                    </a:lnTo>
                    <a:lnTo>
                      <a:pt x="471" y="3774"/>
                    </a:lnTo>
                    <a:lnTo>
                      <a:pt x="479" y="3775"/>
                    </a:lnTo>
                    <a:lnTo>
                      <a:pt x="490" y="3787"/>
                    </a:lnTo>
                    <a:lnTo>
                      <a:pt x="499" y="3784"/>
                    </a:lnTo>
                    <a:lnTo>
                      <a:pt x="506" y="3788"/>
                    </a:lnTo>
                    <a:lnTo>
                      <a:pt x="531" y="3780"/>
                    </a:lnTo>
                    <a:lnTo>
                      <a:pt x="546" y="3773"/>
                    </a:lnTo>
                    <a:lnTo>
                      <a:pt x="553" y="3775"/>
                    </a:lnTo>
                    <a:lnTo>
                      <a:pt x="558" y="3782"/>
                    </a:lnTo>
                    <a:lnTo>
                      <a:pt x="569" y="3804"/>
                    </a:lnTo>
                    <a:lnTo>
                      <a:pt x="580" y="3816"/>
                    </a:lnTo>
                    <a:lnTo>
                      <a:pt x="587" y="3816"/>
                    </a:lnTo>
                    <a:lnTo>
                      <a:pt x="591" y="3809"/>
                    </a:lnTo>
                    <a:lnTo>
                      <a:pt x="600" y="3809"/>
                    </a:lnTo>
                    <a:lnTo>
                      <a:pt x="605" y="3815"/>
                    </a:lnTo>
                    <a:lnTo>
                      <a:pt x="612" y="3816"/>
                    </a:lnTo>
                    <a:lnTo>
                      <a:pt x="619" y="3820"/>
                    </a:lnTo>
                    <a:lnTo>
                      <a:pt x="626" y="3826"/>
                    </a:lnTo>
                    <a:lnTo>
                      <a:pt x="642" y="3825"/>
                    </a:lnTo>
                    <a:lnTo>
                      <a:pt x="655" y="3834"/>
                    </a:lnTo>
                    <a:lnTo>
                      <a:pt x="662" y="3833"/>
                    </a:lnTo>
                    <a:lnTo>
                      <a:pt x="675" y="3844"/>
                    </a:lnTo>
                    <a:lnTo>
                      <a:pt x="683" y="3845"/>
                    </a:lnTo>
                    <a:lnTo>
                      <a:pt x="692" y="3845"/>
                    </a:lnTo>
                    <a:lnTo>
                      <a:pt x="698" y="3850"/>
                    </a:lnTo>
                    <a:lnTo>
                      <a:pt x="691" y="3854"/>
                    </a:lnTo>
                    <a:lnTo>
                      <a:pt x="699" y="3877"/>
                    </a:lnTo>
                    <a:lnTo>
                      <a:pt x="691" y="3892"/>
                    </a:lnTo>
                    <a:lnTo>
                      <a:pt x="675" y="3896"/>
                    </a:lnTo>
                    <a:lnTo>
                      <a:pt x="680" y="3902"/>
                    </a:lnTo>
                    <a:lnTo>
                      <a:pt x="688" y="3904"/>
                    </a:lnTo>
                    <a:lnTo>
                      <a:pt x="693" y="3911"/>
                    </a:lnTo>
                    <a:lnTo>
                      <a:pt x="676" y="3916"/>
                    </a:lnTo>
                    <a:lnTo>
                      <a:pt x="673" y="3922"/>
                    </a:lnTo>
                    <a:lnTo>
                      <a:pt x="672" y="3930"/>
                    </a:lnTo>
                    <a:lnTo>
                      <a:pt x="677" y="3936"/>
                    </a:lnTo>
                    <a:lnTo>
                      <a:pt x="680" y="3944"/>
                    </a:lnTo>
                    <a:lnTo>
                      <a:pt x="678" y="3952"/>
                    </a:lnTo>
                    <a:lnTo>
                      <a:pt x="686" y="3956"/>
                    </a:lnTo>
                    <a:lnTo>
                      <a:pt x="682" y="3972"/>
                    </a:lnTo>
                    <a:lnTo>
                      <a:pt x="675" y="3995"/>
                    </a:lnTo>
                    <a:lnTo>
                      <a:pt x="667" y="3999"/>
                    </a:lnTo>
                    <a:lnTo>
                      <a:pt x="653" y="3995"/>
                    </a:lnTo>
                    <a:lnTo>
                      <a:pt x="644" y="3997"/>
                    </a:lnTo>
                    <a:lnTo>
                      <a:pt x="629" y="3989"/>
                    </a:lnTo>
                    <a:lnTo>
                      <a:pt x="623" y="3994"/>
                    </a:lnTo>
                    <a:lnTo>
                      <a:pt x="614" y="4008"/>
                    </a:lnTo>
                    <a:lnTo>
                      <a:pt x="600" y="4014"/>
                    </a:lnTo>
                    <a:lnTo>
                      <a:pt x="592" y="4029"/>
                    </a:lnTo>
                    <a:lnTo>
                      <a:pt x="594" y="4037"/>
                    </a:lnTo>
                    <a:lnTo>
                      <a:pt x="594" y="4052"/>
                    </a:lnTo>
                    <a:lnTo>
                      <a:pt x="607" y="4047"/>
                    </a:lnTo>
                    <a:lnTo>
                      <a:pt x="617" y="4048"/>
                    </a:lnTo>
                    <a:lnTo>
                      <a:pt x="623" y="4043"/>
                    </a:lnTo>
                    <a:lnTo>
                      <a:pt x="638" y="4041"/>
                    </a:lnTo>
                    <a:lnTo>
                      <a:pt x="644" y="4043"/>
                    </a:lnTo>
                    <a:lnTo>
                      <a:pt x="645" y="4049"/>
                    </a:lnTo>
                    <a:lnTo>
                      <a:pt x="653" y="4051"/>
                    </a:lnTo>
                    <a:lnTo>
                      <a:pt x="655" y="4053"/>
                    </a:lnTo>
                    <a:lnTo>
                      <a:pt x="654" y="4058"/>
                    </a:lnTo>
                    <a:lnTo>
                      <a:pt x="644" y="4058"/>
                    </a:lnTo>
                    <a:lnTo>
                      <a:pt x="632" y="4063"/>
                    </a:lnTo>
                    <a:lnTo>
                      <a:pt x="616" y="4073"/>
                    </a:lnTo>
                    <a:lnTo>
                      <a:pt x="605" y="4076"/>
                    </a:lnTo>
                    <a:lnTo>
                      <a:pt x="605" y="4081"/>
                    </a:lnTo>
                    <a:lnTo>
                      <a:pt x="610" y="4086"/>
                    </a:lnTo>
                    <a:lnTo>
                      <a:pt x="605" y="4089"/>
                    </a:lnTo>
                    <a:lnTo>
                      <a:pt x="594" y="4086"/>
                    </a:lnTo>
                    <a:lnTo>
                      <a:pt x="569" y="4090"/>
                    </a:lnTo>
                    <a:lnTo>
                      <a:pt x="567" y="4100"/>
                    </a:lnTo>
                    <a:lnTo>
                      <a:pt x="575" y="4107"/>
                    </a:lnTo>
                    <a:lnTo>
                      <a:pt x="587" y="4112"/>
                    </a:lnTo>
                    <a:lnTo>
                      <a:pt x="597" y="4126"/>
                    </a:lnTo>
                    <a:lnTo>
                      <a:pt x="607" y="4135"/>
                    </a:lnTo>
                    <a:lnTo>
                      <a:pt x="605" y="4137"/>
                    </a:lnTo>
                    <a:lnTo>
                      <a:pt x="591" y="4133"/>
                    </a:lnTo>
                    <a:lnTo>
                      <a:pt x="585" y="4143"/>
                    </a:lnTo>
                    <a:lnTo>
                      <a:pt x="579" y="4143"/>
                    </a:lnTo>
                    <a:lnTo>
                      <a:pt x="567" y="4160"/>
                    </a:lnTo>
                    <a:lnTo>
                      <a:pt x="557" y="4172"/>
                    </a:lnTo>
                    <a:lnTo>
                      <a:pt x="548" y="4191"/>
                    </a:lnTo>
                    <a:lnTo>
                      <a:pt x="535" y="4192"/>
                    </a:lnTo>
                    <a:lnTo>
                      <a:pt x="519" y="4189"/>
                    </a:lnTo>
                    <a:lnTo>
                      <a:pt x="516" y="4194"/>
                    </a:lnTo>
                    <a:lnTo>
                      <a:pt x="516" y="4200"/>
                    </a:lnTo>
                    <a:lnTo>
                      <a:pt x="506" y="4205"/>
                    </a:lnTo>
                    <a:lnTo>
                      <a:pt x="519" y="4210"/>
                    </a:lnTo>
                    <a:lnTo>
                      <a:pt x="531" y="4220"/>
                    </a:lnTo>
                    <a:lnTo>
                      <a:pt x="536" y="4235"/>
                    </a:lnTo>
                    <a:lnTo>
                      <a:pt x="546" y="4246"/>
                    </a:lnTo>
                    <a:lnTo>
                      <a:pt x="556" y="4247"/>
                    </a:lnTo>
                    <a:lnTo>
                      <a:pt x="560" y="4242"/>
                    </a:lnTo>
                    <a:lnTo>
                      <a:pt x="565" y="4250"/>
                    </a:lnTo>
                    <a:lnTo>
                      <a:pt x="580" y="4262"/>
                    </a:lnTo>
                    <a:lnTo>
                      <a:pt x="623" y="4280"/>
                    </a:lnTo>
                    <a:lnTo>
                      <a:pt x="649" y="4301"/>
                    </a:lnTo>
                    <a:lnTo>
                      <a:pt x="656" y="4313"/>
                    </a:lnTo>
                    <a:lnTo>
                      <a:pt x="662" y="4321"/>
                    </a:lnTo>
                    <a:lnTo>
                      <a:pt x="671" y="4323"/>
                    </a:lnTo>
                    <a:lnTo>
                      <a:pt x="683" y="4336"/>
                    </a:lnTo>
                    <a:lnTo>
                      <a:pt x="698" y="4331"/>
                    </a:lnTo>
                    <a:lnTo>
                      <a:pt x="707" y="4329"/>
                    </a:lnTo>
                    <a:lnTo>
                      <a:pt x="714" y="4332"/>
                    </a:lnTo>
                    <a:lnTo>
                      <a:pt x="723" y="4331"/>
                    </a:lnTo>
                    <a:lnTo>
                      <a:pt x="737" y="4336"/>
                    </a:lnTo>
                    <a:lnTo>
                      <a:pt x="743" y="4342"/>
                    </a:lnTo>
                    <a:lnTo>
                      <a:pt x="759" y="4344"/>
                    </a:lnTo>
                    <a:lnTo>
                      <a:pt x="782" y="4354"/>
                    </a:lnTo>
                    <a:lnTo>
                      <a:pt x="791" y="4355"/>
                    </a:lnTo>
                    <a:lnTo>
                      <a:pt x="815" y="4353"/>
                    </a:lnTo>
                    <a:lnTo>
                      <a:pt x="831" y="4358"/>
                    </a:lnTo>
                    <a:lnTo>
                      <a:pt x="847" y="4358"/>
                    </a:lnTo>
                    <a:lnTo>
                      <a:pt x="854" y="4363"/>
                    </a:lnTo>
                    <a:lnTo>
                      <a:pt x="858" y="4368"/>
                    </a:lnTo>
                    <a:lnTo>
                      <a:pt x="896" y="4390"/>
                    </a:lnTo>
                    <a:lnTo>
                      <a:pt x="898" y="4398"/>
                    </a:lnTo>
                    <a:lnTo>
                      <a:pt x="906" y="4402"/>
                    </a:lnTo>
                    <a:lnTo>
                      <a:pt x="914" y="4399"/>
                    </a:lnTo>
                    <a:lnTo>
                      <a:pt x="920" y="4395"/>
                    </a:lnTo>
                    <a:lnTo>
                      <a:pt x="935" y="4388"/>
                    </a:lnTo>
                    <a:lnTo>
                      <a:pt x="944" y="4388"/>
                    </a:lnTo>
                    <a:lnTo>
                      <a:pt x="950" y="4393"/>
                    </a:lnTo>
                    <a:lnTo>
                      <a:pt x="957" y="4392"/>
                    </a:lnTo>
                    <a:lnTo>
                      <a:pt x="973" y="4395"/>
                    </a:lnTo>
                    <a:lnTo>
                      <a:pt x="978" y="4401"/>
                    </a:lnTo>
                    <a:lnTo>
                      <a:pt x="985" y="4404"/>
                    </a:lnTo>
                    <a:lnTo>
                      <a:pt x="993" y="4404"/>
                    </a:lnTo>
                    <a:lnTo>
                      <a:pt x="1000" y="4408"/>
                    </a:lnTo>
                    <a:lnTo>
                      <a:pt x="1004" y="4415"/>
                    </a:lnTo>
                    <a:lnTo>
                      <a:pt x="1000" y="4430"/>
                    </a:lnTo>
                    <a:lnTo>
                      <a:pt x="1012" y="4440"/>
                    </a:lnTo>
                    <a:lnTo>
                      <a:pt x="1028" y="4445"/>
                    </a:lnTo>
                    <a:lnTo>
                      <a:pt x="1035" y="4450"/>
                    </a:lnTo>
                    <a:lnTo>
                      <a:pt x="1040" y="4453"/>
                    </a:lnTo>
                    <a:lnTo>
                      <a:pt x="1048" y="4458"/>
                    </a:lnTo>
                    <a:lnTo>
                      <a:pt x="1055" y="4458"/>
                    </a:lnTo>
                    <a:lnTo>
                      <a:pt x="1067" y="4469"/>
                    </a:lnTo>
                    <a:lnTo>
                      <a:pt x="1071" y="4477"/>
                    </a:lnTo>
                    <a:lnTo>
                      <a:pt x="1079" y="4477"/>
                    </a:lnTo>
                    <a:lnTo>
                      <a:pt x="1084" y="4493"/>
                    </a:lnTo>
                    <a:lnTo>
                      <a:pt x="1087" y="4500"/>
                    </a:lnTo>
                    <a:lnTo>
                      <a:pt x="1095" y="4500"/>
                    </a:lnTo>
                    <a:lnTo>
                      <a:pt x="1111" y="4504"/>
                    </a:lnTo>
                    <a:lnTo>
                      <a:pt x="1119" y="4501"/>
                    </a:lnTo>
                    <a:lnTo>
                      <a:pt x="1124" y="4496"/>
                    </a:lnTo>
                    <a:lnTo>
                      <a:pt x="1130" y="4481"/>
                    </a:lnTo>
                    <a:lnTo>
                      <a:pt x="1138" y="4477"/>
                    </a:lnTo>
                    <a:lnTo>
                      <a:pt x="1145" y="4473"/>
                    </a:lnTo>
                    <a:lnTo>
                      <a:pt x="1148" y="4466"/>
                    </a:lnTo>
                    <a:lnTo>
                      <a:pt x="1154" y="4456"/>
                    </a:lnTo>
                    <a:lnTo>
                      <a:pt x="1144" y="4451"/>
                    </a:lnTo>
                    <a:lnTo>
                      <a:pt x="1132" y="4423"/>
                    </a:lnTo>
                    <a:lnTo>
                      <a:pt x="1113" y="4391"/>
                    </a:lnTo>
                    <a:lnTo>
                      <a:pt x="1105" y="4380"/>
                    </a:lnTo>
                    <a:lnTo>
                      <a:pt x="1101" y="4366"/>
                    </a:lnTo>
                    <a:lnTo>
                      <a:pt x="1101" y="4344"/>
                    </a:lnTo>
                    <a:lnTo>
                      <a:pt x="1108" y="4317"/>
                    </a:lnTo>
                    <a:lnTo>
                      <a:pt x="1106" y="4305"/>
                    </a:lnTo>
                    <a:lnTo>
                      <a:pt x="1097" y="4326"/>
                    </a:lnTo>
                    <a:lnTo>
                      <a:pt x="1094" y="4320"/>
                    </a:lnTo>
                    <a:lnTo>
                      <a:pt x="1091" y="4302"/>
                    </a:lnTo>
                    <a:lnTo>
                      <a:pt x="1081" y="4285"/>
                    </a:lnTo>
                    <a:lnTo>
                      <a:pt x="1069" y="4268"/>
                    </a:lnTo>
                    <a:lnTo>
                      <a:pt x="1059" y="4268"/>
                    </a:lnTo>
                    <a:lnTo>
                      <a:pt x="1054" y="4253"/>
                    </a:lnTo>
                    <a:lnTo>
                      <a:pt x="1063" y="4240"/>
                    </a:lnTo>
                    <a:lnTo>
                      <a:pt x="1064" y="4229"/>
                    </a:lnTo>
                    <a:lnTo>
                      <a:pt x="1071" y="4218"/>
                    </a:lnTo>
                    <a:lnTo>
                      <a:pt x="1075" y="4218"/>
                    </a:lnTo>
                    <a:lnTo>
                      <a:pt x="1076" y="4215"/>
                    </a:lnTo>
                    <a:lnTo>
                      <a:pt x="1079" y="4207"/>
                    </a:lnTo>
                    <a:lnTo>
                      <a:pt x="1089" y="4198"/>
                    </a:lnTo>
                    <a:lnTo>
                      <a:pt x="1095" y="4162"/>
                    </a:lnTo>
                    <a:lnTo>
                      <a:pt x="1102" y="4165"/>
                    </a:lnTo>
                    <a:lnTo>
                      <a:pt x="1106" y="4144"/>
                    </a:lnTo>
                    <a:lnTo>
                      <a:pt x="1107" y="4133"/>
                    </a:lnTo>
                    <a:lnTo>
                      <a:pt x="1098" y="4117"/>
                    </a:lnTo>
                    <a:lnTo>
                      <a:pt x="1110" y="4121"/>
                    </a:lnTo>
                    <a:lnTo>
                      <a:pt x="1121" y="4121"/>
                    </a:lnTo>
                    <a:lnTo>
                      <a:pt x="1119" y="4128"/>
                    </a:lnTo>
                    <a:lnTo>
                      <a:pt x="1126" y="4139"/>
                    </a:lnTo>
                    <a:lnTo>
                      <a:pt x="1130" y="4154"/>
                    </a:lnTo>
                    <a:lnTo>
                      <a:pt x="1138" y="4154"/>
                    </a:lnTo>
                    <a:lnTo>
                      <a:pt x="1143" y="4151"/>
                    </a:lnTo>
                    <a:lnTo>
                      <a:pt x="1148" y="4151"/>
                    </a:lnTo>
                    <a:lnTo>
                      <a:pt x="1160" y="4123"/>
                    </a:lnTo>
                    <a:lnTo>
                      <a:pt x="1166" y="4119"/>
                    </a:lnTo>
                    <a:lnTo>
                      <a:pt x="1159" y="4117"/>
                    </a:lnTo>
                    <a:lnTo>
                      <a:pt x="1155" y="4111"/>
                    </a:lnTo>
                    <a:lnTo>
                      <a:pt x="1149" y="4107"/>
                    </a:lnTo>
                    <a:lnTo>
                      <a:pt x="1140" y="4107"/>
                    </a:lnTo>
                    <a:lnTo>
                      <a:pt x="1133" y="4105"/>
                    </a:lnTo>
                    <a:lnTo>
                      <a:pt x="1130" y="4099"/>
                    </a:lnTo>
                    <a:lnTo>
                      <a:pt x="1137" y="4091"/>
                    </a:lnTo>
                    <a:lnTo>
                      <a:pt x="1138" y="4084"/>
                    </a:lnTo>
                    <a:lnTo>
                      <a:pt x="1145" y="4081"/>
                    </a:lnTo>
                    <a:lnTo>
                      <a:pt x="1154" y="4087"/>
                    </a:lnTo>
                    <a:lnTo>
                      <a:pt x="1166" y="4084"/>
                    </a:lnTo>
                    <a:lnTo>
                      <a:pt x="1157" y="4027"/>
                    </a:lnTo>
                    <a:lnTo>
                      <a:pt x="1150" y="4025"/>
                    </a:lnTo>
                    <a:lnTo>
                      <a:pt x="1145" y="4019"/>
                    </a:lnTo>
                    <a:lnTo>
                      <a:pt x="1143" y="4010"/>
                    </a:lnTo>
                    <a:lnTo>
                      <a:pt x="1139" y="4004"/>
                    </a:lnTo>
                    <a:lnTo>
                      <a:pt x="1133" y="3998"/>
                    </a:lnTo>
                    <a:lnTo>
                      <a:pt x="1126" y="3998"/>
                    </a:lnTo>
                    <a:lnTo>
                      <a:pt x="1108" y="4000"/>
                    </a:lnTo>
                    <a:lnTo>
                      <a:pt x="1095" y="3997"/>
                    </a:lnTo>
                    <a:lnTo>
                      <a:pt x="1094" y="4005"/>
                    </a:lnTo>
                    <a:lnTo>
                      <a:pt x="1081" y="3993"/>
                    </a:lnTo>
                    <a:lnTo>
                      <a:pt x="1081" y="3986"/>
                    </a:lnTo>
                    <a:lnTo>
                      <a:pt x="1076" y="3978"/>
                    </a:lnTo>
                    <a:lnTo>
                      <a:pt x="1081" y="3971"/>
                    </a:lnTo>
                    <a:lnTo>
                      <a:pt x="1076" y="3965"/>
                    </a:lnTo>
                    <a:lnTo>
                      <a:pt x="1076" y="3957"/>
                    </a:lnTo>
                    <a:lnTo>
                      <a:pt x="1047" y="3947"/>
                    </a:lnTo>
                    <a:lnTo>
                      <a:pt x="1058" y="3903"/>
                    </a:lnTo>
                    <a:lnTo>
                      <a:pt x="1071" y="3896"/>
                    </a:lnTo>
                    <a:lnTo>
                      <a:pt x="1076" y="3888"/>
                    </a:lnTo>
                    <a:lnTo>
                      <a:pt x="1074" y="3881"/>
                    </a:lnTo>
                    <a:lnTo>
                      <a:pt x="1063" y="3870"/>
                    </a:lnTo>
                    <a:lnTo>
                      <a:pt x="1073" y="3825"/>
                    </a:lnTo>
                    <a:lnTo>
                      <a:pt x="1086" y="3816"/>
                    </a:lnTo>
                    <a:lnTo>
                      <a:pt x="1091" y="3810"/>
                    </a:lnTo>
                    <a:lnTo>
                      <a:pt x="1090" y="3801"/>
                    </a:lnTo>
                    <a:lnTo>
                      <a:pt x="1092" y="3794"/>
                    </a:lnTo>
                    <a:lnTo>
                      <a:pt x="1092" y="3787"/>
                    </a:lnTo>
                    <a:lnTo>
                      <a:pt x="1096" y="3778"/>
                    </a:lnTo>
                    <a:lnTo>
                      <a:pt x="1101" y="3772"/>
                    </a:lnTo>
                    <a:lnTo>
                      <a:pt x="1107" y="3777"/>
                    </a:lnTo>
                    <a:lnTo>
                      <a:pt x="1111" y="3784"/>
                    </a:lnTo>
                    <a:lnTo>
                      <a:pt x="1123" y="3794"/>
                    </a:lnTo>
                    <a:lnTo>
                      <a:pt x="1140" y="3831"/>
                    </a:lnTo>
                    <a:lnTo>
                      <a:pt x="1149" y="3833"/>
                    </a:lnTo>
                    <a:lnTo>
                      <a:pt x="1175" y="3816"/>
                    </a:lnTo>
                    <a:lnTo>
                      <a:pt x="1172" y="3807"/>
                    </a:lnTo>
                    <a:lnTo>
                      <a:pt x="1169" y="3800"/>
                    </a:lnTo>
                    <a:lnTo>
                      <a:pt x="1165" y="3775"/>
                    </a:lnTo>
                    <a:lnTo>
                      <a:pt x="1157" y="3762"/>
                    </a:lnTo>
                    <a:lnTo>
                      <a:pt x="1166" y="3763"/>
                    </a:lnTo>
                    <a:lnTo>
                      <a:pt x="1173" y="3760"/>
                    </a:lnTo>
                    <a:lnTo>
                      <a:pt x="1193" y="3746"/>
                    </a:lnTo>
                    <a:lnTo>
                      <a:pt x="1200" y="3742"/>
                    </a:lnTo>
                    <a:lnTo>
                      <a:pt x="1205" y="3736"/>
                    </a:lnTo>
                    <a:lnTo>
                      <a:pt x="1205" y="3728"/>
                    </a:lnTo>
                    <a:lnTo>
                      <a:pt x="1205" y="3719"/>
                    </a:lnTo>
                    <a:lnTo>
                      <a:pt x="1213" y="3718"/>
                    </a:lnTo>
                    <a:lnTo>
                      <a:pt x="1221" y="3719"/>
                    </a:lnTo>
                    <a:lnTo>
                      <a:pt x="1229" y="3715"/>
                    </a:lnTo>
                    <a:lnTo>
                      <a:pt x="1234" y="3709"/>
                    </a:lnTo>
                    <a:lnTo>
                      <a:pt x="1241" y="3705"/>
                    </a:lnTo>
                    <a:lnTo>
                      <a:pt x="1248" y="3703"/>
                    </a:lnTo>
                    <a:lnTo>
                      <a:pt x="1253" y="3697"/>
                    </a:lnTo>
                    <a:lnTo>
                      <a:pt x="1261" y="3692"/>
                    </a:lnTo>
                    <a:lnTo>
                      <a:pt x="1266" y="3686"/>
                    </a:lnTo>
                    <a:lnTo>
                      <a:pt x="1267" y="3678"/>
                    </a:lnTo>
                    <a:lnTo>
                      <a:pt x="1274" y="3672"/>
                    </a:lnTo>
                    <a:lnTo>
                      <a:pt x="1289" y="3669"/>
                    </a:lnTo>
                    <a:lnTo>
                      <a:pt x="1305" y="3669"/>
                    </a:lnTo>
                    <a:lnTo>
                      <a:pt x="1306" y="3677"/>
                    </a:lnTo>
                    <a:lnTo>
                      <a:pt x="1310" y="3685"/>
                    </a:lnTo>
                    <a:lnTo>
                      <a:pt x="1326" y="3681"/>
                    </a:lnTo>
                    <a:lnTo>
                      <a:pt x="1331" y="3687"/>
                    </a:lnTo>
                    <a:lnTo>
                      <a:pt x="1336" y="3680"/>
                    </a:lnTo>
                    <a:lnTo>
                      <a:pt x="1338" y="3671"/>
                    </a:lnTo>
                    <a:lnTo>
                      <a:pt x="1343" y="3665"/>
                    </a:lnTo>
                    <a:lnTo>
                      <a:pt x="1350" y="3665"/>
                    </a:lnTo>
                    <a:lnTo>
                      <a:pt x="1358" y="3662"/>
                    </a:lnTo>
                    <a:lnTo>
                      <a:pt x="1366" y="3662"/>
                    </a:lnTo>
                    <a:lnTo>
                      <a:pt x="1371" y="3678"/>
                    </a:lnTo>
                    <a:lnTo>
                      <a:pt x="1376" y="3685"/>
                    </a:lnTo>
                    <a:lnTo>
                      <a:pt x="1385" y="3681"/>
                    </a:lnTo>
                    <a:lnTo>
                      <a:pt x="1392" y="3681"/>
                    </a:lnTo>
                    <a:lnTo>
                      <a:pt x="1399" y="3683"/>
                    </a:lnTo>
                    <a:lnTo>
                      <a:pt x="1415" y="3680"/>
                    </a:lnTo>
                    <a:lnTo>
                      <a:pt x="1423" y="3681"/>
                    </a:lnTo>
                    <a:lnTo>
                      <a:pt x="1430" y="3685"/>
                    </a:lnTo>
                    <a:lnTo>
                      <a:pt x="1436" y="3691"/>
                    </a:lnTo>
                    <a:lnTo>
                      <a:pt x="1442" y="3705"/>
                    </a:lnTo>
                    <a:lnTo>
                      <a:pt x="1463" y="3718"/>
                    </a:lnTo>
                    <a:lnTo>
                      <a:pt x="1468" y="3724"/>
                    </a:lnTo>
                    <a:lnTo>
                      <a:pt x="1471" y="3732"/>
                    </a:lnTo>
                    <a:lnTo>
                      <a:pt x="1482" y="3745"/>
                    </a:lnTo>
                    <a:lnTo>
                      <a:pt x="1481" y="3752"/>
                    </a:lnTo>
                    <a:lnTo>
                      <a:pt x="1482" y="3761"/>
                    </a:lnTo>
                    <a:lnTo>
                      <a:pt x="1487" y="3767"/>
                    </a:lnTo>
                    <a:lnTo>
                      <a:pt x="1494" y="3764"/>
                    </a:lnTo>
                    <a:lnTo>
                      <a:pt x="1494" y="3757"/>
                    </a:lnTo>
                    <a:lnTo>
                      <a:pt x="1493" y="3748"/>
                    </a:lnTo>
                    <a:lnTo>
                      <a:pt x="1494" y="3741"/>
                    </a:lnTo>
                    <a:lnTo>
                      <a:pt x="1489" y="3734"/>
                    </a:lnTo>
                    <a:lnTo>
                      <a:pt x="1494" y="3728"/>
                    </a:lnTo>
                    <a:lnTo>
                      <a:pt x="1503" y="3726"/>
                    </a:lnTo>
                    <a:lnTo>
                      <a:pt x="1505" y="3734"/>
                    </a:lnTo>
                    <a:lnTo>
                      <a:pt x="1511" y="3739"/>
                    </a:lnTo>
                    <a:lnTo>
                      <a:pt x="1514" y="3747"/>
                    </a:lnTo>
                    <a:lnTo>
                      <a:pt x="1520" y="3752"/>
                    </a:lnTo>
                    <a:lnTo>
                      <a:pt x="1536" y="3757"/>
                    </a:lnTo>
                    <a:lnTo>
                      <a:pt x="1549" y="3766"/>
                    </a:lnTo>
                    <a:lnTo>
                      <a:pt x="1558" y="3763"/>
                    </a:lnTo>
                    <a:lnTo>
                      <a:pt x="1578" y="3750"/>
                    </a:lnTo>
                    <a:lnTo>
                      <a:pt x="1578" y="3741"/>
                    </a:lnTo>
                    <a:lnTo>
                      <a:pt x="1584" y="3737"/>
                    </a:lnTo>
                    <a:lnTo>
                      <a:pt x="1590" y="3732"/>
                    </a:lnTo>
                    <a:lnTo>
                      <a:pt x="1598" y="3731"/>
                    </a:lnTo>
                    <a:lnTo>
                      <a:pt x="1606" y="3734"/>
                    </a:lnTo>
                    <a:lnTo>
                      <a:pt x="1606" y="3725"/>
                    </a:lnTo>
                    <a:lnTo>
                      <a:pt x="1614" y="3725"/>
                    </a:lnTo>
                    <a:lnTo>
                      <a:pt x="1622" y="3728"/>
                    </a:lnTo>
                    <a:lnTo>
                      <a:pt x="1629" y="3723"/>
                    </a:lnTo>
                    <a:lnTo>
                      <a:pt x="1637" y="3728"/>
                    </a:lnTo>
                    <a:lnTo>
                      <a:pt x="1648" y="3739"/>
                    </a:lnTo>
                    <a:lnTo>
                      <a:pt x="1662" y="3730"/>
                    </a:lnTo>
                    <a:lnTo>
                      <a:pt x="1666" y="3723"/>
                    </a:lnTo>
                    <a:lnTo>
                      <a:pt x="1682" y="3723"/>
                    </a:lnTo>
                    <a:lnTo>
                      <a:pt x="1689" y="3719"/>
                    </a:lnTo>
                    <a:lnTo>
                      <a:pt x="1704" y="3725"/>
                    </a:lnTo>
                    <a:lnTo>
                      <a:pt x="1709" y="3731"/>
                    </a:lnTo>
                    <a:lnTo>
                      <a:pt x="1710" y="3747"/>
                    </a:lnTo>
                    <a:lnTo>
                      <a:pt x="1716" y="3753"/>
                    </a:lnTo>
                    <a:lnTo>
                      <a:pt x="1721" y="3760"/>
                    </a:lnTo>
                    <a:lnTo>
                      <a:pt x="1737" y="3757"/>
                    </a:lnTo>
                    <a:lnTo>
                      <a:pt x="1752" y="3761"/>
                    </a:lnTo>
                    <a:lnTo>
                      <a:pt x="1752" y="3761"/>
                    </a:lnTo>
                    <a:lnTo>
                      <a:pt x="1754" y="3772"/>
                    </a:lnTo>
                    <a:lnTo>
                      <a:pt x="1772" y="3771"/>
                    </a:lnTo>
                    <a:lnTo>
                      <a:pt x="1778" y="3766"/>
                    </a:lnTo>
                    <a:lnTo>
                      <a:pt x="1785" y="3751"/>
                    </a:lnTo>
                    <a:lnTo>
                      <a:pt x="1790" y="3745"/>
                    </a:lnTo>
                    <a:lnTo>
                      <a:pt x="1796" y="3747"/>
                    </a:lnTo>
                    <a:lnTo>
                      <a:pt x="1807" y="3760"/>
                    </a:lnTo>
                    <a:lnTo>
                      <a:pt x="1824" y="3761"/>
                    </a:lnTo>
                    <a:lnTo>
                      <a:pt x="1839" y="3757"/>
                    </a:lnTo>
                    <a:lnTo>
                      <a:pt x="1847" y="3752"/>
                    </a:lnTo>
                    <a:lnTo>
                      <a:pt x="1863" y="3747"/>
                    </a:lnTo>
                    <a:lnTo>
                      <a:pt x="1874" y="3709"/>
                    </a:lnTo>
                    <a:lnTo>
                      <a:pt x="1877" y="3702"/>
                    </a:lnTo>
                    <a:lnTo>
                      <a:pt x="1872" y="3696"/>
                    </a:lnTo>
                    <a:lnTo>
                      <a:pt x="1870" y="3692"/>
                    </a:lnTo>
                    <a:lnTo>
                      <a:pt x="1856" y="3691"/>
                    </a:lnTo>
                    <a:lnTo>
                      <a:pt x="1840" y="3689"/>
                    </a:lnTo>
                    <a:lnTo>
                      <a:pt x="1834" y="3682"/>
                    </a:lnTo>
                    <a:lnTo>
                      <a:pt x="1831" y="3677"/>
                    </a:lnTo>
                    <a:lnTo>
                      <a:pt x="1813" y="3674"/>
                    </a:lnTo>
                    <a:lnTo>
                      <a:pt x="1806" y="3671"/>
                    </a:lnTo>
                    <a:lnTo>
                      <a:pt x="1807" y="3662"/>
                    </a:lnTo>
                    <a:lnTo>
                      <a:pt x="1802" y="3655"/>
                    </a:lnTo>
                    <a:lnTo>
                      <a:pt x="1786" y="3653"/>
                    </a:lnTo>
                    <a:lnTo>
                      <a:pt x="1788" y="3644"/>
                    </a:lnTo>
                    <a:lnTo>
                      <a:pt x="1795" y="3642"/>
                    </a:lnTo>
                    <a:lnTo>
                      <a:pt x="1807" y="3632"/>
                    </a:lnTo>
                    <a:lnTo>
                      <a:pt x="1823" y="3626"/>
                    </a:lnTo>
                    <a:lnTo>
                      <a:pt x="1837" y="3617"/>
                    </a:lnTo>
                    <a:lnTo>
                      <a:pt x="1840" y="3611"/>
                    </a:lnTo>
                    <a:lnTo>
                      <a:pt x="1842" y="3602"/>
                    </a:lnTo>
                    <a:lnTo>
                      <a:pt x="1823" y="3575"/>
                    </a:lnTo>
                    <a:lnTo>
                      <a:pt x="1831" y="3572"/>
                    </a:lnTo>
                    <a:lnTo>
                      <a:pt x="1838" y="3565"/>
                    </a:lnTo>
                    <a:lnTo>
                      <a:pt x="1839" y="3558"/>
                    </a:lnTo>
                    <a:lnTo>
                      <a:pt x="1845" y="3553"/>
                    </a:lnTo>
                    <a:lnTo>
                      <a:pt x="1854" y="3552"/>
                    </a:lnTo>
                    <a:lnTo>
                      <a:pt x="1863" y="3553"/>
                    </a:lnTo>
                    <a:lnTo>
                      <a:pt x="1870" y="3552"/>
                    </a:lnTo>
                    <a:lnTo>
                      <a:pt x="1877" y="3554"/>
                    </a:lnTo>
                    <a:lnTo>
                      <a:pt x="1893" y="3554"/>
                    </a:lnTo>
                    <a:lnTo>
                      <a:pt x="1902" y="3551"/>
                    </a:lnTo>
                    <a:lnTo>
                      <a:pt x="1904" y="3543"/>
                    </a:lnTo>
                    <a:lnTo>
                      <a:pt x="1901" y="3537"/>
                    </a:lnTo>
                    <a:lnTo>
                      <a:pt x="1886" y="3529"/>
                    </a:lnTo>
                    <a:lnTo>
                      <a:pt x="1854" y="3524"/>
                    </a:lnTo>
                    <a:lnTo>
                      <a:pt x="1850" y="3518"/>
                    </a:lnTo>
                    <a:lnTo>
                      <a:pt x="1852" y="3509"/>
                    </a:lnTo>
                    <a:lnTo>
                      <a:pt x="1859" y="3509"/>
                    </a:lnTo>
                    <a:lnTo>
                      <a:pt x="1866" y="3506"/>
                    </a:lnTo>
                    <a:lnTo>
                      <a:pt x="1871" y="3499"/>
                    </a:lnTo>
                    <a:lnTo>
                      <a:pt x="1865" y="3494"/>
                    </a:lnTo>
                    <a:lnTo>
                      <a:pt x="1858" y="3498"/>
                    </a:lnTo>
                    <a:lnTo>
                      <a:pt x="1842" y="3498"/>
                    </a:lnTo>
                    <a:lnTo>
                      <a:pt x="1842" y="3489"/>
                    </a:lnTo>
                    <a:lnTo>
                      <a:pt x="1844" y="3482"/>
                    </a:lnTo>
                    <a:lnTo>
                      <a:pt x="1849" y="3476"/>
                    </a:lnTo>
                    <a:lnTo>
                      <a:pt x="1838" y="3463"/>
                    </a:lnTo>
                    <a:lnTo>
                      <a:pt x="1854" y="3463"/>
                    </a:lnTo>
                    <a:lnTo>
                      <a:pt x="1859" y="3457"/>
                    </a:lnTo>
                    <a:lnTo>
                      <a:pt x="1867" y="3457"/>
                    </a:lnTo>
                    <a:lnTo>
                      <a:pt x="1872" y="3463"/>
                    </a:lnTo>
                    <a:lnTo>
                      <a:pt x="1880" y="3462"/>
                    </a:lnTo>
                    <a:lnTo>
                      <a:pt x="1888" y="3463"/>
                    </a:lnTo>
                    <a:lnTo>
                      <a:pt x="1896" y="3461"/>
                    </a:lnTo>
                    <a:lnTo>
                      <a:pt x="1920" y="3461"/>
                    </a:lnTo>
                    <a:lnTo>
                      <a:pt x="1925" y="3468"/>
                    </a:lnTo>
                    <a:lnTo>
                      <a:pt x="1935" y="3456"/>
                    </a:lnTo>
                    <a:lnTo>
                      <a:pt x="1942" y="3452"/>
                    </a:lnTo>
                    <a:lnTo>
                      <a:pt x="1958" y="3454"/>
                    </a:lnTo>
                    <a:lnTo>
                      <a:pt x="1966" y="3449"/>
                    </a:lnTo>
                    <a:lnTo>
                      <a:pt x="1973" y="3446"/>
                    </a:lnTo>
                    <a:lnTo>
                      <a:pt x="1987" y="3436"/>
                    </a:lnTo>
                    <a:lnTo>
                      <a:pt x="1994" y="3439"/>
                    </a:lnTo>
                    <a:lnTo>
                      <a:pt x="2000" y="3444"/>
                    </a:lnTo>
                    <a:lnTo>
                      <a:pt x="2008" y="3444"/>
                    </a:lnTo>
                    <a:lnTo>
                      <a:pt x="2010" y="3436"/>
                    </a:lnTo>
                    <a:lnTo>
                      <a:pt x="2027" y="3432"/>
                    </a:lnTo>
                    <a:lnTo>
                      <a:pt x="2033" y="3428"/>
                    </a:lnTo>
                    <a:lnTo>
                      <a:pt x="2042" y="3427"/>
                    </a:lnTo>
                    <a:lnTo>
                      <a:pt x="2049" y="3424"/>
                    </a:lnTo>
                    <a:lnTo>
                      <a:pt x="2057" y="3424"/>
                    </a:lnTo>
                    <a:lnTo>
                      <a:pt x="2064" y="3427"/>
                    </a:lnTo>
                    <a:lnTo>
                      <a:pt x="2069" y="3419"/>
                    </a:lnTo>
                    <a:lnTo>
                      <a:pt x="2070" y="3412"/>
                    </a:lnTo>
                    <a:lnTo>
                      <a:pt x="2074" y="3403"/>
                    </a:lnTo>
                    <a:lnTo>
                      <a:pt x="2081" y="3400"/>
                    </a:lnTo>
                    <a:lnTo>
                      <a:pt x="2089" y="3398"/>
                    </a:lnTo>
                    <a:lnTo>
                      <a:pt x="2096" y="3402"/>
                    </a:lnTo>
                    <a:lnTo>
                      <a:pt x="2114" y="3396"/>
                    </a:lnTo>
                    <a:lnTo>
                      <a:pt x="2114" y="3397"/>
                    </a:lnTo>
                    <a:lnTo>
                      <a:pt x="2151" y="3387"/>
                    </a:lnTo>
                    <a:lnTo>
                      <a:pt x="2183" y="3384"/>
                    </a:lnTo>
                    <a:lnTo>
                      <a:pt x="2211" y="3375"/>
                    </a:lnTo>
                    <a:lnTo>
                      <a:pt x="2218" y="3369"/>
                    </a:lnTo>
                    <a:lnTo>
                      <a:pt x="2226" y="3370"/>
                    </a:lnTo>
                    <a:lnTo>
                      <a:pt x="2234" y="3368"/>
                    </a:lnTo>
                    <a:lnTo>
                      <a:pt x="2238" y="3362"/>
                    </a:lnTo>
                    <a:lnTo>
                      <a:pt x="2238" y="3353"/>
                    </a:lnTo>
                    <a:lnTo>
                      <a:pt x="2238" y="3346"/>
                    </a:lnTo>
                    <a:lnTo>
                      <a:pt x="2247" y="3347"/>
                    </a:lnTo>
                    <a:lnTo>
                      <a:pt x="2254" y="3344"/>
                    </a:lnTo>
                    <a:lnTo>
                      <a:pt x="2259" y="3338"/>
                    </a:lnTo>
                    <a:lnTo>
                      <a:pt x="2265" y="3333"/>
                    </a:lnTo>
                    <a:lnTo>
                      <a:pt x="2274" y="3333"/>
                    </a:lnTo>
                    <a:lnTo>
                      <a:pt x="2279" y="3326"/>
                    </a:lnTo>
                    <a:lnTo>
                      <a:pt x="2286" y="3326"/>
                    </a:lnTo>
                    <a:lnTo>
                      <a:pt x="2293" y="3332"/>
                    </a:lnTo>
                    <a:lnTo>
                      <a:pt x="2300" y="3330"/>
                    </a:lnTo>
                    <a:lnTo>
                      <a:pt x="2307" y="3333"/>
                    </a:lnTo>
                    <a:lnTo>
                      <a:pt x="2316" y="3331"/>
                    </a:lnTo>
                    <a:lnTo>
                      <a:pt x="2323" y="3335"/>
                    </a:lnTo>
                    <a:lnTo>
                      <a:pt x="2328" y="3341"/>
                    </a:lnTo>
                    <a:lnTo>
                      <a:pt x="2342" y="3349"/>
                    </a:lnTo>
                    <a:lnTo>
                      <a:pt x="2349" y="3346"/>
                    </a:lnTo>
                    <a:lnTo>
                      <a:pt x="2355" y="3341"/>
                    </a:lnTo>
                    <a:lnTo>
                      <a:pt x="2371" y="3338"/>
                    </a:lnTo>
                    <a:lnTo>
                      <a:pt x="2379" y="3341"/>
                    </a:lnTo>
                    <a:lnTo>
                      <a:pt x="2385" y="3347"/>
                    </a:lnTo>
                    <a:lnTo>
                      <a:pt x="2388" y="3354"/>
                    </a:lnTo>
                    <a:lnTo>
                      <a:pt x="2390" y="3370"/>
                    </a:lnTo>
                    <a:lnTo>
                      <a:pt x="2388" y="3379"/>
                    </a:lnTo>
                    <a:lnTo>
                      <a:pt x="2391" y="3386"/>
                    </a:lnTo>
                    <a:lnTo>
                      <a:pt x="2403" y="3397"/>
                    </a:lnTo>
                    <a:lnTo>
                      <a:pt x="2399" y="3403"/>
                    </a:lnTo>
                    <a:lnTo>
                      <a:pt x="2401" y="3420"/>
                    </a:lnTo>
                    <a:lnTo>
                      <a:pt x="2396" y="3427"/>
                    </a:lnTo>
                    <a:lnTo>
                      <a:pt x="2391" y="3433"/>
                    </a:lnTo>
                    <a:lnTo>
                      <a:pt x="2394" y="3440"/>
                    </a:lnTo>
                    <a:lnTo>
                      <a:pt x="2397" y="3448"/>
                    </a:lnTo>
                    <a:lnTo>
                      <a:pt x="2413" y="3444"/>
                    </a:lnTo>
                    <a:lnTo>
                      <a:pt x="2420" y="3449"/>
                    </a:lnTo>
                    <a:lnTo>
                      <a:pt x="2428" y="3448"/>
                    </a:lnTo>
                    <a:lnTo>
                      <a:pt x="2431" y="3439"/>
                    </a:lnTo>
                    <a:lnTo>
                      <a:pt x="2439" y="3439"/>
                    </a:lnTo>
                    <a:lnTo>
                      <a:pt x="2446" y="3441"/>
                    </a:lnTo>
                    <a:lnTo>
                      <a:pt x="2449" y="3433"/>
                    </a:lnTo>
                    <a:lnTo>
                      <a:pt x="2449" y="3425"/>
                    </a:lnTo>
                    <a:lnTo>
                      <a:pt x="2456" y="3427"/>
                    </a:lnTo>
                    <a:lnTo>
                      <a:pt x="2460" y="3434"/>
                    </a:lnTo>
                    <a:lnTo>
                      <a:pt x="2462" y="3443"/>
                    </a:lnTo>
                    <a:lnTo>
                      <a:pt x="2467" y="3448"/>
                    </a:lnTo>
                    <a:lnTo>
                      <a:pt x="2465" y="3455"/>
                    </a:lnTo>
                    <a:lnTo>
                      <a:pt x="2463" y="3463"/>
                    </a:lnTo>
                    <a:lnTo>
                      <a:pt x="2479" y="3465"/>
                    </a:lnTo>
                    <a:lnTo>
                      <a:pt x="2477" y="3457"/>
                    </a:lnTo>
                    <a:lnTo>
                      <a:pt x="2472" y="3451"/>
                    </a:lnTo>
                    <a:lnTo>
                      <a:pt x="2479" y="3448"/>
                    </a:lnTo>
                    <a:lnTo>
                      <a:pt x="2495" y="3451"/>
                    </a:lnTo>
                    <a:lnTo>
                      <a:pt x="2503" y="3456"/>
                    </a:lnTo>
                    <a:lnTo>
                      <a:pt x="2508" y="3462"/>
                    </a:lnTo>
                    <a:lnTo>
                      <a:pt x="2516" y="3466"/>
                    </a:lnTo>
                    <a:lnTo>
                      <a:pt x="2523" y="3466"/>
                    </a:lnTo>
                    <a:lnTo>
                      <a:pt x="2527" y="3459"/>
                    </a:lnTo>
                    <a:lnTo>
                      <a:pt x="2535" y="3455"/>
                    </a:lnTo>
                    <a:lnTo>
                      <a:pt x="2537" y="3463"/>
                    </a:lnTo>
                    <a:lnTo>
                      <a:pt x="2537" y="3471"/>
                    </a:lnTo>
                    <a:lnTo>
                      <a:pt x="2528" y="3473"/>
                    </a:lnTo>
                    <a:lnTo>
                      <a:pt x="2522" y="3478"/>
                    </a:lnTo>
                    <a:lnTo>
                      <a:pt x="2517" y="3486"/>
                    </a:lnTo>
                    <a:lnTo>
                      <a:pt x="2515" y="3493"/>
                    </a:lnTo>
                    <a:lnTo>
                      <a:pt x="2516" y="3502"/>
                    </a:lnTo>
                    <a:lnTo>
                      <a:pt x="2521" y="3508"/>
                    </a:lnTo>
                    <a:lnTo>
                      <a:pt x="2528" y="3508"/>
                    </a:lnTo>
                    <a:lnTo>
                      <a:pt x="2533" y="3502"/>
                    </a:lnTo>
                    <a:lnTo>
                      <a:pt x="2548" y="3495"/>
                    </a:lnTo>
                    <a:lnTo>
                      <a:pt x="2555" y="3498"/>
                    </a:lnTo>
                    <a:lnTo>
                      <a:pt x="2564" y="3498"/>
                    </a:lnTo>
                    <a:lnTo>
                      <a:pt x="2570" y="3503"/>
                    </a:lnTo>
                    <a:lnTo>
                      <a:pt x="2578" y="3503"/>
                    </a:lnTo>
                    <a:lnTo>
                      <a:pt x="2575" y="3495"/>
                    </a:lnTo>
                    <a:lnTo>
                      <a:pt x="2580" y="3489"/>
                    </a:lnTo>
                    <a:lnTo>
                      <a:pt x="2589" y="3488"/>
                    </a:lnTo>
                    <a:lnTo>
                      <a:pt x="2598" y="3477"/>
                    </a:lnTo>
                    <a:lnTo>
                      <a:pt x="2614" y="3475"/>
                    </a:lnTo>
                    <a:lnTo>
                      <a:pt x="2627" y="3463"/>
                    </a:lnTo>
                    <a:lnTo>
                      <a:pt x="2633" y="3449"/>
                    </a:lnTo>
                    <a:lnTo>
                      <a:pt x="2639" y="3444"/>
                    </a:lnTo>
                    <a:lnTo>
                      <a:pt x="2648" y="3445"/>
                    </a:lnTo>
                    <a:lnTo>
                      <a:pt x="2664" y="3441"/>
                    </a:lnTo>
                    <a:lnTo>
                      <a:pt x="2671" y="3439"/>
                    </a:lnTo>
                    <a:lnTo>
                      <a:pt x="2675" y="3432"/>
                    </a:lnTo>
                    <a:lnTo>
                      <a:pt x="2691" y="3430"/>
                    </a:lnTo>
                    <a:lnTo>
                      <a:pt x="2704" y="3422"/>
                    </a:lnTo>
                    <a:lnTo>
                      <a:pt x="2708" y="3429"/>
                    </a:lnTo>
                    <a:lnTo>
                      <a:pt x="2709" y="3436"/>
                    </a:lnTo>
                    <a:lnTo>
                      <a:pt x="2704" y="3444"/>
                    </a:lnTo>
                    <a:lnTo>
                      <a:pt x="2697" y="3446"/>
                    </a:lnTo>
                    <a:lnTo>
                      <a:pt x="2689" y="3446"/>
                    </a:lnTo>
                    <a:lnTo>
                      <a:pt x="2688" y="3454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rgbClr val="C9C7C3"/>
                  </a:solidFill>
                </a:endParaRPr>
              </a:p>
            </p:txBody>
          </p:sp>
          <p:sp>
            <p:nvSpPr>
              <p:cNvPr id="336" name="Freeform 133"/>
              <p:cNvSpPr>
                <a:spLocks noChangeAspect="1"/>
              </p:cNvSpPr>
              <p:nvPr/>
            </p:nvSpPr>
            <p:spPr bwMode="gray">
              <a:xfrm>
                <a:off x="2730" y="1750"/>
                <a:ext cx="36" cy="27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2" y="114"/>
                  </a:cxn>
                  <a:cxn ang="0">
                    <a:pos x="12" y="107"/>
                  </a:cxn>
                  <a:cxn ang="0">
                    <a:pos x="14" y="102"/>
                  </a:cxn>
                  <a:cxn ang="0">
                    <a:pos x="19" y="87"/>
                  </a:cxn>
                  <a:cxn ang="0">
                    <a:pos x="21" y="76"/>
                  </a:cxn>
                  <a:cxn ang="0">
                    <a:pos x="25" y="70"/>
                  </a:cxn>
                  <a:cxn ang="0">
                    <a:pos x="46" y="69"/>
                  </a:cxn>
                  <a:cxn ang="0">
                    <a:pos x="55" y="63"/>
                  </a:cxn>
                  <a:cxn ang="0">
                    <a:pos x="67" y="48"/>
                  </a:cxn>
                  <a:cxn ang="0">
                    <a:pos x="77" y="32"/>
                  </a:cxn>
                  <a:cxn ang="0">
                    <a:pos x="82" y="15"/>
                  </a:cxn>
                  <a:cxn ang="0">
                    <a:pos x="83" y="0"/>
                  </a:cxn>
                  <a:cxn ang="0">
                    <a:pos x="79" y="27"/>
                  </a:cxn>
                  <a:cxn ang="0">
                    <a:pos x="71" y="46"/>
                  </a:cxn>
                  <a:cxn ang="0">
                    <a:pos x="65" y="55"/>
                  </a:cxn>
                  <a:cxn ang="0">
                    <a:pos x="57" y="64"/>
                  </a:cxn>
                  <a:cxn ang="0">
                    <a:pos x="61" y="71"/>
                  </a:cxn>
                  <a:cxn ang="0">
                    <a:pos x="67" y="70"/>
                  </a:cxn>
                  <a:cxn ang="0">
                    <a:pos x="76" y="75"/>
                  </a:cxn>
                  <a:cxn ang="0">
                    <a:pos x="87" y="75"/>
                  </a:cxn>
                  <a:cxn ang="0">
                    <a:pos x="89" y="66"/>
                  </a:cxn>
                  <a:cxn ang="0">
                    <a:pos x="89" y="49"/>
                  </a:cxn>
                  <a:cxn ang="0">
                    <a:pos x="93" y="44"/>
                  </a:cxn>
                  <a:cxn ang="0">
                    <a:pos x="93" y="41"/>
                  </a:cxn>
                  <a:cxn ang="0">
                    <a:pos x="103" y="38"/>
                  </a:cxn>
                  <a:cxn ang="0">
                    <a:pos x="109" y="43"/>
                  </a:cxn>
                  <a:cxn ang="0">
                    <a:pos x="116" y="46"/>
                  </a:cxn>
                  <a:cxn ang="0">
                    <a:pos x="122" y="50"/>
                  </a:cxn>
                  <a:cxn ang="0">
                    <a:pos x="130" y="54"/>
                  </a:cxn>
                  <a:cxn ang="0">
                    <a:pos x="147" y="57"/>
                  </a:cxn>
                  <a:cxn ang="0">
                    <a:pos x="163" y="55"/>
                  </a:cxn>
                  <a:cxn ang="0">
                    <a:pos x="169" y="59"/>
                  </a:cxn>
                  <a:cxn ang="0">
                    <a:pos x="180" y="82"/>
                  </a:cxn>
                  <a:cxn ang="0">
                    <a:pos x="174" y="97"/>
                  </a:cxn>
                  <a:cxn ang="0">
                    <a:pos x="174" y="114"/>
                  </a:cxn>
                  <a:cxn ang="0">
                    <a:pos x="177" y="124"/>
                  </a:cxn>
                  <a:cxn ang="0">
                    <a:pos x="153" y="127"/>
                  </a:cxn>
                  <a:cxn ang="0">
                    <a:pos x="126" y="133"/>
                  </a:cxn>
                  <a:cxn ang="0">
                    <a:pos x="78" y="134"/>
                  </a:cxn>
                  <a:cxn ang="0">
                    <a:pos x="14" y="123"/>
                  </a:cxn>
                  <a:cxn ang="0">
                    <a:pos x="0" y="118"/>
                  </a:cxn>
                </a:cxnLst>
                <a:rect l="0" t="0" r="r" b="b"/>
                <a:pathLst>
                  <a:path w="180" h="134">
                    <a:moveTo>
                      <a:pt x="0" y="118"/>
                    </a:moveTo>
                    <a:lnTo>
                      <a:pt x="2" y="114"/>
                    </a:lnTo>
                    <a:lnTo>
                      <a:pt x="12" y="107"/>
                    </a:lnTo>
                    <a:lnTo>
                      <a:pt x="14" y="102"/>
                    </a:lnTo>
                    <a:lnTo>
                      <a:pt x="19" y="87"/>
                    </a:lnTo>
                    <a:lnTo>
                      <a:pt x="21" y="76"/>
                    </a:lnTo>
                    <a:lnTo>
                      <a:pt x="25" y="70"/>
                    </a:lnTo>
                    <a:lnTo>
                      <a:pt x="46" y="69"/>
                    </a:lnTo>
                    <a:lnTo>
                      <a:pt x="55" y="63"/>
                    </a:lnTo>
                    <a:lnTo>
                      <a:pt x="67" y="48"/>
                    </a:lnTo>
                    <a:lnTo>
                      <a:pt x="77" y="32"/>
                    </a:lnTo>
                    <a:lnTo>
                      <a:pt x="82" y="15"/>
                    </a:lnTo>
                    <a:lnTo>
                      <a:pt x="83" y="0"/>
                    </a:lnTo>
                    <a:lnTo>
                      <a:pt x="79" y="27"/>
                    </a:lnTo>
                    <a:lnTo>
                      <a:pt x="71" y="46"/>
                    </a:lnTo>
                    <a:lnTo>
                      <a:pt x="65" y="55"/>
                    </a:lnTo>
                    <a:lnTo>
                      <a:pt x="57" y="64"/>
                    </a:lnTo>
                    <a:lnTo>
                      <a:pt x="61" y="71"/>
                    </a:lnTo>
                    <a:lnTo>
                      <a:pt x="67" y="70"/>
                    </a:lnTo>
                    <a:lnTo>
                      <a:pt x="76" y="75"/>
                    </a:lnTo>
                    <a:lnTo>
                      <a:pt x="87" y="75"/>
                    </a:lnTo>
                    <a:lnTo>
                      <a:pt x="89" y="66"/>
                    </a:lnTo>
                    <a:lnTo>
                      <a:pt x="89" y="49"/>
                    </a:lnTo>
                    <a:lnTo>
                      <a:pt x="93" y="44"/>
                    </a:lnTo>
                    <a:lnTo>
                      <a:pt x="93" y="41"/>
                    </a:lnTo>
                    <a:lnTo>
                      <a:pt x="103" y="38"/>
                    </a:lnTo>
                    <a:lnTo>
                      <a:pt x="109" y="43"/>
                    </a:lnTo>
                    <a:lnTo>
                      <a:pt x="116" y="46"/>
                    </a:lnTo>
                    <a:lnTo>
                      <a:pt x="122" y="50"/>
                    </a:lnTo>
                    <a:lnTo>
                      <a:pt x="130" y="54"/>
                    </a:lnTo>
                    <a:lnTo>
                      <a:pt x="147" y="57"/>
                    </a:lnTo>
                    <a:lnTo>
                      <a:pt x="163" y="55"/>
                    </a:lnTo>
                    <a:lnTo>
                      <a:pt x="169" y="59"/>
                    </a:lnTo>
                    <a:lnTo>
                      <a:pt x="180" y="82"/>
                    </a:lnTo>
                    <a:lnTo>
                      <a:pt x="174" y="97"/>
                    </a:lnTo>
                    <a:lnTo>
                      <a:pt x="174" y="114"/>
                    </a:lnTo>
                    <a:lnTo>
                      <a:pt x="177" y="124"/>
                    </a:lnTo>
                    <a:lnTo>
                      <a:pt x="153" y="127"/>
                    </a:lnTo>
                    <a:lnTo>
                      <a:pt x="126" y="133"/>
                    </a:lnTo>
                    <a:lnTo>
                      <a:pt x="78" y="134"/>
                    </a:lnTo>
                    <a:lnTo>
                      <a:pt x="14" y="123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rgbClr val="C9C7C3"/>
                  </a:solidFill>
                </a:endParaRPr>
              </a:p>
            </p:txBody>
          </p:sp>
        </p:grpSp>
        <p:sp>
          <p:nvSpPr>
            <p:cNvPr id="112" name="Freeform 134"/>
            <p:cNvSpPr>
              <a:spLocks noChangeAspect="1"/>
            </p:cNvSpPr>
            <p:nvPr/>
          </p:nvSpPr>
          <p:spPr bwMode="gray">
            <a:xfrm>
              <a:off x="3863109" y="4017700"/>
              <a:ext cx="21132" cy="27735"/>
            </a:xfrm>
            <a:custGeom>
              <a:avLst/>
              <a:gdLst/>
              <a:ahLst/>
              <a:cxnLst>
                <a:cxn ang="0">
                  <a:pos x="65" y="0"/>
                </a:cxn>
                <a:cxn ang="0">
                  <a:pos x="48" y="11"/>
                </a:cxn>
                <a:cxn ang="0">
                  <a:pos x="33" y="19"/>
                </a:cxn>
                <a:cxn ang="0">
                  <a:pos x="28" y="25"/>
                </a:cxn>
                <a:cxn ang="0">
                  <a:pos x="22" y="29"/>
                </a:cxn>
                <a:cxn ang="0">
                  <a:pos x="17" y="51"/>
                </a:cxn>
                <a:cxn ang="0">
                  <a:pos x="15" y="62"/>
                </a:cxn>
                <a:cxn ang="0">
                  <a:pos x="9" y="74"/>
                </a:cxn>
                <a:cxn ang="0">
                  <a:pos x="0" y="85"/>
                </a:cxn>
                <a:cxn ang="0">
                  <a:pos x="0" y="88"/>
                </a:cxn>
                <a:cxn ang="0">
                  <a:pos x="1" y="97"/>
                </a:cxn>
                <a:cxn ang="0">
                  <a:pos x="7" y="103"/>
                </a:cxn>
                <a:cxn ang="0">
                  <a:pos x="20" y="105"/>
                </a:cxn>
                <a:cxn ang="0">
                  <a:pos x="24" y="102"/>
                </a:cxn>
                <a:cxn ang="0">
                  <a:pos x="31" y="105"/>
                </a:cxn>
                <a:cxn ang="0">
                  <a:pos x="32" y="103"/>
                </a:cxn>
                <a:cxn ang="0">
                  <a:pos x="33" y="100"/>
                </a:cxn>
                <a:cxn ang="0">
                  <a:pos x="45" y="96"/>
                </a:cxn>
                <a:cxn ang="0">
                  <a:pos x="50" y="97"/>
                </a:cxn>
                <a:cxn ang="0">
                  <a:pos x="59" y="105"/>
                </a:cxn>
                <a:cxn ang="0">
                  <a:pos x="59" y="106"/>
                </a:cxn>
                <a:cxn ang="0">
                  <a:pos x="61" y="100"/>
                </a:cxn>
                <a:cxn ang="0">
                  <a:pos x="71" y="88"/>
                </a:cxn>
                <a:cxn ang="0">
                  <a:pos x="76" y="76"/>
                </a:cxn>
                <a:cxn ang="0">
                  <a:pos x="79" y="74"/>
                </a:cxn>
                <a:cxn ang="0">
                  <a:pos x="76" y="72"/>
                </a:cxn>
                <a:cxn ang="0">
                  <a:pos x="74" y="72"/>
                </a:cxn>
                <a:cxn ang="0">
                  <a:pos x="71" y="69"/>
                </a:cxn>
                <a:cxn ang="0">
                  <a:pos x="64" y="70"/>
                </a:cxn>
                <a:cxn ang="0">
                  <a:pos x="56" y="69"/>
                </a:cxn>
                <a:cxn ang="0">
                  <a:pos x="48" y="72"/>
                </a:cxn>
                <a:cxn ang="0">
                  <a:pos x="47" y="74"/>
                </a:cxn>
                <a:cxn ang="0">
                  <a:pos x="44" y="75"/>
                </a:cxn>
                <a:cxn ang="0">
                  <a:pos x="40" y="74"/>
                </a:cxn>
                <a:cxn ang="0">
                  <a:pos x="38" y="70"/>
                </a:cxn>
                <a:cxn ang="0">
                  <a:pos x="39" y="69"/>
                </a:cxn>
                <a:cxn ang="0">
                  <a:pos x="44" y="70"/>
                </a:cxn>
                <a:cxn ang="0">
                  <a:pos x="47" y="70"/>
                </a:cxn>
                <a:cxn ang="0">
                  <a:pos x="48" y="67"/>
                </a:cxn>
                <a:cxn ang="0">
                  <a:pos x="53" y="59"/>
                </a:cxn>
                <a:cxn ang="0">
                  <a:pos x="56" y="57"/>
                </a:cxn>
                <a:cxn ang="0">
                  <a:pos x="61" y="57"/>
                </a:cxn>
                <a:cxn ang="0">
                  <a:pos x="66" y="51"/>
                </a:cxn>
                <a:cxn ang="0">
                  <a:pos x="77" y="48"/>
                </a:cxn>
                <a:cxn ang="0">
                  <a:pos x="83" y="45"/>
                </a:cxn>
                <a:cxn ang="0">
                  <a:pos x="83" y="38"/>
                </a:cxn>
                <a:cxn ang="0">
                  <a:pos x="81" y="22"/>
                </a:cxn>
                <a:cxn ang="0">
                  <a:pos x="80" y="20"/>
                </a:cxn>
                <a:cxn ang="0">
                  <a:pos x="75" y="16"/>
                </a:cxn>
                <a:cxn ang="0">
                  <a:pos x="71" y="9"/>
                </a:cxn>
                <a:cxn ang="0">
                  <a:pos x="67" y="5"/>
                </a:cxn>
                <a:cxn ang="0">
                  <a:pos x="65" y="0"/>
                </a:cxn>
              </a:cxnLst>
              <a:rect l="0" t="0" r="r" b="b"/>
              <a:pathLst>
                <a:path w="83" h="106">
                  <a:moveTo>
                    <a:pt x="65" y="0"/>
                  </a:moveTo>
                  <a:lnTo>
                    <a:pt x="48" y="11"/>
                  </a:lnTo>
                  <a:lnTo>
                    <a:pt x="33" y="19"/>
                  </a:lnTo>
                  <a:lnTo>
                    <a:pt x="28" y="25"/>
                  </a:lnTo>
                  <a:lnTo>
                    <a:pt x="22" y="29"/>
                  </a:lnTo>
                  <a:lnTo>
                    <a:pt x="17" y="51"/>
                  </a:lnTo>
                  <a:lnTo>
                    <a:pt x="15" y="62"/>
                  </a:lnTo>
                  <a:lnTo>
                    <a:pt x="9" y="74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1" y="97"/>
                  </a:lnTo>
                  <a:lnTo>
                    <a:pt x="7" y="103"/>
                  </a:lnTo>
                  <a:lnTo>
                    <a:pt x="20" y="105"/>
                  </a:lnTo>
                  <a:lnTo>
                    <a:pt x="24" y="102"/>
                  </a:lnTo>
                  <a:lnTo>
                    <a:pt x="31" y="105"/>
                  </a:lnTo>
                  <a:lnTo>
                    <a:pt x="32" y="103"/>
                  </a:lnTo>
                  <a:lnTo>
                    <a:pt x="33" y="100"/>
                  </a:lnTo>
                  <a:lnTo>
                    <a:pt x="45" y="96"/>
                  </a:lnTo>
                  <a:lnTo>
                    <a:pt x="50" y="97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61" y="100"/>
                  </a:lnTo>
                  <a:lnTo>
                    <a:pt x="71" y="88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1" y="69"/>
                  </a:lnTo>
                  <a:lnTo>
                    <a:pt x="64" y="70"/>
                  </a:lnTo>
                  <a:lnTo>
                    <a:pt x="56" y="69"/>
                  </a:lnTo>
                  <a:lnTo>
                    <a:pt x="48" y="72"/>
                  </a:lnTo>
                  <a:lnTo>
                    <a:pt x="47" y="74"/>
                  </a:lnTo>
                  <a:lnTo>
                    <a:pt x="44" y="75"/>
                  </a:lnTo>
                  <a:lnTo>
                    <a:pt x="40" y="74"/>
                  </a:lnTo>
                  <a:lnTo>
                    <a:pt x="38" y="70"/>
                  </a:lnTo>
                  <a:lnTo>
                    <a:pt x="39" y="69"/>
                  </a:lnTo>
                  <a:lnTo>
                    <a:pt x="44" y="70"/>
                  </a:lnTo>
                  <a:lnTo>
                    <a:pt x="47" y="70"/>
                  </a:lnTo>
                  <a:lnTo>
                    <a:pt x="48" y="67"/>
                  </a:lnTo>
                  <a:lnTo>
                    <a:pt x="53" y="59"/>
                  </a:lnTo>
                  <a:lnTo>
                    <a:pt x="56" y="57"/>
                  </a:lnTo>
                  <a:lnTo>
                    <a:pt x="61" y="57"/>
                  </a:lnTo>
                  <a:lnTo>
                    <a:pt x="66" y="51"/>
                  </a:lnTo>
                  <a:lnTo>
                    <a:pt x="77" y="48"/>
                  </a:lnTo>
                  <a:lnTo>
                    <a:pt x="83" y="45"/>
                  </a:lnTo>
                  <a:lnTo>
                    <a:pt x="83" y="38"/>
                  </a:lnTo>
                  <a:lnTo>
                    <a:pt x="81" y="22"/>
                  </a:lnTo>
                  <a:lnTo>
                    <a:pt x="80" y="20"/>
                  </a:lnTo>
                  <a:lnTo>
                    <a:pt x="75" y="16"/>
                  </a:lnTo>
                  <a:lnTo>
                    <a:pt x="71" y="9"/>
                  </a:lnTo>
                  <a:lnTo>
                    <a:pt x="67" y="5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13" name="Group 135"/>
            <p:cNvGrpSpPr>
              <a:grpSpLocks noChangeAspect="1"/>
            </p:cNvGrpSpPr>
            <p:nvPr/>
          </p:nvGrpSpPr>
          <p:grpSpPr bwMode="gray">
            <a:xfrm>
              <a:off x="3634621" y="3532988"/>
              <a:ext cx="538863" cy="487354"/>
              <a:chOff x="2802" y="1979"/>
              <a:chExt cx="408" cy="369"/>
            </a:xfrm>
            <a:solidFill>
              <a:srgbClr val="DEEDBF"/>
            </a:solidFill>
          </p:grpSpPr>
          <p:sp>
            <p:nvSpPr>
              <p:cNvPr id="304" name="Freeform 136"/>
              <p:cNvSpPr>
                <a:spLocks noChangeAspect="1"/>
              </p:cNvSpPr>
              <p:nvPr/>
            </p:nvSpPr>
            <p:spPr bwMode="gray">
              <a:xfrm>
                <a:off x="2899" y="2082"/>
                <a:ext cx="19" cy="23"/>
              </a:xfrm>
              <a:custGeom>
                <a:avLst/>
                <a:gdLst/>
                <a:ahLst/>
                <a:cxnLst>
                  <a:cxn ang="0">
                    <a:pos x="39" y="96"/>
                  </a:cxn>
                  <a:cxn ang="0">
                    <a:pos x="45" y="93"/>
                  </a:cxn>
                  <a:cxn ang="0">
                    <a:pos x="55" y="83"/>
                  </a:cxn>
                  <a:cxn ang="0">
                    <a:pos x="58" y="78"/>
                  </a:cxn>
                  <a:cxn ang="0">
                    <a:pos x="53" y="75"/>
                  </a:cxn>
                  <a:cxn ang="0">
                    <a:pos x="58" y="68"/>
                  </a:cxn>
                  <a:cxn ang="0">
                    <a:pos x="72" y="62"/>
                  </a:cxn>
                  <a:cxn ang="0">
                    <a:pos x="79" y="62"/>
                  </a:cxn>
                  <a:cxn ang="0">
                    <a:pos x="77" y="59"/>
                  </a:cxn>
                  <a:cxn ang="0">
                    <a:pos x="74" y="53"/>
                  </a:cxn>
                  <a:cxn ang="0">
                    <a:pos x="77" y="48"/>
                  </a:cxn>
                  <a:cxn ang="0">
                    <a:pos x="87" y="42"/>
                  </a:cxn>
                  <a:cxn ang="0">
                    <a:pos x="91" y="38"/>
                  </a:cxn>
                  <a:cxn ang="0">
                    <a:pos x="91" y="34"/>
                  </a:cxn>
                  <a:cxn ang="0">
                    <a:pos x="88" y="25"/>
                  </a:cxn>
                  <a:cxn ang="0">
                    <a:pos x="85" y="19"/>
                  </a:cxn>
                  <a:cxn ang="0">
                    <a:pos x="77" y="15"/>
                  </a:cxn>
                  <a:cxn ang="0">
                    <a:pos x="81" y="10"/>
                  </a:cxn>
                  <a:cxn ang="0">
                    <a:pos x="85" y="9"/>
                  </a:cxn>
                  <a:cxn ang="0">
                    <a:pos x="84" y="4"/>
                  </a:cxn>
                  <a:cxn ang="0">
                    <a:pos x="77" y="0"/>
                  </a:cxn>
                  <a:cxn ang="0">
                    <a:pos x="72" y="4"/>
                  </a:cxn>
                  <a:cxn ang="0">
                    <a:pos x="58" y="14"/>
                  </a:cxn>
                  <a:cxn ang="0">
                    <a:pos x="41" y="29"/>
                  </a:cxn>
                  <a:cxn ang="0">
                    <a:pos x="27" y="54"/>
                  </a:cxn>
                  <a:cxn ang="0">
                    <a:pos x="25" y="58"/>
                  </a:cxn>
                  <a:cxn ang="0">
                    <a:pos x="17" y="73"/>
                  </a:cxn>
                  <a:cxn ang="0">
                    <a:pos x="11" y="85"/>
                  </a:cxn>
                  <a:cxn ang="0">
                    <a:pos x="1" y="106"/>
                  </a:cxn>
                  <a:cxn ang="0">
                    <a:pos x="2" y="113"/>
                  </a:cxn>
                  <a:cxn ang="0">
                    <a:pos x="16" y="116"/>
                  </a:cxn>
                  <a:cxn ang="0">
                    <a:pos x="21" y="113"/>
                  </a:cxn>
                  <a:cxn ang="0">
                    <a:pos x="27" y="101"/>
                  </a:cxn>
                  <a:cxn ang="0">
                    <a:pos x="31" y="100"/>
                  </a:cxn>
                </a:cxnLst>
                <a:rect l="0" t="0" r="r" b="b"/>
                <a:pathLst>
                  <a:path w="95" h="116">
                    <a:moveTo>
                      <a:pt x="32" y="102"/>
                    </a:moveTo>
                    <a:lnTo>
                      <a:pt x="39" y="96"/>
                    </a:lnTo>
                    <a:lnTo>
                      <a:pt x="44" y="95"/>
                    </a:lnTo>
                    <a:lnTo>
                      <a:pt x="45" y="93"/>
                    </a:lnTo>
                    <a:lnTo>
                      <a:pt x="52" y="88"/>
                    </a:lnTo>
                    <a:lnTo>
                      <a:pt x="55" y="83"/>
                    </a:lnTo>
                    <a:lnTo>
                      <a:pt x="58" y="83"/>
                    </a:lnTo>
                    <a:lnTo>
                      <a:pt x="58" y="78"/>
                    </a:lnTo>
                    <a:lnTo>
                      <a:pt x="53" y="75"/>
                    </a:lnTo>
                    <a:lnTo>
                      <a:pt x="53" y="75"/>
                    </a:lnTo>
                    <a:lnTo>
                      <a:pt x="55" y="69"/>
                    </a:lnTo>
                    <a:lnTo>
                      <a:pt x="58" y="68"/>
                    </a:lnTo>
                    <a:lnTo>
                      <a:pt x="59" y="63"/>
                    </a:lnTo>
                    <a:lnTo>
                      <a:pt x="72" y="62"/>
                    </a:lnTo>
                    <a:lnTo>
                      <a:pt x="77" y="63"/>
                    </a:lnTo>
                    <a:lnTo>
                      <a:pt x="79" y="62"/>
                    </a:lnTo>
                    <a:lnTo>
                      <a:pt x="80" y="62"/>
                    </a:lnTo>
                    <a:lnTo>
                      <a:pt x="77" y="59"/>
                    </a:lnTo>
                    <a:lnTo>
                      <a:pt x="72" y="56"/>
                    </a:lnTo>
                    <a:lnTo>
                      <a:pt x="74" y="53"/>
                    </a:lnTo>
                    <a:lnTo>
                      <a:pt x="77" y="52"/>
                    </a:lnTo>
                    <a:lnTo>
                      <a:pt x="77" y="48"/>
                    </a:lnTo>
                    <a:lnTo>
                      <a:pt x="82" y="47"/>
                    </a:lnTo>
                    <a:lnTo>
                      <a:pt x="87" y="42"/>
                    </a:lnTo>
                    <a:lnTo>
                      <a:pt x="90" y="42"/>
                    </a:lnTo>
                    <a:lnTo>
                      <a:pt x="91" y="38"/>
                    </a:lnTo>
                    <a:lnTo>
                      <a:pt x="95" y="36"/>
                    </a:lnTo>
                    <a:lnTo>
                      <a:pt x="91" y="34"/>
                    </a:lnTo>
                    <a:lnTo>
                      <a:pt x="92" y="30"/>
                    </a:lnTo>
                    <a:lnTo>
                      <a:pt x="88" y="25"/>
                    </a:lnTo>
                    <a:lnTo>
                      <a:pt x="90" y="21"/>
                    </a:lnTo>
                    <a:lnTo>
                      <a:pt x="85" y="19"/>
                    </a:lnTo>
                    <a:lnTo>
                      <a:pt x="84" y="15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4" y="4"/>
                    </a:lnTo>
                    <a:lnTo>
                      <a:pt x="79" y="4"/>
                    </a:lnTo>
                    <a:lnTo>
                      <a:pt x="77" y="0"/>
                    </a:lnTo>
                    <a:lnTo>
                      <a:pt x="75" y="0"/>
                    </a:lnTo>
                    <a:lnTo>
                      <a:pt x="72" y="4"/>
                    </a:lnTo>
                    <a:lnTo>
                      <a:pt x="55" y="4"/>
                    </a:lnTo>
                    <a:lnTo>
                      <a:pt x="58" y="14"/>
                    </a:lnTo>
                    <a:lnTo>
                      <a:pt x="48" y="21"/>
                    </a:lnTo>
                    <a:lnTo>
                      <a:pt x="41" y="29"/>
                    </a:lnTo>
                    <a:lnTo>
                      <a:pt x="33" y="53"/>
                    </a:lnTo>
                    <a:lnTo>
                      <a:pt x="27" y="54"/>
                    </a:lnTo>
                    <a:lnTo>
                      <a:pt x="27" y="58"/>
                    </a:lnTo>
                    <a:lnTo>
                      <a:pt x="25" y="58"/>
                    </a:lnTo>
                    <a:lnTo>
                      <a:pt x="22" y="63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1" y="85"/>
                    </a:lnTo>
                    <a:lnTo>
                      <a:pt x="6" y="99"/>
                    </a:lnTo>
                    <a:lnTo>
                      <a:pt x="1" y="106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14" y="112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21" y="113"/>
                    </a:lnTo>
                    <a:lnTo>
                      <a:pt x="26" y="115"/>
                    </a:lnTo>
                    <a:lnTo>
                      <a:pt x="27" y="101"/>
                    </a:lnTo>
                    <a:lnTo>
                      <a:pt x="29" y="99"/>
                    </a:lnTo>
                    <a:lnTo>
                      <a:pt x="31" y="100"/>
                    </a:lnTo>
                    <a:lnTo>
                      <a:pt x="32" y="10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305" name="Group 137"/>
              <p:cNvGrpSpPr>
                <a:grpSpLocks noChangeAspect="1"/>
              </p:cNvGrpSpPr>
              <p:nvPr/>
            </p:nvGrpSpPr>
            <p:grpSpPr bwMode="gray">
              <a:xfrm>
                <a:off x="2889" y="2101"/>
                <a:ext cx="17" cy="51"/>
                <a:chOff x="2889" y="2101"/>
                <a:chExt cx="17" cy="51"/>
              </a:xfrm>
              <a:grpFill/>
            </p:grpSpPr>
            <p:sp>
              <p:nvSpPr>
                <p:cNvPr id="330" name="Freeform 138"/>
                <p:cNvSpPr>
                  <a:spLocks noChangeAspect="1"/>
                </p:cNvSpPr>
                <p:nvPr/>
              </p:nvSpPr>
              <p:spPr bwMode="gray">
                <a:xfrm>
                  <a:off x="2897" y="2111"/>
                  <a:ext cx="8" cy="16"/>
                </a:xfrm>
                <a:custGeom>
                  <a:avLst/>
                  <a:gdLst/>
                  <a:ahLst/>
                  <a:cxnLst>
                    <a:cxn ang="0">
                      <a:pos x="30" y="66"/>
                    </a:cxn>
                    <a:cxn ang="0">
                      <a:pos x="32" y="64"/>
                    </a:cxn>
                    <a:cxn ang="0">
                      <a:pos x="33" y="55"/>
                    </a:cxn>
                    <a:cxn ang="0">
                      <a:pos x="36" y="49"/>
                    </a:cxn>
                    <a:cxn ang="0">
                      <a:pos x="33" y="40"/>
                    </a:cxn>
                    <a:cxn ang="0">
                      <a:pos x="35" y="29"/>
                    </a:cxn>
                    <a:cxn ang="0">
                      <a:pos x="36" y="21"/>
                    </a:cxn>
                    <a:cxn ang="0">
                      <a:pos x="37" y="12"/>
                    </a:cxn>
                    <a:cxn ang="0">
                      <a:pos x="37" y="10"/>
                    </a:cxn>
                    <a:cxn ang="0">
                      <a:pos x="37" y="10"/>
                    </a:cxn>
                    <a:cxn ang="0">
                      <a:pos x="33" y="10"/>
                    </a:cxn>
                    <a:cxn ang="0">
                      <a:pos x="30" y="7"/>
                    </a:cxn>
                    <a:cxn ang="0">
                      <a:pos x="28" y="0"/>
                    </a:cxn>
                    <a:cxn ang="0">
                      <a:pos x="24" y="1"/>
                    </a:cxn>
                    <a:cxn ang="0">
                      <a:pos x="16" y="0"/>
                    </a:cxn>
                    <a:cxn ang="0">
                      <a:pos x="12" y="1"/>
                    </a:cxn>
                    <a:cxn ang="0">
                      <a:pos x="10" y="3"/>
                    </a:cxn>
                    <a:cxn ang="0">
                      <a:pos x="10" y="13"/>
                    </a:cxn>
                    <a:cxn ang="0">
                      <a:pos x="4" y="19"/>
                    </a:cxn>
                    <a:cxn ang="0">
                      <a:pos x="4" y="34"/>
                    </a:cxn>
                    <a:cxn ang="0">
                      <a:pos x="6" y="39"/>
                    </a:cxn>
                    <a:cxn ang="0">
                      <a:pos x="5" y="45"/>
                    </a:cxn>
                    <a:cxn ang="0">
                      <a:pos x="15" y="44"/>
                    </a:cxn>
                    <a:cxn ang="0">
                      <a:pos x="19" y="45"/>
                    </a:cxn>
                    <a:cxn ang="0">
                      <a:pos x="19" y="48"/>
                    </a:cxn>
                    <a:cxn ang="0">
                      <a:pos x="17" y="49"/>
                    </a:cxn>
                    <a:cxn ang="0">
                      <a:pos x="11" y="50"/>
                    </a:cxn>
                    <a:cxn ang="0">
                      <a:pos x="8" y="53"/>
                    </a:cxn>
                    <a:cxn ang="0">
                      <a:pos x="6" y="56"/>
                    </a:cxn>
                    <a:cxn ang="0">
                      <a:pos x="4" y="65"/>
                    </a:cxn>
                    <a:cxn ang="0">
                      <a:pos x="0" y="69"/>
                    </a:cxn>
                    <a:cxn ang="0">
                      <a:pos x="0" y="75"/>
                    </a:cxn>
                    <a:cxn ang="0">
                      <a:pos x="4" y="80"/>
                    </a:cxn>
                    <a:cxn ang="0">
                      <a:pos x="4" y="76"/>
                    </a:cxn>
                    <a:cxn ang="0">
                      <a:pos x="16" y="75"/>
                    </a:cxn>
                    <a:cxn ang="0">
                      <a:pos x="26" y="66"/>
                    </a:cxn>
                    <a:cxn ang="0">
                      <a:pos x="30" y="66"/>
                    </a:cxn>
                  </a:cxnLst>
                  <a:rect l="0" t="0" r="r" b="b"/>
                  <a:pathLst>
                    <a:path w="37" h="80">
                      <a:moveTo>
                        <a:pt x="30" y="66"/>
                      </a:moveTo>
                      <a:lnTo>
                        <a:pt x="32" y="64"/>
                      </a:lnTo>
                      <a:lnTo>
                        <a:pt x="33" y="55"/>
                      </a:lnTo>
                      <a:lnTo>
                        <a:pt x="36" y="49"/>
                      </a:lnTo>
                      <a:lnTo>
                        <a:pt x="33" y="40"/>
                      </a:lnTo>
                      <a:lnTo>
                        <a:pt x="35" y="29"/>
                      </a:lnTo>
                      <a:lnTo>
                        <a:pt x="36" y="21"/>
                      </a:lnTo>
                      <a:lnTo>
                        <a:pt x="37" y="12"/>
                      </a:lnTo>
                      <a:lnTo>
                        <a:pt x="37" y="10"/>
                      </a:lnTo>
                      <a:lnTo>
                        <a:pt x="37" y="10"/>
                      </a:lnTo>
                      <a:lnTo>
                        <a:pt x="33" y="10"/>
                      </a:lnTo>
                      <a:lnTo>
                        <a:pt x="30" y="7"/>
                      </a:lnTo>
                      <a:lnTo>
                        <a:pt x="28" y="0"/>
                      </a:lnTo>
                      <a:lnTo>
                        <a:pt x="24" y="1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0" y="3"/>
                      </a:lnTo>
                      <a:lnTo>
                        <a:pt x="10" y="13"/>
                      </a:lnTo>
                      <a:lnTo>
                        <a:pt x="4" y="19"/>
                      </a:lnTo>
                      <a:lnTo>
                        <a:pt x="4" y="34"/>
                      </a:lnTo>
                      <a:lnTo>
                        <a:pt x="6" y="39"/>
                      </a:lnTo>
                      <a:lnTo>
                        <a:pt x="5" y="45"/>
                      </a:lnTo>
                      <a:lnTo>
                        <a:pt x="15" y="44"/>
                      </a:lnTo>
                      <a:lnTo>
                        <a:pt x="19" y="45"/>
                      </a:lnTo>
                      <a:lnTo>
                        <a:pt x="19" y="48"/>
                      </a:lnTo>
                      <a:lnTo>
                        <a:pt x="17" y="49"/>
                      </a:lnTo>
                      <a:lnTo>
                        <a:pt x="11" y="50"/>
                      </a:lnTo>
                      <a:lnTo>
                        <a:pt x="8" y="53"/>
                      </a:lnTo>
                      <a:lnTo>
                        <a:pt x="6" y="56"/>
                      </a:lnTo>
                      <a:lnTo>
                        <a:pt x="4" y="65"/>
                      </a:lnTo>
                      <a:lnTo>
                        <a:pt x="0" y="69"/>
                      </a:lnTo>
                      <a:lnTo>
                        <a:pt x="0" y="75"/>
                      </a:lnTo>
                      <a:lnTo>
                        <a:pt x="4" y="80"/>
                      </a:lnTo>
                      <a:lnTo>
                        <a:pt x="4" y="76"/>
                      </a:lnTo>
                      <a:lnTo>
                        <a:pt x="16" y="75"/>
                      </a:lnTo>
                      <a:lnTo>
                        <a:pt x="26" y="66"/>
                      </a:lnTo>
                      <a:lnTo>
                        <a:pt x="30" y="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31" name="Freeform 139"/>
                <p:cNvSpPr>
                  <a:spLocks noChangeAspect="1"/>
                </p:cNvSpPr>
                <p:nvPr/>
              </p:nvSpPr>
              <p:spPr bwMode="gray">
                <a:xfrm>
                  <a:off x="2889" y="2124"/>
                  <a:ext cx="4" cy="5"/>
                </a:xfrm>
                <a:custGeom>
                  <a:avLst/>
                  <a:gdLst/>
                  <a:ahLst/>
                  <a:cxnLst>
                    <a:cxn ang="0">
                      <a:pos x="1" y="24"/>
                    </a:cxn>
                    <a:cxn ang="0">
                      <a:pos x="8" y="21"/>
                    </a:cxn>
                    <a:cxn ang="0">
                      <a:pos x="7" y="16"/>
                    </a:cxn>
                    <a:cxn ang="0">
                      <a:pos x="18" y="5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1" y="24"/>
                    </a:cxn>
                  </a:cxnLst>
                  <a:rect l="0" t="0" r="r" b="b"/>
                  <a:pathLst>
                    <a:path w="18" h="24">
                      <a:moveTo>
                        <a:pt x="1" y="24"/>
                      </a:moveTo>
                      <a:lnTo>
                        <a:pt x="8" y="21"/>
                      </a:lnTo>
                      <a:lnTo>
                        <a:pt x="7" y="16"/>
                      </a:lnTo>
                      <a:lnTo>
                        <a:pt x="18" y="5"/>
                      </a:lnTo>
                      <a:lnTo>
                        <a:pt x="14" y="0"/>
                      </a:lnTo>
                      <a:lnTo>
                        <a:pt x="0" y="14"/>
                      </a:lnTo>
                      <a:lnTo>
                        <a:pt x="1" y="2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32" name="Freeform 140"/>
                <p:cNvSpPr>
                  <a:spLocks noChangeAspect="1"/>
                </p:cNvSpPr>
                <p:nvPr/>
              </p:nvSpPr>
              <p:spPr bwMode="gray">
                <a:xfrm>
                  <a:off x="2890" y="2101"/>
                  <a:ext cx="16" cy="51"/>
                </a:xfrm>
                <a:custGeom>
                  <a:avLst/>
                  <a:gdLst/>
                  <a:ahLst/>
                  <a:cxnLst>
                    <a:cxn ang="0">
                      <a:pos x="45" y="242"/>
                    </a:cxn>
                    <a:cxn ang="0">
                      <a:pos x="55" y="178"/>
                    </a:cxn>
                    <a:cxn ang="0">
                      <a:pos x="70" y="140"/>
                    </a:cxn>
                    <a:cxn ang="0">
                      <a:pos x="71" y="119"/>
                    </a:cxn>
                    <a:cxn ang="0">
                      <a:pos x="65" y="115"/>
                    </a:cxn>
                    <a:cxn ang="0">
                      <a:pos x="43" y="125"/>
                    </a:cxn>
                    <a:cxn ang="0">
                      <a:pos x="39" y="124"/>
                    </a:cxn>
                    <a:cxn ang="0">
                      <a:pos x="43" y="114"/>
                    </a:cxn>
                    <a:cxn ang="0">
                      <a:pos x="47" y="102"/>
                    </a:cxn>
                    <a:cxn ang="0">
                      <a:pos x="56" y="98"/>
                    </a:cxn>
                    <a:cxn ang="0">
                      <a:pos x="58" y="94"/>
                    </a:cxn>
                    <a:cxn ang="0">
                      <a:pos x="44" y="94"/>
                    </a:cxn>
                    <a:cxn ang="0">
                      <a:pos x="43" y="83"/>
                    </a:cxn>
                    <a:cxn ang="0">
                      <a:pos x="49" y="62"/>
                    </a:cxn>
                    <a:cxn ang="0">
                      <a:pos x="51" y="50"/>
                    </a:cxn>
                    <a:cxn ang="0">
                      <a:pos x="63" y="50"/>
                    </a:cxn>
                    <a:cxn ang="0">
                      <a:pos x="69" y="56"/>
                    </a:cxn>
                    <a:cxn ang="0">
                      <a:pos x="76" y="59"/>
                    </a:cxn>
                    <a:cxn ang="0">
                      <a:pos x="81" y="33"/>
                    </a:cxn>
                    <a:cxn ang="0">
                      <a:pos x="80" y="22"/>
                    </a:cxn>
                    <a:cxn ang="0">
                      <a:pos x="81" y="13"/>
                    </a:cxn>
                    <a:cxn ang="0">
                      <a:pos x="80" y="1"/>
                    </a:cxn>
                    <a:cxn ang="0">
                      <a:pos x="76" y="2"/>
                    </a:cxn>
                    <a:cxn ang="0">
                      <a:pos x="70" y="14"/>
                    </a:cxn>
                    <a:cxn ang="0">
                      <a:pos x="65" y="17"/>
                    </a:cxn>
                    <a:cxn ang="0">
                      <a:pos x="51" y="14"/>
                    </a:cxn>
                    <a:cxn ang="0">
                      <a:pos x="47" y="17"/>
                    </a:cxn>
                    <a:cxn ang="0">
                      <a:pos x="39" y="41"/>
                    </a:cxn>
                    <a:cxn ang="0">
                      <a:pos x="29" y="80"/>
                    </a:cxn>
                    <a:cxn ang="0">
                      <a:pos x="13" y="113"/>
                    </a:cxn>
                    <a:cxn ang="0">
                      <a:pos x="6" y="129"/>
                    </a:cxn>
                    <a:cxn ang="0">
                      <a:pos x="0" y="137"/>
                    </a:cxn>
                    <a:cxn ang="0">
                      <a:pos x="4" y="148"/>
                    </a:cxn>
                    <a:cxn ang="0">
                      <a:pos x="39" y="251"/>
                    </a:cxn>
                  </a:cxnLst>
                  <a:rect l="0" t="0" r="r" b="b"/>
                  <a:pathLst>
                    <a:path w="81" h="251">
                      <a:moveTo>
                        <a:pt x="44" y="248"/>
                      </a:moveTo>
                      <a:lnTo>
                        <a:pt x="45" y="242"/>
                      </a:lnTo>
                      <a:lnTo>
                        <a:pt x="49" y="232"/>
                      </a:lnTo>
                      <a:lnTo>
                        <a:pt x="55" y="178"/>
                      </a:lnTo>
                      <a:lnTo>
                        <a:pt x="61" y="158"/>
                      </a:lnTo>
                      <a:lnTo>
                        <a:pt x="70" y="140"/>
                      </a:lnTo>
                      <a:lnTo>
                        <a:pt x="67" y="132"/>
                      </a:lnTo>
                      <a:lnTo>
                        <a:pt x="71" y="119"/>
                      </a:lnTo>
                      <a:lnTo>
                        <a:pt x="69" y="115"/>
                      </a:lnTo>
                      <a:lnTo>
                        <a:pt x="65" y="115"/>
                      </a:lnTo>
                      <a:lnTo>
                        <a:pt x="55" y="124"/>
                      </a:lnTo>
                      <a:lnTo>
                        <a:pt x="43" y="125"/>
                      </a:lnTo>
                      <a:lnTo>
                        <a:pt x="43" y="129"/>
                      </a:lnTo>
                      <a:lnTo>
                        <a:pt x="39" y="124"/>
                      </a:lnTo>
                      <a:lnTo>
                        <a:pt x="39" y="118"/>
                      </a:lnTo>
                      <a:lnTo>
                        <a:pt x="43" y="114"/>
                      </a:lnTo>
                      <a:lnTo>
                        <a:pt x="45" y="105"/>
                      </a:lnTo>
                      <a:lnTo>
                        <a:pt x="47" y="102"/>
                      </a:lnTo>
                      <a:lnTo>
                        <a:pt x="50" y="99"/>
                      </a:lnTo>
                      <a:lnTo>
                        <a:pt x="56" y="98"/>
                      </a:lnTo>
                      <a:lnTo>
                        <a:pt x="58" y="97"/>
                      </a:lnTo>
                      <a:lnTo>
                        <a:pt x="58" y="94"/>
                      </a:lnTo>
                      <a:lnTo>
                        <a:pt x="54" y="93"/>
                      </a:lnTo>
                      <a:lnTo>
                        <a:pt x="44" y="94"/>
                      </a:lnTo>
                      <a:lnTo>
                        <a:pt x="45" y="88"/>
                      </a:lnTo>
                      <a:lnTo>
                        <a:pt x="43" y="83"/>
                      </a:lnTo>
                      <a:lnTo>
                        <a:pt x="43" y="68"/>
                      </a:lnTo>
                      <a:lnTo>
                        <a:pt x="49" y="62"/>
                      </a:lnTo>
                      <a:lnTo>
                        <a:pt x="49" y="52"/>
                      </a:lnTo>
                      <a:lnTo>
                        <a:pt x="51" y="50"/>
                      </a:lnTo>
                      <a:lnTo>
                        <a:pt x="55" y="49"/>
                      </a:lnTo>
                      <a:lnTo>
                        <a:pt x="63" y="50"/>
                      </a:lnTo>
                      <a:lnTo>
                        <a:pt x="67" y="49"/>
                      </a:lnTo>
                      <a:lnTo>
                        <a:pt x="69" y="56"/>
                      </a:lnTo>
                      <a:lnTo>
                        <a:pt x="72" y="59"/>
                      </a:lnTo>
                      <a:lnTo>
                        <a:pt x="76" y="59"/>
                      </a:lnTo>
                      <a:lnTo>
                        <a:pt x="76" y="39"/>
                      </a:lnTo>
                      <a:lnTo>
                        <a:pt x="81" y="33"/>
                      </a:lnTo>
                      <a:lnTo>
                        <a:pt x="78" y="27"/>
                      </a:lnTo>
                      <a:lnTo>
                        <a:pt x="80" y="22"/>
                      </a:lnTo>
                      <a:lnTo>
                        <a:pt x="78" y="17"/>
                      </a:lnTo>
                      <a:lnTo>
                        <a:pt x="81" y="13"/>
                      </a:lnTo>
                      <a:lnTo>
                        <a:pt x="81" y="3"/>
                      </a:lnTo>
                      <a:lnTo>
                        <a:pt x="80" y="1"/>
                      </a:lnTo>
                      <a:lnTo>
                        <a:pt x="78" y="0"/>
                      </a:lnTo>
                      <a:lnTo>
                        <a:pt x="76" y="2"/>
                      </a:lnTo>
                      <a:lnTo>
                        <a:pt x="75" y="16"/>
                      </a:lnTo>
                      <a:lnTo>
                        <a:pt x="70" y="14"/>
                      </a:lnTo>
                      <a:lnTo>
                        <a:pt x="67" y="17"/>
                      </a:lnTo>
                      <a:lnTo>
                        <a:pt x="65" y="17"/>
                      </a:lnTo>
                      <a:lnTo>
                        <a:pt x="63" y="13"/>
                      </a:lnTo>
                      <a:lnTo>
                        <a:pt x="51" y="14"/>
                      </a:lnTo>
                      <a:lnTo>
                        <a:pt x="49" y="12"/>
                      </a:lnTo>
                      <a:lnTo>
                        <a:pt x="47" y="17"/>
                      </a:lnTo>
                      <a:lnTo>
                        <a:pt x="47" y="27"/>
                      </a:lnTo>
                      <a:lnTo>
                        <a:pt x="39" y="41"/>
                      </a:lnTo>
                      <a:lnTo>
                        <a:pt x="38" y="49"/>
                      </a:lnTo>
                      <a:lnTo>
                        <a:pt x="29" y="80"/>
                      </a:lnTo>
                      <a:lnTo>
                        <a:pt x="22" y="104"/>
                      </a:lnTo>
                      <a:lnTo>
                        <a:pt x="13" y="113"/>
                      </a:lnTo>
                      <a:lnTo>
                        <a:pt x="17" y="118"/>
                      </a:lnTo>
                      <a:lnTo>
                        <a:pt x="6" y="129"/>
                      </a:lnTo>
                      <a:lnTo>
                        <a:pt x="7" y="134"/>
                      </a:lnTo>
                      <a:lnTo>
                        <a:pt x="0" y="137"/>
                      </a:lnTo>
                      <a:lnTo>
                        <a:pt x="1" y="142"/>
                      </a:lnTo>
                      <a:lnTo>
                        <a:pt x="4" y="148"/>
                      </a:lnTo>
                      <a:lnTo>
                        <a:pt x="23" y="206"/>
                      </a:lnTo>
                      <a:lnTo>
                        <a:pt x="39" y="251"/>
                      </a:lnTo>
                      <a:lnTo>
                        <a:pt x="44" y="248"/>
                      </a:lnTo>
                      <a:close/>
                    </a:path>
                  </a:pathLst>
                </a:custGeom>
                <a:solidFill>
                  <a:srgbClr val="15A1D0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306" name="Freeform 141"/>
              <p:cNvSpPr>
                <a:spLocks noChangeAspect="1"/>
              </p:cNvSpPr>
              <p:nvPr/>
            </p:nvSpPr>
            <p:spPr bwMode="gray">
              <a:xfrm>
                <a:off x="3027" y="2143"/>
                <a:ext cx="19" cy="19"/>
              </a:xfrm>
              <a:custGeom>
                <a:avLst/>
                <a:gdLst/>
                <a:ahLst/>
                <a:cxnLst>
                  <a:cxn ang="0">
                    <a:pos x="96" y="95"/>
                  </a:cxn>
                  <a:cxn ang="0">
                    <a:pos x="94" y="84"/>
                  </a:cxn>
                  <a:cxn ang="0">
                    <a:pos x="90" y="81"/>
                  </a:cxn>
                  <a:cxn ang="0">
                    <a:pos x="86" y="73"/>
                  </a:cxn>
                  <a:cxn ang="0">
                    <a:pos x="81" y="52"/>
                  </a:cxn>
                  <a:cxn ang="0">
                    <a:pos x="73" y="48"/>
                  </a:cxn>
                  <a:cxn ang="0">
                    <a:pos x="62" y="47"/>
                  </a:cxn>
                  <a:cxn ang="0">
                    <a:pos x="64" y="42"/>
                  </a:cxn>
                  <a:cxn ang="0">
                    <a:pos x="67" y="39"/>
                  </a:cxn>
                  <a:cxn ang="0">
                    <a:pos x="73" y="36"/>
                  </a:cxn>
                  <a:cxn ang="0">
                    <a:pos x="85" y="33"/>
                  </a:cxn>
                  <a:cxn ang="0">
                    <a:pos x="92" y="26"/>
                  </a:cxn>
                  <a:cxn ang="0">
                    <a:pos x="92" y="22"/>
                  </a:cxn>
                  <a:cxn ang="0">
                    <a:pos x="90" y="18"/>
                  </a:cxn>
                  <a:cxn ang="0">
                    <a:pos x="79" y="11"/>
                  </a:cxn>
                  <a:cxn ang="0">
                    <a:pos x="78" y="6"/>
                  </a:cxn>
                  <a:cxn ang="0">
                    <a:pos x="79" y="5"/>
                  </a:cxn>
                  <a:cxn ang="0">
                    <a:pos x="67" y="1"/>
                  </a:cxn>
                  <a:cxn ang="0">
                    <a:pos x="53" y="0"/>
                  </a:cxn>
                  <a:cxn ang="0">
                    <a:pos x="38" y="6"/>
                  </a:cxn>
                  <a:cxn ang="0">
                    <a:pos x="26" y="23"/>
                  </a:cxn>
                  <a:cxn ang="0">
                    <a:pos x="16" y="43"/>
                  </a:cxn>
                  <a:cxn ang="0">
                    <a:pos x="0" y="59"/>
                  </a:cxn>
                  <a:cxn ang="0">
                    <a:pos x="4" y="61"/>
                  </a:cxn>
                  <a:cxn ang="0">
                    <a:pos x="26" y="65"/>
                  </a:cxn>
                  <a:cxn ang="0">
                    <a:pos x="46" y="73"/>
                  </a:cxn>
                  <a:cxn ang="0">
                    <a:pos x="53" y="80"/>
                  </a:cxn>
                  <a:cxn ang="0">
                    <a:pos x="63" y="95"/>
                  </a:cxn>
                  <a:cxn ang="0">
                    <a:pos x="96" y="95"/>
                  </a:cxn>
                </a:cxnLst>
                <a:rect l="0" t="0" r="r" b="b"/>
                <a:pathLst>
                  <a:path w="96" h="95">
                    <a:moveTo>
                      <a:pt x="96" y="95"/>
                    </a:moveTo>
                    <a:lnTo>
                      <a:pt x="94" y="84"/>
                    </a:lnTo>
                    <a:lnTo>
                      <a:pt x="90" y="81"/>
                    </a:lnTo>
                    <a:lnTo>
                      <a:pt x="86" y="73"/>
                    </a:lnTo>
                    <a:lnTo>
                      <a:pt x="81" y="52"/>
                    </a:lnTo>
                    <a:lnTo>
                      <a:pt x="73" y="48"/>
                    </a:lnTo>
                    <a:lnTo>
                      <a:pt x="62" y="47"/>
                    </a:lnTo>
                    <a:lnTo>
                      <a:pt x="64" y="42"/>
                    </a:lnTo>
                    <a:lnTo>
                      <a:pt x="67" y="39"/>
                    </a:lnTo>
                    <a:lnTo>
                      <a:pt x="73" y="36"/>
                    </a:lnTo>
                    <a:lnTo>
                      <a:pt x="85" y="33"/>
                    </a:lnTo>
                    <a:lnTo>
                      <a:pt x="92" y="26"/>
                    </a:lnTo>
                    <a:lnTo>
                      <a:pt x="92" y="22"/>
                    </a:lnTo>
                    <a:lnTo>
                      <a:pt x="90" y="18"/>
                    </a:lnTo>
                    <a:lnTo>
                      <a:pt x="79" y="11"/>
                    </a:lnTo>
                    <a:lnTo>
                      <a:pt x="78" y="6"/>
                    </a:lnTo>
                    <a:lnTo>
                      <a:pt x="79" y="5"/>
                    </a:lnTo>
                    <a:lnTo>
                      <a:pt x="67" y="1"/>
                    </a:lnTo>
                    <a:lnTo>
                      <a:pt x="53" y="0"/>
                    </a:lnTo>
                    <a:lnTo>
                      <a:pt x="38" y="6"/>
                    </a:lnTo>
                    <a:lnTo>
                      <a:pt x="26" y="23"/>
                    </a:lnTo>
                    <a:lnTo>
                      <a:pt x="16" y="43"/>
                    </a:lnTo>
                    <a:lnTo>
                      <a:pt x="0" y="59"/>
                    </a:lnTo>
                    <a:lnTo>
                      <a:pt x="4" y="61"/>
                    </a:lnTo>
                    <a:lnTo>
                      <a:pt x="26" y="65"/>
                    </a:lnTo>
                    <a:lnTo>
                      <a:pt x="46" y="73"/>
                    </a:lnTo>
                    <a:lnTo>
                      <a:pt x="53" y="80"/>
                    </a:lnTo>
                    <a:lnTo>
                      <a:pt x="63" y="95"/>
                    </a:lnTo>
                    <a:lnTo>
                      <a:pt x="96" y="9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307" name="Group 142"/>
              <p:cNvGrpSpPr>
                <a:grpSpLocks noChangeAspect="1"/>
              </p:cNvGrpSpPr>
              <p:nvPr/>
            </p:nvGrpSpPr>
            <p:grpSpPr bwMode="gray">
              <a:xfrm>
                <a:off x="2896" y="2116"/>
                <a:ext cx="231" cy="189"/>
                <a:chOff x="2896" y="2116"/>
                <a:chExt cx="231" cy="189"/>
              </a:xfrm>
              <a:grpFill/>
            </p:grpSpPr>
            <p:sp>
              <p:nvSpPr>
                <p:cNvPr id="328" name="Freeform 143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29" name="Freeform 144"/>
                <p:cNvSpPr>
                  <a:spLocks noChangeAspect="1"/>
                </p:cNvSpPr>
                <p:nvPr/>
              </p:nvSpPr>
              <p:spPr bwMode="gray">
                <a:xfrm>
                  <a:off x="2896" y="2116"/>
                  <a:ext cx="231" cy="189"/>
                </a:xfrm>
                <a:custGeom>
                  <a:avLst/>
                  <a:gdLst/>
                  <a:ahLst/>
                  <a:cxnLst>
                    <a:cxn ang="0">
                      <a:pos x="9706" y="2910"/>
                    </a:cxn>
                    <a:cxn ang="0">
                      <a:pos x="10455" y="3296"/>
                    </a:cxn>
                    <a:cxn ang="0">
                      <a:pos x="10697" y="3824"/>
                    </a:cxn>
                    <a:cxn ang="0">
                      <a:pos x="11100" y="4189"/>
                    </a:cxn>
                    <a:cxn ang="0">
                      <a:pos x="11258" y="4460"/>
                    </a:cxn>
                    <a:cxn ang="0">
                      <a:pos x="11663" y="4798"/>
                    </a:cxn>
                    <a:cxn ang="0">
                      <a:pos x="11788" y="5234"/>
                    </a:cxn>
                    <a:cxn ang="0">
                      <a:pos x="11824" y="5695"/>
                    </a:cxn>
                    <a:cxn ang="0">
                      <a:pos x="12147" y="6336"/>
                    </a:cxn>
                    <a:cxn ang="0">
                      <a:pos x="12348" y="6619"/>
                    </a:cxn>
                    <a:cxn ang="0">
                      <a:pos x="13158" y="7915"/>
                    </a:cxn>
                    <a:cxn ang="0">
                      <a:pos x="15424" y="10363"/>
                    </a:cxn>
                    <a:cxn ang="0">
                      <a:pos x="10244" y="11935"/>
                    </a:cxn>
                    <a:cxn ang="0">
                      <a:pos x="9104" y="12745"/>
                    </a:cxn>
                    <a:cxn ang="0">
                      <a:pos x="7168" y="12457"/>
                    </a:cxn>
                    <a:cxn ang="0">
                      <a:pos x="6570" y="12466"/>
                    </a:cxn>
                    <a:cxn ang="0">
                      <a:pos x="6524" y="12554"/>
                    </a:cxn>
                    <a:cxn ang="0">
                      <a:pos x="6474" y="12661"/>
                    </a:cxn>
                    <a:cxn ang="0">
                      <a:pos x="6461" y="12671"/>
                    </a:cxn>
                    <a:cxn ang="0">
                      <a:pos x="6442" y="12664"/>
                    </a:cxn>
                    <a:cxn ang="0">
                      <a:pos x="6434" y="12672"/>
                    </a:cxn>
                    <a:cxn ang="0">
                      <a:pos x="6449" y="12718"/>
                    </a:cxn>
                    <a:cxn ang="0">
                      <a:pos x="6493" y="12822"/>
                    </a:cxn>
                    <a:cxn ang="0">
                      <a:pos x="6493" y="12849"/>
                    </a:cxn>
                    <a:cxn ang="0">
                      <a:pos x="6127" y="13229"/>
                    </a:cxn>
                    <a:cxn ang="0">
                      <a:pos x="5877" y="12675"/>
                    </a:cxn>
                    <a:cxn ang="0">
                      <a:pos x="5396" y="12043"/>
                    </a:cxn>
                    <a:cxn ang="0">
                      <a:pos x="4967" y="11398"/>
                    </a:cxn>
                    <a:cxn ang="0">
                      <a:pos x="4842" y="10911"/>
                    </a:cxn>
                    <a:cxn ang="0">
                      <a:pos x="4559" y="10532"/>
                    </a:cxn>
                    <a:cxn ang="0">
                      <a:pos x="4050" y="10087"/>
                    </a:cxn>
                    <a:cxn ang="0">
                      <a:pos x="3642" y="9870"/>
                    </a:cxn>
                    <a:cxn ang="0">
                      <a:pos x="3359" y="8893"/>
                    </a:cxn>
                    <a:cxn ang="0">
                      <a:pos x="3366" y="8593"/>
                    </a:cxn>
                    <a:cxn ang="0">
                      <a:pos x="3225" y="8044"/>
                    </a:cxn>
                    <a:cxn ang="0">
                      <a:pos x="3034" y="7550"/>
                    </a:cxn>
                    <a:cxn ang="0">
                      <a:pos x="2492" y="6909"/>
                    </a:cxn>
                    <a:cxn ang="0">
                      <a:pos x="2243" y="6803"/>
                    </a:cxn>
                    <a:cxn ang="0">
                      <a:pos x="2042" y="6580"/>
                    </a:cxn>
                    <a:cxn ang="0">
                      <a:pos x="1833" y="5901"/>
                    </a:cxn>
                    <a:cxn ang="0">
                      <a:pos x="1507" y="5504"/>
                    </a:cxn>
                    <a:cxn ang="0">
                      <a:pos x="1117" y="4757"/>
                    </a:cxn>
                    <a:cxn ang="0">
                      <a:pos x="724" y="4245"/>
                    </a:cxn>
                    <a:cxn ang="0">
                      <a:pos x="242" y="3599"/>
                    </a:cxn>
                    <a:cxn ang="0">
                      <a:pos x="0" y="3649"/>
                    </a:cxn>
                    <a:cxn ang="0">
                      <a:pos x="249" y="2682"/>
                    </a:cxn>
                    <a:cxn ang="0">
                      <a:pos x="1352" y="2467"/>
                    </a:cxn>
                    <a:cxn ang="0">
                      <a:pos x="2171" y="1850"/>
                    </a:cxn>
                    <a:cxn ang="0">
                      <a:pos x="1840" y="685"/>
                    </a:cxn>
                    <a:cxn ang="0">
                      <a:pos x="3424" y="0"/>
                    </a:cxn>
                    <a:cxn ang="0">
                      <a:pos x="6284" y="1324"/>
                    </a:cxn>
                    <a:cxn ang="0">
                      <a:pos x="6826" y="2203"/>
                    </a:cxn>
                  </a:cxnLst>
                  <a:rect l="0" t="0" r="r" b="b"/>
                  <a:pathLst>
                    <a:path w="15957" h="13229">
                      <a:moveTo>
                        <a:pt x="9071" y="2723"/>
                      </a:moveTo>
                      <a:lnTo>
                        <a:pt x="9131" y="2757"/>
                      </a:lnTo>
                      <a:lnTo>
                        <a:pt x="9432" y="2810"/>
                      </a:lnTo>
                      <a:lnTo>
                        <a:pt x="9706" y="2910"/>
                      </a:lnTo>
                      <a:lnTo>
                        <a:pt x="9809" y="2999"/>
                      </a:lnTo>
                      <a:lnTo>
                        <a:pt x="9934" y="3216"/>
                      </a:lnTo>
                      <a:lnTo>
                        <a:pt x="10393" y="3219"/>
                      </a:lnTo>
                      <a:lnTo>
                        <a:pt x="10455" y="3296"/>
                      </a:lnTo>
                      <a:lnTo>
                        <a:pt x="10504" y="3434"/>
                      </a:lnTo>
                      <a:lnTo>
                        <a:pt x="10545" y="3497"/>
                      </a:lnTo>
                      <a:lnTo>
                        <a:pt x="10573" y="3599"/>
                      </a:lnTo>
                      <a:lnTo>
                        <a:pt x="10697" y="3824"/>
                      </a:lnTo>
                      <a:lnTo>
                        <a:pt x="10817" y="3869"/>
                      </a:lnTo>
                      <a:lnTo>
                        <a:pt x="10903" y="4039"/>
                      </a:lnTo>
                      <a:lnTo>
                        <a:pt x="11097" y="4175"/>
                      </a:lnTo>
                      <a:lnTo>
                        <a:pt x="11100" y="4189"/>
                      </a:lnTo>
                      <a:lnTo>
                        <a:pt x="11062" y="4232"/>
                      </a:lnTo>
                      <a:lnTo>
                        <a:pt x="11097" y="4290"/>
                      </a:lnTo>
                      <a:lnTo>
                        <a:pt x="11134" y="4426"/>
                      </a:lnTo>
                      <a:lnTo>
                        <a:pt x="11258" y="4460"/>
                      </a:lnTo>
                      <a:lnTo>
                        <a:pt x="11313" y="4512"/>
                      </a:lnTo>
                      <a:lnTo>
                        <a:pt x="11537" y="4658"/>
                      </a:lnTo>
                      <a:lnTo>
                        <a:pt x="11613" y="4723"/>
                      </a:lnTo>
                      <a:lnTo>
                        <a:pt x="11663" y="4798"/>
                      </a:lnTo>
                      <a:lnTo>
                        <a:pt x="11680" y="4839"/>
                      </a:lnTo>
                      <a:lnTo>
                        <a:pt x="11658" y="4977"/>
                      </a:lnTo>
                      <a:lnTo>
                        <a:pt x="11764" y="5127"/>
                      </a:lnTo>
                      <a:lnTo>
                        <a:pt x="11788" y="5234"/>
                      </a:lnTo>
                      <a:lnTo>
                        <a:pt x="11781" y="5294"/>
                      </a:lnTo>
                      <a:lnTo>
                        <a:pt x="11711" y="5381"/>
                      </a:lnTo>
                      <a:lnTo>
                        <a:pt x="11715" y="5546"/>
                      </a:lnTo>
                      <a:lnTo>
                        <a:pt x="11824" y="5695"/>
                      </a:lnTo>
                      <a:lnTo>
                        <a:pt x="12016" y="5908"/>
                      </a:lnTo>
                      <a:lnTo>
                        <a:pt x="12063" y="6177"/>
                      </a:lnTo>
                      <a:lnTo>
                        <a:pt x="12135" y="6264"/>
                      </a:lnTo>
                      <a:lnTo>
                        <a:pt x="12147" y="6336"/>
                      </a:lnTo>
                      <a:lnTo>
                        <a:pt x="12184" y="6371"/>
                      </a:lnTo>
                      <a:lnTo>
                        <a:pt x="12207" y="6448"/>
                      </a:lnTo>
                      <a:lnTo>
                        <a:pt x="12243" y="6448"/>
                      </a:lnTo>
                      <a:lnTo>
                        <a:pt x="12348" y="6619"/>
                      </a:lnTo>
                      <a:lnTo>
                        <a:pt x="12423" y="6638"/>
                      </a:lnTo>
                      <a:lnTo>
                        <a:pt x="12480" y="6842"/>
                      </a:lnTo>
                      <a:lnTo>
                        <a:pt x="12935" y="7241"/>
                      </a:lnTo>
                      <a:lnTo>
                        <a:pt x="13158" y="7915"/>
                      </a:lnTo>
                      <a:lnTo>
                        <a:pt x="15429" y="8331"/>
                      </a:lnTo>
                      <a:lnTo>
                        <a:pt x="15576" y="8167"/>
                      </a:lnTo>
                      <a:lnTo>
                        <a:pt x="15957" y="8740"/>
                      </a:lnTo>
                      <a:lnTo>
                        <a:pt x="15424" y="10363"/>
                      </a:lnTo>
                      <a:lnTo>
                        <a:pt x="13158" y="11166"/>
                      </a:lnTo>
                      <a:lnTo>
                        <a:pt x="11049" y="11512"/>
                      </a:lnTo>
                      <a:lnTo>
                        <a:pt x="10746" y="11729"/>
                      </a:lnTo>
                      <a:lnTo>
                        <a:pt x="10244" y="11935"/>
                      </a:lnTo>
                      <a:lnTo>
                        <a:pt x="9691" y="12918"/>
                      </a:lnTo>
                      <a:lnTo>
                        <a:pt x="9503" y="13060"/>
                      </a:lnTo>
                      <a:lnTo>
                        <a:pt x="9370" y="13076"/>
                      </a:lnTo>
                      <a:lnTo>
                        <a:pt x="9104" y="12745"/>
                      </a:lnTo>
                      <a:lnTo>
                        <a:pt x="8174" y="12657"/>
                      </a:lnTo>
                      <a:lnTo>
                        <a:pt x="8036" y="12551"/>
                      </a:lnTo>
                      <a:lnTo>
                        <a:pt x="7547" y="12502"/>
                      </a:lnTo>
                      <a:lnTo>
                        <a:pt x="7168" y="12457"/>
                      </a:lnTo>
                      <a:lnTo>
                        <a:pt x="6859" y="12543"/>
                      </a:lnTo>
                      <a:lnTo>
                        <a:pt x="6711" y="12286"/>
                      </a:lnTo>
                      <a:lnTo>
                        <a:pt x="6580" y="12452"/>
                      </a:lnTo>
                      <a:lnTo>
                        <a:pt x="6570" y="12466"/>
                      </a:lnTo>
                      <a:lnTo>
                        <a:pt x="6560" y="12481"/>
                      </a:lnTo>
                      <a:lnTo>
                        <a:pt x="6551" y="12499"/>
                      </a:lnTo>
                      <a:lnTo>
                        <a:pt x="6542" y="12517"/>
                      </a:lnTo>
                      <a:lnTo>
                        <a:pt x="6524" y="12554"/>
                      </a:lnTo>
                      <a:lnTo>
                        <a:pt x="6507" y="12592"/>
                      </a:lnTo>
                      <a:lnTo>
                        <a:pt x="6492" y="12625"/>
                      </a:lnTo>
                      <a:lnTo>
                        <a:pt x="6480" y="12652"/>
                      </a:lnTo>
                      <a:lnTo>
                        <a:pt x="6474" y="12661"/>
                      </a:lnTo>
                      <a:lnTo>
                        <a:pt x="6468" y="12668"/>
                      </a:lnTo>
                      <a:lnTo>
                        <a:pt x="6466" y="12670"/>
                      </a:lnTo>
                      <a:lnTo>
                        <a:pt x="6464" y="12671"/>
                      </a:lnTo>
                      <a:lnTo>
                        <a:pt x="6461" y="12671"/>
                      </a:lnTo>
                      <a:lnTo>
                        <a:pt x="6460" y="12670"/>
                      </a:lnTo>
                      <a:lnTo>
                        <a:pt x="6452" y="12667"/>
                      </a:lnTo>
                      <a:lnTo>
                        <a:pt x="6447" y="12665"/>
                      </a:lnTo>
                      <a:lnTo>
                        <a:pt x="6442" y="12664"/>
                      </a:lnTo>
                      <a:lnTo>
                        <a:pt x="6439" y="12665"/>
                      </a:lnTo>
                      <a:lnTo>
                        <a:pt x="6436" y="12666"/>
                      </a:lnTo>
                      <a:lnTo>
                        <a:pt x="6435" y="12669"/>
                      </a:lnTo>
                      <a:lnTo>
                        <a:pt x="6434" y="12672"/>
                      </a:lnTo>
                      <a:lnTo>
                        <a:pt x="6434" y="12676"/>
                      </a:lnTo>
                      <a:lnTo>
                        <a:pt x="6437" y="12688"/>
                      </a:lnTo>
                      <a:lnTo>
                        <a:pt x="6442" y="12702"/>
                      </a:lnTo>
                      <a:lnTo>
                        <a:pt x="6449" y="12718"/>
                      </a:lnTo>
                      <a:lnTo>
                        <a:pt x="6457" y="12735"/>
                      </a:lnTo>
                      <a:lnTo>
                        <a:pt x="6474" y="12773"/>
                      </a:lnTo>
                      <a:lnTo>
                        <a:pt x="6488" y="12807"/>
                      </a:lnTo>
                      <a:lnTo>
                        <a:pt x="6493" y="12822"/>
                      </a:lnTo>
                      <a:lnTo>
                        <a:pt x="6495" y="12835"/>
                      </a:lnTo>
                      <a:lnTo>
                        <a:pt x="6495" y="12841"/>
                      </a:lnTo>
                      <a:lnTo>
                        <a:pt x="6495" y="12845"/>
                      </a:lnTo>
                      <a:lnTo>
                        <a:pt x="6493" y="12849"/>
                      </a:lnTo>
                      <a:lnTo>
                        <a:pt x="6490" y="12851"/>
                      </a:lnTo>
                      <a:lnTo>
                        <a:pt x="6442" y="13138"/>
                      </a:lnTo>
                      <a:lnTo>
                        <a:pt x="6289" y="13180"/>
                      </a:lnTo>
                      <a:lnTo>
                        <a:pt x="6127" y="13229"/>
                      </a:lnTo>
                      <a:lnTo>
                        <a:pt x="6092" y="13137"/>
                      </a:lnTo>
                      <a:lnTo>
                        <a:pt x="6092" y="13002"/>
                      </a:lnTo>
                      <a:lnTo>
                        <a:pt x="5928" y="12707"/>
                      </a:lnTo>
                      <a:lnTo>
                        <a:pt x="5877" y="12675"/>
                      </a:lnTo>
                      <a:lnTo>
                        <a:pt x="5820" y="12590"/>
                      </a:lnTo>
                      <a:lnTo>
                        <a:pt x="5760" y="12346"/>
                      </a:lnTo>
                      <a:lnTo>
                        <a:pt x="5511" y="12104"/>
                      </a:lnTo>
                      <a:lnTo>
                        <a:pt x="5396" y="12043"/>
                      </a:lnTo>
                      <a:lnTo>
                        <a:pt x="5329" y="11966"/>
                      </a:lnTo>
                      <a:lnTo>
                        <a:pt x="5175" y="11749"/>
                      </a:lnTo>
                      <a:lnTo>
                        <a:pt x="5026" y="11439"/>
                      </a:lnTo>
                      <a:lnTo>
                        <a:pt x="4967" y="11398"/>
                      </a:lnTo>
                      <a:lnTo>
                        <a:pt x="4943" y="11357"/>
                      </a:lnTo>
                      <a:lnTo>
                        <a:pt x="4900" y="11197"/>
                      </a:lnTo>
                      <a:lnTo>
                        <a:pt x="4893" y="11035"/>
                      </a:lnTo>
                      <a:lnTo>
                        <a:pt x="4842" y="10911"/>
                      </a:lnTo>
                      <a:lnTo>
                        <a:pt x="4758" y="10766"/>
                      </a:lnTo>
                      <a:lnTo>
                        <a:pt x="4661" y="10672"/>
                      </a:lnTo>
                      <a:lnTo>
                        <a:pt x="4617" y="10581"/>
                      </a:lnTo>
                      <a:lnTo>
                        <a:pt x="4559" y="10532"/>
                      </a:lnTo>
                      <a:lnTo>
                        <a:pt x="4443" y="10363"/>
                      </a:lnTo>
                      <a:lnTo>
                        <a:pt x="4361" y="10288"/>
                      </a:lnTo>
                      <a:lnTo>
                        <a:pt x="4157" y="10146"/>
                      </a:lnTo>
                      <a:lnTo>
                        <a:pt x="4050" y="10087"/>
                      </a:lnTo>
                      <a:lnTo>
                        <a:pt x="4015" y="10102"/>
                      </a:lnTo>
                      <a:lnTo>
                        <a:pt x="3932" y="10071"/>
                      </a:lnTo>
                      <a:lnTo>
                        <a:pt x="3740" y="9952"/>
                      </a:lnTo>
                      <a:lnTo>
                        <a:pt x="3642" y="9870"/>
                      </a:lnTo>
                      <a:lnTo>
                        <a:pt x="3582" y="9793"/>
                      </a:lnTo>
                      <a:lnTo>
                        <a:pt x="3491" y="9608"/>
                      </a:lnTo>
                      <a:lnTo>
                        <a:pt x="3451" y="9466"/>
                      </a:lnTo>
                      <a:lnTo>
                        <a:pt x="3359" y="8893"/>
                      </a:lnTo>
                      <a:lnTo>
                        <a:pt x="3309" y="8803"/>
                      </a:lnTo>
                      <a:lnTo>
                        <a:pt x="3299" y="8728"/>
                      </a:lnTo>
                      <a:lnTo>
                        <a:pt x="3333" y="8694"/>
                      </a:lnTo>
                      <a:lnTo>
                        <a:pt x="3366" y="8593"/>
                      </a:lnTo>
                      <a:lnTo>
                        <a:pt x="3383" y="8406"/>
                      </a:lnTo>
                      <a:lnTo>
                        <a:pt x="3326" y="8203"/>
                      </a:lnTo>
                      <a:lnTo>
                        <a:pt x="3283" y="8114"/>
                      </a:lnTo>
                      <a:lnTo>
                        <a:pt x="3225" y="8044"/>
                      </a:lnTo>
                      <a:lnTo>
                        <a:pt x="3174" y="7927"/>
                      </a:lnTo>
                      <a:lnTo>
                        <a:pt x="3141" y="7785"/>
                      </a:lnTo>
                      <a:lnTo>
                        <a:pt x="3091" y="7700"/>
                      </a:lnTo>
                      <a:lnTo>
                        <a:pt x="3034" y="7550"/>
                      </a:lnTo>
                      <a:lnTo>
                        <a:pt x="2859" y="7241"/>
                      </a:lnTo>
                      <a:lnTo>
                        <a:pt x="2650" y="7038"/>
                      </a:lnTo>
                      <a:lnTo>
                        <a:pt x="2518" y="6946"/>
                      </a:lnTo>
                      <a:lnTo>
                        <a:pt x="2492" y="6909"/>
                      </a:lnTo>
                      <a:lnTo>
                        <a:pt x="2451" y="6902"/>
                      </a:lnTo>
                      <a:lnTo>
                        <a:pt x="2435" y="6861"/>
                      </a:lnTo>
                      <a:lnTo>
                        <a:pt x="2326" y="6803"/>
                      </a:lnTo>
                      <a:lnTo>
                        <a:pt x="2243" y="6803"/>
                      </a:lnTo>
                      <a:lnTo>
                        <a:pt x="2193" y="6818"/>
                      </a:lnTo>
                      <a:lnTo>
                        <a:pt x="2135" y="6791"/>
                      </a:lnTo>
                      <a:lnTo>
                        <a:pt x="2108" y="6692"/>
                      </a:lnTo>
                      <a:lnTo>
                        <a:pt x="2042" y="6580"/>
                      </a:lnTo>
                      <a:lnTo>
                        <a:pt x="1949" y="6472"/>
                      </a:lnTo>
                      <a:lnTo>
                        <a:pt x="1949" y="6336"/>
                      </a:lnTo>
                      <a:lnTo>
                        <a:pt x="1965" y="6312"/>
                      </a:lnTo>
                      <a:lnTo>
                        <a:pt x="1833" y="5901"/>
                      </a:lnTo>
                      <a:lnTo>
                        <a:pt x="1757" y="5789"/>
                      </a:lnTo>
                      <a:lnTo>
                        <a:pt x="1665" y="5616"/>
                      </a:lnTo>
                      <a:lnTo>
                        <a:pt x="1549" y="5562"/>
                      </a:lnTo>
                      <a:lnTo>
                        <a:pt x="1507" y="5504"/>
                      </a:lnTo>
                      <a:lnTo>
                        <a:pt x="1483" y="5405"/>
                      </a:lnTo>
                      <a:lnTo>
                        <a:pt x="1326" y="5202"/>
                      </a:lnTo>
                      <a:lnTo>
                        <a:pt x="1198" y="4866"/>
                      </a:lnTo>
                      <a:lnTo>
                        <a:pt x="1117" y="4757"/>
                      </a:lnTo>
                      <a:lnTo>
                        <a:pt x="1016" y="4682"/>
                      </a:lnTo>
                      <a:lnTo>
                        <a:pt x="841" y="4447"/>
                      </a:lnTo>
                      <a:lnTo>
                        <a:pt x="824" y="4372"/>
                      </a:lnTo>
                      <a:lnTo>
                        <a:pt x="724" y="4245"/>
                      </a:lnTo>
                      <a:lnTo>
                        <a:pt x="625" y="4019"/>
                      </a:lnTo>
                      <a:lnTo>
                        <a:pt x="434" y="3656"/>
                      </a:lnTo>
                      <a:lnTo>
                        <a:pt x="357" y="3599"/>
                      </a:lnTo>
                      <a:lnTo>
                        <a:pt x="242" y="3599"/>
                      </a:lnTo>
                      <a:lnTo>
                        <a:pt x="125" y="3581"/>
                      </a:lnTo>
                      <a:lnTo>
                        <a:pt x="101" y="3565"/>
                      </a:lnTo>
                      <a:lnTo>
                        <a:pt x="34" y="3581"/>
                      </a:lnTo>
                      <a:lnTo>
                        <a:pt x="0" y="3649"/>
                      </a:lnTo>
                      <a:lnTo>
                        <a:pt x="159" y="3246"/>
                      </a:lnTo>
                      <a:lnTo>
                        <a:pt x="168" y="2943"/>
                      </a:lnTo>
                      <a:lnTo>
                        <a:pt x="192" y="2825"/>
                      </a:lnTo>
                      <a:lnTo>
                        <a:pt x="249" y="2682"/>
                      </a:lnTo>
                      <a:lnTo>
                        <a:pt x="242" y="2477"/>
                      </a:lnTo>
                      <a:lnTo>
                        <a:pt x="276" y="2595"/>
                      </a:lnTo>
                      <a:lnTo>
                        <a:pt x="1117" y="2702"/>
                      </a:lnTo>
                      <a:lnTo>
                        <a:pt x="1352" y="2467"/>
                      </a:lnTo>
                      <a:lnTo>
                        <a:pt x="1366" y="2419"/>
                      </a:lnTo>
                      <a:lnTo>
                        <a:pt x="1567" y="2061"/>
                      </a:lnTo>
                      <a:lnTo>
                        <a:pt x="2145" y="1974"/>
                      </a:lnTo>
                      <a:lnTo>
                        <a:pt x="2171" y="1850"/>
                      </a:lnTo>
                      <a:lnTo>
                        <a:pt x="2255" y="1618"/>
                      </a:lnTo>
                      <a:lnTo>
                        <a:pt x="2560" y="1448"/>
                      </a:lnTo>
                      <a:lnTo>
                        <a:pt x="2569" y="1429"/>
                      </a:lnTo>
                      <a:lnTo>
                        <a:pt x="1840" y="685"/>
                      </a:lnTo>
                      <a:lnTo>
                        <a:pt x="1731" y="590"/>
                      </a:lnTo>
                      <a:lnTo>
                        <a:pt x="2281" y="464"/>
                      </a:lnTo>
                      <a:lnTo>
                        <a:pt x="3197" y="281"/>
                      </a:lnTo>
                      <a:lnTo>
                        <a:pt x="3424" y="0"/>
                      </a:lnTo>
                      <a:lnTo>
                        <a:pt x="4576" y="321"/>
                      </a:lnTo>
                      <a:lnTo>
                        <a:pt x="5434" y="970"/>
                      </a:lnTo>
                      <a:lnTo>
                        <a:pt x="6203" y="1265"/>
                      </a:lnTo>
                      <a:lnTo>
                        <a:pt x="6284" y="1324"/>
                      </a:lnTo>
                      <a:lnTo>
                        <a:pt x="6395" y="1591"/>
                      </a:lnTo>
                      <a:lnTo>
                        <a:pt x="6793" y="1625"/>
                      </a:lnTo>
                      <a:lnTo>
                        <a:pt x="6826" y="1659"/>
                      </a:lnTo>
                      <a:lnTo>
                        <a:pt x="6826" y="2203"/>
                      </a:lnTo>
                      <a:lnTo>
                        <a:pt x="6859" y="2247"/>
                      </a:lnTo>
                      <a:lnTo>
                        <a:pt x="7719" y="2641"/>
                      </a:lnTo>
                      <a:lnTo>
                        <a:pt x="9071" y="2723"/>
                      </a:lnTo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grpSp>
            <p:nvGrpSpPr>
              <p:cNvPr id="308" name="Group 145"/>
              <p:cNvGrpSpPr>
                <a:grpSpLocks noChangeAspect="1"/>
              </p:cNvGrpSpPr>
              <p:nvPr/>
            </p:nvGrpSpPr>
            <p:grpSpPr bwMode="gray">
              <a:xfrm>
                <a:off x="2984" y="2276"/>
                <a:ext cx="114" cy="72"/>
                <a:chOff x="2984" y="2276"/>
                <a:chExt cx="114" cy="72"/>
              </a:xfrm>
              <a:grpFill/>
            </p:grpSpPr>
            <p:sp>
              <p:nvSpPr>
                <p:cNvPr id="326" name="Freeform 146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27" name="Freeform 147"/>
                <p:cNvSpPr>
                  <a:spLocks noChangeAspect="1"/>
                </p:cNvSpPr>
                <p:nvPr/>
              </p:nvSpPr>
              <p:spPr bwMode="gray">
                <a:xfrm>
                  <a:off x="2984" y="2276"/>
                  <a:ext cx="114" cy="72"/>
                </a:xfrm>
                <a:custGeom>
                  <a:avLst/>
                  <a:gdLst/>
                  <a:ahLst/>
                  <a:cxnLst>
                    <a:cxn ang="0">
                      <a:pos x="14868" y="4199"/>
                    </a:cxn>
                    <a:cxn ang="0">
                      <a:pos x="14514" y="5031"/>
                    </a:cxn>
                    <a:cxn ang="0">
                      <a:pos x="14466" y="5374"/>
                    </a:cxn>
                    <a:cxn ang="0">
                      <a:pos x="14027" y="5466"/>
                    </a:cxn>
                    <a:cxn ang="0">
                      <a:pos x="13073" y="5967"/>
                    </a:cxn>
                    <a:cxn ang="0">
                      <a:pos x="12036" y="6264"/>
                    </a:cxn>
                    <a:cxn ang="0">
                      <a:pos x="10929" y="6593"/>
                    </a:cxn>
                    <a:cxn ang="0">
                      <a:pos x="9740" y="7051"/>
                    </a:cxn>
                    <a:cxn ang="0">
                      <a:pos x="9205" y="7739"/>
                    </a:cxn>
                    <a:cxn ang="0">
                      <a:pos x="8905" y="7936"/>
                    </a:cxn>
                    <a:cxn ang="0">
                      <a:pos x="7539" y="8146"/>
                    </a:cxn>
                    <a:cxn ang="0">
                      <a:pos x="6784" y="8623"/>
                    </a:cxn>
                    <a:cxn ang="0">
                      <a:pos x="5672" y="8733"/>
                    </a:cxn>
                    <a:cxn ang="0">
                      <a:pos x="4779" y="8801"/>
                    </a:cxn>
                    <a:cxn ang="0">
                      <a:pos x="3686" y="9598"/>
                    </a:cxn>
                    <a:cxn ang="0">
                      <a:pos x="2368" y="9909"/>
                    </a:cxn>
                    <a:cxn ang="0">
                      <a:pos x="1652" y="9818"/>
                    </a:cxn>
                    <a:cxn ang="0">
                      <a:pos x="898" y="9087"/>
                    </a:cxn>
                    <a:cxn ang="0">
                      <a:pos x="716" y="7955"/>
                    </a:cxn>
                    <a:cxn ang="0">
                      <a:pos x="482" y="6794"/>
                    </a:cxn>
                    <a:cxn ang="0">
                      <a:pos x="320" y="6215"/>
                    </a:cxn>
                    <a:cxn ang="0">
                      <a:pos x="67" y="5752"/>
                    </a:cxn>
                    <a:cxn ang="0">
                      <a:pos x="86" y="5552"/>
                    </a:cxn>
                    <a:cxn ang="0">
                      <a:pos x="201" y="5007"/>
                    </a:cxn>
                    <a:cxn ang="0">
                      <a:pos x="153" y="4142"/>
                    </a:cxn>
                    <a:cxn ang="0">
                      <a:pos x="850" y="3308"/>
                    </a:cxn>
                    <a:cxn ang="0">
                      <a:pos x="854" y="3271"/>
                    </a:cxn>
                    <a:cxn ang="0">
                      <a:pos x="847" y="3234"/>
                    </a:cxn>
                    <a:cxn ang="0">
                      <a:pos x="825" y="3184"/>
                    </a:cxn>
                    <a:cxn ang="0">
                      <a:pos x="777" y="3110"/>
                    </a:cxn>
                    <a:cxn ang="0">
                      <a:pos x="741" y="3050"/>
                    </a:cxn>
                    <a:cxn ang="0">
                      <a:pos x="727" y="3014"/>
                    </a:cxn>
                    <a:cxn ang="0">
                      <a:pos x="722" y="2979"/>
                    </a:cxn>
                    <a:cxn ang="0">
                      <a:pos x="730" y="2945"/>
                    </a:cxn>
                    <a:cxn ang="0">
                      <a:pos x="1266" y="2241"/>
                    </a:cxn>
                    <a:cxn ang="0">
                      <a:pos x="3858" y="2689"/>
                    </a:cxn>
                    <a:cxn ang="0">
                      <a:pos x="6615" y="3737"/>
                    </a:cxn>
                    <a:cxn ang="0">
                      <a:pos x="6718" y="3700"/>
                    </a:cxn>
                    <a:cxn ang="0">
                      <a:pos x="6894" y="3652"/>
                    </a:cxn>
                    <a:cxn ang="0">
                      <a:pos x="6943" y="3637"/>
                    </a:cxn>
                    <a:cxn ang="0">
                      <a:pos x="6990" y="3616"/>
                    </a:cxn>
                    <a:cxn ang="0">
                      <a:pos x="7033" y="3591"/>
                    </a:cxn>
                    <a:cxn ang="0">
                      <a:pos x="7072" y="3559"/>
                    </a:cxn>
                    <a:cxn ang="0">
                      <a:pos x="7105" y="3519"/>
                    </a:cxn>
                    <a:cxn ang="0">
                      <a:pos x="9312" y="1068"/>
                    </a:cxn>
                    <a:cxn ang="0">
                      <a:pos x="10014" y="620"/>
                    </a:cxn>
                    <a:cxn ang="0">
                      <a:pos x="10264" y="564"/>
                    </a:cxn>
                    <a:cxn ang="0">
                      <a:pos x="10633" y="503"/>
                    </a:cxn>
                    <a:cxn ang="0">
                      <a:pos x="11090" y="440"/>
                    </a:cxn>
                    <a:cxn ang="0">
                      <a:pos x="11961" y="328"/>
                    </a:cxn>
                    <a:cxn ang="0">
                      <a:pos x="12844" y="217"/>
                    </a:cxn>
                    <a:cxn ang="0">
                      <a:pos x="13320" y="152"/>
                    </a:cxn>
                    <a:cxn ang="0">
                      <a:pos x="13716" y="91"/>
                    </a:cxn>
                    <a:cxn ang="0">
                      <a:pos x="14003" y="35"/>
                    </a:cxn>
                    <a:cxn ang="0">
                      <a:pos x="15675" y="3780"/>
                    </a:cxn>
                  </a:cxnLst>
                  <a:rect l="0" t="0" r="r" b="b"/>
                  <a:pathLst>
                    <a:path w="15675" h="9942">
                      <a:moveTo>
                        <a:pt x="15675" y="3780"/>
                      </a:moveTo>
                      <a:lnTo>
                        <a:pt x="15169" y="3985"/>
                      </a:lnTo>
                      <a:lnTo>
                        <a:pt x="14868" y="4199"/>
                      </a:lnTo>
                      <a:lnTo>
                        <a:pt x="14648" y="4443"/>
                      </a:lnTo>
                      <a:lnTo>
                        <a:pt x="14447" y="4864"/>
                      </a:lnTo>
                      <a:lnTo>
                        <a:pt x="14514" y="5031"/>
                      </a:lnTo>
                      <a:lnTo>
                        <a:pt x="14543" y="5260"/>
                      </a:lnTo>
                      <a:lnTo>
                        <a:pt x="14538" y="5308"/>
                      </a:lnTo>
                      <a:lnTo>
                        <a:pt x="14466" y="5374"/>
                      </a:lnTo>
                      <a:lnTo>
                        <a:pt x="14385" y="5418"/>
                      </a:lnTo>
                      <a:lnTo>
                        <a:pt x="14190" y="5385"/>
                      </a:lnTo>
                      <a:lnTo>
                        <a:pt x="14027" y="5466"/>
                      </a:lnTo>
                      <a:lnTo>
                        <a:pt x="13627" y="5576"/>
                      </a:lnTo>
                      <a:lnTo>
                        <a:pt x="13364" y="5843"/>
                      </a:lnTo>
                      <a:lnTo>
                        <a:pt x="13073" y="5967"/>
                      </a:lnTo>
                      <a:lnTo>
                        <a:pt x="12652" y="6020"/>
                      </a:lnTo>
                      <a:lnTo>
                        <a:pt x="12404" y="6082"/>
                      </a:lnTo>
                      <a:lnTo>
                        <a:pt x="12036" y="6264"/>
                      </a:lnTo>
                      <a:lnTo>
                        <a:pt x="11764" y="6336"/>
                      </a:lnTo>
                      <a:lnTo>
                        <a:pt x="11211" y="6574"/>
                      </a:lnTo>
                      <a:lnTo>
                        <a:pt x="10929" y="6593"/>
                      </a:lnTo>
                      <a:lnTo>
                        <a:pt x="10470" y="6679"/>
                      </a:lnTo>
                      <a:lnTo>
                        <a:pt x="9988" y="6908"/>
                      </a:lnTo>
                      <a:lnTo>
                        <a:pt x="9740" y="7051"/>
                      </a:lnTo>
                      <a:lnTo>
                        <a:pt x="9645" y="7262"/>
                      </a:lnTo>
                      <a:lnTo>
                        <a:pt x="9521" y="7448"/>
                      </a:lnTo>
                      <a:lnTo>
                        <a:pt x="9205" y="7739"/>
                      </a:lnTo>
                      <a:lnTo>
                        <a:pt x="9072" y="7825"/>
                      </a:lnTo>
                      <a:lnTo>
                        <a:pt x="9020" y="7897"/>
                      </a:lnTo>
                      <a:lnTo>
                        <a:pt x="8905" y="7936"/>
                      </a:lnTo>
                      <a:lnTo>
                        <a:pt x="8198" y="7906"/>
                      </a:lnTo>
                      <a:lnTo>
                        <a:pt x="7845" y="7951"/>
                      </a:lnTo>
                      <a:lnTo>
                        <a:pt x="7539" y="8146"/>
                      </a:lnTo>
                      <a:lnTo>
                        <a:pt x="7391" y="8347"/>
                      </a:lnTo>
                      <a:lnTo>
                        <a:pt x="6962" y="8585"/>
                      </a:lnTo>
                      <a:lnTo>
                        <a:pt x="6784" y="8623"/>
                      </a:lnTo>
                      <a:lnTo>
                        <a:pt x="6259" y="8776"/>
                      </a:lnTo>
                      <a:lnTo>
                        <a:pt x="5978" y="8801"/>
                      </a:lnTo>
                      <a:lnTo>
                        <a:pt x="5672" y="8733"/>
                      </a:lnTo>
                      <a:lnTo>
                        <a:pt x="5353" y="8786"/>
                      </a:lnTo>
                      <a:lnTo>
                        <a:pt x="5109" y="8762"/>
                      </a:lnTo>
                      <a:lnTo>
                        <a:pt x="4779" y="8801"/>
                      </a:lnTo>
                      <a:lnTo>
                        <a:pt x="4497" y="8977"/>
                      </a:lnTo>
                      <a:lnTo>
                        <a:pt x="4292" y="9321"/>
                      </a:lnTo>
                      <a:lnTo>
                        <a:pt x="3686" y="9598"/>
                      </a:lnTo>
                      <a:lnTo>
                        <a:pt x="3405" y="9771"/>
                      </a:lnTo>
                      <a:lnTo>
                        <a:pt x="2769" y="9785"/>
                      </a:lnTo>
                      <a:lnTo>
                        <a:pt x="2368" y="9909"/>
                      </a:lnTo>
                      <a:lnTo>
                        <a:pt x="2149" y="9890"/>
                      </a:lnTo>
                      <a:lnTo>
                        <a:pt x="1934" y="9942"/>
                      </a:lnTo>
                      <a:lnTo>
                        <a:pt x="1652" y="9818"/>
                      </a:lnTo>
                      <a:lnTo>
                        <a:pt x="1309" y="9832"/>
                      </a:lnTo>
                      <a:lnTo>
                        <a:pt x="1180" y="9435"/>
                      </a:lnTo>
                      <a:lnTo>
                        <a:pt x="898" y="9087"/>
                      </a:lnTo>
                      <a:lnTo>
                        <a:pt x="898" y="8356"/>
                      </a:lnTo>
                      <a:lnTo>
                        <a:pt x="865" y="8108"/>
                      </a:lnTo>
                      <a:lnTo>
                        <a:pt x="716" y="7955"/>
                      </a:lnTo>
                      <a:lnTo>
                        <a:pt x="635" y="7758"/>
                      </a:lnTo>
                      <a:lnTo>
                        <a:pt x="535" y="7310"/>
                      </a:lnTo>
                      <a:lnTo>
                        <a:pt x="482" y="6794"/>
                      </a:lnTo>
                      <a:lnTo>
                        <a:pt x="401" y="6584"/>
                      </a:lnTo>
                      <a:lnTo>
                        <a:pt x="320" y="6450"/>
                      </a:lnTo>
                      <a:lnTo>
                        <a:pt x="320" y="6215"/>
                      </a:lnTo>
                      <a:lnTo>
                        <a:pt x="86" y="5886"/>
                      </a:lnTo>
                      <a:lnTo>
                        <a:pt x="0" y="5814"/>
                      </a:lnTo>
                      <a:lnTo>
                        <a:pt x="67" y="5752"/>
                      </a:lnTo>
                      <a:lnTo>
                        <a:pt x="134" y="5767"/>
                      </a:lnTo>
                      <a:lnTo>
                        <a:pt x="134" y="5666"/>
                      </a:lnTo>
                      <a:lnTo>
                        <a:pt x="86" y="5552"/>
                      </a:lnTo>
                      <a:lnTo>
                        <a:pt x="86" y="5303"/>
                      </a:lnTo>
                      <a:lnTo>
                        <a:pt x="34" y="5155"/>
                      </a:lnTo>
                      <a:lnTo>
                        <a:pt x="201" y="5007"/>
                      </a:lnTo>
                      <a:lnTo>
                        <a:pt x="234" y="4888"/>
                      </a:lnTo>
                      <a:lnTo>
                        <a:pt x="201" y="4438"/>
                      </a:lnTo>
                      <a:lnTo>
                        <a:pt x="153" y="4142"/>
                      </a:lnTo>
                      <a:lnTo>
                        <a:pt x="101" y="4075"/>
                      </a:lnTo>
                      <a:lnTo>
                        <a:pt x="710" y="3760"/>
                      </a:lnTo>
                      <a:lnTo>
                        <a:pt x="850" y="3308"/>
                      </a:lnTo>
                      <a:lnTo>
                        <a:pt x="853" y="3295"/>
                      </a:lnTo>
                      <a:lnTo>
                        <a:pt x="854" y="3283"/>
                      </a:lnTo>
                      <a:lnTo>
                        <a:pt x="854" y="3271"/>
                      </a:lnTo>
                      <a:lnTo>
                        <a:pt x="853" y="3258"/>
                      </a:lnTo>
                      <a:lnTo>
                        <a:pt x="850" y="3246"/>
                      </a:lnTo>
                      <a:lnTo>
                        <a:pt x="847" y="3234"/>
                      </a:lnTo>
                      <a:lnTo>
                        <a:pt x="843" y="3222"/>
                      </a:lnTo>
                      <a:lnTo>
                        <a:pt x="838" y="3209"/>
                      </a:lnTo>
                      <a:lnTo>
                        <a:pt x="825" y="3184"/>
                      </a:lnTo>
                      <a:lnTo>
                        <a:pt x="809" y="3159"/>
                      </a:lnTo>
                      <a:lnTo>
                        <a:pt x="793" y="3135"/>
                      </a:lnTo>
                      <a:lnTo>
                        <a:pt x="777" y="3110"/>
                      </a:lnTo>
                      <a:lnTo>
                        <a:pt x="761" y="3086"/>
                      </a:lnTo>
                      <a:lnTo>
                        <a:pt x="747" y="3061"/>
                      </a:lnTo>
                      <a:lnTo>
                        <a:pt x="741" y="3050"/>
                      </a:lnTo>
                      <a:lnTo>
                        <a:pt x="736" y="3038"/>
                      </a:lnTo>
                      <a:lnTo>
                        <a:pt x="731" y="3026"/>
                      </a:lnTo>
                      <a:lnTo>
                        <a:pt x="727" y="3014"/>
                      </a:lnTo>
                      <a:lnTo>
                        <a:pt x="724" y="3002"/>
                      </a:lnTo>
                      <a:lnTo>
                        <a:pt x="722" y="2991"/>
                      </a:lnTo>
                      <a:lnTo>
                        <a:pt x="722" y="2979"/>
                      </a:lnTo>
                      <a:lnTo>
                        <a:pt x="723" y="2967"/>
                      </a:lnTo>
                      <a:lnTo>
                        <a:pt x="725" y="2956"/>
                      </a:lnTo>
                      <a:lnTo>
                        <a:pt x="730" y="2945"/>
                      </a:lnTo>
                      <a:lnTo>
                        <a:pt x="735" y="2934"/>
                      </a:lnTo>
                      <a:lnTo>
                        <a:pt x="743" y="2922"/>
                      </a:lnTo>
                      <a:lnTo>
                        <a:pt x="1266" y="2241"/>
                      </a:lnTo>
                      <a:lnTo>
                        <a:pt x="1614" y="2657"/>
                      </a:lnTo>
                      <a:lnTo>
                        <a:pt x="2120" y="2602"/>
                      </a:lnTo>
                      <a:lnTo>
                        <a:pt x="3858" y="2689"/>
                      </a:lnTo>
                      <a:lnTo>
                        <a:pt x="4187" y="2967"/>
                      </a:lnTo>
                      <a:lnTo>
                        <a:pt x="6020" y="3083"/>
                      </a:lnTo>
                      <a:lnTo>
                        <a:pt x="6615" y="3737"/>
                      </a:lnTo>
                      <a:lnTo>
                        <a:pt x="6648" y="3723"/>
                      </a:lnTo>
                      <a:lnTo>
                        <a:pt x="6683" y="3710"/>
                      </a:lnTo>
                      <a:lnTo>
                        <a:pt x="6718" y="3700"/>
                      </a:lnTo>
                      <a:lnTo>
                        <a:pt x="6754" y="3690"/>
                      </a:lnTo>
                      <a:lnTo>
                        <a:pt x="6825" y="3671"/>
                      </a:lnTo>
                      <a:lnTo>
                        <a:pt x="6894" y="3652"/>
                      </a:lnTo>
                      <a:lnTo>
                        <a:pt x="6910" y="3648"/>
                      </a:lnTo>
                      <a:lnTo>
                        <a:pt x="6927" y="3642"/>
                      </a:lnTo>
                      <a:lnTo>
                        <a:pt x="6943" y="3637"/>
                      </a:lnTo>
                      <a:lnTo>
                        <a:pt x="6959" y="3630"/>
                      </a:lnTo>
                      <a:lnTo>
                        <a:pt x="6974" y="3624"/>
                      </a:lnTo>
                      <a:lnTo>
                        <a:pt x="6990" y="3616"/>
                      </a:lnTo>
                      <a:lnTo>
                        <a:pt x="7005" y="3609"/>
                      </a:lnTo>
                      <a:lnTo>
                        <a:pt x="7019" y="3600"/>
                      </a:lnTo>
                      <a:lnTo>
                        <a:pt x="7033" y="3591"/>
                      </a:lnTo>
                      <a:lnTo>
                        <a:pt x="7047" y="3582"/>
                      </a:lnTo>
                      <a:lnTo>
                        <a:pt x="7059" y="3571"/>
                      </a:lnTo>
                      <a:lnTo>
                        <a:pt x="7072" y="3559"/>
                      </a:lnTo>
                      <a:lnTo>
                        <a:pt x="7084" y="3547"/>
                      </a:lnTo>
                      <a:lnTo>
                        <a:pt x="7095" y="3534"/>
                      </a:lnTo>
                      <a:lnTo>
                        <a:pt x="7105" y="3519"/>
                      </a:lnTo>
                      <a:lnTo>
                        <a:pt x="7116" y="3504"/>
                      </a:lnTo>
                      <a:lnTo>
                        <a:pt x="8300" y="1543"/>
                      </a:lnTo>
                      <a:lnTo>
                        <a:pt x="9312" y="1068"/>
                      </a:lnTo>
                      <a:lnTo>
                        <a:pt x="9929" y="654"/>
                      </a:lnTo>
                      <a:lnTo>
                        <a:pt x="9962" y="638"/>
                      </a:lnTo>
                      <a:lnTo>
                        <a:pt x="10014" y="620"/>
                      </a:lnTo>
                      <a:lnTo>
                        <a:pt x="10082" y="602"/>
                      </a:lnTo>
                      <a:lnTo>
                        <a:pt x="10166" y="583"/>
                      </a:lnTo>
                      <a:lnTo>
                        <a:pt x="10264" y="564"/>
                      </a:lnTo>
                      <a:lnTo>
                        <a:pt x="10375" y="544"/>
                      </a:lnTo>
                      <a:lnTo>
                        <a:pt x="10498" y="524"/>
                      </a:lnTo>
                      <a:lnTo>
                        <a:pt x="10633" y="503"/>
                      </a:lnTo>
                      <a:lnTo>
                        <a:pt x="10777" y="483"/>
                      </a:lnTo>
                      <a:lnTo>
                        <a:pt x="10930" y="461"/>
                      </a:lnTo>
                      <a:lnTo>
                        <a:pt x="11090" y="440"/>
                      </a:lnTo>
                      <a:lnTo>
                        <a:pt x="11257" y="417"/>
                      </a:lnTo>
                      <a:lnTo>
                        <a:pt x="11603" y="373"/>
                      </a:lnTo>
                      <a:lnTo>
                        <a:pt x="11961" y="328"/>
                      </a:lnTo>
                      <a:lnTo>
                        <a:pt x="12321" y="284"/>
                      </a:lnTo>
                      <a:lnTo>
                        <a:pt x="12673" y="238"/>
                      </a:lnTo>
                      <a:lnTo>
                        <a:pt x="12844" y="217"/>
                      </a:lnTo>
                      <a:lnTo>
                        <a:pt x="13010" y="195"/>
                      </a:lnTo>
                      <a:lnTo>
                        <a:pt x="13168" y="174"/>
                      </a:lnTo>
                      <a:lnTo>
                        <a:pt x="13320" y="152"/>
                      </a:lnTo>
                      <a:lnTo>
                        <a:pt x="13462" y="131"/>
                      </a:lnTo>
                      <a:lnTo>
                        <a:pt x="13595" y="111"/>
                      </a:lnTo>
                      <a:lnTo>
                        <a:pt x="13716" y="91"/>
                      </a:lnTo>
                      <a:lnTo>
                        <a:pt x="13826" y="72"/>
                      </a:lnTo>
                      <a:lnTo>
                        <a:pt x="13921" y="53"/>
                      </a:lnTo>
                      <a:lnTo>
                        <a:pt x="14003" y="35"/>
                      </a:lnTo>
                      <a:lnTo>
                        <a:pt x="14069" y="17"/>
                      </a:lnTo>
                      <a:lnTo>
                        <a:pt x="14118" y="0"/>
                      </a:lnTo>
                      <a:lnTo>
                        <a:pt x="15675" y="3780"/>
                      </a:lnTo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309" name="Freeform 148"/>
              <p:cNvSpPr>
                <a:spLocks noChangeAspect="1"/>
              </p:cNvSpPr>
              <p:nvPr/>
            </p:nvSpPr>
            <p:spPr bwMode="gray">
              <a:xfrm>
                <a:off x="3104" y="2214"/>
                <a:ext cx="3" cy="2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7" y="9"/>
                  </a:cxn>
                  <a:cxn ang="0">
                    <a:pos x="10" y="6"/>
                  </a:cxn>
                  <a:cxn ang="0">
                    <a:pos x="12" y="9"/>
                  </a:cxn>
                  <a:cxn ang="0">
                    <a:pos x="16" y="5"/>
                  </a:cxn>
                  <a:cxn ang="0">
                    <a:pos x="14" y="4"/>
                  </a:cxn>
                  <a:cxn ang="0">
                    <a:pos x="11" y="4"/>
                  </a:cxn>
                  <a:cxn ang="0">
                    <a:pos x="10" y="1"/>
                  </a:cxn>
                  <a:cxn ang="0">
                    <a:pos x="7" y="0"/>
                  </a:cxn>
                  <a:cxn ang="0">
                    <a:pos x="3" y="1"/>
                  </a:cxn>
                  <a:cxn ang="0">
                    <a:pos x="0" y="8"/>
                  </a:cxn>
                </a:cxnLst>
                <a:rect l="0" t="0" r="r" b="b"/>
                <a:pathLst>
                  <a:path w="16" h="9">
                    <a:moveTo>
                      <a:pt x="0" y="8"/>
                    </a:moveTo>
                    <a:lnTo>
                      <a:pt x="7" y="9"/>
                    </a:lnTo>
                    <a:lnTo>
                      <a:pt x="10" y="6"/>
                    </a:lnTo>
                    <a:lnTo>
                      <a:pt x="12" y="9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3" y="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310" name="Group 149"/>
              <p:cNvGrpSpPr>
                <a:grpSpLocks noChangeAspect="1"/>
              </p:cNvGrpSpPr>
              <p:nvPr/>
            </p:nvGrpSpPr>
            <p:grpSpPr bwMode="gray">
              <a:xfrm>
                <a:off x="3086" y="2189"/>
                <a:ext cx="85" cy="114"/>
                <a:chOff x="3086" y="2189"/>
                <a:chExt cx="85" cy="114"/>
              </a:xfrm>
              <a:grpFill/>
            </p:grpSpPr>
            <p:sp>
              <p:nvSpPr>
                <p:cNvPr id="324" name="Freeform 150"/>
                <p:cNvSpPr>
                  <a:spLocks noChangeAspect="1"/>
                </p:cNvSpPr>
                <p:nvPr/>
              </p:nvSpPr>
              <p:spPr bwMode="gray">
                <a:xfrm>
                  <a:off x="3130" y="2189"/>
                  <a:ext cx="4" cy="8"/>
                </a:xfrm>
                <a:custGeom>
                  <a:avLst/>
                  <a:gdLst/>
                  <a:ahLst/>
                  <a:cxnLst>
                    <a:cxn ang="0">
                      <a:pos x="0" y="15"/>
                    </a:cxn>
                    <a:cxn ang="0">
                      <a:pos x="1" y="19"/>
                    </a:cxn>
                    <a:cxn ang="0">
                      <a:pos x="3" y="25"/>
                    </a:cxn>
                    <a:cxn ang="0">
                      <a:pos x="2" y="27"/>
                    </a:cxn>
                    <a:cxn ang="0">
                      <a:pos x="3" y="31"/>
                    </a:cxn>
                    <a:cxn ang="0">
                      <a:pos x="1" y="36"/>
                    </a:cxn>
                    <a:cxn ang="0">
                      <a:pos x="3" y="37"/>
                    </a:cxn>
                    <a:cxn ang="0">
                      <a:pos x="11" y="40"/>
                    </a:cxn>
                    <a:cxn ang="0">
                      <a:pos x="12" y="36"/>
                    </a:cxn>
                    <a:cxn ang="0">
                      <a:pos x="17" y="27"/>
                    </a:cxn>
                    <a:cxn ang="0">
                      <a:pos x="17" y="18"/>
                    </a:cxn>
                    <a:cxn ang="0">
                      <a:pos x="15" y="15"/>
                    </a:cxn>
                    <a:cxn ang="0">
                      <a:pos x="15" y="11"/>
                    </a:cxn>
                    <a:cxn ang="0">
                      <a:pos x="18" y="9"/>
                    </a:cxn>
                    <a:cxn ang="0">
                      <a:pos x="19" y="4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7" y="4"/>
                    </a:cxn>
                    <a:cxn ang="0">
                      <a:pos x="0" y="15"/>
                    </a:cxn>
                  </a:cxnLst>
                  <a:rect l="0" t="0" r="r" b="b"/>
                  <a:pathLst>
                    <a:path w="19" h="40">
                      <a:moveTo>
                        <a:pt x="0" y="15"/>
                      </a:moveTo>
                      <a:lnTo>
                        <a:pt x="1" y="19"/>
                      </a:lnTo>
                      <a:lnTo>
                        <a:pt x="3" y="25"/>
                      </a:lnTo>
                      <a:lnTo>
                        <a:pt x="2" y="27"/>
                      </a:lnTo>
                      <a:lnTo>
                        <a:pt x="3" y="31"/>
                      </a:lnTo>
                      <a:lnTo>
                        <a:pt x="1" y="36"/>
                      </a:lnTo>
                      <a:lnTo>
                        <a:pt x="3" y="37"/>
                      </a:lnTo>
                      <a:lnTo>
                        <a:pt x="11" y="40"/>
                      </a:lnTo>
                      <a:lnTo>
                        <a:pt x="12" y="36"/>
                      </a:lnTo>
                      <a:lnTo>
                        <a:pt x="17" y="27"/>
                      </a:lnTo>
                      <a:lnTo>
                        <a:pt x="17" y="18"/>
                      </a:lnTo>
                      <a:lnTo>
                        <a:pt x="15" y="15"/>
                      </a:lnTo>
                      <a:lnTo>
                        <a:pt x="15" y="11"/>
                      </a:lnTo>
                      <a:lnTo>
                        <a:pt x="18" y="9"/>
                      </a:lnTo>
                      <a:lnTo>
                        <a:pt x="19" y="4"/>
                      </a:lnTo>
                      <a:lnTo>
                        <a:pt x="15" y="0"/>
                      </a:lnTo>
                      <a:lnTo>
                        <a:pt x="9" y="4"/>
                      </a:lnTo>
                      <a:lnTo>
                        <a:pt x="7" y="4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25" name="Freeform 151"/>
                <p:cNvSpPr>
                  <a:spLocks noChangeAspect="1"/>
                </p:cNvSpPr>
                <p:nvPr/>
              </p:nvSpPr>
              <p:spPr bwMode="gray">
                <a:xfrm>
                  <a:off x="3086" y="2207"/>
                  <a:ext cx="85" cy="96"/>
                </a:xfrm>
                <a:custGeom>
                  <a:avLst/>
                  <a:gdLst/>
                  <a:ahLst/>
                  <a:cxnLst>
                    <a:cxn ang="0">
                      <a:pos x="203" y="0"/>
                    </a:cxn>
                    <a:cxn ang="0">
                      <a:pos x="187" y="59"/>
                    </a:cxn>
                    <a:cxn ang="0">
                      <a:pos x="203" y="170"/>
                    </a:cxn>
                    <a:cxn ang="0">
                      <a:pos x="0" y="345"/>
                    </a:cxn>
                    <a:cxn ang="0">
                      <a:pos x="83" y="474"/>
                    </a:cxn>
                    <a:cxn ang="0">
                      <a:pos x="107" y="466"/>
                    </a:cxn>
                    <a:cxn ang="0">
                      <a:pos x="137" y="459"/>
                    </a:cxn>
                    <a:cxn ang="0">
                      <a:pos x="154" y="464"/>
                    </a:cxn>
                    <a:cxn ang="0">
                      <a:pos x="165" y="460"/>
                    </a:cxn>
                    <a:cxn ang="0">
                      <a:pos x="179" y="447"/>
                    </a:cxn>
                    <a:cxn ang="0">
                      <a:pos x="180" y="436"/>
                    </a:cxn>
                    <a:cxn ang="0">
                      <a:pos x="186" y="425"/>
                    </a:cxn>
                    <a:cxn ang="0">
                      <a:pos x="224" y="407"/>
                    </a:cxn>
                    <a:cxn ang="0">
                      <a:pos x="241" y="404"/>
                    </a:cxn>
                    <a:cxn ang="0">
                      <a:pos x="253" y="382"/>
                    </a:cxn>
                    <a:cxn ang="0">
                      <a:pos x="262" y="361"/>
                    </a:cxn>
                    <a:cxn ang="0">
                      <a:pos x="278" y="352"/>
                    </a:cxn>
                    <a:cxn ang="0">
                      <a:pos x="289" y="348"/>
                    </a:cxn>
                    <a:cxn ang="0">
                      <a:pos x="309" y="346"/>
                    </a:cxn>
                    <a:cxn ang="0">
                      <a:pos x="319" y="337"/>
                    </a:cxn>
                    <a:cxn ang="0">
                      <a:pos x="314" y="325"/>
                    </a:cxn>
                    <a:cxn ang="0">
                      <a:pos x="312" y="303"/>
                    </a:cxn>
                    <a:cxn ang="0">
                      <a:pos x="314" y="285"/>
                    </a:cxn>
                    <a:cxn ang="0">
                      <a:pos x="335" y="256"/>
                    </a:cxn>
                    <a:cxn ang="0">
                      <a:pos x="342" y="255"/>
                    </a:cxn>
                    <a:cxn ang="0">
                      <a:pos x="347" y="262"/>
                    </a:cxn>
                    <a:cxn ang="0">
                      <a:pos x="355" y="261"/>
                    </a:cxn>
                    <a:cxn ang="0">
                      <a:pos x="369" y="239"/>
                    </a:cxn>
                    <a:cxn ang="0">
                      <a:pos x="382" y="216"/>
                    </a:cxn>
                    <a:cxn ang="0">
                      <a:pos x="416" y="178"/>
                    </a:cxn>
                    <a:cxn ang="0">
                      <a:pos x="422" y="161"/>
                    </a:cxn>
                    <a:cxn ang="0">
                      <a:pos x="427" y="143"/>
                    </a:cxn>
                    <a:cxn ang="0">
                      <a:pos x="419" y="137"/>
                    </a:cxn>
                    <a:cxn ang="0">
                      <a:pos x="406" y="131"/>
                    </a:cxn>
                    <a:cxn ang="0">
                      <a:pos x="391" y="111"/>
                    </a:cxn>
                    <a:cxn ang="0">
                      <a:pos x="382" y="103"/>
                    </a:cxn>
                    <a:cxn ang="0">
                      <a:pos x="375" y="92"/>
                    </a:cxn>
                    <a:cxn ang="0">
                      <a:pos x="366" y="79"/>
                    </a:cxn>
                    <a:cxn ang="0">
                      <a:pos x="347" y="73"/>
                    </a:cxn>
                    <a:cxn ang="0">
                      <a:pos x="315" y="63"/>
                    </a:cxn>
                    <a:cxn ang="0">
                      <a:pos x="285" y="51"/>
                    </a:cxn>
                    <a:cxn ang="0">
                      <a:pos x="266" y="40"/>
                    </a:cxn>
                    <a:cxn ang="0">
                      <a:pos x="252" y="23"/>
                    </a:cxn>
                    <a:cxn ang="0">
                      <a:pos x="241" y="12"/>
                    </a:cxn>
                  </a:cxnLst>
                  <a:rect l="0" t="0" r="r" b="b"/>
                  <a:pathLst>
                    <a:path w="427" h="482">
                      <a:moveTo>
                        <a:pt x="236" y="0"/>
                      </a:moveTo>
                      <a:lnTo>
                        <a:pt x="203" y="0"/>
                      </a:lnTo>
                      <a:lnTo>
                        <a:pt x="220" y="46"/>
                      </a:lnTo>
                      <a:lnTo>
                        <a:pt x="187" y="59"/>
                      </a:lnTo>
                      <a:lnTo>
                        <a:pt x="176" y="130"/>
                      </a:lnTo>
                      <a:lnTo>
                        <a:pt x="203" y="170"/>
                      </a:lnTo>
                      <a:lnTo>
                        <a:pt x="165" y="287"/>
                      </a:lnTo>
                      <a:lnTo>
                        <a:pt x="0" y="345"/>
                      </a:lnTo>
                      <a:lnTo>
                        <a:pt x="57" y="482"/>
                      </a:lnTo>
                      <a:lnTo>
                        <a:pt x="83" y="474"/>
                      </a:lnTo>
                      <a:lnTo>
                        <a:pt x="94" y="473"/>
                      </a:lnTo>
                      <a:lnTo>
                        <a:pt x="107" y="466"/>
                      </a:lnTo>
                      <a:lnTo>
                        <a:pt x="117" y="460"/>
                      </a:lnTo>
                      <a:lnTo>
                        <a:pt x="137" y="459"/>
                      </a:lnTo>
                      <a:lnTo>
                        <a:pt x="150" y="461"/>
                      </a:lnTo>
                      <a:lnTo>
                        <a:pt x="154" y="464"/>
                      </a:lnTo>
                      <a:lnTo>
                        <a:pt x="161" y="464"/>
                      </a:lnTo>
                      <a:lnTo>
                        <a:pt x="165" y="460"/>
                      </a:lnTo>
                      <a:lnTo>
                        <a:pt x="172" y="455"/>
                      </a:lnTo>
                      <a:lnTo>
                        <a:pt x="179" y="447"/>
                      </a:lnTo>
                      <a:lnTo>
                        <a:pt x="180" y="443"/>
                      </a:lnTo>
                      <a:lnTo>
                        <a:pt x="180" y="436"/>
                      </a:lnTo>
                      <a:lnTo>
                        <a:pt x="180" y="430"/>
                      </a:lnTo>
                      <a:lnTo>
                        <a:pt x="186" y="425"/>
                      </a:lnTo>
                      <a:lnTo>
                        <a:pt x="194" y="414"/>
                      </a:lnTo>
                      <a:lnTo>
                        <a:pt x="224" y="407"/>
                      </a:lnTo>
                      <a:lnTo>
                        <a:pt x="234" y="407"/>
                      </a:lnTo>
                      <a:lnTo>
                        <a:pt x="241" y="404"/>
                      </a:lnTo>
                      <a:lnTo>
                        <a:pt x="250" y="394"/>
                      </a:lnTo>
                      <a:lnTo>
                        <a:pt x="253" y="382"/>
                      </a:lnTo>
                      <a:lnTo>
                        <a:pt x="256" y="371"/>
                      </a:lnTo>
                      <a:lnTo>
                        <a:pt x="262" y="361"/>
                      </a:lnTo>
                      <a:lnTo>
                        <a:pt x="269" y="355"/>
                      </a:lnTo>
                      <a:lnTo>
                        <a:pt x="278" y="352"/>
                      </a:lnTo>
                      <a:lnTo>
                        <a:pt x="282" y="347"/>
                      </a:lnTo>
                      <a:lnTo>
                        <a:pt x="289" y="348"/>
                      </a:lnTo>
                      <a:lnTo>
                        <a:pt x="301" y="346"/>
                      </a:lnTo>
                      <a:lnTo>
                        <a:pt x="309" y="346"/>
                      </a:lnTo>
                      <a:lnTo>
                        <a:pt x="316" y="342"/>
                      </a:lnTo>
                      <a:lnTo>
                        <a:pt x="319" y="337"/>
                      </a:lnTo>
                      <a:lnTo>
                        <a:pt x="316" y="328"/>
                      </a:lnTo>
                      <a:lnTo>
                        <a:pt x="314" y="325"/>
                      </a:lnTo>
                      <a:lnTo>
                        <a:pt x="312" y="312"/>
                      </a:lnTo>
                      <a:lnTo>
                        <a:pt x="312" y="303"/>
                      </a:lnTo>
                      <a:lnTo>
                        <a:pt x="315" y="293"/>
                      </a:lnTo>
                      <a:lnTo>
                        <a:pt x="314" y="285"/>
                      </a:lnTo>
                      <a:lnTo>
                        <a:pt x="327" y="265"/>
                      </a:lnTo>
                      <a:lnTo>
                        <a:pt x="335" y="256"/>
                      </a:lnTo>
                      <a:lnTo>
                        <a:pt x="339" y="253"/>
                      </a:lnTo>
                      <a:lnTo>
                        <a:pt x="342" y="255"/>
                      </a:lnTo>
                      <a:lnTo>
                        <a:pt x="344" y="260"/>
                      </a:lnTo>
                      <a:lnTo>
                        <a:pt x="347" y="262"/>
                      </a:lnTo>
                      <a:lnTo>
                        <a:pt x="353" y="264"/>
                      </a:lnTo>
                      <a:lnTo>
                        <a:pt x="355" y="261"/>
                      </a:lnTo>
                      <a:lnTo>
                        <a:pt x="365" y="244"/>
                      </a:lnTo>
                      <a:lnTo>
                        <a:pt x="369" y="239"/>
                      </a:lnTo>
                      <a:lnTo>
                        <a:pt x="376" y="224"/>
                      </a:lnTo>
                      <a:lnTo>
                        <a:pt x="382" y="216"/>
                      </a:lnTo>
                      <a:lnTo>
                        <a:pt x="396" y="206"/>
                      </a:lnTo>
                      <a:lnTo>
                        <a:pt x="416" y="178"/>
                      </a:lnTo>
                      <a:lnTo>
                        <a:pt x="421" y="167"/>
                      </a:lnTo>
                      <a:lnTo>
                        <a:pt x="422" y="161"/>
                      </a:lnTo>
                      <a:lnTo>
                        <a:pt x="427" y="147"/>
                      </a:lnTo>
                      <a:lnTo>
                        <a:pt x="427" y="143"/>
                      </a:lnTo>
                      <a:lnTo>
                        <a:pt x="423" y="140"/>
                      </a:lnTo>
                      <a:lnTo>
                        <a:pt x="419" y="137"/>
                      </a:lnTo>
                      <a:lnTo>
                        <a:pt x="418" y="134"/>
                      </a:lnTo>
                      <a:lnTo>
                        <a:pt x="406" y="131"/>
                      </a:lnTo>
                      <a:lnTo>
                        <a:pt x="396" y="124"/>
                      </a:lnTo>
                      <a:lnTo>
                        <a:pt x="391" y="111"/>
                      </a:lnTo>
                      <a:lnTo>
                        <a:pt x="386" y="108"/>
                      </a:lnTo>
                      <a:lnTo>
                        <a:pt x="382" y="103"/>
                      </a:lnTo>
                      <a:lnTo>
                        <a:pt x="381" y="98"/>
                      </a:lnTo>
                      <a:lnTo>
                        <a:pt x="375" y="92"/>
                      </a:lnTo>
                      <a:lnTo>
                        <a:pt x="373" y="88"/>
                      </a:lnTo>
                      <a:lnTo>
                        <a:pt x="366" y="79"/>
                      </a:lnTo>
                      <a:lnTo>
                        <a:pt x="354" y="73"/>
                      </a:lnTo>
                      <a:lnTo>
                        <a:pt x="347" y="73"/>
                      </a:lnTo>
                      <a:lnTo>
                        <a:pt x="332" y="66"/>
                      </a:lnTo>
                      <a:lnTo>
                        <a:pt x="315" y="63"/>
                      </a:lnTo>
                      <a:lnTo>
                        <a:pt x="309" y="61"/>
                      </a:lnTo>
                      <a:lnTo>
                        <a:pt x="285" y="51"/>
                      </a:lnTo>
                      <a:lnTo>
                        <a:pt x="274" y="43"/>
                      </a:lnTo>
                      <a:lnTo>
                        <a:pt x="266" y="40"/>
                      </a:lnTo>
                      <a:lnTo>
                        <a:pt x="260" y="30"/>
                      </a:lnTo>
                      <a:lnTo>
                        <a:pt x="252" y="23"/>
                      </a:lnTo>
                      <a:lnTo>
                        <a:pt x="250" y="19"/>
                      </a:lnTo>
                      <a:lnTo>
                        <a:pt x="241" y="12"/>
                      </a:lnTo>
                      <a:lnTo>
                        <a:pt x="236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311" name="Freeform 152"/>
              <p:cNvSpPr>
                <a:spLocks noChangeAspect="1"/>
              </p:cNvSpPr>
              <p:nvPr/>
            </p:nvSpPr>
            <p:spPr bwMode="gray">
              <a:xfrm>
                <a:off x="3069" y="2190"/>
                <a:ext cx="1" cy="3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3" y="19"/>
                  </a:cxn>
                  <a:cxn ang="0">
                    <a:pos x="8" y="17"/>
                  </a:cxn>
                  <a:cxn ang="0">
                    <a:pos x="8" y="3"/>
                  </a:cxn>
                </a:cxnLst>
                <a:rect l="0" t="0" r="r" b="b"/>
                <a:pathLst>
                  <a:path w="8" h="19">
                    <a:moveTo>
                      <a:pt x="8" y="3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3" y="19"/>
                    </a:lnTo>
                    <a:lnTo>
                      <a:pt x="8" y="17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312" name="Group 153"/>
              <p:cNvGrpSpPr>
                <a:grpSpLocks noChangeAspect="1"/>
              </p:cNvGrpSpPr>
              <p:nvPr/>
            </p:nvGrpSpPr>
            <p:grpSpPr bwMode="gray">
              <a:xfrm>
                <a:off x="3000" y="2012"/>
                <a:ext cx="210" cy="192"/>
                <a:chOff x="3000" y="2012"/>
                <a:chExt cx="210" cy="192"/>
              </a:xfrm>
              <a:grpFill/>
            </p:grpSpPr>
            <p:sp>
              <p:nvSpPr>
                <p:cNvPr id="322" name="Freeform 154"/>
                <p:cNvSpPr>
                  <a:spLocks noChangeAspect="1"/>
                </p:cNvSpPr>
                <p:nvPr/>
              </p:nvSpPr>
              <p:spPr bwMode="gray">
                <a:xfrm>
                  <a:off x="3122" y="2182"/>
                  <a:ext cx="10" cy="5"/>
                </a:xfrm>
                <a:custGeom>
                  <a:avLst/>
                  <a:gdLst/>
                  <a:ahLst/>
                  <a:cxnLst>
                    <a:cxn ang="0">
                      <a:pos x="50" y="2"/>
                    </a:cxn>
                    <a:cxn ang="0">
                      <a:pos x="45" y="0"/>
                    </a:cxn>
                    <a:cxn ang="0">
                      <a:pos x="27" y="2"/>
                    </a:cxn>
                    <a:cxn ang="0">
                      <a:pos x="23" y="10"/>
                    </a:cxn>
                    <a:cxn ang="0">
                      <a:pos x="12" y="18"/>
                    </a:cxn>
                    <a:cxn ang="0">
                      <a:pos x="0" y="22"/>
                    </a:cxn>
                    <a:cxn ang="0">
                      <a:pos x="1" y="26"/>
                    </a:cxn>
                    <a:cxn ang="0">
                      <a:pos x="27" y="19"/>
                    </a:cxn>
                    <a:cxn ang="0">
                      <a:pos x="50" y="2"/>
                    </a:cxn>
                  </a:cxnLst>
                  <a:rect l="0" t="0" r="r" b="b"/>
                  <a:pathLst>
                    <a:path w="50" h="26">
                      <a:moveTo>
                        <a:pt x="50" y="2"/>
                      </a:moveTo>
                      <a:lnTo>
                        <a:pt x="45" y="0"/>
                      </a:lnTo>
                      <a:lnTo>
                        <a:pt x="27" y="2"/>
                      </a:lnTo>
                      <a:lnTo>
                        <a:pt x="23" y="10"/>
                      </a:lnTo>
                      <a:lnTo>
                        <a:pt x="12" y="18"/>
                      </a:lnTo>
                      <a:lnTo>
                        <a:pt x="0" y="22"/>
                      </a:lnTo>
                      <a:lnTo>
                        <a:pt x="1" y="26"/>
                      </a:lnTo>
                      <a:lnTo>
                        <a:pt x="27" y="19"/>
                      </a:lnTo>
                      <a:lnTo>
                        <a:pt x="5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23" name="Freeform 155"/>
                <p:cNvSpPr>
                  <a:spLocks noChangeAspect="1"/>
                </p:cNvSpPr>
                <p:nvPr/>
              </p:nvSpPr>
              <p:spPr bwMode="gray">
                <a:xfrm>
                  <a:off x="3000" y="2012"/>
                  <a:ext cx="210" cy="192"/>
                </a:xfrm>
                <a:custGeom>
                  <a:avLst/>
                  <a:gdLst/>
                  <a:ahLst/>
                  <a:cxnLst>
                    <a:cxn ang="0">
                      <a:pos x="920" y="957"/>
                    </a:cxn>
                    <a:cxn ang="0">
                      <a:pos x="836" y="944"/>
                    </a:cxn>
                    <a:cxn ang="0">
                      <a:pos x="792" y="933"/>
                    </a:cxn>
                    <a:cxn ang="0">
                      <a:pos x="717" y="912"/>
                    </a:cxn>
                    <a:cxn ang="0">
                      <a:pos x="673" y="839"/>
                    </a:cxn>
                    <a:cxn ang="0">
                      <a:pos x="610" y="865"/>
                    </a:cxn>
                    <a:cxn ang="0">
                      <a:pos x="551" y="868"/>
                    </a:cxn>
                    <a:cxn ang="0">
                      <a:pos x="511" y="859"/>
                    </a:cxn>
                    <a:cxn ang="0">
                      <a:pos x="462" y="822"/>
                    </a:cxn>
                    <a:cxn ang="0">
                      <a:pos x="400" y="794"/>
                    </a:cxn>
                    <a:cxn ang="0">
                      <a:pos x="351" y="713"/>
                    </a:cxn>
                    <a:cxn ang="0">
                      <a:pos x="323" y="661"/>
                    </a:cxn>
                    <a:cxn ang="0">
                      <a:pos x="292" y="661"/>
                    </a:cxn>
                    <a:cxn ang="0">
                      <a:pos x="270" y="632"/>
                    </a:cxn>
                    <a:cxn ang="0">
                      <a:pos x="252" y="640"/>
                    </a:cxn>
                    <a:cxn ang="0">
                      <a:pos x="237" y="653"/>
                    </a:cxn>
                    <a:cxn ang="0">
                      <a:pos x="188" y="595"/>
                    </a:cxn>
                    <a:cxn ang="0">
                      <a:pos x="172" y="506"/>
                    </a:cxn>
                    <a:cxn ang="0">
                      <a:pos x="111" y="466"/>
                    </a:cxn>
                    <a:cxn ang="0">
                      <a:pos x="82" y="422"/>
                    </a:cxn>
                    <a:cxn ang="0">
                      <a:pos x="72" y="393"/>
                    </a:cxn>
                    <a:cxn ang="0">
                      <a:pos x="100" y="328"/>
                    </a:cxn>
                    <a:cxn ang="0">
                      <a:pos x="102" y="278"/>
                    </a:cxn>
                    <a:cxn ang="0">
                      <a:pos x="40" y="213"/>
                    </a:cxn>
                    <a:cxn ang="0">
                      <a:pos x="12" y="118"/>
                    </a:cxn>
                    <a:cxn ang="0">
                      <a:pos x="0" y="34"/>
                    </a:cxn>
                    <a:cxn ang="0">
                      <a:pos x="38" y="16"/>
                    </a:cxn>
                    <a:cxn ang="0">
                      <a:pos x="121" y="68"/>
                    </a:cxn>
                    <a:cxn ang="0">
                      <a:pos x="166" y="27"/>
                    </a:cxn>
                    <a:cxn ang="0">
                      <a:pos x="227" y="57"/>
                    </a:cxn>
                    <a:cxn ang="0">
                      <a:pos x="232" y="85"/>
                    </a:cxn>
                    <a:cxn ang="0">
                      <a:pos x="260" y="123"/>
                    </a:cxn>
                    <a:cxn ang="0">
                      <a:pos x="303" y="171"/>
                    </a:cxn>
                    <a:cxn ang="0">
                      <a:pos x="357" y="203"/>
                    </a:cxn>
                    <a:cxn ang="0">
                      <a:pos x="497" y="207"/>
                    </a:cxn>
                    <a:cxn ang="0">
                      <a:pos x="543" y="207"/>
                    </a:cxn>
                    <a:cxn ang="0">
                      <a:pos x="600" y="135"/>
                    </a:cxn>
                    <a:cxn ang="0">
                      <a:pos x="664" y="121"/>
                    </a:cxn>
                    <a:cxn ang="0">
                      <a:pos x="722" y="119"/>
                    </a:cxn>
                    <a:cxn ang="0">
                      <a:pos x="804" y="150"/>
                    </a:cxn>
                    <a:cxn ang="0">
                      <a:pos x="851" y="187"/>
                    </a:cxn>
                    <a:cxn ang="0">
                      <a:pos x="936" y="230"/>
                    </a:cxn>
                    <a:cxn ang="0">
                      <a:pos x="935" y="321"/>
                    </a:cxn>
                    <a:cxn ang="0">
                      <a:pos x="895" y="398"/>
                    </a:cxn>
                    <a:cxn ang="0">
                      <a:pos x="899" y="470"/>
                    </a:cxn>
                    <a:cxn ang="0">
                      <a:pos x="909" y="546"/>
                    </a:cxn>
                    <a:cxn ang="0">
                      <a:pos x="960" y="586"/>
                    </a:cxn>
                    <a:cxn ang="0">
                      <a:pos x="915" y="676"/>
                    </a:cxn>
                    <a:cxn ang="0">
                      <a:pos x="986" y="759"/>
                    </a:cxn>
                    <a:cxn ang="0">
                      <a:pos x="1023" y="829"/>
                    </a:cxn>
                    <a:cxn ang="0">
                      <a:pos x="1033" y="866"/>
                    </a:cxn>
                    <a:cxn ang="0">
                      <a:pos x="970" y="902"/>
                    </a:cxn>
                  </a:cxnLst>
                  <a:rect l="0" t="0" r="r" b="b"/>
                  <a:pathLst>
                    <a:path w="1049" h="961">
                      <a:moveTo>
                        <a:pt x="957" y="958"/>
                      </a:moveTo>
                      <a:lnTo>
                        <a:pt x="954" y="957"/>
                      </a:lnTo>
                      <a:lnTo>
                        <a:pt x="947" y="961"/>
                      </a:lnTo>
                      <a:lnTo>
                        <a:pt x="932" y="960"/>
                      </a:lnTo>
                      <a:lnTo>
                        <a:pt x="920" y="957"/>
                      </a:lnTo>
                      <a:lnTo>
                        <a:pt x="903" y="951"/>
                      </a:lnTo>
                      <a:lnTo>
                        <a:pt x="895" y="944"/>
                      </a:lnTo>
                      <a:lnTo>
                        <a:pt x="889" y="949"/>
                      </a:lnTo>
                      <a:lnTo>
                        <a:pt x="855" y="947"/>
                      </a:lnTo>
                      <a:lnTo>
                        <a:pt x="836" y="944"/>
                      </a:lnTo>
                      <a:lnTo>
                        <a:pt x="825" y="939"/>
                      </a:lnTo>
                      <a:lnTo>
                        <a:pt x="820" y="941"/>
                      </a:lnTo>
                      <a:lnTo>
                        <a:pt x="818" y="945"/>
                      </a:lnTo>
                      <a:lnTo>
                        <a:pt x="806" y="938"/>
                      </a:lnTo>
                      <a:lnTo>
                        <a:pt x="792" y="933"/>
                      </a:lnTo>
                      <a:lnTo>
                        <a:pt x="775" y="933"/>
                      </a:lnTo>
                      <a:lnTo>
                        <a:pt x="755" y="930"/>
                      </a:lnTo>
                      <a:lnTo>
                        <a:pt x="744" y="926"/>
                      </a:lnTo>
                      <a:lnTo>
                        <a:pt x="726" y="925"/>
                      </a:lnTo>
                      <a:lnTo>
                        <a:pt x="717" y="912"/>
                      </a:lnTo>
                      <a:lnTo>
                        <a:pt x="710" y="893"/>
                      </a:lnTo>
                      <a:lnTo>
                        <a:pt x="705" y="869"/>
                      </a:lnTo>
                      <a:lnTo>
                        <a:pt x="697" y="852"/>
                      </a:lnTo>
                      <a:lnTo>
                        <a:pt x="683" y="843"/>
                      </a:lnTo>
                      <a:lnTo>
                        <a:pt x="673" y="839"/>
                      </a:lnTo>
                      <a:lnTo>
                        <a:pt x="665" y="838"/>
                      </a:lnTo>
                      <a:lnTo>
                        <a:pt x="645" y="847"/>
                      </a:lnTo>
                      <a:lnTo>
                        <a:pt x="625" y="853"/>
                      </a:lnTo>
                      <a:lnTo>
                        <a:pt x="619" y="860"/>
                      </a:lnTo>
                      <a:lnTo>
                        <a:pt x="610" y="865"/>
                      </a:lnTo>
                      <a:lnTo>
                        <a:pt x="600" y="865"/>
                      </a:lnTo>
                      <a:lnTo>
                        <a:pt x="584" y="875"/>
                      </a:lnTo>
                      <a:lnTo>
                        <a:pt x="573" y="877"/>
                      </a:lnTo>
                      <a:lnTo>
                        <a:pt x="559" y="874"/>
                      </a:lnTo>
                      <a:lnTo>
                        <a:pt x="551" y="868"/>
                      </a:lnTo>
                      <a:lnTo>
                        <a:pt x="537" y="865"/>
                      </a:lnTo>
                      <a:lnTo>
                        <a:pt x="523" y="868"/>
                      </a:lnTo>
                      <a:lnTo>
                        <a:pt x="516" y="868"/>
                      </a:lnTo>
                      <a:lnTo>
                        <a:pt x="507" y="856"/>
                      </a:lnTo>
                      <a:lnTo>
                        <a:pt x="511" y="859"/>
                      </a:lnTo>
                      <a:lnTo>
                        <a:pt x="509" y="854"/>
                      </a:lnTo>
                      <a:lnTo>
                        <a:pt x="502" y="849"/>
                      </a:lnTo>
                      <a:lnTo>
                        <a:pt x="470" y="838"/>
                      </a:lnTo>
                      <a:lnTo>
                        <a:pt x="462" y="826"/>
                      </a:lnTo>
                      <a:lnTo>
                        <a:pt x="462" y="822"/>
                      </a:lnTo>
                      <a:lnTo>
                        <a:pt x="453" y="812"/>
                      </a:lnTo>
                      <a:lnTo>
                        <a:pt x="438" y="805"/>
                      </a:lnTo>
                      <a:lnTo>
                        <a:pt x="425" y="800"/>
                      </a:lnTo>
                      <a:lnTo>
                        <a:pt x="409" y="799"/>
                      </a:lnTo>
                      <a:lnTo>
                        <a:pt x="400" y="794"/>
                      </a:lnTo>
                      <a:lnTo>
                        <a:pt x="392" y="785"/>
                      </a:lnTo>
                      <a:lnTo>
                        <a:pt x="384" y="762"/>
                      </a:lnTo>
                      <a:lnTo>
                        <a:pt x="374" y="745"/>
                      </a:lnTo>
                      <a:lnTo>
                        <a:pt x="371" y="730"/>
                      </a:lnTo>
                      <a:lnTo>
                        <a:pt x="351" y="713"/>
                      </a:lnTo>
                      <a:lnTo>
                        <a:pt x="347" y="699"/>
                      </a:lnTo>
                      <a:lnTo>
                        <a:pt x="342" y="689"/>
                      </a:lnTo>
                      <a:lnTo>
                        <a:pt x="334" y="685"/>
                      </a:lnTo>
                      <a:lnTo>
                        <a:pt x="324" y="669"/>
                      </a:lnTo>
                      <a:lnTo>
                        <a:pt x="323" y="661"/>
                      </a:lnTo>
                      <a:lnTo>
                        <a:pt x="319" y="655"/>
                      </a:lnTo>
                      <a:lnTo>
                        <a:pt x="313" y="651"/>
                      </a:lnTo>
                      <a:lnTo>
                        <a:pt x="301" y="656"/>
                      </a:lnTo>
                      <a:lnTo>
                        <a:pt x="293" y="664"/>
                      </a:lnTo>
                      <a:lnTo>
                        <a:pt x="292" y="661"/>
                      </a:lnTo>
                      <a:lnTo>
                        <a:pt x="286" y="659"/>
                      </a:lnTo>
                      <a:lnTo>
                        <a:pt x="283" y="654"/>
                      </a:lnTo>
                      <a:lnTo>
                        <a:pt x="276" y="649"/>
                      </a:lnTo>
                      <a:lnTo>
                        <a:pt x="271" y="642"/>
                      </a:lnTo>
                      <a:lnTo>
                        <a:pt x="270" y="632"/>
                      </a:lnTo>
                      <a:lnTo>
                        <a:pt x="265" y="627"/>
                      </a:lnTo>
                      <a:lnTo>
                        <a:pt x="256" y="624"/>
                      </a:lnTo>
                      <a:lnTo>
                        <a:pt x="252" y="628"/>
                      </a:lnTo>
                      <a:lnTo>
                        <a:pt x="254" y="634"/>
                      </a:lnTo>
                      <a:lnTo>
                        <a:pt x="252" y="640"/>
                      </a:lnTo>
                      <a:lnTo>
                        <a:pt x="253" y="646"/>
                      </a:lnTo>
                      <a:lnTo>
                        <a:pt x="244" y="646"/>
                      </a:lnTo>
                      <a:lnTo>
                        <a:pt x="243" y="656"/>
                      </a:lnTo>
                      <a:lnTo>
                        <a:pt x="240" y="655"/>
                      </a:lnTo>
                      <a:lnTo>
                        <a:pt x="237" y="653"/>
                      </a:lnTo>
                      <a:lnTo>
                        <a:pt x="217" y="638"/>
                      </a:lnTo>
                      <a:lnTo>
                        <a:pt x="210" y="630"/>
                      </a:lnTo>
                      <a:lnTo>
                        <a:pt x="205" y="622"/>
                      </a:lnTo>
                      <a:lnTo>
                        <a:pt x="201" y="602"/>
                      </a:lnTo>
                      <a:lnTo>
                        <a:pt x="188" y="595"/>
                      </a:lnTo>
                      <a:lnTo>
                        <a:pt x="189" y="574"/>
                      </a:lnTo>
                      <a:lnTo>
                        <a:pt x="193" y="547"/>
                      </a:lnTo>
                      <a:lnTo>
                        <a:pt x="186" y="533"/>
                      </a:lnTo>
                      <a:lnTo>
                        <a:pt x="179" y="521"/>
                      </a:lnTo>
                      <a:lnTo>
                        <a:pt x="172" y="506"/>
                      </a:lnTo>
                      <a:lnTo>
                        <a:pt x="163" y="497"/>
                      </a:lnTo>
                      <a:lnTo>
                        <a:pt x="150" y="493"/>
                      </a:lnTo>
                      <a:lnTo>
                        <a:pt x="140" y="488"/>
                      </a:lnTo>
                      <a:lnTo>
                        <a:pt x="126" y="477"/>
                      </a:lnTo>
                      <a:lnTo>
                        <a:pt x="111" y="466"/>
                      </a:lnTo>
                      <a:lnTo>
                        <a:pt x="99" y="460"/>
                      </a:lnTo>
                      <a:lnTo>
                        <a:pt x="99" y="449"/>
                      </a:lnTo>
                      <a:lnTo>
                        <a:pt x="93" y="435"/>
                      </a:lnTo>
                      <a:lnTo>
                        <a:pt x="86" y="429"/>
                      </a:lnTo>
                      <a:lnTo>
                        <a:pt x="82" y="422"/>
                      </a:lnTo>
                      <a:lnTo>
                        <a:pt x="73" y="422"/>
                      </a:lnTo>
                      <a:lnTo>
                        <a:pt x="67" y="417"/>
                      </a:lnTo>
                      <a:lnTo>
                        <a:pt x="65" y="401"/>
                      </a:lnTo>
                      <a:lnTo>
                        <a:pt x="68" y="400"/>
                      </a:lnTo>
                      <a:lnTo>
                        <a:pt x="72" y="393"/>
                      </a:lnTo>
                      <a:lnTo>
                        <a:pt x="76" y="368"/>
                      </a:lnTo>
                      <a:lnTo>
                        <a:pt x="80" y="360"/>
                      </a:lnTo>
                      <a:lnTo>
                        <a:pt x="88" y="358"/>
                      </a:lnTo>
                      <a:lnTo>
                        <a:pt x="87" y="349"/>
                      </a:lnTo>
                      <a:lnTo>
                        <a:pt x="100" y="328"/>
                      </a:lnTo>
                      <a:lnTo>
                        <a:pt x="109" y="317"/>
                      </a:lnTo>
                      <a:lnTo>
                        <a:pt x="104" y="299"/>
                      </a:lnTo>
                      <a:lnTo>
                        <a:pt x="110" y="285"/>
                      </a:lnTo>
                      <a:lnTo>
                        <a:pt x="116" y="278"/>
                      </a:lnTo>
                      <a:lnTo>
                        <a:pt x="102" y="278"/>
                      </a:lnTo>
                      <a:lnTo>
                        <a:pt x="80" y="273"/>
                      </a:lnTo>
                      <a:lnTo>
                        <a:pt x="68" y="262"/>
                      </a:lnTo>
                      <a:lnTo>
                        <a:pt x="62" y="240"/>
                      </a:lnTo>
                      <a:lnTo>
                        <a:pt x="50" y="230"/>
                      </a:lnTo>
                      <a:lnTo>
                        <a:pt x="40" y="213"/>
                      </a:lnTo>
                      <a:lnTo>
                        <a:pt x="35" y="180"/>
                      </a:lnTo>
                      <a:lnTo>
                        <a:pt x="34" y="164"/>
                      </a:lnTo>
                      <a:lnTo>
                        <a:pt x="22" y="147"/>
                      </a:lnTo>
                      <a:lnTo>
                        <a:pt x="8" y="139"/>
                      </a:lnTo>
                      <a:lnTo>
                        <a:pt x="12" y="118"/>
                      </a:lnTo>
                      <a:lnTo>
                        <a:pt x="10" y="102"/>
                      </a:lnTo>
                      <a:lnTo>
                        <a:pt x="10" y="85"/>
                      </a:lnTo>
                      <a:lnTo>
                        <a:pt x="8" y="58"/>
                      </a:lnTo>
                      <a:lnTo>
                        <a:pt x="1" y="41"/>
                      </a:lnTo>
                      <a:lnTo>
                        <a:pt x="0" y="34"/>
                      </a:lnTo>
                      <a:lnTo>
                        <a:pt x="14" y="25"/>
                      </a:lnTo>
                      <a:lnTo>
                        <a:pt x="16" y="18"/>
                      </a:lnTo>
                      <a:lnTo>
                        <a:pt x="25" y="0"/>
                      </a:lnTo>
                      <a:lnTo>
                        <a:pt x="34" y="11"/>
                      </a:lnTo>
                      <a:lnTo>
                        <a:pt x="38" y="16"/>
                      </a:lnTo>
                      <a:lnTo>
                        <a:pt x="70" y="62"/>
                      </a:lnTo>
                      <a:lnTo>
                        <a:pt x="86" y="65"/>
                      </a:lnTo>
                      <a:lnTo>
                        <a:pt x="99" y="68"/>
                      </a:lnTo>
                      <a:lnTo>
                        <a:pt x="104" y="68"/>
                      </a:lnTo>
                      <a:lnTo>
                        <a:pt x="121" y="68"/>
                      </a:lnTo>
                      <a:lnTo>
                        <a:pt x="127" y="68"/>
                      </a:lnTo>
                      <a:lnTo>
                        <a:pt x="138" y="65"/>
                      </a:lnTo>
                      <a:lnTo>
                        <a:pt x="150" y="53"/>
                      </a:lnTo>
                      <a:lnTo>
                        <a:pt x="156" y="37"/>
                      </a:lnTo>
                      <a:lnTo>
                        <a:pt x="166" y="27"/>
                      </a:lnTo>
                      <a:lnTo>
                        <a:pt x="178" y="19"/>
                      </a:lnTo>
                      <a:lnTo>
                        <a:pt x="204" y="13"/>
                      </a:lnTo>
                      <a:lnTo>
                        <a:pt x="221" y="22"/>
                      </a:lnTo>
                      <a:lnTo>
                        <a:pt x="220" y="36"/>
                      </a:lnTo>
                      <a:lnTo>
                        <a:pt x="227" y="57"/>
                      </a:lnTo>
                      <a:lnTo>
                        <a:pt x="212" y="65"/>
                      </a:lnTo>
                      <a:lnTo>
                        <a:pt x="209" y="70"/>
                      </a:lnTo>
                      <a:lnTo>
                        <a:pt x="220" y="77"/>
                      </a:lnTo>
                      <a:lnTo>
                        <a:pt x="224" y="81"/>
                      </a:lnTo>
                      <a:lnTo>
                        <a:pt x="232" y="85"/>
                      </a:lnTo>
                      <a:lnTo>
                        <a:pt x="240" y="92"/>
                      </a:lnTo>
                      <a:lnTo>
                        <a:pt x="247" y="95"/>
                      </a:lnTo>
                      <a:lnTo>
                        <a:pt x="254" y="95"/>
                      </a:lnTo>
                      <a:lnTo>
                        <a:pt x="258" y="94"/>
                      </a:lnTo>
                      <a:lnTo>
                        <a:pt x="260" y="123"/>
                      </a:lnTo>
                      <a:lnTo>
                        <a:pt x="265" y="142"/>
                      </a:lnTo>
                      <a:lnTo>
                        <a:pt x="270" y="155"/>
                      </a:lnTo>
                      <a:lnTo>
                        <a:pt x="282" y="165"/>
                      </a:lnTo>
                      <a:lnTo>
                        <a:pt x="293" y="167"/>
                      </a:lnTo>
                      <a:lnTo>
                        <a:pt x="303" y="171"/>
                      </a:lnTo>
                      <a:lnTo>
                        <a:pt x="318" y="170"/>
                      </a:lnTo>
                      <a:lnTo>
                        <a:pt x="329" y="171"/>
                      </a:lnTo>
                      <a:lnTo>
                        <a:pt x="336" y="176"/>
                      </a:lnTo>
                      <a:lnTo>
                        <a:pt x="344" y="192"/>
                      </a:lnTo>
                      <a:lnTo>
                        <a:pt x="357" y="203"/>
                      </a:lnTo>
                      <a:lnTo>
                        <a:pt x="377" y="214"/>
                      </a:lnTo>
                      <a:lnTo>
                        <a:pt x="411" y="225"/>
                      </a:lnTo>
                      <a:lnTo>
                        <a:pt x="423" y="226"/>
                      </a:lnTo>
                      <a:lnTo>
                        <a:pt x="479" y="209"/>
                      </a:lnTo>
                      <a:lnTo>
                        <a:pt x="497" y="207"/>
                      </a:lnTo>
                      <a:lnTo>
                        <a:pt x="519" y="202"/>
                      </a:lnTo>
                      <a:lnTo>
                        <a:pt x="516" y="205"/>
                      </a:lnTo>
                      <a:lnTo>
                        <a:pt x="502" y="208"/>
                      </a:lnTo>
                      <a:lnTo>
                        <a:pt x="519" y="210"/>
                      </a:lnTo>
                      <a:lnTo>
                        <a:pt x="543" y="207"/>
                      </a:lnTo>
                      <a:lnTo>
                        <a:pt x="543" y="187"/>
                      </a:lnTo>
                      <a:lnTo>
                        <a:pt x="534" y="166"/>
                      </a:lnTo>
                      <a:lnTo>
                        <a:pt x="548" y="166"/>
                      </a:lnTo>
                      <a:lnTo>
                        <a:pt x="566" y="162"/>
                      </a:lnTo>
                      <a:lnTo>
                        <a:pt x="600" y="135"/>
                      </a:lnTo>
                      <a:lnTo>
                        <a:pt x="615" y="121"/>
                      </a:lnTo>
                      <a:lnTo>
                        <a:pt x="631" y="117"/>
                      </a:lnTo>
                      <a:lnTo>
                        <a:pt x="642" y="117"/>
                      </a:lnTo>
                      <a:lnTo>
                        <a:pt x="653" y="121"/>
                      </a:lnTo>
                      <a:lnTo>
                        <a:pt x="664" y="121"/>
                      </a:lnTo>
                      <a:lnTo>
                        <a:pt x="669" y="116"/>
                      </a:lnTo>
                      <a:lnTo>
                        <a:pt x="672" y="107"/>
                      </a:lnTo>
                      <a:lnTo>
                        <a:pt x="686" y="105"/>
                      </a:lnTo>
                      <a:lnTo>
                        <a:pt x="707" y="107"/>
                      </a:lnTo>
                      <a:lnTo>
                        <a:pt x="722" y="119"/>
                      </a:lnTo>
                      <a:lnTo>
                        <a:pt x="731" y="131"/>
                      </a:lnTo>
                      <a:lnTo>
                        <a:pt x="769" y="143"/>
                      </a:lnTo>
                      <a:lnTo>
                        <a:pt x="782" y="150"/>
                      </a:lnTo>
                      <a:lnTo>
                        <a:pt x="793" y="153"/>
                      </a:lnTo>
                      <a:lnTo>
                        <a:pt x="804" y="150"/>
                      </a:lnTo>
                      <a:lnTo>
                        <a:pt x="819" y="153"/>
                      </a:lnTo>
                      <a:lnTo>
                        <a:pt x="828" y="158"/>
                      </a:lnTo>
                      <a:lnTo>
                        <a:pt x="837" y="171"/>
                      </a:lnTo>
                      <a:lnTo>
                        <a:pt x="841" y="183"/>
                      </a:lnTo>
                      <a:lnTo>
                        <a:pt x="851" y="187"/>
                      </a:lnTo>
                      <a:lnTo>
                        <a:pt x="867" y="197"/>
                      </a:lnTo>
                      <a:lnTo>
                        <a:pt x="889" y="215"/>
                      </a:lnTo>
                      <a:lnTo>
                        <a:pt x="905" y="225"/>
                      </a:lnTo>
                      <a:lnTo>
                        <a:pt x="931" y="225"/>
                      </a:lnTo>
                      <a:lnTo>
                        <a:pt x="936" y="230"/>
                      </a:lnTo>
                      <a:lnTo>
                        <a:pt x="936" y="267"/>
                      </a:lnTo>
                      <a:lnTo>
                        <a:pt x="939" y="278"/>
                      </a:lnTo>
                      <a:lnTo>
                        <a:pt x="937" y="291"/>
                      </a:lnTo>
                      <a:lnTo>
                        <a:pt x="935" y="305"/>
                      </a:lnTo>
                      <a:lnTo>
                        <a:pt x="935" y="321"/>
                      </a:lnTo>
                      <a:lnTo>
                        <a:pt x="930" y="343"/>
                      </a:lnTo>
                      <a:lnTo>
                        <a:pt x="916" y="365"/>
                      </a:lnTo>
                      <a:lnTo>
                        <a:pt x="916" y="380"/>
                      </a:lnTo>
                      <a:lnTo>
                        <a:pt x="895" y="388"/>
                      </a:lnTo>
                      <a:lnTo>
                        <a:pt x="895" y="398"/>
                      </a:lnTo>
                      <a:lnTo>
                        <a:pt x="895" y="418"/>
                      </a:lnTo>
                      <a:lnTo>
                        <a:pt x="909" y="423"/>
                      </a:lnTo>
                      <a:lnTo>
                        <a:pt x="910" y="434"/>
                      </a:lnTo>
                      <a:lnTo>
                        <a:pt x="903" y="452"/>
                      </a:lnTo>
                      <a:lnTo>
                        <a:pt x="899" y="470"/>
                      </a:lnTo>
                      <a:lnTo>
                        <a:pt x="901" y="482"/>
                      </a:lnTo>
                      <a:lnTo>
                        <a:pt x="907" y="498"/>
                      </a:lnTo>
                      <a:lnTo>
                        <a:pt x="910" y="516"/>
                      </a:lnTo>
                      <a:lnTo>
                        <a:pt x="907" y="533"/>
                      </a:lnTo>
                      <a:lnTo>
                        <a:pt x="909" y="546"/>
                      </a:lnTo>
                      <a:lnTo>
                        <a:pt x="919" y="557"/>
                      </a:lnTo>
                      <a:lnTo>
                        <a:pt x="931" y="560"/>
                      </a:lnTo>
                      <a:lnTo>
                        <a:pt x="943" y="560"/>
                      </a:lnTo>
                      <a:lnTo>
                        <a:pt x="954" y="570"/>
                      </a:lnTo>
                      <a:lnTo>
                        <a:pt x="960" y="586"/>
                      </a:lnTo>
                      <a:lnTo>
                        <a:pt x="960" y="601"/>
                      </a:lnTo>
                      <a:lnTo>
                        <a:pt x="954" y="618"/>
                      </a:lnTo>
                      <a:lnTo>
                        <a:pt x="931" y="646"/>
                      </a:lnTo>
                      <a:lnTo>
                        <a:pt x="919" y="671"/>
                      </a:lnTo>
                      <a:lnTo>
                        <a:pt x="915" y="676"/>
                      </a:lnTo>
                      <a:lnTo>
                        <a:pt x="923" y="686"/>
                      </a:lnTo>
                      <a:lnTo>
                        <a:pt x="937" y="698"/>
                      </a:lnTo>
                      <a:lnTo>
                        <a:pt x="958" y="741"/>
                      </a:lnTo>
                      <a:lnTo>
                        <a:pt x="970" y="751"/>
                      </a:lnTo>
                      <a:lnTo>
                        <a:pt x="986" y="759"/>
                      </a:lnTo>
                      <a:lnTo>
                        <a:pt x="1013" y="768"/>
                      </a:lnTo>
                      <a:lnTo>
                        <a:pt x="1018" y="774"/>
                      </a:lnTo>
                      <a:lnTo>
                        <a:pt x="1023" y="800"/>
                      </a:lnTo>
                      <a:lnTo>
                        <a:pt x="1024" y="815"/>
                      </a:lnTo>
                      <a:lnTo>
                        <a:pt x="1023" y="829"/>
                      </a:lnTo>
                      <a:lnTo>
                        <a:pt x="1043" y="833"/>
                      </a:lnTo>
                      <a:lnTo>
                        <a:pt x="1048" y="838"/>
                      </a:lnTo>
                      <a:lnTo>
                        <a:pt x="1049" y="848"/>
                      </a:lnTo>
                      <a:lnTo>
                        <a:pt x="1046" y="854"/>
                      </a:lnTo>
                      <a:lnTo>
                        <a:pt x="1033" y="866"/>
                      </a:lnTo>
                      <a:lnTo>
                        <a:pt x="1021" y="869"/>
                      </a:lnTo>
                      <a:lnTo>
                        <a:pt x="1006" y="875"/>
                      </a:lnTo>
                      <a:lnTo>
                        <a:pt x="992" y="880"/>
                      </a:lnTo>
                      <a:lnTo>
                        <a:pt x="979" y="890"/>
                      </a:lnTo>
                      <a:lnTo>
                        <a:pt x="970" y="902"/>
                      </a:lnTo>
                      <a:lnTo>
                        <a:pt x="959" y="931"/>
                      </a:lnTo>
                      <a:lnTo>
                        <a:pt x="957" y="944"/>
                      </a:lnTo>
                      <a:lnTo>
                        <a:pt x="957" y="958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313" name="Freeform 156"/>
              <p:cNvSpPr>
                <a:spLocks noChangeAspect="1"/>
              </p:cNvSpPr>
              <p:nvPr/>
            </p:nvSpPr>
            <p:spPr bwMode="gray">
              <a:xfrm>
                <a:off x="2941" y="2045"/>
                <a:ext cx="107" cy="109"/>
              </a:xfrm>
              <a:custGeom>
                <a:avLst/>
                <a:gdLst/>
                <a:ahLst/>
                <a:cxnLst>
                  <a:cxn ang="0">
                    <a:pos x="527" y="500"/>
                  </a:cxn>
                  <a:cxn ang="0">
                    <a:pos x="510" y="490"/>
                  </a:cxn>
                  <a:cxn ang="0">
                    <a:pos x="505" y="494"/>
                  </a:cxn>
                  <a:cxn ang="0">
                    <a:pos x="479" y="489"/>
                  </a:cxn>
                  <a:cxn ang="0">
                    <a:pos x="452" y="512"/>
                  </a:cxn>
                  <a:cxn ang="0">
                    <a:pos x="426" y="548"/>
                  </a:cxn>
                  <a:cxn ang="0">
                    <a:pos x="265" y="515"/>
                  </a:cxn>
                  <a:cxn ang="0">
                    <a:pos x="263" y="472"/>
                  </a:cxn>
                  <a:cxn ang="0">
                    <a:pos x="232" y="467"/>
                  </a:cxn>
                  <a:cxn ang="0">
                    <a:pos x="218" y="444"/>
                  </a:cxn>
                  <a:cxn ang="0">
                    <a:pos x="100" y="376"/>
                  </a:cxn>
                  <a:cxn ang="0">
                    <a:pos x="0" y="278"/>
                  </a:cxn>
                  <a:cxn ang="0">
                    <a:pos x="58" y="237"/>
                  </a:cxn>
                  <a:cxn ang="0">
                    <a:pos x="95" y="220"/>
                  </a:cxn>
                  <a:cxn ang="0">
                    <a:pos x="111" y="209"/>
                  </a:cxn>
                  <a:cxn ang="0">
                    <a:pos x="133" y="180"/>
                  </a:cxn>
                  <a:cxn ang="0">
                    <a:pos x="140" y="73"/>
                  </a:cxn>
                  <a:cxn ang="0">
                    <a:pos x="189" y="31"/>
                  </a:cxn>
                  <a:cxn ang="0">
                    <a:pos x="229" y="0"/>
                  </a:cxn>
                  <a:cxn ang="0">
                    <a:pos x="279" y="10"/>
                  </a:cxn>
                  <a:cxn ang="0">
                    <a:pos x="306" y="20"/>
                  </a:cxn>
                  <a:cxn ang="0">
                    <a:pos x="329" y="14"/>
                  </a:cxn>
                  <a:cxn ang="0">
                    <a:pos x="344" y="64"/>
                  </a:cxn>
                  <a:cxn ang="0">
                    <a:pos x="362" y="96"/>
                  </a:cxn>
                  <a:cxn ang="0">
                    <a:pos x="396" y="112"/>
                  </a:cxn>
                  <a:cxn ang="0">
                    <a:pos x="404" y="119"/>
                  </a:cxn>
                  <a:cxn ang="0">
                    <a:pos x="403" y="152"/>
                  </a:cxn>
                  <a:cxn ang="0">
                    <a:pos x="381" y="184"/>
                  </a:cxn>
                  <a:cxn ang="0">
                    <a:pos x="374" y="195"/>
                  </a:cxn>
                  <a:cxn ang="0">
                    <a:pos x="366" y="227"/>
                  </a:cxn>
                  <a:cxn ang="0">
                    <a:pos x="359" y="236"/>
                  </a:cxn>
                  <a:cxn ang="0">
                    <a:pos x="367" y="256"/>
                  </a:cxn>
                  <a:cxn ang="0">
                    <a:pos x="380" y="264"/>
                  </a:cxn>
                  <a:cxn ang="0">
                    <a:pos x="393" y="283"/>
                  </a:cxn>
                  <a:cxn ang="0">
                    <a:pos x="405" y="301"/>
                  </a:cxn>
                  <a:cxn ang="0">
                    <a:pos x="432" y="322"/>
                  </a:cxn>
                  <a:cxn ang="0">
                    <a:pos x="457" y="331"/>
                  </a:cxn>
                  <a:cxn ang="0">
                    <a:pos x="473" y="355"/>
                  </a:cxn>
                  <a:cxn ang="0">
                    <a:pos x="487" y="381"/>
                  </a:cxn>
                  <a:cxn ang="0">
                    <a:pos x="482" y="429"/>
                  </a:cxn>
                  <a:cxn ang="0">
                    <a:pos x="499" y="456"/>
                  </a:cxn>
                  <a:cxn ang="0">
                    <a:pos x="511" y="472"/>
                  </a:cxn>
                  <a:cxn ang="0">
                    <a:pos x="534" y="489"/>
                  </a:cxn>
                </a:cxnLst>
                <a:rect l="0" t="0" r="r" b="b"/>
                <a:pathLst>
                  <a:path w="534" h="548">
                    <a:moveTo>
                      <a:pt x="534" y="489"/>
                    </a:moveTo>
                    <a:lnTo>
                      <a:pt x="527" y="500"/>
                    </a:lnTo>
                    <a:lnTo>
                      <a:pt x="520" y="495"/>
                    </a:lnTo>
                    <a:lnTo>
                      <a:pt x="510" y="490"/>
                    </a:lnTo>
                    <a:lnTo>
                      <a:pt x="507" y="491"/>
                    </a:lnTo>
                    <a:lnTo>
                      <a:pt x="505" y="494"/>
                    </a:lnTo>
                    <a:lnTo>
                      <a:pt x="493" y="490"/>
                    </a:lnTo>
                    <a:lnTo>
                      <a:pt x="479" y="489"/>
                    </a:lnTo>
                    <a:lnTo>
                      <a:pt x="463" y="495"/>
                    </a:lnTo>
                    <a:lnTo>
                      <a:pt x="452" y="512"/>
                    </a:lnTo>
                    <a:lnTo>
                      <a:pt x="442" y="532"/>
                    </a:lnTo>
                    <a:lnTo>
                      <a:pt x="426" y="548"/>
                    </a:lnTo>
                    <a:lnTo>
                      <a:pt x="328" y="543"/>
                    </a:lnTo>
                    <a:lnTo>
                      <a:pt x="265" y="515"/>
                    </a:lnTo>
                    <a:lnTo>
                      <a:pt x="263" y="511"/>
                    </a:lnTo>
                    <a:lnTo>
                      <a:pt x="263" y="472"/>
                    </a:lnTo>
                    <a:lnTo>
                      <a:pt x="261" y="469"/>
                    </a:lnTo>
                    <a:lnTo>
                      <a:pt x="232" y="467"/>
                    </a:lnTo>
                    <a:lnTo>
                      <a:pt x="224" y="449"/>
                    </a:lnTo>
                    <a:lnTo>
                      <a:pt x="218" y="444"/>
                    </a:lnTo>
                    <a:lnTo>
                      <a:pt x="162" y="423"/>
                    </a:lnTo>
                    <a:lnTo>
                      <a:pt x="100" y="376"/>
                    </a:lnTo>
                    <a:lnTo>
                      <a:pt x="16" y="353"/>
                    </a:lnTo>
                    <a:lnTo>
                      <a:pt x="0" y="278"/>
                    </a:lnTo>
                    <a:lnTo>
                      <a:pt x="43" y="248"/>
                    </a:lnTo>
                    <a:lnTo>
                      <a:pt x="58" y="237"/>
                    </a:lnTo>
                    <a:lnTo>
                      <a:pt x="73" y="232"/>
                    </a:lnTo>
                    <a:lnTo>
                      <a:pt x="95" y="220"/>
                    </a:lnTo>
                    <a:lnTo>
                      <a:pt x="107" y="213"/>
                    </a:lnTo>
                    <a:lnTo>
                      <a:pt x="111" y="209"/>
                    </a:lnTo>
                    <a:lnTo>
                      <a:pt x="123" y="204"/>
                    </a:lnTo>
                    <a:lnTo>
                      <a:pt x="133" y="180"/>
                    </a:lnTo>
                    <a:lnTo>
                      <a:pt x="136" y="143"/>
                    </a:lnTo>
                    <a:lnTo>
                      <a:pt x="140" y="73"/>
                    </a:lnTo>
                    <a:lnTo>
                      <a:pt x="171" y="60"/>
                    </a:lnTo>
                    <a:lnTo>
                      <a:pt x="189" y="31"/>
                    </a:lnTo>
                    <a:lnTo>
                      <a:pt x="204" y="22"/>
                    </a:lnTo>
                    <a:lnTo>
                      <a:pt x="229" y="0"/>
                    </a:lnTo>
                    <a:lnTo>
                      <a:pt x="249" y="9"/>
                    </a:lnTo>
                    <a:lnTo>
                      <a:pt x="279" y="10"/>
                    </a:lnTo>
                    <a:lnTo>
                      <a:pt x="297" y="9"/>
                    </a:lnTo>
                    <a:lnTo>
                      <a:pt x="306" y="20"/>
                    </a:lnTo>
                    <a:lnTo>
                      <a:pt x="322" y="22"/>
                    </a:lnTo>
                    <a:lnTo>
                      <a:pt x="329" y="14"/>
                    </a:lnTo>
                    <a:lnTo>
                      <a:pt x="334" y="47"/>
                    </a:lnTo>
                    <a:lnTo>
                      <a:pt x="344" y="64"/>
                    </a:lnTo>
                    <a:lnTo>
                      <a:pt x="356" y="74"/>
                    </a:lnTo>
                    <a:lnTo>
                      <a:pt x="362" y="96"/>
                    </a:lnTo>
                    <a:lnTo>
                      <a:pt x="374" y="107"/>
                    </a:lnTo>
                    <a:lnTo>
                      <a:pt x="396" y="112"/>
                    </a:lnTo>
                    <a:lnTo>
                      <a:pt x="410" y="112"/>
                    </a:lnTo>
                    <a:lnTo>
                      <a:pt x="404" y="119"/>
                    </a:lnTo>
                    <a:lnTo>
                      <a:pt x="398" y="133"/>
                    </a:lnTo>
                    <a:lnTo>
                      <a:pt x="403" y="152"/>
                    </a:lnTo>
                    <a:lnTo>
                      <a:pt x="394" y="162"/>
                    </a:lnTo>
                    <a:lnTo>
                      <a:pt x="381" y="184"/>
                    </a:lnTo>
                    <a:lnTo>
                      <a:pt x="382" y="192"/>
                    </a:lnTo>
                    <a:lnTo>
                      <a:pt x="374" y="195"/>
                    </a:lnTo>
                    <a:lnTo>
                      <a:pt x="370" y="202"/>
                    </a:lnTo>
                    <a:lnTo>
                      <a:pt x="366" y="227"/>
                    </a:lnTo>
                    <a:lnTo>
                      <a:pt x="362" y="234"/>
                    </a:lnTo>
                    <a:lnTo>
                      <a:pt x="359" y="236"/>
                    </a:lnTo>
                    <a:lnTo>
                      <a:pt x="361" y="251"/>
                    </a:lnTo>
                    <a:lnTo>
                      <a:pt x="367" y="256"/>
                    </a:lnTo>
                    <a:lnTo>
                      <a:pt x="376" y="256"/>
                    </a:lnTo>
                    <a:lnTo>
                      <a:pt x="380" y="264"/>
                    </a:lnTo>
                    <a:lnTo>
                      <a:pt x="387" y="269"/>
                    </a:lnTo>
                    <a:lnTo>
                      <a:pt x="393" y="283"/>
                    </a:lnTo>
                    <a:lnTo>
                      <a:pt x="393" y="294"/>
                    </a:lnTo>
                    <a:lnTo>
                      <a:pt x="405" y="301"/>
                    </a:lnTo>
                    <a:lnTo>
                      <a:pt x="420" y="311"/>
                    </a:lnTo>
                    <a:lnTo>
                      <a:pt x="432" y="322"/>
                    </a:lnTo>
                    <a:lnTo>
                      <a:pt x="444" y="327"/>
                    </a:lnTo>
                    <a:lnTo>
                      <a:pt x="457" y="331"/>
                    </a:lnTo>
                    <a:lnTo>
                      <a:pt x="466" y="340"/>
                    </a:lnTo>
                    <a:lnTo>
                      <a:pt x="473" y="355"/>
                    </a:lnTo>
                    <a:lnTo>
                      <a:pt x="480" y="367"/>
                    </a:lnTo>
                    <a:lnTo>
                      <a:pt x="487" y="381"/>
                    </a:lnTo>
                    <a:lnTo>
                      <a:pt x="483" y="408"/>
                    </a:lnTo>
                    <a:lnTo>
                      <a:pt x="482" y="429"/>
                    </a:lnTo>
                    <a:lnTo>
                      <a:pt x="495" y="436"/>
                    </a:lnTo>
                    <a:lnTo>
                      <a:pt x="499" y="456"/>
                    </a:lnTo>
                    <a:lnTo>
                      <a:pt x="504" y="464"/>
                    </a:lnTo>
                    <a:lnTo>
                      <a:pt x="511" y="472"/>
                    </a:lnTo>
                    <a:lnTo>
                      <a:pt x="531" y="487"/>
                    </a:lnTo>
                    <a:lnTo>
                      <a:pt x="534" y="48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14" name="Freeform 157"/>
              <p:cNvSpPr>
                <a:spLocks noChangeAspect="1"/>
              </p:cNvSpPr>
              <p:nvPr/>
            </p:nvSpPr>
            <p:spPr bwMode="gray">
              <a:xfrm>
                <a:off x="3072" y="2191"/>
                <a:ext cx="9" cy="20"/>
              </a:xfrm>
              <a:custGeom>
                <a:avLst/>
                <a:gdLst/>
                <a:ahLst/>
                <a:cxnLst>
                  <a:cxn ang="0">
                    <a:pos x="16" y="98"/>
                  </a:cxn>
                  <a:cxn ang="0">
                    <a:pos x="35" y="90"/>
                  </a:cxn>
                  <a:cxn ang="0">
                    <a:pos x="38" y="87"/>
                  </a:cxn>
                  <a:cxn ang="0">
                    <a:pos x="39" y="81"/>
                  </a:cxn>
                  <a:cxn ang="0">
                    <a:pos x="43" y="74"/>
                  </a:cxn>
                  <a:cxn ang="0">
                    <a:pos x="44" y="70"/>
                  </a:cxn>
                  <a:cxn ang="0">
                    <a:pos x="44" y="55"/>
                  </a:cxn>
                  <a:cxn ang="0">
                    <a:pos x="40" y="50"/>
                  </a:cxn>
                  <a:cxn ang="0">
                    <a:pos x="40" y="42"/>
                  </a:cxn>
                  <a:cxn ang="0">
                    <a:pos x="40" y="33"/>
                  </a:cxn>
                  <a:cxn ang="0">
                    <a:pos x="43" y="32"/>
                  </a:cxn>
                  <a:cxn ang="0">
                    <a:pos x="41" y="29"/>
                  </a:cxn>
                  <a:cxn ang="0">
                    <a:pos x="44" y="25"/>
                  </a:cxn>
                  <a:cxn ang="0">
                    <a:pos x="44" y="21"/>
                  </a:cxn>
                  <a:cxn ang="0">
                    <a:pos x="45" y="16"/>
                  </a:cxn>
                  <a:cxn ang="0">
                    <a:pos x="43" y="15"/>
                  </a:cxn>
                  <a:cxn ang="0">
                    <a:pos x="36" y="12"/>
                  </a:cxn>
                  <a:cxn ang="0">
                    <a:pos x="34" y="10"/>
                  </a:cxn>
                  <a:cxn ang="0">
                    <a:pos x="34" y="6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18" y="4"/>
                  </a:cxn>
                  <a:cxn ang="0">
                    <a:pos x="13" y="12"/>
                  </a:cxn>
                  <a:cxn ang="0">
                    <a:pos x="11" y="26"/>
                  </a:cxn>
                  <a:cxn ang="0">
                    <a:pos x="7" y="36"/>
                  </a:cxn>
                  <a:cxn ang="0">
                    <a:pos x="1" y="43"/>
                  </a:cxn>
                  <a:cxn ang="0">
                    <a:pos x="1" y="50"/>
                  </a:cxn>
                  <a:cxn ang="0">
                    <a:pos x="0" y="55"/>
                  </a:cxn>
                  <a:cxn ang="0">
                    <a:pos x="2" y="58"/>
                  </a:cxn>
                  <a:cxn ang="0">
                    <a:pos x="0" y="63"/>
                  </a:cxn>
                  <a:cxn ang="0">
                    <a:pos x="1" y="66"/>
                  </a:cxn>
                  <a:cxn ang="0">
                    <a:pos x="5" y="74"/>
                  </a:cxn>
                  <a:cxn ang="0">
                    <a:pos x="2" y="77"/>
                  </a:cxn>
                  <a:cxn ang="0">
                    <a:pos x="5" y="80"/>
                  </a:cxn>
                  <a:cxn ang="0">
                    <a:pos x="3" y="84"/>
                  </a:cxn>
                  <a:cxn ang="0">
                    <a:pos x="2" y="85"/>
                  </a:cxn>
                  <a:cxn ang="0">
                    <a:pos x="9" y="97"/>
                  </a:cxn>
                  <a:cxn ang="0">
                    <a:pos x="16" y="98"/>
                  </a:cxn>
                </a:cxnLst>
                <a:rect l="0" t="0" r="r" b="b"/>
                <a:pathLst>
                  <a:path w="45" h="98">
                    <a:moveTo>
                      <a:pt x="16" y="98"/>
                    </a:moveTo>
                    <a:lnTo>
                      <a:pt x="35" y="90"/>
                    </a:lnTo>
                    <a:lnTo>
                      <a:pt x="38" y="87"/>
                    </a:lnTo>
                    <a:lnTo>
                      <a:pt x="39" y="81"/>
                    </a:lnTo>
                    <a:lnTo>
                      <a:pt x="43" y="74"/>
                    </a:lnTo>
                    <a:lnTo>
                      <a:pt x="44" y="70"/>
                    </a:lnTo>
                    <a:lnTo>
                      <a:pt x="44" y="55"/>
                    </a:lnTo>
                    <a:lnTo>
                      <a:pt x="40" y="50"/>
                    </a:lnTo>
                    <a:lnTo>
                      <a:pt x="40" y="42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1" y="29"/>
                    </a:lnTo>
                    <a:lnTo>
                      <a:pt x="44" y="25"/>
                    </a:lnTo>
                    <a:lnTo>
                      <a:pt x="44" y="21"/>
                    </a:lnTo>
                    <a:lnTo>
                      <a:pt x="45" y="16"/>
                    </a:lnTo>
                    <a:lnTo>
                      <a:pt x="43" y="15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13" y="12"/>
                    </a:lnTo>
                    <a:lnTo>
                      <a:pt x="11" y="26"/>
                    </a:lnTo>
                    <a:lnTo>
                      <a:pt x="7" y="36"/>
                    </a:lnTo>
                    <a:lnTo>
                      <a:pt x="1" y="43"/>
                    </a:lnTo>
                    <a:lnTo>
                      <a:pt x="1" y="50"/>
                    </a:lnTo>
                    <a:lnTo>
                      <a:pt x="0" y="55"/>
                    </a:lnTo>
                    <a:lnTo>
                      <a:pt x="2" y="58"/>
                    </a:lnTo>
                    <a:lnTo>
                      <a:pt x="0" y="63"/>
                    </a:lnTo>
                    <a:lnTo>
                      <a:pt x="1" y="66"/>
                    </a:lnTo>
                    <a:lnTo>
                      <a:pt x="5" y="74"/>
                    </a:lnTo>
                    <a:lnTo>
                      <a:pt x="2" y="77"/>
                    </a:lnTo>
                    <a:lnTo>
                      <a:pt x="5" y="80"/>
                    </a:lnTo>
                    <a:lnTo>
                      <a:pt x="3" y="84"/>
                    </a:lnTo>
                    <a:lnTo>
                      <a:pt x="2" y="85"/>
                    </a:lnTo>
                    <a:lnTo>
                      <a:pt x="9" y="97"/>
                    </a:lnTo>
                    <a:lnTo>
                      <a:pt x="16" y="9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15" name="Freeform 158"/>
              <p:cNvSpPr>
                <a:spLocks noChangeAspect="1"/>
              </p:cNvSpPr>
              <p:nvPr/>
            </p:nvSpPr>
            <p:spPr bwMode="gray">
              <a:xfrm>
                <a:off x="3075" y="2192"/>
                <a:ext cx="58" cy="43"/>
              </a:xfrm>
              <a:custGeom>
                <a:avLst/>
                <a:gdLst/>
                <a:ahLst/>
                <a:cxnLst>
                  <a:cxn ang="0">
                    <a:pos x="217" y="215"/>
                  </a:cxn>
                  <a:cxn ang="0">
                    <a:pos x="36" y="136"/>
                  </a:cxn>
                  <a:cxn ang="0">
                    <a:pos x="0" y="92"/>
                  </a:cxn>
                  <a:cxn ang="0">
                    <a:pos x="17" y="89"/>
                  </a:cxn>
                  <a:cxn ang="0">
                    <a:pos x="20" y="95"/>
                  </a:cxn>
                  <a:cxn ang="0">
                    <a:pos x="17" y="107"/>
                  </a:cxn>
                  <a:cxn ang="0">
                    <a:pos x="30" y="109"/>
                  </a:cxn>
                  <a:cxn ang="0">
                    <a:pos x="35" y="107"/>
                  </a:cxn>
                  <a:cxn ang="0">
                    <a:pos x="41" y="122"/>
                  </a:cxn>
                  <a:cxn ang="0">
                    <a:pos x="70" y="124"/>
                  </a:cxn>
                  <a:cxn ang="0">
                    <a:pos x="79" y="118"/>
                  </a:cxn>
                  <a:cxn ang="0">
                    <a:pos x="110" y="114"/>
                  </a:cxn>
                  <a:cxn ang="0">
                    <a:pos x="125" y="118"/>
                  </a:cxn>
                  <a:cxn ang="0">
                    <a:pos x="159" y="119"/>
                  </a:cxn>
                  <a:cxn ang="0">
                    <a:pos x="169" y="109"/>
                  </a:cxn>
                  <a:cxn ang="0">
                    <a:pos x="180" y="106"/>
                  </a:cxn>
                  <a:cxn ang="0">
                    <a:pos x="186" y="102"/>
                  </a:cxn>
                  <a:cxn ang="0">
                    <a:pos x="184" y="97"/>
                  </a:cxn>
                  <a:cxn ang="0">
                    <a:pos x="192" y="95"/>
                  </a:cxn>
                  <a:cxn ang="0">
                    <a:pos x="195" y="91"/>
                  </a:cxn>
                  <a:cxn ang="0">
                    <a:pos x="197" y="84"/>
                  </a:cxn>
                  <a:cxn ang="0">
                    <a:pos x="201" y="76"/>
                  </a:cxn>
                  <a:cxn ang="0">
                    <a:pos x="213" y="65"/>
                  </a:cxn>
                  <a:cxn ang="0">
                    <a:pos x="219" y="59"/>
                  </a:cxn>
                  <a:cxn ang="0">
                    <a:pos x="233" y="48"/>
                  </a:cxn>
                  <a:cxn ang="0">
                    <a:pos x="238" y="43"/>
                  </a:cxn>
                  <a:cxn ang="0">
                    <a:pos x="240" y="39"/>
                  </a:cxn>
                  <a:cxn ang="0">
                    <a:pos x="245" y="32"/>
                  </a:cxn>
                  <a:cxn ang="0">
                    <a:pos x="249" y="27"/>
                  </a:cxn>
                  <a:cxn ang="0">
                    <a:pos x="270" y="10"/>
                  </a:cxn>
                  <a:cxn ang="0">
                    <a:pos x="275" y="4"/>
                  </a:cxn>
                  <a:cxn ang="0">
                    <a:pos x="276" y="12"/>
                  </a:cxn>
                  <a:cxn ang="0">
                    <a:pos x="275" y="21"/>
                  </a:cxn>
                  <a:cxn ang="0">
                    <a:pos x="285" y="25"/>
                  </a:cxn>
                  <a:cxn ang="0">
                    <a:pos x="287" y="64"/>
                  </a:cxn>
                  <a:cxn ang="0">
                    <a:pos x="255" y="73"/>
                  </a:cxn>
                  <a:cxn ang="0">
                    <a:pos x="239" y="132"/>
                  </a:cxn>
                </a:cxnLst>
                <a:rect l="0" t="0" r="r" b="b"/>
                <a:pathLst>
                  <a:path w="288" h="215">
                    <a:moveTo>
                      <a:pt x="228" y="203"/>
                    </a:moveTo>
                    <a:lnTo>
                      <a:pt x="217" y="215"/>
                    </a:lnTo>
                    <a:lnTo>
                      <a:pt x="52" y="184"/>
                    </a:lnTo>
                    <a:lnTo>
                      <a:pt x="36" y="136"/>
                    </a:lnTo>
                    <a:lnTo>
                      <a:pt x="3" y="107"/>
                    </a:lnTo>
                    <a:lnTo>
                      <a:pt x="0" y="92"/>
                    </a:lnTo>
                    <a:lnTo>
                      <a:pt x="19" y="84"/>
                    </a:lnTo>
                    <a:lnTo>
                      <a:pt x="17" y="89"/>
                    </a:lnTo>
                    <a:lnTo>
                      <a:pt x="17" y="92"/>
                    </a:lnTo>
                    <a:lnTo>
                      <a:pt x="20" y="95"/>
                    </a:lnTo>
                    <a:lnTo>
                      <a:pt x="17" y="100"/>
                    </a:lnTo>
                    <a:lnTo>
                      <a:pt x="17" y="107"/>
                    </a:lnTo>
                    <a:lnTo>
                      <a:pt x="24" y="107"/>
                    </a:lnTo>
                    <a:lnTo>
                      <a:pt x="30" y="109"/>
                    </a:lnTo>
                    <a:lnTo>
                      <a:pt x="34" y="107"/>
                    </a:lnTo>
                    <a:lnTo>
                      <a:pt x="35" y="107"/>
                    </a:lnTo>
                    <a:lnTo>
                      <a:pt x="36" y="118"/>
                    </a:lnTo>
                    <a:lnTo>
                      <a:pt x="41" y="122"/>
                    </a:lnTo>
                    <a:lnTo>
                      <a:pt x="55" y="124"/>
                    </a:lnTo>
                    <a:lnTo>
                      <a:pt x="70" y="124"/>
                    </a:lnTo>
                    <a:lnTo>
                      <a:pt x="73" y="123"/>
                    </a:lnTo>
                    <a:lnTo>
                      <a:pt x="79" y="118"/>
                    </a:lnTo>
                    <a:lnTo>
                      <a:pt x="88" y="112"/>
                    </a:lnTo>
                    <a:lnTo>
                      <a:pt x="110" y="114"/>
                    </a:lnTo>
                    <a:lnTo>
                      <a:pt x="119" y="118"/>
                    </a:lnTo>
                    <a:lnTo>
                      <a:pt x="125" y="118"/>
                    </a:lnTo>
                    <a:lnTo>
                      <a:pt x="135" y="121"/>
                    </a:lnTo>
                    <a:lnTo>
                      <a:pt x="159" y="119"/>
                    </a:lnTo>
                    <a:lnTo>
                      <a:pt x="164" y="116"/>
                    </a:lnTo>
                    <a:lnTo>
                      <a:pt x="169" y="109"/>
                    </a:lnTo>
                    <a:lnTo>
                      <a:pt x="178" y="107"/>
                    </a:lnTo>
                    <a:lnTo>
                      <a:pt x="180" y="106"/>
                    </a:lnTo>
                    <a:lnTo>
                      <a:pt x="185" y="103"/>
                    </a:lnTo>
                    <a:lnTo>
                      <a:pt x="186" y="102"/>
                    </a:lnTo>
                    <a:lnTo>
                      <a:pt x="184" y="98"/>
                    </a:lnTo>
                    <a:lnTo>
                      <a:pt x="184" y="97"/>
                    </a:lnTo>
                    <a:lnTo>
                      <a:pt x="184" y="96"/>
                    </a:lnTo>
                    <a:lnTo>
                      <a:pt x="192" y="95"/>
                    </a:lnTo>
                    <a:lnTo>
                      <a:pt x="191" y="92"/>
                    </a:lnTo>
                    <a:lnTo>
                      <a:pt x="195" y="91"/>
                    </a:lnTo>
                    <a:lnTo>
                      <a:pt x="194" y="87"/>
                    </a:lnTo>
                    <a:lnTo>
                      <a:pt x="197" y="84"/>
                    </a:lnTo>
                    <a:lnTo>
                      <a:pt x="197" y="80"/>
                    </a:lnTo>
                    <a:lnTo>
                      <a:pt x="201" y="76"/>
                    </a:lnTo>
                    <a:lnTo>
                      <a:pt x="211" y="73"/>
                    </a:lnTo>
                    <a:lnTo>
                      <a:pt x="213" y="65"/>
                    </a:lnTo>
                    <a:lnTo>
                      <a:pt x="217" y="63"/>
                    </a:lnTo>
                    <a:lnTo>
                      <a:pt x="219" y="59"/>
                    </a:lnTo>
                    <a:lnTo>
                      <a:pt x="228" y="53"/>
                    </a:lnTo>
                    <a:lnTo>
                      <a:pt x="233" y="48"/>
                    </a:lnTo>
                    <a:lnTo>
                      <a:pt x="237" y="46"/>
                    </a:lnTo>
                    <a:lnTo>
                      <a:pt x="238" y="43"/>
                    </a:lnTo>
                    <a:lnTo>
                      <a:pt x="239" y="42"/>
                    </a:lnTo>
                    <a:lnTo>
                      <a:pt x="240" y="39"/>
                    </a:lnTo>
                    <a:lnTo>
                      <a:pt x="245" y="35"/>
                    </a:lnTo>
                    <a:lnTo>
                      <a:pt x="245" y="32"/>
                    </a:lnTo>
                    <a:lnTo>
                      <a:pt x="248" y="31"/>
                    </a:lnTo>
                    <a:lnTo>
                      <a:pt x="249" y="27"/>
                    </a:lnTo>
                    <a:lnTo>
                      <a:pt x="259" y="21"/>
                    </a:lnTo>
                    <a:lnTo>
                      <a:pt x="270" y="10"/>
                    </a:lnTo>
                    <a:lnTo>
                      <a:pt x="274" y="0"/>
                    </a:lnTo>
                    <a:lnTo>
                      <a:pt x="275" y="4"/>
                    </a:lnTo>
                    <a:lnTo>
                      <a:pt x="277" y="10"/>
                    </a:lnTo>
                    <a:lnTo>
                      <a:pt x="276" y="12"/>
                    </a:lnTo>
                    <a:lnTo>
                      <a:pt x="277" y="16"/>
                    </a:lnTo>
                    <a:lnTo>
                      <a:pt x="275" y="21"/>
                    </a:lnTo>
                    <a:lnTo>
                      <a:pt x="277" y="22"/>
                    </a:lnTo>
                    <a:lnTo>
                      <a:pt x="285" y="25"/>
                    </a:lnTo>
                    <a:lnTo>
                      <a:pt x="288" y="31"/>
                    </a:lnTo>
                    <a:lnTo>
                      <a:pt x="287" y="64"/>
                    </a:lnTo>
                    <a:lnTo>
                      <a:pt x="288" y="73"/>
                    </a:lnTo>
                    <a:lnTo>
                      <a:pt x="255" y="73"/>
                    </a:lnTo>
                    <a:lnTo>
                      <a:pt x="272" y="119"/>
                    </a:lnTo>
                    <a:lnTo>
                      <a:pt x="239" y="132"/>
                    </a:lnTo>
                    <a:lnTo>
                      <a:pt x="228" y="203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316" name="Group 159"/>
              <p:cNvGrpSpPr>
                <a:grpSpLocks noChangeAspect="1"/>
              </p:cNvGrpSpPr>
              <p:nvPr/>
            </p:nvGrpSpPr>
            <p:grpSpPr bwMode="gray">
              <a:xfrm>
                <a:off x="2802" y="1979"/>
                <a:ext cx="205" cy="88"/>
                <a:chOff x="2802" y="1979"/>
                <a:chExt cx="205" cy="88"/>
              </a:xfrm>
              <a:grpFill/>
            </p:grpSpPr>
            <p:sp>
              <p:nvSpPr>
                <p:cNvPr id="320" name="Freeform 160"/>
                <p:cNvSpPr>
                  <a:spLocks noChangeAspect="1"/>
                </p:cNvSpPr>
                <p:nvPr/>
              </p:nvSpPr>
              <p:spPr bwMode="gray">
                <a:xfrm>
                  <a:off x="2803" y="1979"/>
                  <a:ext cx="204" cy="88"/>
                </a:xfrm>
                <a:custGeom>
                  <a:avLst/>
                  <a:gdLst/>
                  <a:ahLst/>
                  <a:cxnLst>
                    <a:cxn ang="0">
                      <a:pos x="552" y="379"/>
                    </a:cxn>
                    <a:cxn ang="0">
                      <a:pos x="503" y="390"/>
                    </a:cxn>
                    <a:cxn ang="0">
                      <a:pos x="460" y="379"/>
                    </a:cxn>
                    <a:cxn ang="0">
                      <a:pos x="408" y="418"/>
                    </a:cxn>
                    <a:cxn ang="0">
                      <a:pos x="341" y="409"/>
                    </a:cxn>
                    <a:cxn ang="0">
                      <a:pos x="283" y="370"/>
                    </a:cxn>
                    <a:cxn ang="0">
                      <a:pos x="245" y="391"/>
                    </a:cxn>
                    <a:cxn ang="0">
                      <a:pos x="196" y="417"/>
                    </a:cxn>
                    <a:cxn ang="0">
                      <a:pos x="164" y="381"/>
                    </a:cxn>
                    <a:cxn ang="0">
                      <a:pos x="143" y="380"/>
                    </a:cxn>
                    <a:cxn ang="0">
                      <a:pos x="107" y="386"/>
                    </a:cxn>
                    <a:cxn ang="0">
                      <a:pos x="79" y="378"/>
                    </a:cxn>
                    <a:cxn ang="0">
                      <a:pos x="118" y="362"/>
                    </a:cxn>
                    <a:cxn ang="0">
                      <a:pos x="67" y="355"/>
                    </a:cxn>
                    <a:cxn ang="0">
                      <a:pos x="64" y="325"/>
                    </a:cxn>
                    <a:cxn ang="0">
                      <a:pos x="52" y="312"/>
                    </a:cxn>
                    <a:cxn ang="0">
                      <a:pos x="37" y="283"/>
                    </a:cxn>
                    <a:cxn ang="0">
                      <a:pos x="10" y="268"/>
                    </a:cxn>
                    <a:cxn ang="0">
                      <a:pos x="22" y="246"/>
                    </a:cxn>
                    <a:cxn ang="0">
                      <a:pos x="52" y="260"/>
                    </a:cxn>
                    <a:cxn ang="0">
                      <a:pos x="44" y="226"/>
                    </a:cxn>
                    <a:cxn ang="0">
                      <a:pos x="43" y="186"/>
                    </a:cxn>
                    <a:cxn ang="0">
                      <a:pos x="3" y="160"/>
                    </a:cxn>
                    <a:cxn ang="0">
                      <a:pos x="35" y="122"/>
                    </a:cxn>
                    <a:cxn ang="0">
                      <a:pos x="91" y="126"/>
                    </a:cxn>
                    <a:cxn ang="0">
                      <a:pos x="108" y="123"/>
                    </a:cxn>
                    <a:cxn ang="0">
                      <a:pos x="151" y="111"/>
                    </a:cxn>
                    <a:cxn ang="0">
                      <a:pos x="196" y="94"/>
                    </a:cxn>
                    <a:cxn ang="0">
                      <a:pos x="167" y="83"/>
                    </a:cxn>
                    <a:cxn ang="0">
                      <a:pos x="180" y="66"/>
                    </a:cxn>
                    <a:cxn ang="0">
                      <a:pos x="253" y="74"/>
                    </a:cxn>
                    <a:cxn ang="0">
                      <a:pos x="318" y="41"/>
                    </a:cxn>
                    <a:cxn ang="0">
                      <a:pos x="398" y="7"/>
                    </a:cxn>
                    <a:cxn ang="0">
                      <a:pos x="493" y="0"/>
                    </a:cxn>
                    <a:cxn ang="0">
                      <a:pos x="533" y="35"/>
                    </a:cxn>
                    <a:cxn ang="0">
                      <a:pos x="623" y="80"/>
                    </a:cxn>
                    <a:cxn ang="0">
                      <a:pos x="693" y="77"/>
                    </a:cxn>
                    <a:cxn ang="0">
                      <a:pos x="838" y="40"/>
                    </a:cxn>
                    <a:cxn ang="0">
                      <a:pos x="887" y="43"/>
                    </a:cxn>
                    <a:cxn ang="0">
                      <a:pos x="919" y="42"/>
                    </a:cxn>
                    <a:cxn ang="0">
                      <a:pos x="958" y="89"/>
                    </a:cxn>
                    <a:cxn ang="0">
                      <a:pos x="990" y="143"/>
                    </a:cxn>
                    <a:cxn ang="0">
                      <a:pos x="1001" y="186"/>
                    </a:cxn>
                    <a:cxn ang="0">
                      <a:pos x="997" y="263"/>
                    </a:cxn>
                    <a:cxn ang="0">
                      <a:pos x="1022" y="341"/>
                    </a:cxn>
                    <a:cxn ang="0">
                      <a:pos x="942" y="336"/>
                    </a:cxn>
                    <a:cxn ang="0">
                      <a:pos x="887" y="342"/>
                    </a:cxn>
                    <a:cxn ang="0">
                      <a:pos x="820" y="354"/>
                    </a:cxn>
                    <a:cxn ang="0">
                      <a:pos x="767" y="368"/>
                    </a:cxn>
                    <a:cxn ang="0">
                      <a:pos x="678" y="366"/>
                    </a:cxn>
                    <a:cxn ang="0">
                      <a:pos x="626" y="380"/>
                    </a:cxn>
                    <a:cxn ang="0">
                      <a:pos x="597" y="379"/>
                    </a:cxn>
                    <a:cxn ang="0">
                      <a:pos x="578" y="370"/>
                    </a:cxn>
                    <a:cxn ang="0">
                      <a:pos x="579" y="408"/>
                    </a:cxn>
                    <a:cxn ang="0">
                      <a:pos x="560" y="418"/>
                    </a:cxn>
                    <a:cxn ang="0">
                      <a:pos x="542" y="435"/>
                    </a:cxn>
                  </a:cxnLst>
                  <a:rect l="0" t="0" r="r" b="b"/>
                  <a:pathLst>
                    <a:path w="1022" h="439">
                      <a:moveTo>
                        <a:pt x="538" y="424"/>
                      </a:moveTo>
                      <a:lnTo>
                        <a:pt x="535" y="411"/>
                      </a:lnTo>
                      <a:lnTo>
                        <a:pt x="538" y="395"/>
                      </a:lnTo>
                      <a:lnTo>
                        <a:pt x="548" y="389"/>
                      </a:lnTo>
                      <a:lnTo>
                        <a:pt x="552" y="379"/>
                      </a:lnTo>
                      <a:lnTo>
                        <a:pt x="543" y="370"/>
                      </a:lnTo>
                      <a:lnTo>
                        <a:pt x="526" y="378"/>
                      </a:lnTo>
                      <a:lnTo>
                        <a:pt x="524" y="389"/>
                      </a:lnTo>
                      <a:lnTo>
                        <a:pt x="516" y="391"/>
                      </a:lnTo>
                      <a:lnTo>
                        <a:pt x="503" y="390"/>
                      </a:lnTo>
                      <a:lnTo>
                        <a:pt x="493" y="381"/>
                      </a:lnTo>
                      <a:lnTo>
                        <a:pt x="484" y="376"/>
                      </a:lnTo>
                      <a:lnTo>
                        <a:pt x="477" y="374"/>
                      </a:lnTo>
                      <a:lnTo>
                        <a:pt x="471" y="374"/>
                      </a:lnTo>
                      <a:lnTo>
                        <a:pt x="460" y="379"/>
                      </a:lnTo>
                      <a:lnTo>
                        <a:pt x="441" y="397"/>
                      </a:lnTo>
                      <a:lnTo>
                        <a:pt x="436" y="406"/>
                      </a:lnTo>
                      <a:lnTo>
                        <a:pt x="427" y="407"/>
                      </a:lnTo>
                      <a:lnTo>
                        <a:pt x="419" y="414"/>
                      </a:lnTo>
                      <a:lnTo>
                        <a:pt x="408" y="418"/>
                      </a:lnTo>
                      <a:lnTo>
                        <a:pt x="397" y="417"/>
                      </a:lnTo>
                      <a:lnTo>
                        <a:pt x="379" y="422"/>
                      </a:lnTo>
                      <a:lnTo>
                        <a:pt x="369" y="427"/>
                      </a:lnTo>
                      <a:lnTo>
                        <a:pt x="350" y="421"/>
                      </a:lnTo>
                      <a:lnTo>
                        <a:pt x="341" y="409"/>
                      </a:lnTo>
                      <a:lnTo>
                        <a:pt x="337" y="402"/>
                      </a:lnTo>
                      <a:lnTo>
                        <a:pt x="331" y="397"/>
                      </a:lnTo>
                      <a:lnTo>
                        <a:pt x="321" y="391"/>
                      </a:lnTo>
                      <a:lnTo>
                        <a:pt x="295" y="379"/>
                      </a:lnTo>
                      <a:lnTo>
                        <a:pt x="283" y="370"/>
                      </a:lnTo>
                      <a:lnTo>
                        <a:pt x="267" y="368"/>
                      </a:lnTo>
                      <a:lnTo>
                        <a:pt x="257" y="370"/>
                      </a:lnTo>
                      <a:lnTo>
                        <a:pt x="248" y="370"/>
                      </a:lnTo>
                      <a:lnTo>
                        <a:pt x="245" y="379"/>
                      </a:lnTo>
                      <a:lnTo>
                        <a:pt x="245" y="391"/>
                      </a:lnTo>
                      <a:lnTo>
                        <a:pt x="242" y="396"/>
                      </a:lnTo>
                      <a:lnTo>
                        <a:pt x="240" y="407"/>
                      </a:lnTo>
                      <a:lnTo>
                        <a:pt x="220" y="412"/>
                      </a:lnTo>
                      <a:lnTo>
                        <a:pt x="207" y="417"/>
                      </a:lnTo>
                      <a:lnTo>
                        <a:pt x="196" y="417"/>
                      </a:lnTo>
                      <a:lnTo>
                        <a:pt x="186" y="414"/>
                      </a:lnTo>
                      <a:lnTo>
                        <a:pt x="176" y="409"/>
                      </a:lnTo>
                      <a:lnTo>
                        <a:pt x="167" y="401"/>
                      </a:lnTo>
                      <a:lnTo>
                        <a:pt x="164" y="386"/>
                      </a:lnTo>
                      <a:lnTo>
                        <a:pt x="164" y="381"/>
                      </a:lnTo>
                      <a:lnTo>
                        <a:pt x="156" y="378"/>
                      </a:lnTo>
                      <a:lnTo>
                        <a:pt x="154" y="382"/>
                      </a:lnTo>
                      <a:lnTo>
                        <a:pt x="155" y="386"/>
                      </a:lnTo>
                      <a:lnTo>
                        <a:pt x="151" y="386"/>
                      </a:lnTo>
                      <a:lnTo>
                        <a:pt x="143" y="380"/>
                      </a:lnTo>
                      <a:lnTo>
                        <a:pt x="137" y="374"/>
                      </a:lnTo>
                      <a:lnTo>
                        <a:pt x="134" y="373"/>
                      </a:lnTo>
                      <a:lnTo>
                        <a:pt x="119" y="374"/>
                      </a:lnTo>
                      <a:lnTo>
                        <a:pt x="117" y="380"/>
                      </a:lnTo>
                      <a:lnTo>
                        <a:pt x="107" y="386"/>
                      </a:lnTo>
                      <a:lnTo>
                        <a:pt x="105" y="386"/>
                      </a:lnTo>
                      <a:lnTo>
                        <a:pt x="108" y="379"/>
                      </a:lnTo>
                      <a:lnTo>
                        <a:pt x="107" y="375"/>
                      </a:lnTo>
                      <a:lnTo>
                        <a:pt x="73" y="385"/>
                      </a:lnTo>
                      <a:lnTo>
                        <a:pt x="79" y="378"/>
                      </a:lnTo>
                      <a:lnTo>
                        <a:pt x="87" y="371"/>
                      </a:lnTo>
                      <a:lnTo>
                        <a:pt x="101" y="371"/>
                      </a:lnTo>
                      <a:lnTo>
                        <a:pt x="108" y="368"/>
                      </a:lnTo>
                      <a:lnTo>
                        <a:pt x="110" y="366"/>
                      </a:lnTo>
                      <a:lnTo>
                        <a:pt x="118" y="362"/>
                      </a:lnTo>
                      <a:lnTo>
                        <a:pt x="122" y="357"/>
                      </a:lnTo>
                      <a:lnTo>
                        <a:pt x="113" y="355"/>
                      </a:lnTo>
                      <a:lnTo>
                        <a:pt x="92" y="360"/>
                      </a:lnTo>
                      <a:lnTo>
                        <a:pt x="69" y="360"/>
                      </a:lnTo>
                      <a:lnTo>
                        <a:pt x="67" y="355"/>
                      </a:lnTo>
                      <a:lnTo>
                        <a:pt x="79" y="344"/>
                      </a:lnTo>
                      <a:lnTo>
                        <a:pt x="71" y="336"/>
                      </a:lnTo>
                      <a:lnTo>
                        <a:pt x="68" y="333"/>
                      </a:lnTo>
                      <a:lnTo>
                        <a:pt x="63" y="333"/>
                      </a:lnTo>
                      <a:lnTo>
                        <a:pt x="64" y="325"/>
                      </a:lnTo>
                      <a:lnTo>
                        <a:pt x="69" y="321"/>
                      </a:lnTo>
                      <a:lnTo>
                        <a:pt x="71" y="316"/>
                      </a:lnTo>
                      <a:lnTo>
                        <a:pt x="64" y="317"/>
                      </a:lnTo>
                      <a:lnTo>
                        <a:pt x="57" y="320"/>
                      </a:lnTo>
                      <a:lnTo>
                        <a:pt x="52" y="312"/>
                      </a:lnTo>
                      <a:lnTo>
                        <a:pt x="59" y="309"/>
                      </a:lnTo>
                      <a:lnTo>
                        <a:pt x="60" y="300"/>
                      </a:lnTo>
                      <a:lnTo>
                        <a:pt x="56" y="290"/>
                      </a:lnTo>
                      <a:lnTo>
                        <a:pt x="51" y="287"/>
                      </a:lnTo>
                      <a:lnTo>
                        <a:pt x="37" y="283"/>
                      </a:lnTo>
                      <a:lnTo>
                        <a:pt x="30" y="277"/>
                      </a:lnTo>
                      <a:lnTo>
                        <a:pt x="20" y="279"/>
                      </a:lnTo>
                      <a:lnTo>
                        <a:pt x="16" y="277"/>
                      </a:lnTo>
                      <a:lnTo>
                        <a:pt x="10" y="271"/>
                      </a:lnTo>
                      <a:lnTo>
                        <a:pt x="10" y="268"/>
                      </a:lnTo>
                      <a:lnTo>
                        <a:pt x="16" y="266"/>
                      </a:lnTo>
                      <a:lnTo>
                        <a:pt x="17" y="256"/>
                      </a:lnTo>
                      <a:lnTo>
                        <a:pt x="16" y="251"/>
                      </a:lnTo>
                      <a:lnTo>
                        <a:pt x="19" y="245"/>
                      </a:lnTo>
                      <a:lnTo>
                        <a:pt x="22" y="246"/>
                      </a:lnTo>
                      <a:lnTo>
                        <a:pt x="28" y="262"/>
                      </a:lnTo>
                      <a:lnTo>
                        <a:pt x="35" y="263"/>
                      </a:lnTo>
                      <a:lnTo>
                        <a:pt x="43" y="262"/>
                      </a:lnTo>
                      <a:lnTo>
                        <a:pt x="54" y="262"/>
                      </a:lnTo>
                      <a:lnTo>
                        <a:pt x="52" y="260"/>
                      </a:lnTo>
                      <a:lnTo>
                        <a:pt x="42" y="255"/>
                      </a:lnTo>
                      <a:lnTo>
                        <a:pt x="37" y="246"/>
                      </a:lnTo>
                      <a:lnTo>
                        <a:pt x="38" y="239"/>
                      </a:lnTo>
                      <a:lnTo>
                        <a:pt x="47" y="231"/>
                      </a:lnTo>
                      <a:lnTo>
                        <a:pt x="44" y="226"/>
                      </a:lnTo>
                      <a:lnTo>
                        <a:pt x="38" y="220"/>
                      </a:lnTo>
                      <a:lnTo>
                        <a:pt x="38" y="214"/>
                      </a:lnTo>
                      <a:lnTo>
                        <a:pt x="32" y="206"/>
                      </a:lnTo>
                      <a:lnTo>
                        <a:pt x="33" y="195"/>
                      </a:lnTo>
                      <a:lnTo>
                        <a:pt x="43" y="186"/>
                      </a:lnTo>
                      <a:lnTo>
                        <a:pt x="41" y="182"/>
                      </a:lnTo>
                      <a:lnTo>
                        <a:pt x="25" y="186"/>
                      </a:lnTo>
                      <a:lnTo>
                        <a:pt x="0" y="186"/>
                      </a:lnTo>
                      <a:lnTo>
                        <a:pt x="0" y="181"/>
                      </a:lnTo>
                      <a:lnTo>
                        <a:pt x="3" y="160"/>
                      </a:lnTo>
                      <a:lnTo>
                        <a:pt x="8" y="150"/>
                      </a:lnTo>
                      <a:lnTo>
                        <a:pt x="14" y="149"/>
                      </a:lnTo>
                      <a:lnTo>
                        <a:pt x="20" y="138"/>
                      </a:lnTo>
                      <a:lnTo>
                        <a:pt x="27" y="132"/>
                      </a:lnTo>
                      <a:lnTo>
                        <a:pt x="35" y="122"/>
                      </a:lnTo>
                      <a:lnTo>
                        <a:pt x="48" y="123"/>
                      </a:lnTo>
                      <a:lnTo>
                        <a:pt x="63" y="118"/>
                      </a:lnTo>
                      <a:lnTo>
                        <a:pt x="68" y="123"/>
                      </a:lnTo>
                      <a:lnTo>
                        <a:pt x="80" y="127"/>
                      </a:lnTo>
                      <a:lnTo>
                        <a:pt x="91" y="126"/>
                      </a:lnTo>
                      <a:lnTo>
                        <a:pt x="87" y="112"/>
                      </a:lnTo>
                      <a:lnTo>
                        <a:pt x="96" y="113"/>
                      </a:lnTo>
                      <a:lnTo>
                        <a:pt x="102" y="117"/>
                      </a:lnTo>
                      <a:lnTo>
                        <a:pt x="101" y="122"/>
                      </a:lnTo>
                      <a:lnTo>
                        <a:pt x="108" y="123"/>
                      </a:lnTo>
                      <a:lnTo>
                        <a:pt x="122" y="121"/>
                      </a:lnTo>
                      <a:lnTo>
                        <a:pt x="149" y="121"/>
                      </a:lnTo>
                      <a:lnTo>
                        <a:pt x="161" y="120"/>
                      </a:lnTo>
                      <a:lnTo>
                        <a:pt x="160" y="113"/>
                      </a:lnTo>
                      <a:lnTo>
                        <a:pt x="151" y="111"/>
                      </a:lnTo>
                      <a:lnTo>
                        <a:pt x="150" y="107"/>
                      </a:lnTo>
                      <a:lnTo>
                        <a:pt x="160" y="104"/>
                      </a:lnTo>
                      <a:lnTo>
                        <a:pt x="204" y="100"/>
                      </a:lnTo>
                      <a:lnTo>
                        <a:pt x="204" y="96"/>
                      </a:lnTo>
                      <a:lnTo>
                        <a:pt x="196" y="94"/>
                      </a:lnTo>
                      <a:lnTo>
                        <a:pt x="189" y="96"/>
                      </a:lnTo>
                      <a:lnTo>
                        <a:pt x="176" y="94"/>
                      </a:lnTo>
                      <a:lnTo>
                        <a:pt x="173" y="90"/>
                      </a:lnTo>
                      <a:lnTo>
                        <a:pt x="170" y="89"/>
                      </a:lnTo>
                      <a:lnTo>
                        <a:pt x="167" y="83"/>
                      </a:lnTo>
                      <a:lnTo>
                        <a:pt x="161" y="79"/>
                      </a:lnTo>
                      <a:lnTo>
                        <a:pt x="164" y="73"/>
                      </a:lnTo>
                      <a:lnTo>
                        <a:pt x="170" y="62"/>
                      </a:lnTo>
                      <a:lnTo>
                        <a:pt x="171" y="66"/>
                      </a:lnTo>
                      <a:lnTo>
                        <a:pt x="180" y="66"/>
                      </a:lnTo>
                      <a:lnTo>
                        <a:pt x="193" y="69"/>
                      </a:lnTo>
                      <a:lnTo>
                        <a:pt x="231" y="68"/>
                      </a:lnTo>
                      <a:lnTo>
                        <a:pt x="242" y="72"/>
                      </a:lnTo>
                      <a:lnTo>
                        <a:pt x="248" y="75"/>
                      </a:lnTo>
                      <a:lnTo>
                        <a:pt x="253" y="74"/>
                      </a:lnTo>
                      <a:lnTo>
                        <a:pt x="274" y="77"/>
                      </a:lnTo>
                      <a:lnTo>
                        <a:pt x="288" y="70"/>
                      </a:lnTo>
                      <a:lnTo>
                        <a:pt x="295" y="57"/>
                      </a:lnTo>
                      <a:lnTo>
                        <a:pt x="307" y="51"/>
                      </a:lnTo>
                      <a:lnTo>
                        <a:pt x="318" y="41"/>
                      </a:lnTo>
                      <a:lnTo>
                        <a:pt x="332" y="36"/>
                      </a:lnTo>
                      <a:lnTo>
                        <a:pt x="343" y="26"/>
                      </a:lnTo>
                      <a:lnTo>
                        <a:pt x="355" y="19"/>
                      </a:lnTo>
                      <a:lnTo>
                        <a:pt x="381" y="9"/>
                      </a:lnTo>
                      <a:lnTo>
                        <a:pt x="398" y="7"/>
                      </a:lnTo>
                      <a:lnTo>
                        <a:pt x="414" y="5"/>
                      </a:lnTo>
                      <a:lnTo>
                        <a:pt x="436" y="8"/>
                      </a:lnTo>
                      <a:lnTo>
                        <a:pt x="473" y="8"/>
                      </a:lnTo>
                      <a:lnTo>
                        <a:pt x="485" y="2"/>
                      </a:lnTo>
                      <a:lnTo>
                        <a:pt x="493" y="0"/>
                      </a:lnTo>
                      <a:lnTo>
                        <a:pt x="499" y="3"/>
                      </a:lnTo>
                      <a:lnTo>
                        <a:pt x="499" y="10"/>
                      </a:lnTo>
                      <a:lnTo>
                        <a:pt x="506" y="21"/>
                      </a:lnTo>
                      <a:lnTo>
                        <a:pt x="520" y="29"/>
                      </a:lnTo>
                      <a:lnTo>
                        <a:pt x="533" y="35"/>
                      </a:lnTo>
                      <a:lnTo>
                        <a:pt x="546" y="26"/>
                      </a:lnTo>
                      <a:lnTo>
                        <a:pt x="553" y="37"/>
                      </a:lnTo>
                      <a:lnTo>
                        <a:pt x="560" y="58"/>
                      </a:lnTo>
                      <a:lnTo>
                        <a:pt x="587" y="61"/>
                      </a:lnTo>
                      <a:lnTo>
                        <a:pt x="623" y="80"/>
                      </a:lnTo>
                      <a:lnTo>
                        <a:pt x="629" y="77"/>
                      </a:lnTo>
                      <a:lnTo>
                        <a:pt x="635" y="74"/>
                      </a:lnTo>
                      <a:lnTo>
                        <a:pt x="656" y="84"/>
                      </a:lnTo>
                      <a:lnTo>
                        <a:pt x="677" y="83"/>
                      </a:lnTo>
                      <a:lnTo>
                        <a:pt x="693" y="77"/>
                      </a:lnTo>
                      <a:lnTo>
                        <a:pt x="724" y="72"/>
                      </a:lnTo>
                      <a:lnTo>
                        <a:pt x="758" y="80"/>
                      </a:lnTo>
                      <a:lnTo>
                        <a:pt x="779" y="79"/>
                      </a:lnTo>
                      <a:lnTo>
                        <a:pt x="820" y="51"/>
                      </a:lnTo>
                      <a:lnTo>
                        <a:pt x="838" y="40"/>
                      </a:lnTo>
                      <a:lnTo>
                        <a:pt x="840" y="35"/>
                      </a:lnTo>
                      <a:lnTo>
                        <a:pt x="847" y="41"/>
                      </a:lnTo>
                      <a:lnTo>
                        <a:pt x="855" y="41"/>
                      </a:lnTo>
                      <a:lnTo>
                        <a:pt x="868" y="37"/>
                      </a:lnTo>
                      <a:lnTo>
                        <a:pt x="887" y="43"/>
                      </a:lnTo>
                      <a:lnTo>
                        <a:pt x="893" y="43"/>
                      </a:lnTo>
                      <a:lnTo>
                        <a:pt x="898" y="36"/>
                      </a:lnTo>
                      <a:lnTo>
                        <a:pt x="903" y="32"/>
                      </a:lnTo>
                      <a:lnTo>
                        <a:pt x="911" y="35"/>
                      </a:lnTo>
                      <a:lnTo>
                        <a:pt x="919" y="42"/>
                      </a:lnTo>
                      <a:lnTo>
                        <a:pt x="930" y="58"/>
                      </a:lnTo>
                      <a:lnTo>
                        <a:pt x="935" y="59"/>
                      </a:lnTo>
                      <a:lnTo>
                        <a:pt x="944" y="69"/>
                      </a:lnTo>
                      <a:lnTo>
                        <a:pt x="951" y="75"/>
                      </a:lnTo>
                      <a:lnTo>
                        <a:pt x="958" y="89"/>
                      </a:lnTo>
                      <a:lnTo>
                        <a:pt x="960" y="109"/>
                      </a:lnTo>
                      <a:lnTo>
                        <a:pt x="963" y="123"/>
                      </a:lnTo>
                      <a:lnTo>
                        <a:pt x="971" y="133"/>
                      </a:lnTo>
                      <a:lnTo>
                        <a:pt x="982" y="137"/>
                      </a:lnTo>
                      <a:lnTo>
                        <a:pt x="990" y="143"/>
                      </a:lnTo>
                      <a:lnTo>
                        <a:pt x="1000" y="153"/>
                      </a:lnTo>
                      <a:lnTo>
                        <a:pt x="1008" y="156"/>
                      </a:lnTo>
                      <a:lnTo>
                        <a:pt x="1012" y="161"/>
                      </a:lnTo>
                      <a:lnTo>
                        <a:pt x="1003" y="179"/>
                      </a:lnTo>
                      <a:lnTo>
                        <a:pt x="1001" y="186"/>
                      </a:lnTo>
                      <a:lnTo>
                        <a:pt x="987" y="195"/>
                      </a:lnTo>
                      <a:lnTo>
                        <a:pt x="988" y="202"/>
                      </a:lnTo>
                      <a:lnTo>
                        <a:pt x="995" y="219"/>
                      </a:lnTo>
                      <a:lnTo>
                        <a:pt x="997" y="246"/>
                      </a:lnTo>
                      <a:lnTo>
                        <a:pt x="997" y="263"/>
                      </a:lnTo>
                      <a:lnTo>
                        <a:pt x="999" y="279"/>
                      </a:lnTo>
                      <a:lnTo>
                        <a:pt x="995" y="300"/>
                      </a:lnTo>
                      <a:lnTo>
                        <a:pt x="1009" y="308"/>
                      </a:lnTo>
                      <a:lnTo>
                        <a:pt x="1021" y="325"/>
                      </a:lnTo>
                      <a:lnTo>
                        <a:pt x="1022" y="341"/>
                      </a:lnTo>
                      <a:lnTo>
                        <a:pt x="1015" y="348"/>
                      </a:lnTo>
                      <a:lnTo>
                        <a:pt x="1000" y="347"/>
                      </a:lnTo>
                      <a:lnTo>
                        <a:pt x="990" y="336"/>
                      </a:lnTo>
                      <a:lnTo>
                        <a:pt x="973" y="337"/>
                      </a:lnTo>
                      <a:lnTo>
                        <a:pt x="942" y="336"/>
                      </a:lnTo>
                      <a:lnTo>
                        <a:pt x="922" y="327"/>
                      </a:lnTo>
                      <a:lnTo>
                        <a:pt x="897" y="348"/>
                      </a:lnTo>
                      <a:lnTo>
                        <a:pt x="888" y="349"/>
                      </a:lnTo>
                      <a:lnTo>
                        <a:pt x="887" y="347"/>
                      </a:lnTo>
                      <a:lnTo>
                        <a:pt x="887" y="342"/>
                      </a:lnTo>
                      <a:lnTo>
                        <a:pt x="883" y="339"/>
                      </a:lnTo>
                      <a:lnTo>
                        <a:pt x="881" y="337"/>
                      </a:lnTo>
                      <a:lnTo>
                        <a:pt x="872" y="344"/>
                      </a:lnTo>
                      <a:lnTo>
                        <a:pt x="855" y="352"/>
                      </a:lnTo>
                      <a:lnTo>
                        <a:pt x="820" y="354"/>
                      </a:lnTo>
                      <a:lnTo>
                        <a:pt x="810" y="351"/>
                      </a:lnTo>
                      <a:lnTo>
                        <a:pt x="801" y="351"/>
                      </a:lnTo>
                      <a:lnTo>
                        <a:pt x="785" y="355"/>
                      </a:lnTo>
                      <a:lnTo>
                        <a:pt x="775" y="364"/>
                      </a:lnTo>
                      <a:lnTo>
                        <a:pt x="767" y="368"/>
                      </a:lnTo>
                      <a:lnTo>
                        <a:pt x="754" y="371"/>
                      </a:lnTo>
                      <a:lnTo>
                        <a:pt x="750" y="375"/>
                      </a:lnTo>
                      <a:lnTo>
                        <a:pt x="716" y="381"/>
                      </a:lnTo>
                      <a:lnTo>
                        <a:pt x="689" y="378"/>
                      </a:lnTo>
                      <a:lnTo>
                        <a:pt x="678" y="366"/>
                      </a:lnTo>
                      <a:lnTo>
                        <a:pt x="671" y="365"/>
                      </a:lnTo>
                      <a:lnTo>
                        <a:pt x="657" y="366"/>
                      </a:lnTo>
                      <a:lnTo>
                        <a:pt x="648" y="373"/>
                      </a:lnTo>
                      <a:lnTo>
                        <a:pt x="634" y="378"/>
                      </a:lnTo>
                      <a:lnTo>
                        <a:pt x="626" y="380"/>
                      </a:lnTo>
                      <a:lnTo>
                        <a:pt x="622" y="384"/>
                      </a:lnTo>
                      <a:lnTo>
                        <a:pt x="607" y="381"/>
                      </a:lnTo>
                      <a:lnTo>
                        <a:pt x="598" y="384"/>
                      </a:lnTo>
                      <a:lnTo>
                        <a:pt x="597" y="381"/>
                      </a:lnTo>
                      <a:lnTo>
                        <a:pt x="597" y="379"/>
                      </a:lnTo>
                      <a:lnTo>
                        <a:pt x="597" y="378"/>
                      </a:lnTo>
                      <a:lnTo>
                        <a:pt x="597" y="378"/>
                      </a:lnTo>
                      <a:lnTo>
                        <a:pt x="592" y="374"/>
                      </a:lnTo>
                      <a:lnTo>
                        <a:pt x="583" y="373"/>
                      </a:lnTo>
                      <a:lnTo>
                        <a:pt x="578" y="370"/>
                      </a:lnTo>
                      <a:lnTo>
                        <a:pt x="573" y="381"/>
                      </a:lnTo>
                      <a:lnTo>
                        <a:pt x="571" y="382"/>
                      </a:lnTo>
                      <a:lnTo>
                        <a:pt x="571" y="387"/>
                      </a:lnTo>
                      <a:lnTo>
                        <a:pt x="569" y="396"/>
                      </a:lnTo>
                      <a:lnTo>
                        <a:pt x="579" y="408"/>
                      </a:lnTo>
                      <a:lnTo>
                        <a:pt x="579" y="411"/>
                      </a:lnTo>
                      <a:lnTo>
                        <a:pt x="576" y="412"/>
                      </a:lnTo>
                      <a:lnTo>
                        <a:pt x="569" y="412"/>
                      </a:lnTo>
                      <a:lnTo>
                        <a:pt x="560" y="414"/>
                      </a:lnTo>
                      <a:lnTo>
                        <a:pt x="560" y="418"/>
                      </a:lnTo>
                      <a:lnTo>
                        <a:pt x="560" y="427"/>
                      </a:lnTo>
                      <a:lnTo>
                        <a:pt x="554" y="432"/>
                      </a:lnTo>
                      <a:lnTo>
                        <a:pt x="551" y="433"/>
                      </a:lnTo>
                      <a:lnTo>
                        <a:pt x="548" y="439"/>
                      </a:lnTo>
                      <a:lnTo>
                        <a:pt x="542" y="435"/>
                      </a:lnTo>
                      <a:lnTo>
                        <a:pt x="540" y="432"/>
                      </a:lnTo>
                      <a:lnTo>
                        <a:pt x="536" y="432"/>
                      </a:lnTo>
                      <a:lnTo>
                        <a:pt x="538" y="424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21" name="Freeform 161"/>
                <p:cNvSpPr>
                  <a:spLocks noChangeAspect="1"/>
                </p:cNvSpPr>
                <p:nvPr/>
              </p:nvSpPr>
              <p:spPr bwMode="gray">
                <a:xfrm>
                  <a:off x="2802" y="1980"/>
                  <a:ext cx="33" cy="28"/>
                </a:xfrm>
                <a:custGeom>
                  <a:avLst/>
                  <a:gdLst/>
                  <a:ahLst/>
                  <a:cxnLst>
                    <a:cxn ang="0">
                      <a:pos x="108" y="8"/>
                    </a:cxn>
                    <a:cxn ang="0">
                      <a:pos x="100" y="6"/>
                    </a:cxn>
                    <a:cxn ang="0">
                      <a:pos x="77" y="10"/>
                    </a:cxn>
                    <a:cxn ang="0">
                      <a:pos x="59" y="0"/>
                    </a:cxn>
                    <a:cxn ang="0">
                      <a:pos x="39" y="8"/>
                    </a:cxn>
                    <a:cxn ang="0">
                      <a:pos x="25" y="10"/>
                    </a:cxn>
                    <a:cxn ang="0">
                      <a:pos x="16" y="18"/>
                    </a:cxn>
                    <a:cxn ang="0">
                      <a:pos x="19" y="24"/>
                    </a:cxn>
                    <a:cxn ang="0">
                      <a:pos x="28" y="31"/>
                    </a:cxn>
                    <a:cxn ang="0">
                      <a:pos x="27" y="42"/>
                    </a:cxn>
                    <a:cxn ang="0">
                      <a:pos x="16" y="51"/>
                    </a:cxn>
                    <a:cxn ang="0">
                      <a:pos x="14" y="67"/>
                    </a:cxn>
                    <a:cxn ang="0">
                      <a:pos x="10" y="81"/>
                    </a:cxn>
                    <a:cxn ang="0">
                      <a:pos x="0" y="96"/>
                    </a:cxn>
                    <a:cxn ang="0">
                      <a:pos x="3" y="100"/>
                    </a:cxn>
                    <a:cxn ang="0">
                      <a:pos x="10" y="104"/>
                    </a:cxn>
                    <a:cxn ang="0">
                      <a:pos x="43" y="100"/>
                    </a:cxn>
                    <a:cxn ang="0">
                      <a:pos x="36" y="107"/>
                    </a:cxn>
                    <a:cxn ang="0">
                      <a:pos x="21" y="113"/>
                    </a:cxn>
                    <a:cxn ang="0">
                      <a:pos x="10" y="120"/>
                    </a:cxn>
                    <a:cxn ang="0">
                      <a:pos x="9" y="127"/>
                    </a:cxn>
                    <a:cxn ang="0">
                      <a:pos x="9" y="140"/>
                    </a:cxn>
                    <a:cxn ang="0">
                      <a:pos x="17" y="137"/>
                    </a:cxn>
                    <a:cxn ang="0">
                      <a:pos x="23" y="127"/>
                    </a:cxn>
                    <a:cxn ang="0">
                      <a:pos x="33" y="118"/>
                    </a:cxn>
                    <a:cxn ang="0">
                      <a:pos x="58" y="101"/>
                    </a:cxn>
                    <a:cxn ang="0">
                      <a:pos x="76" y="86"/>
                    </a:cxn>
                    <a:cxn ang="0">
                      <a:pos x="85" y="75"/>
                    </a:cxn>
                    <a:cxn ang="0">
                      <a:pos x="97" y="75"/>
                    </a:cxn>
                    <a:cxn ang="0">
                      <a:pos x="108" y="73"/>
                    </a:cxn>
                    <a:cxn ang="0">
                      <a:pos x="124" y="73"/>
                    </a:cxn>
                    <a:cxn ang="0">
                      <a:pos x="138" y="74"/>
                    </a:cxn>
                    <a:cxn ang="0">
                      <a:pos x="145" y="78"/>
                    </a:cxn>
                    <a:cxn ang="0">
                      <a:pos x="160" y="73"/>
                    </a:cxn>
                    <a:cxn ang="0">
                      <a:pos x="166" y="64"/>
                    </a:cxn>
                    <a:cxn ang="0">
                      <a:pos x="166" y="56"/>
                    </a:cxn>
                    <a:cxn ang="0">
                      <a:pos x="156" y="54"/>
                    </a:cxn>
                    <a:cxn ang="0">
                      <a:pos x="139" y="48"/>
                    </a:cxn>
                    <a:cxn ang="0">
                      <a:pos x="125" y="42"/>
                    </a:cxn>
                    <a:cxn ang="0">
                      <a:pos x="117" y="36"/>
                    </a:cxn>
                    <a:cxn ang="0">
                      <a:pos x="109" y="27"/>
                    </a:cxn>
                    <a:cxn ang="0">
                      <a:pos x="107" y="16"/>
                    </a:cxn>
                    <a:cxn ang="0">
                      <a:pos x="108" y="8"/>
                    </a:cxn>
                  </a:cxnLst>
                  <a:rect l="0" t="0" r="r" b="b"/>
                  <a:pathLst>
                    <a:path w="166" h="140">
                      <a:moveTo>
                        <a:pt x="108" y="8"/>
                      </a:moveTo>
                      <a:lnTo>
                        <a:pt x="100" y="6"/>
                      </a:lnTo>
                      <a:lnTo>
                        <a:pt x="77" y="10"/>
                      </a:lnTo>
                      <a:lnTo>
                        <a:pt x="59" y="0"/>
                      </a:lnTo>
                      <a:lnTo>
                        <a:pt x="39" y="8"/>
                      </a:lnTo>
                      <a:lnTo>
                        <a:pt x="25" y="10"/>
                      </a:lnTo>
                      <a:lnTo>
                        <a:pt x="16" y="18"/>
                      </a:lnTo>
                      <a:lnTo>
                        <a:pt x="19" y="24"/>
                      </a:lnTo>
                      <a:lnTo>
                        <a:pt x="28" y="31"/>
                      </a:lnTo>
                      <a:lnTo>
                        <a:pt x="27" y="42"/>
                      </a:lnTo>
                      <a:lnTo>
                        <a:pt x="16" y="51"/>
                      </a:lnTo>
                      <a:lnTo>
                        <a:pt x="14" y="67"/>
                      </a:lnTo>
                      <a:lnTo>
                        <a:pt x="10" y="81"/>
                      </a:lnTo>
                      <a:lnTo>
                        <a:pt x="0" y="96"/>
                      </a:lnTo>
                      <a:lnTo>
                        <a:pt x="3" y="100"/>
                      </a:lnTo>
                      <a:lnTo>
                        <a:pt x="10" y="104"/>
                      </a:lnTo>
                      <a:lnTo>
                        <a:pt x="43" y="100"/>
                      </a:lnTo>
                      <a:lnTo>
                        <a:pt x="36" y="107"/>
                      </a:lnTo>
                      <a:lnTo>
                        <a:pt x="21" y="113"/>
                      </a:lnTo>
                      <a:lnTo>
                        <a:pt x="10" y="120"/>
                      </a:lnTo>
                      <a:lnTo>
                        <a:pt x="9" y="127"/>
                      </a:lnTo>
                      <a:lnTo>
                        <a:pt x="9" y="140"/>
                      </a:lnTo>
                      <a:lnTo>
                        <a:pt x="17" y="137"/>
                      </a:lnTo>
                      <a:lnTo>
                        <a:pt x="23" y="127"/>
                      </a:lnTo>
                      <a:lnTo>
                        <a:pt x="33" y="118"/>
                      </a:lnTo>
                      <a:lnTo>
                        <a:pt x="58" y="101"/>
                      </a:lnTo>
                      <a:lnTo>
                        <a:pt x="76" y="86"/>
                      </a:lnTo>
                      <a:lnTo>
                        <a:pt x="85" y="75"/>
                      </a:lnTo>
                      <a:lnTo>
                        <a:pt x="97" y="75"/>
                      </a:lnTo>
                      <a:lnTo>
                        <a:pt x="108" y="73"/>
                      </a:lnTo>
                      <a:lnTo>
                        <a:pt x="124" y="73"/>
                      </a:lnTo>
                      <a:lnTo>
                        <a:pt x="138" y="74"/>
                      </a:lnTo>
                      <a:lnTo>
                        <a:pt x="145" y="78"/>
                      </a:lnTo>
                      <a:lnTo>
                        <a:pt x="160" y="73"/>
                      </a:lnTo>
                      <a:lnTo>
                        <a:pt x="166" y="64"/>
                      </a:lnTo>
                      <a:lnTo>
                        <a:pt x="166" y="56"/>
                      </a:lnTo>
                      <a:lnTo>
                        <a:pt x="156" y="54"/>
                      </a:lnTo>
                      <a:lnTo>
                        <a:pt x="139" y="48"/>
                      </a:lnTo>
                      <a:lnTo>
                        <a:pt x="125" y="42"/>
                      </a:lnTo>
                      <a:lnTo>
                        <a:pt x="117" y="36"/>
                      </a:lnTo>
                      <a:lnTo>
                        <a:pt x="109" y="27"/>
                      </a:lnTo>
                      <a:lnTo>
                        <a:pt x="107" y="16"/>
                      </a:lnTo>
                      <a:lnTo>
                        <a:pt x="108" y="8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317" name="Freeform 162"/>
              <p:cNvSpPr>
                <a:spLocks noChangeAspect="1"/>
              </p:cNvSpPr>
              <p:nvPr/>
            </p:nvSpPr>
            <p:spPr bwMode="gray">
              <a:xfrm>
                <a:off x="2898" y="2100"/>
                <a:ext cx="47" cy="54"/>
              </a:xfrm>
              <a:custGeom>
                <a:avLst/>
                <a:gdLst/>
                <a:ahLst/>
                <a:cxnLst>
                  <a:cxn ang="0">
                    <a:pos x="215" y="94"/>
                  </a:cxn>
                  <a:cxn ang="0">
                    <a:pos x="231" y="75"/>
                  </a:cxn>
                  <a:cxn ang="0">
                    <a:pos x="215" y="0"/>
                  </a:cxn>
                  <a:cxn ang="0">
                    <a:pos x="165" y="26"/>
                  </a:cxn>
                  <a:cxn ang="0">
                    <a:pos x="141" y="39"/>
                  </a:cxn>
                  <a:cxn ang="0">
                    <a:pos x="96" y="67"/>
                  </a:cxn>
                  <a:cxn ang="0">
                    <a:pos x="87" y="69"/>
                  </a:cxn>
                  <a:cxn ang="0">
                    <a:pos x="75" y="67"/>
                  </a:cxn>
                  <a:cxn ang="0">
                    <a:pos x="70" y="65"/>
                  </a:cxn>
                  <a:cxn ang="0">
                    <a:pos x="62" y="55"/>
                  </a:cxn>
                  <a:cxn ang="0">
                    <a:pos x="54" y="51"/>
                  </a:cxn>
                  <a:cxn ang="0">
                    <a:pos x="48" y="43"/>
                  </a:cxn>
                  <a:cxn ang="0">
                    <a:pos x="44" y="42"/>
                  </a:cxn>
                  <a:cxn ang="0">
                    <a:pos x="32" y="44"/>
                  </a:cxn>
                  <a:cxn ang="0">
                    <a:pos x="32" y="64"/>
                  </a:cxn>
                  <a:cxn ang="0">
                    <a:pos x="32" y="66"/>
                  </a:cxn>
                  <a:cxn ang="0">
                    <a:pos x="31" y="75"/>
                  </a:cxn>
                  <a:cxn ang="0">
                    <a:pos x="30" y="82"/>
                  </a:cxn>
                  <a:cxn ang="0">
                    <a:pos x="28" y="94"/>
                  </a:cxn>
                  <a:cxn ang="0">
                    <a:pos x="31" y="103"/>
                  </a:cxn>
                  <a:cxn ang="0">
                    <a:pos x="28" y="109"/>
                  </a:cxn>
                  <a:cxn ang="0">
                    <a:pos x="27" y="118"/>
                  </a:cxn>
                  <a:cxn ang="0">
                    <a:pos x="25" y="120"/>
                  </a:cxn>
                  <a:cxn ang="0">
                    <a:pos x="27" y="124"/>
                  </a:cxn>
                  <a:cxn ang="0">
                    <a:pos x="23" y="137"/>
                  </a:cxn>
                  <a:cxn ang="0">
                    <a:pos x="26" y="145"/>
                  </a:cxn>
                  <a:cxn ang="0">
                    <a:pos x="17" y="163"/>
                  </a:cxn>
                  <a:cxn ang="0">
                    <a:pos x="11" y="183"/>
                  </a:cxn>
                  <a:cxn ang="0">
                    <a:pos x="5" y="236"/>
                  </a:cxn>
                  <a:cxn ang="0">
                    <a:pos x="1" y="247"/>
                  </a:cxn>
                  <a:cxn ang="0">
                    <a:pos x="0" y="253"/>
                  </a:cxn>
                  <a:cxn ang="0">
                    <a:pos x="0" y="253"/>
                  </a:cxn>
                  <a:cxn ang="0">
                    <a:pos x="3" y="261"/>
                  </a:cxn>
                  <a:cxn ang="0">
                    <a:pos x="64" y="269"/>
                  </a:cxn>
                  <a:cxn ang="0">
                    <a:pos x="81" y="252"/>
                  </a:cxn>
                  <a:cxn ang="0">
                    <a:pos x="82" y="248"/>
                  </a:cxn>
                  <a:cxn ang="0">
                    <a:pos x="97" y="223"/>
                  </a:cxn>
                  <a:cxn ang="0">
                    <a:pos x="139" y="217"/>
                  </a:cxn>
                  <a:cxn ang="0">
                    <a:pos x="140" y="207"/>
                  </a:cxn>
                  <a:cxn ang="0">
                    <a:pos x="146" y="191"/>
                  </a:cxn>
                  <a:cxn ang="0">
                    <a:pos x="168" y="179"/>
                  </a:cxn>
                  <a:cxn ang="0">
                    <a:pos x="170" y="178"/>
                  </a:cxn>
                  <a:cxn ang="0">
                    <a:pos x="117" y="124"/>
                  </a:cxn>
                  <a:cxn ang="0">
                    <a:pos x="108" y="118"/>
                  </a:cxn>
                  <a:cxn ang="0">
                    <a:pos x="149" y="108"/>
                  </a:cxn>
                  <a:cxn ang="0">
                    <a:pos x="215" y="94"/>
                  </a:cxn>
                </a:cxnLst>
                <a:rect l="0" t="0" r="r" b="b"/>
                <a:pathLst>
                  <a:path w="231" h="269">
                    <a:moveTo>
                      <a:pt x="215" y="94"/>
                    </a:moveTo>
                    <a:lnTo>
                      <a:pt x="231" y="75"/>
                    </a:lnTo>
                    <a:lnTo>
                      <a:pt x="215" y="0"/>
                    </a:lnTo>
                    <a:lnTo>
                      <a:pt x="165" y="26"/>
                    </a:lnTo>
                    <a:lnTo>
                      <a:pt x="141" y="39"/>
                    </a:lnTo>
                    <a:lnTo>
                      <a:pt x="96" y="67"/>
                    </a:lnTo>
                    <a:lnTo>
                      <a:pt x="87" y="69"/>
                    </a:lnTo>
                    <a:lnTo>
                      <a:pt x="75" y="67"/>
                    </a:lnTo>
                    <a:lnTo>
                      <a:pt x="70" y="65"/>
                    </a:lnTo>
                    <a:lnTo>
                      <a:pt x="62" y="55"/>
                    </a:lnTo>
                    <a:lnTo>
                      <a:pt x="54" y="51"/>
                    </a:lnTo>
                    <a:lnTo>
                      <a:pt x="48" y="43"/>
                    </a:lnTo>
                    <a:lnTo>
                      <a:pt x="44" y="42"/>
                    </a:lnTo>
                    <a:lnTo>
                      <a:pt x="32" y="44"/>
                    </a:lnTo>
                    <a:lnTo>
                      <a:pt x="32" y="64"/>
                    </a:lnTo>
                    <a:lnTo>
                      <a:pt x="32" y="66"/>
                    </a:lnTo>
                    <a:lnTo>
                      <a:pt x="31" y="75"/>
                    </a:lnTo>
                    <a:lnTo>
                      <a:pt x="30" y="82"/>
                    </a:lnTo>
                    <a:lnTo>
                      <a:pt x="28" y="94"/>
                    </a:lnTo>
                    <a:lnTo>
                      <a:pt x="31" y="103"/>
                    </a:lnTo>
                    <a:lnTo>
                      <a:pt x="28" y="109"/>
                    </a:lnTo>
                    <a:lnTo>
                      <a:pt x="27" y="118"/>
                    </a:lnTo>
                    <a:lnTo>
                      <a:pt x="25" y="120"/>
                    </a:lnTo>
                    <a:lnTo>
                      <a:pt x="27" y="124"/>
                    </a:lnTo>
                    <a:lnTo>
                      <a:pt x="23" y="137"/>
                    </a:lnTo>
                    <a:lnTo>
                      <a:pt x="26" y="145"/>
                    </a:lnTo>
                    <a:lnTo>
                      <a:pt x="17" y="163"/>
                    </a:lnTo>
                    <a:lnTo>
                      <a:pt x="11" y="183"/>
                    </a:lnTo>
                    <a:lnTo>
                      <a:pt x="5" y="236"/>
                    </a:lnTo>
                    <a:lnTo>
                      <a:pt x="1" y="247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3" y="261"/>
                    </a:lnTo>
                    <a:lnTo>
                      <a:pt x="64" y="269"/>
                    </a:lnTo>
                    <a:lnTo>
                      <a:pt x="81" y="252"/>
                    </a:lnTo>
                    <a:lnTo>
                      <a:pt x="82" y="248"/>
                    </a:lnTo>
                    <a:lnTo>
                      <a:pt x="97" y="223"/>
                    </a:lnTo>
                    <a:lnTo>
                      <a:pt x="139" y="217"/>
                    </a:lnTo>
                    <a:lnTo>
                      <a:pt x="140" y="207"/>
                    </a:lnTo>
                    <a:lnTo>
                      <a:pt x="146" y="191"/>
                    </a:lnTo>
                    <a:lnTo>
                      <a:pt x="168" y="179"/>
                    </a:lnTo>
                    <a:lnTo>
                      <a:pt x="170" y="178"/>
                    </a:lnTo>
                    <a:lnTo>
                      <a:pt x="117" y="124"/>
                    </a:lnTo>
                    <a:lnTo>
                      <a:pt x="108" y="118"/>
                    </a:lnTo>
                    <a:lnTo>
                      <a:pt x="149" y="108"/>
                    </a:lnTo>
                    <a:lnTo>
                      <a:pt x="215" y="94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18" name="Freeform 163"/>
              <p:cNvSpPr>
                <a:spLocks noChangeAspect="1"/>
              </p:cNvSpPr>
              <p:nvPr/>
            </p:nvSpPr>
            <p:spPr bwMode="gray">
              <a:xfrm>
                <a:off x="2905" y="2047"/>
                <a:ext cx="77" cy="67"/>
              </a:xfrm>
              <a:custGeom>
                <a:avLst/>
                <a:gdLst/>
                <a:ahLst/>
                <a:cxnLst>
                  <a:cxn ang="0">
                    <a:pos x="241" y="227"/>
                  </a:cxn>
                  <a:cxn ang="0">
                    <a:pos x="290" y="203"/>
                  </a:cxn>
                  <a:cxn ang="0">
                    <a:pos x="316" y="170"/>
                  </a:cxn>
                  <a:cxn ang="0">
                    <a:pos x="354" y="50"/>
                  </a:cxn>
                  <a:cxn ang="0">
                    <a:pos x="378" y="12"/>
                  </a:cxn>
                  <a:cxn ang="0">
                    <a:pos x="373" y="2"/>
                  </a:cxn>
                  <a:cxn ang="0">
                    <a:pos x="345" y="15"/>
                  </a:cxn>
                  <a:cxn ang="0">
                    <a:pos x="291" y="14"/>
                  </a:cxn>
                  <a:cxn ang="0">
                    <a:pos x="257" y="31"/>
                  </a:cxn>
                  <a:cxn ang="0">
                    <a:pos x="206" y="45"/>
                  </a:cxn>
                  <a:cxn ang="0">
                    <a:pos x="161" y="28"/>
                  </a:cxn>
                  <a:cxn ang="0">
                    <a:pos x="124" y="41"/>
                  </a:cxn>
                  <a:cxn ang="0">
                    <a:pos x="97" y="44"/>
                  </a:cxn>
                  <a:cxn ang="0">
                    <a:pos x="87" y="42"/>
                  </a:cxn>
                  <a:cxn ang="0">
                    <a:pos x="73" y="36"/>
                  </a:cxn>
                  <a:cxn ang="0">
                    <a:pos x="61" y="45"/>
                  </a:cxn>
                  <a:cxn ang="0">
                    <a:pos x="68" y="71"/>
                  </a:cxn>
                  <a:cxn ang="0">
                    <a:pos x="59" y="75"/>
                  </a:cxn>
                  <a:cxn ang="0">
                    <a:pos x="50" y="90"/>
                  </a:cxn>
                  <a:cxn ang="0">
                    <a:pos x="38" y="102"/>
                  </a:cxn>
                  <a:cxn ang="0">
                    <a:pos x="26" y="95"/>
                  </a:cxn>
                  <a:cxn ang="0">
                    <a:pos x="23" y="123"/>
                  </a:cxn>
                  <a:cxn ang="0">
                    <a:pos x="26" y="167"/>
                  </a:cxn>
                  <a:cxn ang="0">
                    <a:pos x="48" y="174"/>
                  </a:cxn>
                  <a:cxn ang="0">
                    <a:pos x="57" y="179"/>
                  </a:cxn>
                  <a:cxn ang="0">
                    <a:pos x="53" y="183"/>
                  </a:cxn>
                  <a:cxn ang="0">
                    <a:pos x="50" y="189"/>
                  </a:cxn>
                  <a:cxn ang="0">
                    <a:pos x="63" y="195"/>
                  </a:cxn>
                  <a:cxn ang="0">
                    <a:pos x="64" y="208"/>
                  </a:cxn>
                  <a:cxn ang="0">
                    <a:pos x="63" y="216"/>
                  </a:cxn>
                  <a:cxn ang="0">
                    <a:pos x="50" y="222"/>
                  </a:cxn>
                  <a:cxn ang="0">
                    <a:pos x="45" y="230"/>
                  </a:cxn>
                  <a:cxn ang="0">
                    <a:pos x="52" y="236"/>
                  </a:cxn>
                  <a:cxn ang="0">
                    <a:pos x="32" y="237"/>
                  </a:cxn>
                  <a:cxn ang="0">
                    <a:pos x="26" y="249"/>
                  </a:cxn>
                  <a:cxn ang="0">
                    <a:pos x="31" y="257"/>
                  </a:cxn>
                  <a:cxn ang="0">
                    <a:pos x="18" y="267"/>
                  </a:cxn>
                  <a:cxn ang="0">
                    <a:pos x="5" y="276"/>
                  </a:cxn>
                  <a:cxn ang="0">
                    <a:pos x="4" y="295"/>
                  </a:cxn>
                  <a:cxn ang="0">
                    <a:pos x="0" y="312"/>
                  </a:cxn>
                  <a:cxn ang="0">
                    <a:pos x="22" y="319"/>
                  </a:cxn>
                  <a:cxn ang="0">
                    <a:pos x="43" y="335"/>
                  </a:cxn>
                  <a:cxn ang="0">
                    <a:pos x="109" y="307"/>
                  </a:cxn>
                </a:cxnLst>
                <a:rect l="0" t="0" r="r" b="b"/>
                <a:pathLst>
                  <a:path w="387" h="337">
                    <a:moveTo>
                      <a:pt x="183" y="268"/>
                    </a:moveTo>
                    <a:lnTo>
                      <a:pt x="226" y="238"/>
                    </a:lnTo>
                    <a:lnTo>
                      <a:pt x="241" y="227"/>
                    </a:lnTo>
                    <a:lnTo>
                      <a:pt x="256" y="222"/>
                    </a:lnTo>
                    <a:lnTo>
                      <a:pt x="278" y="210"/>
                    </a:lnTo>
                    <a:lnTo>
                      <a:pt x="290" y="203"/>
                    </a:lnTo>
                    <a:lnTo>
                      <a:pt x="294" y="199"/>
                    </a:lnTo>
                    <a:lnTo>
                      <a:pt x="306" y="194"/>
                    </a:lnTo>
                    <a:lnTo>
                      <a:pt x="316" y="170"/>
                    </a:lnTo>
                    <a:lnTo>
                      <a:pt x="319" y="133"/>
                    </a:lnTo>
                    <a:lnTo>
                      <a:pt x="323" y="63"/>
                    </a:lnTo>
                    <a:lnTo>
                      <a:pt x="354" y="50"/>
                    </a:lnTo>
                    <a:lnTo>
                      <a:pt x="372" y="21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77" y="10"/>
                    </a:lnTo>
                    <a:lnTo>
                      <a:pt x="377" y="5"/>
                    </a:lnTo>
                    <a:lnTo>
                      <a:pt x="373" y="2"/>
                    </a:lnTo>
                    <a:lnTo>
                      <a:pt x="371" y="0"/>
                    </a:lnTo>
                    <a:lnTo>
                      <a:pt x="362" y="7"/>
                    </a:lnTo>
                    <a:lnTo>
                      <a:pt x="345" y="15"/>
                    </a:lnTo>
                    <a:lnTo>
                      <a:pt x="310" y="17"/>
                    </a:lnTo>
                    <a:lnTo>
                      <a:pt x="300" y="14"/>
                    </a:lnTo>
                    <a:lnTo>
                      <a:pt x="291" y="14"/>
                    </a:lnTo>
                    <a:lnTo>
                      <a:pt x="275" y="18"/>
                    </a:lnTo>
                    <a:lnTo>
                      <a:pt x="265" y="27"/>
                    </a:lnTo>
                    <a:lnTo>
                      <a:pt x="257" y="31"/>
                    </a:lnTo>
                    <a:lnTo>
                      <a:pt x="244" y="34"/>
                    </a:lnTo>
                    <a:lnTo>
                      <a:pt x="238" y="38"/>
                    </a:lnTo>
                    <a:lnTo>
                      <a:pt x="206" y="45"/>
                    </a:lnTo>
                    <a:lnTo>
                      <a:pt x="179" y="41"/>
                    </a:lnTo>
                    <a:lnTo>
                      <a:pt x="168" y="31"/>
                    </a:lnTo>
                    <a:lnTo>
                      <a:pt x="161" y="28"/>
                    </a:lnTo>
                    <a:lnTo>
                      <a:pt x="147" y="29"/>
                    </a:lnTo>
                    <a:lnTo>
                      <a:pt x="138" y="36"/>
                    </a:lnTo>
                    <a:lnTo>
                      <a:pt x="124" y="41"/>
                    </a:lnTo>
                    <a:lnTo>
                      <a:pt x="116" y="43"/>
                    </a:lnTo>
                    <a:lnTo>
                      <a:pt x="112" y="47"/>
                    </a:lnTo>
                    <a:lnTo>
                      <a:pt x="97" y="44"/>
                    </a:lnTo>
                    <a:lnTo>
                      <a:pt x="88" y="47"/>
                    </a:lnTo>
                    <a:lnTo>
                      <a:pt x="87" y="44"/>
                    </a:lnTo>
                    <a:lnTo>
                      <a:pt x="87" y="42"/>
                    </a:lnTo>
                    <a:lnTo>
                      <a:pt x="87" y="41"/>
                    </a:lnTo>
                    <a:lnTo>
                      <a:pt x="82" y="37"/>
                    </a:lnTo>
                    <a:lnTo>
                      <a:pt x="73" y="36"/>
                    </a:lnTo>
                    <a:lnTo>
                      <a:pt x="68" y="33"/>
                    </a:lnTo>
                    <a:lnTo>
                      <a:pt x="63" y="44"/>
                    </a:lnTo>
                    <a:lnTo>
                      <a:pt x="61" y="45"/>
                    </a:lnTo>
                    <a:lnTo>
                      <a:pt x="61" y="50"/>
                    </a:lnTo>
                    <a:lnTo>
                      <a:pt x="59" y="59"/>
                    </a:lnTo>
                    <a:lnTo>
                      <a:pt x="68" y="71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59" y="75"/>
                    </a:lnTo>
                    <a:lnTo>
                      <a:pt x="50" y="77"/>
                    </a:lnTo>
                    <a:lnTo>
                      <a:pt x="50" y="81"/>
                    </a:lnTo>
                    <a:lnTo>
                      <a:pt x="50" y="90"/>
                    </a:lnTo>
                    <a:lnTo>
                      <a:pt x="44" y="95"/>
                    </a:lnTo>
                    <a:lnTo>
                      <a:pt x="41" y="96"/>
                    </a:lnTo>
                    <a:lnTo>
                      <a:pt x="38" y="102"/>
                    </a:lnTo>
                    <a:lnTo>
                      <a:pt x="32" y="98"/>
                    </a:lnTo>
                    <a:lnTo>
                      <a:pt x="30" y="95"/>
                    </a:lnTo>
                    <a:lnTo>
                      <a:pt x="26" y="95"/>
                    </a:lnTo>
                    <a:lnTo>
                      <a:pt x="26" y="106"/>
                    </a:lnTo>
                    <a:lnTo>
                      <a:pt x="21" y="119"/>
                    </a:lnTo>
                    <a:lnTo>
                      <a:pt x="23" y="123"/>
                    </a:lnTo>
                    <a:lnTo>
                      <a:pt x="28" y="136"/>
                    </a:lnTo>
                    <a:lnTo>
                      <a:pt x="28" y="155"/>
                    </a:lnTo>
                    <a:lnTo>
                      <a:pt x="26" y="167"/>
                    </a:lnTo>
                    <a:lnTo>
                      <a:pt x="28" y="178"/>
                    </a:lnTo>
                    <a:lnTo>
                      <a:pt x="45" y="178"/>
                    </a:lnTo>
                    <a:lnTo>
                      <a:pt x="48" y="174"/>
                    </a:lnTo>
                    <a:lnTo>
                      <a:pt x="50" y="174"/>
                    </a:lnTo>
                    <a:lnTo>
                      <a:pt x="52" y="179"/>
                    </a:lnTo>
                    <a:lnTo>
                      <a:pt x="57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3" y="183"/>
                    </a:lnTo>
                    <a:lnTo>
                      <a:pt x="53" y="185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7" y="189"/>
                    </a:lnTo>
                    <a:lnTo>
                      <a:pt x="58" y="193"/>
                    </a:lnTo>
                    <a:lnTo>
                      <a:pt x="63" y="195"/>
                    </a:lnTo>
                    <a:lnTo>
                      <a:pt x="61" y="199"/>
                    </a:lnTo>
                    <a:lnTo>
                      <a:pt x="65" y="204"/>
                    </a:lnTo>
                    <a:lnTo>
                      <a:pt x="64" y="208"/>
                    </a:lnTo>
                    <a:lnTo>
                      <a:pt x="66" y="210"/>
                    </a:lnTo>
                    <a:lnTo>
                      <a:pt x="64" y="212"/>
                    </a:lnTo>
                    <a:lnTo>
                      <a:pt x="63" y="216"/>
                    </a:lnTo>
                    <a:lnTo>
                      <a:pt x="60" y="216"/>
                    </a:lnTo>
                    <a:lnTo>
                      <a:pt x="55" y="221"/>
                    </a:lnTo>
                    <a:lnTo>
                      <a:pt x="50" y="222"/>
                    </a:lnTo>
                    <a:lnTo>
                      <a:pt x="50" y="226"/>
                    </a:lnTo>
                    <a:lnTo>
                      <a:pt x="47" y="227"/>
                    </a:lnTo>
                    <a:lnTo>
                      <a:pt x="45" y="230"/>
                    </a:lnTo>
                    <a:lnTo>
                      <a:pt x="50" y="233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0" y="237"/>
                    </a:lnTo>
                    <a:lnTo>
                      <a:pt x="45" y="236"/>
                    </a:lnTo>
                    <a:lnTo>
                      <a:pt x="32" y="237"/>
                    </a:lnTo>
                    <a:lnTo>
                      <a:pt x="31" y="242"/>
                    </a:lnTo>
                    <a:lnTo>
                      <a:pt x="28" y="243"/>
                    </a:lnTo>
                    <a:lnTo>
                      <a:pt x="26" y="249"/>
                    </a:lnTo>
                    <a:lnTo>
                      <a:pt x="26" y="249"/>
                    </a:lnTo>
                    <a:lnTo>
                      <a:pt x="31" y="252"/>
                    </a:lnTo>
                    <a:lnTo>
                      <a:pt x="31" y="257"/>
                    </a:lnTo>
                    <a:lnTo>
                      <a:pt x="28" y="257"/>
                    </a:lnTo>
                    <a:lnTo>
                      <a:pt x="25" y="263"/>
                    </a:lnTo>
                    <a:lnTo>
                      <a:pt x="18" y="267"/>
                    </a:lnTo>
                    <a:lnTo>
                      <a:pt x="17" y="270"/>
                    </a:lnTo>
                    <a:lnTo>
                      <a:pt x="12" y="270"/>
                    </a:lnTo>
                    <a:lnTo>
                      <a:pt x="5" y="276"/>
                    </a:lnTo>
                    <a:lnTo>
                      <a:pt x="5" y="286"/>
                    </a:lnTo>
                    <a:lnTo>
                      <a:pt x="2" y="290"/>
                    </a:lnTo>
                    <a:lnTo>
                      <a:pt x="4" y="295"/>
                    </a:lnTo>
                    <a:lnTo>
                      <a:pt x="2" y="300"/>
                    </a:lnTo>
                    <a:lnTo>
                      <a:pt x="5" y="306"/>
                    </a:lnTo>
                    <a:lnTo>
                      <a:pt x="0" y="312"/>
                    </a:lnTo>
                    <a:lnTo>
                      <a:pt x="12" y="310"/>
                    </a:lnTo>
                    <a:lnTo>
                      <a:pt x="16" y="311"/>
                    </a:lnTo>
                    <a:lnTo>
                      <a:pt x="22" y="319"/>
                    </a:lnTo>
                    <a:lnTo>
                      <a:pt x="30" y="324"/>
                    </a:lnTo>
                    <a:lnTo>
                      <a:pt x="38" y="333"/>
                    </a:lnTo>
                    <a:lnTo>
                      <a:pt x="43" y="335"/>
                    </a:lnTo>
                    <a:lnTo>
                      <a:pt x="55" y="337"/>
                    </a:lnTo>
                    <a:lnTo>
                      <a:pt x="63" y="335"/>
                    </a:lnTo>
                    <a:lnTo>
                      <a:pt x="109" y="307"/>
                    </a:lnTo>
                    <a:lnTo>
                      <a:pt x="133" y="294"/>
                    </a:lnTo>
                    <a:lnTo>
                      <a:pt x="183" y="26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19" name="Freeform 164"/>
              <p:cNvSpPr>
                <a:spLocks noChangeAspect="1"/>
              </p:cNvSpPr>
              <p:nvPr/>
            </p:nvSpPr>
            <p:spPr bwMode="gray">
              <a:xfrm>
                <a:off x="2871" y="2069"/>
                <a:ext cx="25" cy="15"/>
              </a:xfrm>
              <a:custGeom>
                <a:avLst/>
                <a:gdLst/>
                <a:ahLst/>
                <a:cxnLst>
                  <a:cxn ang="0">
                    <a:pos x="92" y="16"/>
                  </a:cxn>
                  <a:cxn ang="0">
                    <a:pos x="106" y="11"/>
                  </a:cxn>
                  <a:cxn ang="0">
                    <a:pos x="112" y="5"/>
                  </a:cxn>
                  <a:cxn ang="0">
                    <a:pos x="122" y="0"/>
                  </a:cxn>
                  <a:cxn ang="0">
                    <a:pos x="126" y="0"/>
                  </a:cxn>
                  <a:cxn ang="0">
                    <a:pos x="123" y="9"/>
                  </a:cxn>
                  <a:cxn ang="0">
                    <a:pos x="115" y="17"/>
                  </a:cxn>
                  <a:cxn ang="0">
                    <a:pos x="107" y="21"/>
                  </a:cxn>
                  <a:cxn ang="0">
                    <a:pos x="96" y="37"/>
                  </a:cxn>
                  <a:cxn ang="0">
                    <a:pos x="99" y="43"/>
                  </a:cxn>
                  <a:cxn ang="0">
                    <a:pos x="92" y="52"/>
                  </a:cxn>
                  <a:cxn ang="0">
                    <a:pos x="80" y="54"/>
                  </a:cxn>
                  <a:cxn ang="0">
                    <a:pos x="69" y="64"/>
                  </a:cxn>
                  <a:cxn ang="0">
                    <a:pos x="53" y="68"/>
                  </a:cxn>
                  <a:cxn ang="0">
                    <a:pos x="43" y="75"/>
                  </a:cxn>
                  <a:cxn ang="0">
                    <a:pos x="25" y="72"/>
                  </a:cxn>
                  <a:cxn ang="0">
                    <a:pos x="13" y="66"/>
                  </a:cxn>
                  <a:cxn ang="0">
                    <a:pos x="5" y="57"/>
                  </a:cxn>
                  <a:cxn ang="0">
                    <a:pos x="0" y="45"/>
                  </a:cxn>
                  <a:cxn ang="0">
                    <a:pos x="13" y="42"/>
                  </a:cxn>
                  <a:cxn ang="0">
                    <a:pos x="21" y="37"/>
                  </a:cxn>
                  <a:cxn ang="0">
                    <a:pos x="31" y="36"/>
                  </a:cxn>
                  <a:cxn ang="0">
                    <a:pos x="38" y="33"/>
                  </a:cxn>
                  <a:cxn ang="0">
                    <a:pos x="40" y="25"/>
                  </a:cxn>
                  <a:cxn ang="0">
                    <a:pos x="43" y="26"/>
                  </a:cxn>
                  <a:cxn ang="0">
                    <a:pos x="63" y="25"/>
                  </a:cxn>
                  <a:cxn ang="0">
                    <a:pos x="92" y="16"/>
                  </a:cxn>
                </a:cxnLst>
                <a:rect l="0" t="0" r="r" b="b"/>
                <a:pathLst>
                  <a:path w="126" h="75">
                    <a:moveTo>
                      <a:pt x="92" y="16"/>
                    </a:moveTo>
                    <a:lnTo>
                      <a:pt x="106" y="11"/>
                    </a:lnTo>
                    <a:lnTo>
                      <a:pt x="112" y="5"/>
                    </a:lnTo>
                    <a:lnTo>
                      <a:pt x="122" y="0"/>
                    </a:lnTo>
                    <a:lnTo>
                      <a:pt x="126" y="0"/>
                    </a:lnTo>
                    <a:lnTo>
                      <a:pt x="123" y="9"/>
                    </a:lnTo>
                    <a:lnTo>
                      <a:pt x="115" y="17"/>
                    </a:lnTo>
                    <a:lnTo>
                      <a:pt x="107" y="21"/>
                    </a:lnTo>
                    <a:lnTo>
                      <a:pt x="96" y="37"/>
                    </a:lnTo>
                    <a:lnTo>
                      <a:pt x="99" y="43"/>
                    </a:lnTo>
                    <a:lnTo>
                      <a:pt x="92" y="52"/>
                    </a:lnTo>
                    <a:lnTo>
                      <a:pt x="80" y="54"/>
                    </a:lnTo>
                    <a:lnTo>
                      <a:pt x="69" y="64"/>
                    </a:lnTo>
                    <a:lnTo>
                      <a:pt x="53" y="68"/>
                    </a:lnTo>
                    <a:lnTo>
                      <a:pt x="43" y="75"/>
                    </a:lnTo>
                    <a:lnTo>
                      <a:pt x="25" y="72"/>
                    </a:lnTo>
                    <a:lnTo>
                      <a:pt x="13" y="66"/>
                    </a:lnTo>
                    <a:lnTo>
                      <a:pt x="5" y="57"/>
                    </a:lnTo>
                    <a:lnTo>
                      <a:pt x="0" y="45"/>
                    </a:lnTo>
                    <a:lnTo>
                      <a:pt x="13" y="42"/>
                    </a:lnTo>
                    <a:lnTo>
                      <a:pt x="21" y="37"/>
                    </a:lnTo>
                    <a:lnTo>
                      <a:pt x="31" y="36"/>
                    </a:lnTo>
                    <a:lnTo>
                      <a:pt x="38" y="33"/>
                    </a:lnTo>
                    <a:lnTo>
                      <a:pt x="40" y="25"/>
                    </a:lnTo>
                    <a:lnTo>
                      <a:pt x="43" y="26"/>
                    </a:lnTo>
                    <a:lnTo>
                      <a:pt x="63" y="25"/>
                    </a:lnTo>
                    <a:lnTo>
                      <a:pt x="92" y="16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14" name="Freeform 165"/>
            <p:cNvSpPr>
              <a:spLocks noChangeAspect="1"/>
            </p:cNvSpPr>
            <p:nvPr/>
          </p:nvSpPr>
          <p:spPr bwMode="gray">
            <a:xfrm>
              <a:off x="3885561" y="3547517"/>
              <a:ext cx="44905" cy="46226"/>
            </a:xfrm>
            <a:custGeom>
              <a:avLst/>
              <a:gdLst/>
              <a:ahLst/>
              <a:cxnLst>
                <a:cxn ang="0">
                  <a:pos x="77" y="118"/>
                </a:cxn>
                <a:cxn ang="0">
                  <a:pos x="68" y="107"/>
                </a:cxn>
                <a:cxn ang="0">
                  <a:pos x="64" y="102"/>
                </a:cxn>
                <a:cxn ang="0">
                  <a:pos x="56" y="99"/>
                </a:cxn>
                <a:cxn ang="0">
                  <a:pos x="46" y="89"/>
                </a:cxn>
                <a:cxn ang="0">
                  <a:pos x="38" y="83"/>
                </a:cxn>
                <a:cxn ang="0">
                  <a:pos x="27" y="79"/>
                </a:cxn>
                <a:cxn ang="0">
                  <a:pos x="19" y="69"/>
                </a:cxn>
                <a:cxn ang="0">
                  <a:pos x="16" y="55"/>
                </a:cxn>
                <a:cxn ang="0">
                  <a:pos x="14" y="35"/>
                </a:cxn>
                <a:cxn ang="0">
                  <a:pos x="7" y="21"/>
                </a:cxn>
                <a:cxn ang="0">
                  <a:pos x="0" y="15"/>
                </a:cxn>
                <a:cxn ang="0">
                  <a:pos x="21" y="14"/>
                </a:cxn>
                <a:cxn ang="0">
                  <a:pos x="28" y="9"/>
                </a:cxn>
                <a:cxn ang="0">
                  <a:pos x="44" y="8"/>
                </a:cxn>
                <a:cxn ang="0">
                  <a:pos x="51" y="4"/>
                </a:cxn>
                <a:cxn ang="0">
                  <a:pos x="67" y="7"/>
                </a:cxn>
                <a:cxn ang="0">
                  <a:pos x="76" y="5"/>
                </a:cxn>
                <a:cxn ang="0">
                  <a:pos x="86" y="0"/>
                </a:cxn>
                <a:cxn ang="0">
                  <a:pos x="87" y="0"/>
                </a:cxn>
                <a:cxn ang="0">
                  <a:pos x="89" y="8"/>
                </a:cxn>
                <a:cxn ang="0">
                  <a:pos x="99" y="20"/>
                </a:cxn>
                <a:cxn ang="0">
                  <a:pos x="107" y="21"/>
                </a:cxn>
                <a:cxn ang="0">
                  <a:pos x="114" y="26"/>
                </a:cxn>
                <a:cxn ang="0">
                  <a:pos x="115" y="34"/>
                </a:cxn>
                <a:cxn ang="0">
                  <a:pos x="110" y="40"/>
                </a:cxn>
                <a:cxn ang="0">
                  <a:pos x="110" y="48"/>
                </a:cxn>
                <a:cxn ang="0">
                  <a:pos x="113" y="56"/>
                </a:cxn>
                <a:cxn ang="0">
                  <a:pos x="118" y="63"/>
                </a:cxn>
                <a:cxn ang="0">
                  <a:pos x="123" y="68"/>
                </a:cxn>
                <a:cxn ang="0">
                  <a:pos x="137" y="77"/>
                </a:cxn>
                <a:cxn ang="0">
                  <a:pos x="138" y="84"/>
                </a:cxn>
                <a:cxn ang="0">
                  <a:pos x="135" y="93"/>
                </a:cxn>
                <a:cxn ang="0">
                  <a:pos x="126" y="94"/>
                </a:cxn>
                <a:cxn ang="0">
                  <a:pos x="129" y="101"/>
                </a:cxn>
                <a:cxn ang="0">
                  <a:pos x="138" y="113"/>
                </a:cxn>
                <a:cxn ang="0">
                  <a:pos x="153" y="122"/>
                </a:cxn>
                <a:cxn ang="0">
                  <a:pos x="161" y="122"/>
                </a:cxn>
                <a:cxn ang="0">
                  <a:pos x="168" y="123"/>
                </a:cxn>
                <a:cxn ang="0">
                  <a:pos x="164" y="131"/>
                </a:cxn>
                <a:cxn ang="0">
                  <a:pos x="163" y="139"/>
                </a:cxn>
                <a:cxn ang="0">
                  <a:pos x="169" y="144"/>
                </a:cxn>
                <a:cxn ang="0">
                  <a:pos x="168" y="152"/>
                </a:cxn>
                <a:cxn ang="0">
                  <a:pos x="161" y="154"/>
                </a:cxn>
                <a:cxn ang="0">
                  <a:pos x="166" y="160"/>
                </a:cxn>
                <a:cxn ang="0">
                  <a:pos x="169" y="168"/>
                </a:cxn>
                <a:cxn ang="0">
                  <a:pos x="170" y="175"/>
                </a:cxn>
                <a:cxn ang="0">
                  <a:pos x="164" y="175"/>
                </a:cxn>
                <a:cxn ang="0">
                  <a:pos x="147" y="175"/>
                </a:cxn>
                <a:cxn ang="0">
                  <a:pos x="142" y="175"/>
                </a:cxn>
                <a:cxn ang="0">
                  <a:pos x="141" y="150"/>
                </a:cxn>
                <a:cxn ang="0">
                  <a:pos x="137" y="143"/>
                </a:cxn>
                <a:cxn ang="0">
                  <a:pos x="132" y="136"/>
                </a:cxn>
                <a:cxn ang="0">
                  <a:pos x="129" y="128"/>
                </a:cxn>
                <a:cxn ang="0">
                  <a:pos x="121" y="126"/>
                </a:cxn>
                <a:cxn ang="0">
                  <a:pos x="114" y="128"/>
                </a:cxn>
                <a:cxn ang="0">
                  <a:pos x="107" y="128"/>
                </a:cxn>
                <a:cxn ang="0">
                  <a:pos x="99" y="125"/>
                </a:cxn>
                <a:cxn ang="0">
                  <a:pos x="94" y="117"/>
                </a:cxn>
                <a:cxn ang="0">
                  <a:pos x="87" y="116"/>
                </a:cxn>
                <a:cxn ang="0">
                  <a:pos x="77" y="118"/>
                </a:cxn>
              </a:cxnLst>
              <a:rect l="0" t="0" r="r" b="b"/>
              <a:pathLst>
                <a:path w="170" h="175">
                  <a:moveTo>
                    <a:pt x="77" y="118"/>
                  </a:moveTo>
                  <a:lnTo>
                    <a:pt x="68" y="107"/>
                  </a:lnTo>
                  <a:lnTo>
                    <a:pt x="64" y="102"/>
                  </a:lnTo>
                  <a:lnTo>
                    <a:pt x="56" y="99"/>
                  </a:lnTo>
                  <a:lnTo>
                    <a:pt x="46" y="89"/>
                  </a:lnTo>
                  <a:lnTo>
                    <a:pt x="38" y="83"/>
                  </a:lnTo>
                  <a:lnTo>
                    <a:pt x="27" y="79"/>
                  </a:lnTo>
                  <a:lnTo>
                    <a:pt x="19" y="69"/>
                  </a:lnTo>
                  <a:lnTo>
                    <a:pt x="16" y="55"/>
                  </a:lnTo>
                  <a:lnTo>
                    <a:pt x="14" y="35"/>
                  </a:lnTo>
                  <a:lnTo>
                    <a:pt x="7" y="21"/>
                  </a:lnTo>
                  <a:lnTo>
                    <a:pt x="0" y="15"/>
                  </a:lnTo>
                  <a:lnTo>
                    <a:pt x="21" y="14"/>
                  </a:lnTo>
                  <a:lnTo>
                    <a:pt x="28" y="9"/>
                  </a:lnTo>
                  <a:lnTo>
                    <a:pt x="44" y="8"/>
                  </a:lnTo>
                  <a:lnTo>
                    <a:pt x="51" y="4"/>
                  </a:lnTo>
                  <a:lnTo>
                    <a:pt x="67" y="7"/>
                  </a:lnTo>
                  <a:lnTo>
                    <a:pt x="76" y="5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9" y="8"/>
                  </a:lnTo>
                  <a:lnTo>
                    <a:pt x="99" y="20"/>
                  </a:lnTo>
                  <a:lnTo>
                    <a:pt x="107" y="21"/>
                  </a:lnTo>
                  <a:lnTo>
                    <a:pt x="114" y="26"/>
                  </a:lnTo>
                  <a:lnTo>
                    <a:pt x="115" y="34"/>
                  </a:lnTo>
                  <a:lnTo>
                    <a:pt x="110" y="40"/>
                  </a:lnTo>
                  <a:lnTo>
                    <a:pt x="110" y="48"/>
                  </a:lnTo>
                  <a:lnTo>
                    <a:pt x="113" y="56"/>
                  </a:lnTo>
                  <a:lnTo>
                    <a:pt x="118" y="63"/>
                  </a:lnTo>
                  <a:lnTo>
                    <a:pt x="123" y="68"/>
                  </a:lnTo>
                  <a:lnTo>
                    <a:pt x="137" y="77"/>
                  </a:lnTo>
                  <a:lnTo>
                    <a:pt x="138" y="84"/>
                  </a:lnTo>
                  <a:lnTo>
                    <a:pt x="135" y="93"/>
                  </a:lnTo>
                  <a:lnTo>
                    <a:pt x="126" y="94"/>
                  </a:lnTo>
                  <a:lnTo>
                    <a:pt x="129" y="101"/>
                  </a:lnTo>
                  <a:lnTo>
                    <a:pt x="138" y="113"/>
                  </a:lnTo>
                  <a:lnTo>
                    <a:pt x="153" y="122"/>
                  </a:lnTo>
                  <a:lnTo>
                    <a:pt x="161" y="122"/>
                  </a:lnTo>
                  <a:lnTo>
                    <a:pt x="168" y="123"/>
                  </a:lnTo>
                  <a:lnTo>
                    <a:pt x="164" y="131"/>
                  </a:lnTo>
                  <a:lnTo>
                    <a:pt x="163" y="139"/>
                  </a:lnTo>
                  <a:lnTo>
                    <a:pt x="169" y="144"/>
                  </a:lnTo>
                  <a:lnTo>
                    <a:pt x="168" y="152"/>
                  </a:lnTo>
                  <a:lnTo>
                    <a:pt x="161" y="154"/>
                  </a:lnTo>
                  <a:lnTo>
                    <a:pt x="166" y="160"/>
                  </a:lnTo>
                  <a:lnTo>
                    <a:pt x="169" y="168"/>
                  </a:lnTo>
                  <a:lnTo>
                    <a:pt x="170" y="175"/>
                  </a:lnTo>
                  <a:lnTo>
                    <a:pt x="164" y="175"/>
                  </a:lnTo>
                  <a:lnTo>
                    <a:pt x="147" y="175"/>
                  </a:lnTo>
                  <a:lnTo>
                    <a:pt x="142" y="175"/>
                  </a:lnTo>
                  <a:lnTo>
                    <a:pt x="141" y="150"/>
                  </a:lnTo>
                  <a:lnTo>
                    <a:pt x="137" y="143"/>
                  </a:lnTo>
                  <a:lnTo>
                    <a:pt x="132" y="136"/>
                  </a:lnTo>
                  <a:lnTo>
                    <a:pt x="129" y="128"/>
                  </a:lnTo>
                  <a:lnTo>
                    <a:pt x="121" y="126"/>
                  </a:lnTo>
                  <a:lnTo>
                    <a:pt x="114" y="128"/>
                  </a:lnTo>
                  <a:lnTo>
                    <a:pt x="107" y="128"/>
                  </a:lnTo>
                  <a:lnTo>
                    <a:pt x="99" y="125"/>
                  </a:lnTo>
                  <a:lnTo>
                    <a:pt x="94" y="117"/>
                  </a:lnTo>
                  <a:lnTo>
                    <a:pt x="87" y="116"/>
                  </a:lnTo>
                  <a:lnTo>
                    <a:pt x="77" y="11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15" name="Freeform 166"/>
            <p:cNvSpPr>
              <a:spLocks noChangeAspect="1"/>
            </p:cNvSpPr>
            <p:nvPr/>
          </p:nvSpPr>
          <p:spPr bwMode="gray">
            <a:xfrm>
              <a:off x="3930467" y="3238463"/>
              <a:ext cx="589051" cy="314336"/>
            </a:xfrm>
            <a:custGeom>
              <a:avLst/>
              <a:gdLst/>
              <a:ahLst/>
              <a:cxnLst>
                <a:cxn ang="0">
                  <a:pos x="464" y="1136"/>
                </a:cxn>
                <a:cxn ang="0">
                  <a:pos x="355" y="1109"/>
                </a:cxn>
                <a:cxn ang="0">
                  <a:pos x="262" y="1035"/>
                </a:cxn>
                <a:cxn ang="0">
                  <a:pos x="250" y="932"/>
                </a:cxn>
                <a:cxn ang="0">
                  <a:pos x="298" y="882"/>
                </a:cxn>
                <a:cxn ang="0">
                  <a:pos x="413" y="881"/>
                </a:cxn>
                <a:cxn ang="0">
                  <a:pos x="420" y="823"/>
                </a:cxn>
                <a:cxn ang="0">
                  <a:pos x="336" y="731"/>
                </a:cxn>
                <a:cxn ang="0">
                  <a:pos x="242" y="718"/>
                </a:cxn>
                <a:cxn ang="0">
                  <a:pos x="102" y="781"/>
                </a:cxn>
                <a:cxn ang="0">
                  <a:pos x="103" y="699"/>
                </a:cxn>
                <a:cxn ang="0">
                  <a:pos x="33" y="660"/>
                </a:cxn>
                <a:cxn ang="0">
                  <a:pos x="16" y="544"/>
                </a:cxn>
                <a:cxn ang="0">
                  <a:pos x="64" y="458"/>
                </a:cxn>
                <a:cxn ang="0">
                  <a:pos x="126" y="435"/>
                </a:cxn>
                <a:cxn ang="0">
                  <a:pos x="193" y="379"/>
                </a:cxn>
                <a:cxn ang="0">
                  <a:pos x="263" y="359"/>
                </a:cxn>
                <a:cxn ang="0">
                  <a:pos x="329" y="359"/>
                </a:cxn>
                <a:cxn ang="0">
                  <a:pos x="421" y="398"/>
                </a:cxn>
                <a:cxn ang="0">
                  <a:pos x="442" y="408"/>
                </a:cxn>
                <a:cxn ang="0">
                  <a:pos x="531" y="424"/>
                </a:cxn>
                <a:cxn ang="0">
                  <a:pos x="590" y="402"/>
                </a:cxn>
                <a:cxn ang="0">
                  <a:pos x="674" y="434"/>
                </a:cxn>
                <a:cxn ang="0">
                  <a:pos x="760" y="434"/>
                </a:cxn>
                <a:cxn ang="0">
                  <a:pos x="793" y="363"/>
                </a:cxn>
                <a:cxn ang="0">
                  <a:pos x="760" y="306"/>
                </a:cxn>
                <a:cxn ang="0">
                  <a:pos x="807" y="226"/>
                </a:cxn>
                <a:cxn ang="0">
                  <a:pos x="803" y="192"/>
                </a:cxn>
                <a:cxn ang="0">
                  <a:pos x="802" y="150"/>
                </a:cxn>
                <a:cxn ang="0">
                  <a:pos x="878" y="142"/>
                </a:cxn>
                <a:cxn ang="0">
                  <a:pos x="963" y="110"/>
                </a:cxn>
                <a:cxn ang="0">
                  <a:pos x="1034" y="74"/>
                </a:cxn>
                <a:cxn ang="0">
                  <a:pos x="1187" y="42"/>
                </a:cxn>
                <a:cxn ang="0">
                  <a:pos x="1239" y="0"/>
                </a:cxn>
                <a:cxn ang="0">
                  <a:pos x="1324" y="12"/>
                </a:cxn>
                <a:cxn ang="0">
                  <a:pos x="1349" y="102"/>
                </a:cxn>
                <a:cxn ang="0">
                  <a:pos x="1402" y="107"/>
                </a:cxn>
                <a:cxn ang="0">
                  <a:pos x="1425" y="125"/>
                </a:cxn>
                <a:cxn ang="0">
                  <a:pos x="1490" y="145"/>
                </a:cxn>
                <a:cxn ang="0">
                  <a:pos x="1508" y="173"/>
                </a:cxn>
                <a:cxn ang="0">
                  <a:pos x="1586" y="123"/>
                </a:cxn>
                <a:cxn ang="0">
                  <a:pos x="1657" y="118"/>
                </a:cxn>
                <a:cxn ang="0">
                  <a:pos x="1857" y="397"/>
                </a:cxn>
                <a:cxn ang="0">
                  <a:pos x="1938" y="425"/>
                </a:cxn>
                <a:cxn ang="0">
                  <a:pos x="2028" y="408"/>
                </a:cxn>
                <a:cxn ang="0">
                  <a:pos x="2078" y="470"/>
                </a:cxn>
                <a:cxn ang="0">
                  <a:pos x="2159" y="533"/>
                </a:cxn>
                <a:cxn ang="0">
                  <a:pos x="2226" y="554"/>
                </a:cxn>
                <a:cxn ang="0">
                  <a:pos x="2139" y="733"/>
                </a:cxn>
                <a:cxn ang="0">
                  <a:pos x="1978" y="773"/>
                </a:cxn>
                <a:cxn ang="0">
                  <a:pos x="1841" y="901"/>
                </a:cxn>
                <a:cxn ang="0">
                  <a:pos x="1860" y="1061"/>
                </a:cxn>
                <a:cxn ang="0">
                  <a:pos x="1768" y="1061"/>
                </a:cxn>
                <a:cxn ang="0">
                  <a:pos x="1620" y="1050"/>
                </a:cxn>
                <a:cxn ang="0">
                  <a:pos x="1506" y="1034"/>
                </a:cxn>
                <a:cxn ang="0">
                  <a:pos x="1421" y="1070"/>
                </a:cxn>
                <a:cxn ang="0">
                  <a:pos x="1343" y="1081"/>
                </a:cxn>
                <a:cxn ang="0">
                  <a:pos x="1257" y="1153"/>
                </a:cxn>
                <a:cxn ang="0">
                  <a:pos x="1185" y="1180"/>
                </a:cxn>
                <a:cxn ang="0">
                  <a:pos x="1048" y="1021"/>
                </a:cxn>
                <a:cxn ang="0">
                  <a:pos x="742" y="899"/>
                </a:cxn>
              </a:cxnLst>
              <a:rect l="0" t="0" r="r" b="b"/>
              <a:pathLst>
                <a:path w="2230" h="1190">
                  <a:moveTo>
                    <a:pt x="518" y="898"/>
                  </a:moveTo>
                  <a:lnTo>
                    <a:pt x="518" y="968"/>
                  </a:lnTo>
                  <a:lnTo>
                    <a:pt x="518" y="1042"/>
                  </a:lnTo>
                  <a:lnTo>
                    <a:pt x="518" y="1107"/>
                  </a:lnTo>
                  <a:lnTo>
                    <a:pt x="518" y="1168"/>
                  </a:lnTo>
                  <a:lnTo>
                    <a:pt x="506" y="1174"/>
                  </a:lnTo>
                  <a:lnTo>
                    <a:pt x="486" y="1173"/>
                  </a:lnTo>
                  <a:lnTo>
                    <a:pt x="477" y="1166"/>
                  </a:lnTo>
                  <a:lnTo>
                    <a:pt x="468" y="1143"/>
                  </a:lnTo>
                  <a:lnTo>
                    <a:pt x="464" y="1136"/>
                  </a:lnTo>
                  <a:lnTo>
                    <a:pt x="458" y="1130"/>
                  </a:lnTo>
                  <a:lnTo>
                    <a:pt x="452" y="1115"/>
                  </a:lnTo>
                  <a:lnTo>
                    <a:pt x="447" y="1108"/>
                  </a:lnTo>
                  <a:lnTo>
                    <a:pt x="432" y="1102"/>
                  </a:lnTo>
                  <a:lnTo>
                    <a:pt x="425" y="1097"/>
                  </a:lnTo>
                  <a:lnTo>
                    <a:pt x="418" y="1092"/>
                  </a:lnTo>
                  <a:lnTo>
                    <a:pt x="410" y="1092"/>
                  </a:lnTo>
                  <a:lnTo>
                    <a:pt x="402" y="1093"/>
                  </a:lnTo>
                  <a:lnTo>
                    <a:pt x="378" y="1100"/>
                  </a:lnTo>
                  <a:lnTo>
                    <a:pt x="355" y="1109"/>
                  </a:lnTo>
                  <a:lnTo>
                    <a:pt x="325" y="1135"/>
                  </a:lnTo>
                  <a:lnTo>
                    <a:pt x="324" y="1096"/>
                  </a:lnTo>
                  <a:lnTo>
                    <a:pt x="333" y="1085"/>
                  </a:lnTo>
                  <a:lnTo>
                    <a:pt x="335" y="1065"/>
                  </a:lnTo>
                  <a:lnTo>
                    <a:pt x="323" y="1060"/>
                  </a:lnTo>
                  <a:lnTo>
                    <a:pt x="311" y="1059"/>
                  </a:lnTo>
                  <a:lnTo>
                    <a:pt x="291" y="1050"/>
                  </a:lnTo>
                  <a:lnTo>
                    <a:pt x="281" y="1037"/>
                  </a:lnTo>
                  <a:lnTo>
                    <a:pt x="274" y="1037"/>
                  </a:lnTo>
                  <a:lnTo>
                    <a:pt x="262" y="1035"/>
                  </a:lnTo>
                  <a:lnTo>
                    <a:pt x="259" y="996"/>
                  </a:lnTo>
                  <a:lnTo>
                    <a:pt x="247" y="976"/>
                  </a:lnTo>
                  <a:lnTo>
                    <a:pt x="239" y="970"/>
                  </a:lnTo>
                  <a:lnTo>
                    <a:pt x="232" y="956"/>
                  </a:lnTo>
                  <a:lnTo>
                    <a:pt x="209" y="947"/>
                  </a:lnTo>
                  <a:lnTo>
                    <a:pt x="198" y="930"/>
                  </a:lnTo>
                  <a:lnTo>
                    <a:pt x="205" y="924"/>
                  </a:lnTo>
                  <a:lnTo>
                    <a:pt x="223" y="924"/>
                  </a:lnTo>
                  <a:lnTo>
                    <a:pt x="241" y="927"/>
                  </a:lnTo>
                  <a:lnTo>
                    <a:pt x="250" y="932"/>
                  </a:lnTo>
                  <a:lnTo>
                    <a:pt x="258" y="930"/>
                  </a:lnTo>
                  <a:lnTo>
                    <a:pt x="271" y="931"/>
                  </a:lnTo>
                  <a:lnTo>
                    <a:pt x="268" y="924"/>
                  </a:lnTo>
                  <a:lnTo>
                    <a:pt x="264" y="913"/>
                  </a:lnTo>
                  <a:lnTo>
                    <a:pt x="262" y="894"/>
                  </a:lnTo>
                  <a:lnTo>
                    <a:pt x="266" y="883"/>
                  </a:lnTo>
                  <a:lnTo>
                    <a:pt x="276" y="878"/>
                  </a:lnTo>
                  <a:lnTo>
                    <a:pt x="276" y="886"/>
                  </a:lnTo>
                  <a:lnTo>
                    <a:pt x="287" y="887"/>
                  </a:lnTo>
                  <a:lnTo>
                    <a:pt x="298" y="882"/>
                  </a:lnTo>
                  <a:lnTo>
                    <a:pt x="301" y="873"/>
                  </a:lnTo>
                  <a:lnTo>
                    <a:pt x="311" y="865"/>
                  </a:lnTo>
                  <a:lnTo>
                    <a:pt x="328" y="863"/>
                  </a:lnTo>
                  <a:lnTo>
                    <a:pt x="344" y="873"/>
                  </a:lnTo>
                  <a:lnTo>
                    <a:pt x="360" y="879"/>
                  </a:lnTo>
                  <a:lnTo>
                    <a:pt x="376" y="876"/>
                  </a:lnTo>
                  <a:lnTo>
                    <a:pt x="386" y="868"/>
                  </a:lnTo>
                  <a:lnTo>
                    <a:pt x="389" y="870"/>
                  </a:lnTo>
                  <a:lnTo>
                    <a:pt x="394" y="874"/>
                  </a:lnTo>
                  <a:lnTo>
                    <a:pt x="413" y="881"/>
                  </a:lnTo>
                  <a:lnTo>
                    <a:pt x="424" y="887"/>
                  </a:lnTo>
                  <a:lnTo>
                    <a:pt x="435" y="884"/>
                  </a:lnTo>
                  <a:lnTo>
                    <a:pt x="447" y="887"/>
                  </a:lnTo>
                  <a:lnTo>
                    <a:pt x="451" y="879"/>
                  </a:lnTo>
                  <a:lnTo>
                    <a:pt x="443" y="867"/>
                  </a:lnTo>
                  <a:lnTo>
                    <a:pt x="453" y="867"/>
                  </a:lnTo>
                  <a:lnTo>
                    <a:pt x="446" y="855"/>
                  </a:lnTo>
                  <a:lnTo>
                    <a:pt x="435" y="841"/>
                  </a:lnTo>
                  <a:lnTo>
                    <a:pt x="425" y="834"/>
                  </a:lnTo>
                  <a:lnTo>
                    <a:pt x="420" y="823"/>
                  </a:lnTo>
                  <a:lnTo>
                    <a:pt x="409" y="823"/>
                  </a:lnTo>
                  <a:lnTo>
                    <a:pt x="398" y="806"/>
                  </a:lnTo>
                  <a:lnTo>
                    <a:pt x="392" y="782"/>
                  </a:lnTo>
                  <a:lnTo>
                    <a:pt x="384" y="771"/>
                  </a:lnTo>
                  <a:lnTo>
                    <a:pt x="382" y="777"/>
                  </a:lnTo>
                  <a:lnTo>
                    <a:pt x="375" y="760"/>
                  </a:lnTo>
                  <a:lnTo>
                    <a:pt x="370" y="760"/>
                  </a:lnTo>
                  <a:lnTo>
                    <a:pt x="367" y="749"/>
                  </a:lnTo>
                  <a:lnTo>
                    <a:pt x="348" y="732"/>
                  </a:lnTo>
                  <a:lnTo>
                    <a:pt x="336" y="731"/>
                  </a:lnTo>
                  <a:lnTo>
                    <a:pt x="336" y="725"/>
                  </a:lnTo>
                  <a:lnTo>
                    <a:pt x="323" y="723"/>
                  </a:lnTo>
                  <a:lnTo>
                    <a:pt x="312" y="728"/>
                  </a:lnTo>
                  <a:lnTo>
                    <a:pt x="303" y="730"/>
                  </a:lnTo>
                  <a:lnTo>
                    <a:pt x="292" y="736"/>
                  </a:lnTo>
                  <a:lnTo>
                    <a:pt x="289" y="725"/>
                  </a:lnTo>
                  <a:lnTo>
                    <a:pt x="274" y="725"/>
                  </a:lnTo>
                  <a:lnTo>
                    <a:pt x="270" y="722"/>
                  </a:lnTo>
                  <a:lnTo>
                    <a:pt x="257" y="720"/>
                  </a:lnTo>
                  <a:lnTo>
                    <a:pt x="242" y="718"/>
                  </a:lnTo>
                  <a:lnTo>
                    <a:pt x="207" y="752"/>
                  </a:lnTo>
                  <a:lnTo>
                    <a:pt x="188" y="753"/>
                  </a:lnTo>
                  <a:lnTo>
                    <a:pt x="162" y="761"/>
                  </a:lnTo>
                  <a:lnTo>
                    <a:pt x="136" y="765"/>
                  </a:lnTo>
                  <a:lnTo>
                    <a:pt x="114" y="771"/>
                  </a:lnTo>
                  <a:lnTo>
                    <a:pt x="136" y="786"/>
                  </a:lnTo>
                  <a:lnTo>
                    <a:pt x="119" y="793"/>
                  </a:lnTo>
                  <a:lnTo>
                    <a:pt x="112" y="791"/>
                  </a:lnTo>
                  <a:lnTo>
                    <a:pt x="108" y="785"/>
                  </a:lnTo>
                  <a:lnTo>
                    <a:pt x="102" y="781"/>
                  </a:lnTo>
                  <a:lnTo>
                    <a:pt x="93" y="781"/>
                  </a:lnTo>
                  <a:lnTo>
                    <a:pt x="86" y="779"/>
                  </a:lnTo>
                  <a:lnTo>
                    <a:pt x="83" y="773"/>
                  </a:lnTo>
                  <a:lnTo>
                    <a:pt x="90" y="766"/>
                  </a:lnTo>
                  <a:lnTo>
                    <a:pt x="91" y="758"/>
                  </a:lnTo>
                  <a:lnTo>
                    <a:pt x="98" y="755"/>
                  </a:lnTo>
                  <a:lnTo>
                    <a:pt x="107" y="761"/>
                  </a:lnTo>
                  <a:lnTo>
                    <a:pt x="119" y="758"/>
                  </a:lnTo>
                  <a:lnTo>
                    <a:pt x="110" y="701"/>
                  </a:lnTo>
                  <a:lnTo>
                    <a:pt x="103" y="699"/>
                  </a:lnTo>
                  <a:lnTo>
                    <a:pt x="98" y="693"/>
                  </a:lnTo>
                  <a:lnTo>
                    <a:pt x="96" y="684"/>
                  </a:lnTo>
                  <a:lnTo>
                    <a:pt x="92" y="678"/>
                  </a:lnTo>
                  <a:lnTo>
                    <a:pt x="86" y="672"/>
                  </a:lnTo>
                  <a:lnTo>
                    <a:pt x="79" y="672"/>
                  </a:lnTo>
                  <a:lnTo>
                    <a:pt x="61" y="674"/>
                  </a:lnTo>
                  <a:lnTo>
                    <a:pt x="48" y="671"/>
                  </a:lnTo>
                  <a:lnTo>
                    <a:pt x="47" y="679"/>
                  </a:lnTo>
                  <a:lnTo>
                    <a:pt x="34" y="667"/>
                  </a:lnTo>
                  <a:lnTo>
                    <a:pt x="33" y="660"/>
                  </a:lnTo>
                  <a:lnTo>
                    <a:pt x="29" y="652"/>
                  </a:lnTo>
                  <a:lnTo>
                    <a:pt x="34" y="646"/>
                  </a:lnTo>
                  <a:lnTo>
                    <a:pt x="29" y="639"/>
                  </a:lnTo>
                  <a:lnTo>
                    <a:pt x="28" y="631"/>
                  </a:lnTo>
                  <a:lnTo>
                    <a:pt x="0" y="621"/>
                  </a:lnTo>
                  <a:lnTo>
                    <a:pt x="11" y="577"/>
                  </a:lnTo>
                  <a:lnTo>
                    <a:pt x="24" y="570"/>
                  </a:lnTo>
                  <a:lnTo>
                    <a:pt x="29" y="562"/>
                  </a:lnTo>
                  <a:lnTo>
                    <a:pt x="27" y="555"/>
                  </a:lnTo>
                  <a:lnTo>
                    <a:pt x="16" y="544"/>
                  </a:lnTo>
                  <a:lnTo>
                    <a:pt x="26" y="499"/>
                  </a:lnTo>
                  <a:lnTo>
                    <a:pt x="39" y="490"/>
                  </a:lnTo>
                  <a:lnTo>
                    <a:pt x="44" y="484"/>
                  </a:lnTo>
                  <a:lnTo>
                    <a:pt x="42" y="475"/>
                  </a:lnTo>
                  <a:lnTo>
                    <a:pt x="45" y="468"/>
                  </a:lnTo>
                  <a:lnTo>
                    <a:pt x="45" y="461"/>
                  </a:lnTo>
                  <a:lnTo>
                    <a:pt x="49" y="452"/>
                  </a:lnTo>
                  <a:lnTo>
                    <a:pt x="54" y="446"/>
                  </a:lnTo>
                  <a:lnTo>
                    <a:pt x="60" y="451"/>
                  </a:lnTo>
                  <a:lnTo>
                    <a:pt x="64" y="458"/>
                  </a:lnTo>
                  <a:lnTo>
                    <a:pt x="76" y="468"/>
                  </a:lnTo>
                  <a:lnTo>
                    <a:pt x="93" y="505"/>
                  </a:lnTo>
                  <a:lnTo>
                    <a:pt x="102" y="507"/>
                  </a:lnTo>
                  <a:lnTo>
                    <a:pt x="128" y="490"/>
                  </a:lnTo>
                  <a:lnTo>
                    <a:pt x="125" y="481"/>
                  </a:lnTo>
                  <a:lnTo>
                    <a:pt x="122" y="474"/>
                  </a:lnTo>
                  <a:lnTo>
                    <a:pt x="118" y="449"/>
                  </a:lnTo>
                  <a:lnTo>
                    <a:pt x="110" y="436"/>
                  </a:lnTo>
                  <a:lnTo>
                    <a:pt x="119" y="437"/>
                  </a:lnTo>
                  <a:lnTo>
                    <a:pt x="126" y="435"/>
                  </a:lnTo>
                  <a:lnTo>
                    <a:pt x="146" y="420"/>
                  </a:lnTo>
                  <a:lnTo>
                    <a:pt x="153" y="416"/>
                  </a:lnTo>
                  <a:lnTo>
                    <a:pt x="158" y="410"/>
                  </a:lnTo>
                  <a:lnTo>
                    <a:pt x="158" y="402"/>
                  </a:lnTo>
                  <a:lnTo>
                    <a:pt x="158" y="393"/>
                  </a:lnTo>
                  <a:lnTo>
                    <a:pt x="166" y="392"/>
                  </a:lnTo>
                  <a:lnTo>
                    <a:pt x="174" y="393"/>
                  </a:lnTo>
                  <a:lnTo>
                    <a:pt x="182" y="391"/>
                  </a:lnTo>
                  <a:lnTo>
                    <a:pt x="187" y="383"/>
                  </a:lnTo>
                  <a:lnTo>
                    <a:pt x="193" y="379"/>
                  </a:lnTo>
                  <a:lnTo>
                    <a:pt x="201" y="377"/>
                  </a:lnTo>
                  <a:lnTo>
                    <a:pt x="206" y="371"/>
                  </a:lnTo>
                  <a:lnTo>
                    <a:pt x="214" y="366"/>
                  </a:lnTo>
                  <a:lnTo>
                    <a:pt x="219" y="360"/>
                  </a:lnTo>
                  <a:lnTo>
                    <a:pt x="220" y="352"/>
                  </a:lnTo>
                  <a:lnTo>
                    <a:pt x="227" y="348"/>
                  </a:lnTo>
                  <a:lnTo>
                    <a:pt x="242" y="343"/>
                  </a:lnTo>
                  <a:lnTo>
                    <a:pt x="258" y="343"/>
                  </a:lnTo>
                  <a:lnTo>
                    <a:pt x="259" y="351"/>
                  </a:lnTo>
                  <a:lnTo>
                    <a:pt x="263" y="359"/>
                  </a:lnTo>
                  <a:lnTo>
                    <a:pt x="279" y="355"/>
                  </a:lnTo>
                  <a:lnTo>
                    <a:pt x="284" y="361"/>
                  </a:lnTo>
                  <a:lnTo>
                    <a:pt x="289" y="354"/>
                  </a:lnTo>
                  <a:lnTo>
                    <a:pt x="291" y="345"/>
                  </a:lnTo>
                  <a:lnTo>
                    <a:pt x="296" y="339"/>
                  </a:lnTo>
                  <a:lnTo>
                    <a:pt x="303" y="340"/>
                  </a:lnTo>
                  <a:lnTo>
                    <a:pt x="311" y="336"/>
                  </a:lnTo>
                  <a:lnTo>
                    <a:pt x="318" y="336"/>
                  </a:lnTo>
                  <a:lnTo>
                    <a:pt x="324" y="352"/>
                  </a:lnTo>
                  <a:lnTo>
                    <a:pt x="329" y="359"/>
                  </a:lnTo>
                  <a:lnTo>
                    <a:pt x="338" y="355"/>
                  </a:lnTo>
                  <a:lnTo>
                    <a:pt x="345" y="355"/>
                  </a:lnTo>
                  <a:lnTo>
                    <a:pt x="352" y="357"/>
                  </a:lnTo>
                  <a:lnTo>
                    <a:pt x="368" y="354"/>
                  </a:lnTo>
                  <a:lnTo>
                    <a:pt x="376" y="355"/>
                  </a:lnTo>
                  <a:lnTo>
                    <a:pt x="383" y="360"/>
                  </a:lnTo>
                  <a:lnTo>
                    <a:pt x="389" y="365"/>
                  </a:lnTo>
                  <a:lnTo>
                    <a:pt x="395" y="379"/>
                  </a:lnTo>
                  <a:lnTo>
                    <a:pt x="416" y="392"/>
                  </a:lnTo>
                  <a:lnTo>
                    <a:pt x="421" y="398"/>
                  </a:lnTo>
                  <a:lnTo>
                    <a:pt x="424" y="406"/>
                  </a:lnTo>
                  <a:lnTo>
                    <a:pt x="435" y="419"/>
                  </a:lnTo>
                  <a:lnTo>
                    <a:pt x="434" y="426"/>
                  </a:lnTo>
                  <a:lnTo>
                    <a:pt x="435" y="435"/>
                  </a:lnTo>
                  <a:lnTo>
                    <a:pt x="440" y="441"/>
                  </a:lnTo>
                  <a:lnTo>
                    <a:pt x="447" y="438"/>
                  </a:lnTo>
                  <a:lnTo>
                    <a:pt x="447" y="431"/>
                  </a:lnTo>
                  <a:lnTo>
                    <a:pt x="446" y="422"/>
                  </a:lnTo>
                  <a:lnTo>
                    <a:pt x="447" y="415"/>
                  </a:lnTo>
                  <a:lnTo>
                    <a:pt x="442" y="408"/>
                  </a:lnTo>
                  <a:lnTo>
                    <a:pt x="447" y="402"/>
                  </a:lnTo>
                  <a:lnTo>
                    <a:pt x="456" y="400"/>
                  </a:lnTo>
                  <a:lnTo>
                    <a:pt x="458" y="408"/>
                  </a:lnTo>
                  <a:lnTo>
                    <a:pt x="464" y="414"/>
                  </a:lnTo>
                  <a:lnTo>
                    <a:pt x="467" y="421"/>
                  </a:lnTo>
                  <a:lnTo>
                    <a:pt x="473" y="426"/>
                  </a:lnTo>
                  <a:lnTo>
                    <a:pt x="488" y="432"/>
                  </a:lnTo>
                  <a:lnTo>
                    <a:pt x="502" y="440"/>
                  </a:lnTo>
                  <a:lnTo>
                    <a:pt x="511" y="437"/>
                  </a:lnTo>
                  <a:lnTo>
                    <a:pt x="531" y="424"/>
                  </a:lnTo>
                  <a:lnTo>
                    <a:pt x="531" y="415"/>
                  </a:lnTo>
                  <a:lnTo>
                    <a:pt x="537" y="411"/>
                  </a:lnTo>
                  <a:lnTo>
                    <a:pt x="543" y="406"/>
                  </a:lnTo>
                  <a:lnTo>
                    <a:pt x="551" y="405"/>
                  </a:lnTo>
                  <a:lnTo>
                    <a:pt x="559" y="408"/>
                  </a:lnTo>
                  <a:lnTo>
                    <a:pt x="559" y="400"/>
                  </a:lnTo>
                  <a:lnTo>
                    <a:pt x="567" y="399"/>
                  </a:lnTo>
                  <a:lnTo>
                    <a:pt x="575" y="402"/>
                  </a:lnTo>
                  <a:lnTo>
                    <a:pt x="582" y="397"/>
                  </a:lnTo>
                  <a:lnTo>
                    <a:pt x="590" y="402"/>
                  </a:lnTo>
                  <a:lnTo>
                    <a:pt x="601" y="413"/>
                  </a:lnTo>
                  <a:lnTo>
                    <a:pt x="615" y="404"/>
                  </a:lnTo>
                  <a:lnTo>
                    <a:pt x="619" y="397"/>
                  </a:lnTo>
                  <a:lnTo>
                    <a:pt x="634" y="397"/>
                  </a:lnTo>
                  <a:lnTo>
                    <a:pt x="641" y="393"/>
                  </a:lnTo>
                  <a:lnTo>
                    <a:pt x="657" y="399"/>
                  </a:lnTo>
                  <a:lnTo>
                    <a:pt x="662" y="405"/>
                  </a:lnTo>
                  <a:lnTo>
                    <a:pt x="663" y="421"/>
                  </a:lnTo>
                  <a:lnTo>
                    <a:pt x="669" y="427"/>
                  </a:lnTo>
                  <a:lnTo>
                    <a:pt x="674" y="434"/>
                  </a:lnTo>
                  <a:lnTo>
                    <a:pt x="690" y="432"/>
                  </a:lnTo>
                  <a:lnTo>
                    <a:pt x="705" y="435"/>
                  </a:lnTo>
                  <a:lnTo>
                    <a:pt x="705" y="435"/>
                  </a:lnTo>
                  <a:lnTo>
                    <a:pt x="707" y="446"/>
                  </a:lnTo>
                  <a:lnTo>
                    <a:pt x="725" y="445"/>
                  </a:lnTo>
                  <a:lnTo>
                    <a:pt x="731" y="440"/>
                  </a:lnTo>
                  <a:lnTo>
                    <a:pt x="738" y="425"/>
                  </a:lnTo>
                  <a:lnTo>
                    <a:pt x="743" y="419"/>
                  </a:lnTo>
                  <a:lnTo>
                    <a:pt x="749" y="421"/>
                  </a:lnTo>
                  <a:lnTo>
                    <a:pt x="760" y="434"/>
                  </a:lnTo>
                  <a:lnTo>
                    <a:pt x="776" y="435"/>
                  </a:lnTo>
                  <a:lnTo>
                    <a:pt x="792" y="432"/>
                  </a:lnTo>
                  <a:lnTo>
                    <a:pt x="800" y="426"/>
                  </a:lnTo>
                  <a:lnTo>
                    <a:pt x="814" y="421"/>
                  </a:lnTo>
                  <a:lnTo>
                    <a:pt x="827" y="383"/>
                  </a:lnTo>
                  <a:lnTo>
                    <a:pt x="830" y="376"/>
                  </a:lnTo>
                  <a:lnTo>
                    <a:pt x="824" y="370"/>
                  </a:lnTo>
                  <a:lnTo>
                    <a:pt x="823" y="366"/>
                  </a:lnTo>
                  <a:lnTo>
                    <a:pt x="809" y="365"/>
                  </a:lnTo>
                  <a:lnTo>
                    <a:pt x="793" y="363"/>
                  </a:lnTo>
                  <a:lnTo>
                    <a:pt x="787" y="356"/>
                  </a:lnTo>
                  <a:lnTo>
                    <a:pt x="784" y="351"/>
                  </a:lnTo>
                  <a:lnTo>
                    <a:pt x="766" y="348"/>
                  </a:lnTo>
                  <a:lnTo>
                    <a:pt x="759" y="345"/>
                  </a:lnTo>
                  <a:lnTo>
                    <a:pt x="760" y="336"/>
                  </a:lnTo>
                  <a:lnTo>
                    <a:pt x="755" y="329"/>
                  </a:lnTo>
                  <a:lnTo>
                    <a:pt x="739" y="327"/>
                  </a:lnTo>
                  <a:lnTo>
                    <a:pt x="741" y="318"/>
                  </a:lnTo>
                  <a:lnTo>
                    <a:pt x="748" y="316"/>
                  </a:lnTo>
                  <a:lnTo>
                    <a:pt x="760" y="306"/>
                  </a:lnTo>
                  <a:lnTo>
                    <a:pt x="776" y="301"/>
                  </a:lnTo>
                  <a:lnTo>
                    <a:pt x="790" y="291"/>
                  </a:lnTo>
                  <a:lnTo>
                    <a:pt x="793" y="285"/>
                  </a:lnTo>
                  <a:lnTo>
                    <a:pt x="795" y="276"/>
                  </a:lnTo>
                  <a:lnTo>
                    <a:pt x="776" y="249"/>
                  </a:lnTo>
                  <a:lnTo>
                    <a:pt x="784" y="246"/>
                  </a:lnTo>
                  <a:lnTo>
                    <a:pt x="790" y="241"/>
                  </a:lnTo>
                  <a:lnTo>
                    <a:pt x="792" y="232"/>
                  </a:lnTo>
                  <a:lnTo>
                    <a:pt x="798" y="227"/>
                  </a:lnTo>
                  <a:lnTo>
                    <a:pt x="807" y="226"/>
                  </a:lnTo>
                  <a:lnTo>
                    <a:pt x="814" y="227"/>
                  </a:lnTo>
                  <a:lnTo>
                    <a:pt x="823" y="226"/>
                  </a:lnTo>
                  <a:lnTo>
                    <a:pt x="830" y="228"/>
                  </a:lnTo>
                  <a:lnTo>
                    <a:pt x="846" y="228"/>
                  </a:lnTo>
                  <a:lnTo>
                    <a:pt x="855" y="226"/>
                  </a:lnTo>
                  <a:lnTo>
                    <a:pt x="857" y="217"/>
                  </a:lnTo>
                  <a:lnTo>
                    <a:pt x="854" y="211"/>
                  </a:lnTo>
                  <a:lnTo>
                    <a:pt x="839" y="203"/>
                  </a:lnTo>
                  <a:lnTo>
                    <a:pt x="807" y="199"/>
                  </a:lnTo>
                  <a:lnTo>
                    <a:pt x="803" y="192"/>
                  </a:lnTo>
                  <a:lnTo>
                    <a:pt x="805" y="183"/>
                  </a:lnTo>
                  <a:lnTo>
                    <a:pt x="812" y="183"/>
                  </a:lnTo>
                  <a:lnTo>
                    <a:pt x="819" y="180"/>
                  </a:lnTo>
                  <a:lnTo>
                    <a:pt x="823" y="173"/>
                  </a:lnTo>
                  <a:lnTo>
                    <a:pt x="818" y="168"/>
                  </a:lnTo>
                  <a:lnTo>
                    <a:pt x="811" y="172"/>
                  </a:lnTo>
                  <a:lnTo>
                    <a:pt x="795" y="172"/>
                  </a:lnTo>
                  <a:lnTo>
                    <a:pt x="795" y="163"/>
                  </a:lnTo>
                  <a:lnTo>
                    <a:pt x="797" y="156"/>
                  </a:lnTo>
                  <a:lnTo>
                    <a:pt x="802" y="150"/>
                  </a:lnTo>
                  <a:lnTo>
                    <a:pt x="791" y="139"/>
                  </a:lnTo>
                  <a:lnTo>
                    <a:pt x="807" y="137"/>
                  </a:lnTo>
                  <a:lnTo>
                    <a:pt x="811" y="131"/>
                  </a:lnTo>
                  <a:lnTo>
                    <a:pt x="820" y="131"/>
                  </a:lnTo>
                  <a:lnTo>
                    <a:pt x="825" y="137"/>
                  </a:lnTo>
                  <a:lnTo>
                    <a:pt x="833" y="136"/>
                  </a:lnTo>
                  <a:lnTo>
                    <a:pt x="841" y="137"/>
                  </a:lnTo>
                  <a:lnTo>
                    <a:pt x="849" y="135"/>
                  </a:lnTo>
                  <a:lnTo>
                    <a:pt x="873" y="136"/>
                  </a:lnTo>
                  <a:lnTo>
                    <a:pt x="878" y="142"/>
                  </a:lnTo>
                  <a:lnTo>
                    <a:pt x="888" y="130"/>
                  </a:lnTo>
                  <a:lnTo>
                    <a:pt x="895" y="128"/>
                  </a:lnTo>
                  <a:lnTo>
                    <a:pt x="911" y="128"/>
                  </a:lnTo>
                  <a:lnTo>
                    <a:pt x="918" y="123"/>
                  </a:lnTo>
                  <a:lnTo>
                    <a:pt x="926" y="120"/>
                  </a:lnTo>
                  <a:lnTo>
                    <a:pt x="938" y="110"/>
                  </a:lnTo>
                  <a:lnTo>
                    <a:pt x="947" y="113"/>
                  </a:lnTo>
                  <a:lnTo>
                    <a:pt x="952" y="118"/>
                  </a:lnTo>
                  <a:lnTo>
                    <a:pt x="961" y="118"/>
                  </a:lnTo>
                  <a:lnTo>
                    <a:pt x="963" y="110"/>
                  </a:lnTo>
                  <a:lnTo>
                    <a:pt x="980" y="107"/>
                  </a:lnTo>
                  <a:lnTo>
                    <a:pt x="986" y="102"/>
                  </a:lnTo>
                  <a:lnTo>
                    <a:pt x="995" y="102"/>
                  </a:lnTo>
                  <a:lnTo>
                    <a:pt x="1002" y="98"/>
                  </a:lnTo>
                  <a:lnTo>
                    <a:pt x="1010" y="98"/>
                  </a:lnTo>
                  <a:lnTo>
                    <a:pt x="1017" y="101"/>
                  </a:lnTo>
                  <a:lnTo>
                    <a:pt x="1022" y="93"/>
                  </a:lnTo>
                  <a:lnTo>
                    <a:pt x="1023" y="86"/>
                  </a:lnTo>
                  <a:lnTo>
                    <a:pt x="1027" y="79"/>
                  </a:lnTo>
                  <a:lnTo>
                    <a:pt x="1034" y="74"/>
                  </a:lnTo>
                  <a:lnTo>
                    <a:pt x="1042" y="72"/>
                  </a:lnTo>
                  <a:lnTo>
                    <a:pt x="1049" y="76"/>
                  </a:lnTo>
                  <a:lnTo>
                    <a:pt x="1067" y="70"/>
                  </a:lnTo>
                  <a:lnTo>
                    <a:pt x="1067" y="71"/>
                  </a:lnTo>
                  <a:lnTo>
                    <a:pt x="1104" y="61"/>
                  </a:lnTo>
                  <a:lnTo>
                    <a:pt x="1136" y="58"/>
                  </a:lnTo>
                  <a:lnTo>
                    <a:pt x="1164" y="49"/>
                  </a:lnTo>
                  <a:lnTo>
                    <a:pt x="1171" y="44"/>
                  </a:lnTo>
                  <a:lnTo>
                    <a:pt x="1179" y="44"/>
                  </a:lnTo>
                  <a:lnTo>
                    <a:pt x="1187" y="42"/>
                  </a:lnTo>
                  <a:lnTo>
                    <a:pt x="1191" y="36"/>
                  </a:lnTo>
                  <a:lnTo>
                    <a:pt x="1191" y="28"/>
                  </a:lnTo>
                  <a:lnTo>
                    <a:pt x="1191" y="20"/>
                  </a:lnTo>
                  <a:lnTo>
                    <a:pt x="1200" y="21"/>
                  </a:lnTo>
                  <a:lnTo>
                    <a:pt x="1207" y="20"/>
                  </a:lnTo>
                  <a:lnTo>
                    <a:pt x="1212" y="12"/>
                  </a:lnTo>
                  <a:lnTo>
                    <a:pt x="1218" y="7"/>
                  </a:lnTo>
                  <a:lnTo>
                    <a:pt x="1227" y="7"/>
                  </a:lnTo>
                  <a:lnTo>
                    <a:pt x="1232" y="1"/>
                  </a:lnTo>
                  <a:lnTo>
                    <a:pt x="1239" y="0"/>
                  </a:lnTo>
                  <a:lnTo>
                    <a:pt x="1244" y="6"/>
                  </a:lnTo>
                  <a:lnTo>
                    <a:pt x="1253" y="4"/>
                  </a:lnTo>
                  <a:lnTo>
                    <a:pt x="1260" y="7"/>
                  </a:lnTo>
                  <a:lnTo>
                    <a:pt x="1269" y="5"/>
                  </a:lnTo>
                  <a:lnTo>
                    <a:pt x="1276" y="9"/>
                  </a:lnTo>
                  <a:lnTo>
                    <a:pt x="1281" y="15"/>
                  </a:lnTo>
                  <a:lnTo>
                    <a:pt x="1295" y="23"/>
                  </a:lnTo>
                  <a:lnTo>
                    <a:pt x="1302" y="20"/>
                  </a:lnTo>
                  <a:lnTo>
                    <a:pt x="1308" y="15"/>
                  </a:lnTo>
                  <a:lnTo>
                    <a:pt x="1324" y="12"/>
                  </a:lnTo>
                  <a:lnTo>
                    <a:pt x="1332" y="15"/>
                  </a:lnTo>
                  <a:lnTo>
                    <a:pt x="1338" y="21"/>
                  </a:lnTo>
                  <a:lnTo>
                    <a:pt x="1341" y="28"/>
                  </a:lnTo>
                  <a:lnTo>
                    <a:pt x="1343" y="44"/>
                  </a:lnTo>
                  <a:lnTo>
                    <a:pt x="1341" y="53"/>
                  </a:lnTo>
                  <a:lnTo>
                    <a:pt x="1344" y="60"/>
                  </a:lnTo>
                  <a:lnTo>
                    <a:pt x="1356" y="71"/>
                  </a:lnTo>
                  <a:lnTo>
                    <a:pt x="1352" y="79"/>
                  </a:lnTo>
                  <a:lnTo>
                    <a:pt x="1354" y="94"/>
                  </a:lnTo>
                  <a:lnTo>
                    <a:pt x="1349" y="102"/>
                  </a:lnTo>
                  <a:lnTo>
                    <a:pt x="1344" y="107"/>
                  </a:lnTo>
                  <a:lnTo>
                    <a:pt x="1347" y="114"/>
                  </a:lnTo>
                  <a:lnTo>
                    <a:pt x="1350" y="123"/>
                  </a:lnTo>
                  <a:lnTo>
                    <a:pt x="1366" y="118"/>
                  </a:lnTo>
                  <a:lnTo>
                    <a:pt x="1373" y="123"/>
                  </a:lnTo>
                  <a:lnTo>
                    <a:pt x="1381" y="122"/>
                  </a:lnTo>
                  <a:lnTo>
                    <a:pt x="1384" y="113"/>
                  </a:lnTo>
                  <a:lnTo>
                    <a:pt x="1392" y="113"/>
                  </a:lnTo>
                  <a:lnTo>
                    <a:pt x="1399" y="115"/>
                  </a:lnTo>
                  <a:lnTo>
                    <a:pt x="1402" y="107"/>
                  </a:lnTo>
                  <a:lnTo>
                    <a:pt x="1402" y="99"/>
                  </a:lnTo>
                  <a:lnTo>
                    <a:pt x="1409" y="101"/>
                  </a:lnTo>
                  <a:lnTo>
                    <a:pt x="1413" y="108"/>
                  </a:lnTo>
                  <a:lnTo>
                    <a:pt x="1415" y="117"/>
                  </a:lnTo>
                  <a:lnTo>
                    <a:pt x="1420" y="122"/>
                  </a:lnTo>
                  <a:lnTo>
                    <a:pt x="1418" y="129"/>
                  </a:lnTo>
                  <a:lnTo>
                    <a:pt x="1416" y="137"/>
                  </a:lnTo>
                  <a:lnTo>
                    <a:pt x="1432" y="139"/>
                  </a:lnTo>
                  <a:lnTo>
                    <a:pt x="1430" y="131"/>
                  </a:lnTo>
                  <a:lnTo>
                    <a:pt x="1425" y="125"/>
                  </a:lnTo>
                  <a:lnTo>
                    <a:pt x="1432" y="123"/>
                  </a:lnTo>
                  <a:lnTo>
                    <a:pt x="1448" y="125"/>
                  </a:lnTo>
                  <a:lnTo>
                    <a:pt x="1456" y="130"/>
                  </a:lnTo>
                  <a:lnTo>
                    <a:pt x="1461" y="136"/>
                  </a:lnTo>
                  <a:lnTo>
                    <a:pt x="1469" y="140"/>
                  </a:lnTo>
                  <a:lnTo>
                    <a:pt x="1476" y="140"/>
                  </a:lnTo>
                  <a:lnTo>
                    <a:pt x="1480" y="133"/>
                  </a:lnTo>
                  <a:lnTo>
                    <a:pt x="1488" y="129"/>
                  </a:lnTo>
                  <a:lnTo>
                    <a:pt x="1490" y="137"/>
                  </a:lnTo>
                  <a:lnTo>
                    <a:pt x="1490" y="145"/>
                  </a:lnTo>
                  <a:lnTo>
                    <a:pt x="1481" y="147"/>
                  </a:lnTo>
                  <a:lnTo>
                    <a:pt x="1475" y="152"/>
                  </a:lnTo>
                  <a:lnTo>
                    <a:pt x="1470" y="160"/>
                  </a:lnTo>
                  <a:lnTo>
                    <a:pt x="1468" y="167"/>
                  </a:lnTo>
                  <a:lnTo>
                    <a:pt x="1469" y="176"/>
                  </a:lnTo>
                  <a:lnTo>
                    <a:pt x="1474" y="183"/>
                  </a:lnTo>
                  <a:lnTo>
                    <a:pt x="1481" y="182"/>
                  </a:lnTo>
                  <a:lnTo>
                    <a:pt x="1486" y="176"/>
                  </a:lnTo>
                  <a:lnTo>
                    <a:pt x="1501" y="169"/>
                  </a:lnTo>
                  <a:lnTo>
                    <a:pt x="1508" y="173"/>
                  </a:lnTo>
                  <a:lnTo>
                    <a:pt x="1517" y="172"/>
                  </a:lnTo>
                  <a:lnTo>
                    <a:pt x="1522" y="177"/>
                  </a:lnTo>
                  <a:lnTo>
                    <a:pt x="1531" y="177"/>
                  </a:lnTo>
                  <a:lnTo>
                    <a:pt x="1528" y="169"/>
                  </a:lnTo>
                  <a:lnTo>
                    <a:pt x="1533" y="163"/>
                  </a:lnTo>
                  <a:lnTo>
                    <a:pt x="1542" y="163"/>
                  </a:lnTo>
                  <a:lnTo>
                    <a:pt x="1551" y="151"/>
                  </a:lnTo>
                  <a:lnTo>
                    <a:pt x="1567" y="149"/>
                  </a:lnTo>
                  <a:lnTo>
                    <a:pt x="1580" y="137"/>
                  </a:lnTo>
                  <a:lnTo>
                    <a:pt x="1586" y="123"/>
                  </a:lnTo>
                  <a:lnTo>
                    <a:pt x="1592" y="118"/>
                  </a:lnTo>
                  <a:lnTo>
                    <a:pt x="1601" y="119"/>
                  </a:lnTo>
                  <a:lnTo>
                    <a:pt x="1617" y="115"/>
                  </a:lnTo>
                  <a:lnTo>
                    <a:pt x="1624" y="113"/>
                  </a:lnTo>
                  <a:lnTo>
                    <a:pt x="1628" y="106"/>
                  </a:lnTo>
                  <a:lnTo>
                    <a:pt x="1644" y="104"/>
                  </a:lnTo>
                  <a:lnTo>
                    <a:pt x="1657" y="96"/>
                  </a:lnTo>
                  <a:lnTo>
                    <a:pt x="1661" y="103"/>
                  </a:lnTo>
                  <a:lnTo>
                    <a:pt x="1662" y="110"/>
                  </a:lnTo>
                  <a:lnTo>
                    <a:pt x="1657" y="118"/>
                  </a:lnTo>
                  <a:lnTo>
                    <a:pt x="1650" y="122"/>
                  </a:lnTo>
                  <a:lnTo>
                    <a:pt x="1642" y="120"/>
                  </a:lnTo>
                  <a:lnTo>
                    <a:pt x="1641" y="128"/>
                  </a:lnTo>
                  <a:lnTo>
                    <a:pt x="1644" y="135"/>
                  </a:lnTo>
                  <a:lnTo>
                    <a:pt x="1648" y="137"/>
                  </a:lnTo>
                  <a:lnTo>
                    <a:pt x="1720" y="204"/>
                  </a:lnTo>
                  <a:lnTo>
                    <a:pt x="1840" y="422"/>
                  </a:lnTo>
                  <a:lnTo>
                    <a:pt x="1854" y="411"/>
                  </a:lnTo>
                  <a:lnTo>
                    <a:pt x="1857" y="404"/>
                  </a:lnTo>
                  <a:lnTo>
                    <a:pt x="1857" y="397"/>
                  </a:lnTo>
                  <a:lnTo>
                    <a:pt x="1868" y="383"/>
                  </a:lnTo>
                  <a:lnTo>
                    <a:pt x="1876" y="382"/>
                  </a:lnTo>
                  <a:lnTo>
                    <a:pt x="1881" y="388"/>
                  </a:lnTo>
                  <a:lnTo>
                    <a:pt x="1889" y="391"/>
                  </a:lnTo>
                  <a:lnTo>
                    <a:pt x="1903" y="399"/>
                  </a:lnTo>
                  <a:lnTo>
                    <a:pt x="1899" y="406"/>
                  </a:lnTo>
                  <a:lnTo>
                    <a:pt x="1903" y="413"/>
                  </a:lnTo>
                  <a:lnTo>
                    <a:pt x="1909" y="414"/>
                  </a:lnTo>
                  <a:lnTo>
                    <a:pt x="1914" y="427"/>
                  </a:lnTo>
                  <a:lnTo>
                    <a:pt x="1938" y="425"/>
                  </a:lnTo>
                  <a:lnTo>
                    <a:pt x="1956" y="430"/>
                  </a:lnTo>
                  <a:lnTo>
                    <a:pt x="1963" y="427"/>
                  </a:lnTo>
                  <a:lnTo>
                    <a:pt x="1979" y="427"/>
                  </a:lnTo>
                  <a:lnTo>
                    <a:pt x="1981" y="420"/>
                  </a:lnTo>
                  <a:lnTo>
                    <a:pt x="1986" y="414"/>
                  </a:lnTo>
                  <a:lnTo>
                    <a:pt x="1995" y="415"/>
                  </a:lnTo>
                  <a:lnTo>
                    <a:pt x="2002" y="415"/>
                  </a:lnTo>
                  <a:lnTo>
                    <a:pt x="2006" y="408"/>
                  </a:lnTo>
                  <a:lnTo>
                    <a:pt x="2012" y="403"/>
                  </a:lnTo>
                  <a:lnTo>
                    <a:pt x="2028" y="408"/>
                  </a:lnTo>
                  <a:lnTo>
                    <a:pt x="2035" y="411"/>
                  </a:lnTo>
                  <a:lnTo>
                    <a:pt x="2039" y="419"/>
                  </a:lnTo>
                  <a:lnTo>
                    <a:pt x="2046" y="422"/>
                  </a:lnTo>
                  <a:lnTo>
                    <a:pt x="2056" y="435"/>
                  </a:lnTo>
                  <a:lnTo>
                    <a:pt x="2064" y="438"/>
                  </a:lnTo>
                  <a:lnTo>
                    <a:pt x="2067" y="446"/>
                  </a:lnTo>
                  <a:lnTo>
                    <a:pt x="2065" y="454"/>
                  </a:lnTo>
                  <a:lnTo>
                    <a:pt x="2066" y="462"/>
                  </a:lnTo>
                  <a:lnTo>
                    <a:pt x="2070" y="469"/>
                  </a:lnTo>
                  <a:lnTo>
                    <a:pt x="2078" y="470"/>
                  </a:lnTo>
                  <a:lnTo>
                    <a:pt x="2099" y="481"/>
                  </a:lnTo>
                  <a:lnTo>
                    <a:pt x="2103" y="489"/>
                  </a:lnTo>
                  <a:lnTo>
                    <a:pt x="2103" y="496"/>
                  </a:lnTo>
                  <a:lnTo>
                    <a:pt x="2110" y="500"/>
                  </a:lnTo>
                  <a:lnTo>
                    <a:pt x="2115" y="505"/>
                  </a:lnTo>
                  <a:lnTo>
                    <a:pt x="2123" y="519"/>
                  </a:lnTo>
                  <a:lnTo>
                    <a:pt x="2129" y="524"/>
                  </a:lnTo>
                  <a:lnTo>
                    <a:pt x="2145" y="526"/>
                  </a:lnTo>
                  <a:lnTo>
                    <a:pt x="2152" y="531"/>
                  </a:lnTo>
                  <a:lnTo>
                    <a:pt x="2159" y="533"/>
                  </a:lnTo>
                  <a:lnTo>
                    <a:pt x="2168" y="534"/>
                  </a:lnTo>
                  <a:lnTo>
                    <a:pt x="2177" y="534"/>
                  </a:lnTo>
                  <a:lnTo>
                    <a:pt x="2179" y="527"/>
                  </a:lnTo>
                  <a:lnTo>
                    <a:pt x="2184" y="521"/>
                  </a:lnTo>
                  <a:lnTo>
                    <a:pt x="2199" y="515"/>
                  </a:lnTo>
                  <a:lnTo>
                    <a:pt x="2201" y="523"/>
                  </a:lnTo>
                  <a:lnTo>
                    <a:pt x="2205" y="531"/>
                  </a:lnTo>
                  <a:lnTo>
                    <a:pt x="2212" y="535"/>
                  </a:lnTo>
                  <a:lnTo>
                    <a:pt x="2218" y="549"/>
                  </a:lnTo>
                  <a:lnTo>
                    <a:pt x="2226" y="554"/>
                  </a:lnTo>
                  <a:lnTo>
                    <a:pt x="2230" y="561"/>
                  </a:lnTo>
                  <a:lnTo>
                    <a:pt x="2217" y="587"/>
                  </a:lnTo>
                  <a:lnTo>
                    <a:pt x="2207" y="607"/>
                  </a:lnTo>
                  <a:lnTo>
                    <a:pt x="2191" y="623"/>
                  </a:lnTo>
                  <a:lnTo>
                    <a:pt x="2171" y="629"/>
                  </a:lnTo>
                  <a:lnTo>
                    <a:pt x="2156" y="628"/>
                  </a:lnTo>
                  <a:lnTo>
                    <a:pt x="2145" y="648"/>
                  </a:lnTo>
                  <a:lnTo>
                    <a:pt x="2140" y="673"/>
                  </a:lnTo>
                  <a:lnTo>
                    <a:pt x="2142" y="696"/>
                  </a:lnTo>
                  <a:lnTo>
                    <a:pt x="2139" y="733"/>
                  </a:lnTo>
                  <a:lnTo>
                    <a:pt x="2116" y="741"/>
                  </a:lnTo>
                  <a:lnTo>
                    <a:pt x="2102" y="753"/>
                  </a:lnTo>
                  <a:lnTo>
                    <a:pt x="2092" y="745"/>
                  </a:lnTo>
                  <a:lnTo>
                    <a:pt x="2082" y="736"/>
                  </a:lnTo>
                  <a:lnTo>
                    <a:pt x="2048" y="739"/>
                  </a:lnTo>
                  <a:lnTo>
                    <a:pt x="2030" y="733"/>
                  </a:lnTo>
                  <a:lnTo>
                    <a:pt x="2021" y="726"/>
                  </a:lnTo>
                  <a:lnTo>
                    <a:pt x="1996" y="726"/>
                  </a:lnTo>
                  <a:lnTo>
                    <a:pt x="1986" y="747"/>
                  </a:lnTo>
                  <a:lnTo>
                    <a:pt x="1978" y="773"/>
                  </a:lnTo>
                  <a:lnTo>
                    <a:pt x="1965" y="800"/>
                  </a:lnTo>
                  <a:lnTo>
                    <a:pt x="1959" y="824"/>
                  </a:lnTo>
                  <a:lnTo>
                    <a:pt x="1956" y="844"/>
                  </a:lnTo>
                  <a:lnTo>
                    <a:pt x="1958" y="859"/>
                  </a:lnTo>
                  <a:lnTo>
                    <a:pt x="1964" y="877"/>
                  </a:lnTo>
                  <a:lnTo>
                    <a:pt x="1957" y="882"/>
                  </a:lnTo>
                  <a:lnTo>
                    <a:pt x="1902" y="884"/>
                  </a:lnTo>
                  <a:lnTo>
                    <a:pt x="1879" y="892"/>
                  </a:lnTo>
                  <a:lnTo>
                    <a:pt x="1861" y="894"/>
                  </a:lnTo>
                  <a:lnTo>
                    <a:pt x="1841" y="901"/>
                  </a:lnTo>
                  <a:lnTo>
                    <a:pt x="1831" y="909"/>
                  </a:lnTo>
                  <a:lnTo>
                    <a:pt x="1840" y="916"/>
                  </a:lnTo>
                  <a:lnTo>
                    <a:pt x="1847" y="931"/>
                  </a:lnTo>
                  <a:lnTo>
                    <a:pt x="1852" y="969"/>
                  </a:lnTo>
                  <a:lnTo>
                    <a:pt x="1856" y="984"/>
                  </a:lnTo>
                  <a:lnTo>
                    <a:pt x="1863" y="996"/>
                  </a:lnTo>
                  <a:lnTo>
                    <a:pt x="1872" y="1023"/>
                  </a:lnTo>
                  <a:lnTo>
                    <a:pt x="1872" y="1038"/>
                  </a:lnTo>
                  <a:lnTo>
                    <a:pt x="1859" y="1048"/>
                  </a:lnTo>
                  <a:lnTo>
                    <a:pt x="1860" y="1061"/>
                  </a:lnTo>
                  <a:lnTo>
                    <a:pt x="1852" y="1070"/>
                  </a:lnTo>
                  <a:lnTo>
                    <a:pt x="1850" y="1081"/>
                  </a:lnTo>
                  <a:lnTo>
                    <a:pt x="1850" y="1099"/>
                  </a:lnTo>
                  <a:lnTo>
                    <a:pt x="1850" y="1099"/>
                  </a:lnTo>
                  <a:lnTo>
                    <a:pt x="1843" y="1099"/>
                  </a:lnTo>
                  <a:lnTo>
                    <a:pt x="1823" y="1086"/>
                  </a:lnTo>
                  <a:lnTo>
                    <a:pt x="1807" y="1083"/>
                  </a:lnTo>
                  <a:lnTo>
                    <a:pt x="1792" y="1065"/>
                  </a:lnTo>
                  <a:lnTo>
                    <a:pt x="1776" y="1064"/>
                  </a:lnTo>
                  <a:lnTo>
                    <a:pt x="1768" y="1061"/>
                  </a:lnTo>
                  <a:lnTo>
                    <a:pt x="1760" y="1061"/>
                  </a:lnTo>
                  <a:lnTo>
                    <a:pt x="1753" y="1057"/>
                  </a:lnTo>
                  <a:lnTo>
                    <a:pt x="1745" y="1056"/>
                  </a:lnTo>
                  <a:lnTo>
                    <a:pt x="1721" y="1057"/>
                  </a:lnTo>
                  <a:lnTo>
                    <a:pt x="1698" y="1054"/>
                  </a:lnTo>
                  <a:lnTo>
                    <a:pt x="1689" y="1055"/>
                  </a:lnTo>
                  <a:lnTo>
                    <a:pt x="1674" y="1048"/>
                  </a:lnTo>
                  <a:lnTo>
                    <a:pt x="1667" y="1048"/>
                  </a:lnTo>
                  <a:lnTo>
                    <a:pt x="1652" y="1054"/>
                  </a:lnTo>
                  <a:lnTo>
                    <a:pt x="1620" y="1050"/>
                  </a:lnTo>
                  <a:lnTo>
                    <a:pt x="1612" y="1050"/>
                  </a:lnTo>
                  <a:lnTo>
                    <a:pt x="1596" y="1054"/>
                  </a:lnTo>
                  <a:lnTo>
                    <a:pt x="1580" y="1054"/>
                  </a:lnTo>
                  <a:lnTo>
                    <a:pt x="1571" y="1053"/>
                  </a:lnTo>
                  <a:lnTo>
                    <a:pt x="1565" y="1048"/>
                  </a:lnTo>
                  <a:lnTo>
                    <a:pt x="1556" y="1046"/>
                  </a:lnTo>
                  <a:lnTo>
                    <a:pt x="1540" y="1048"/>
                  </a:lnTo>
                  <a:lnTo>
                    <a:pt x="1534" y="1043"/>
                  </a:lnTo>
                  <a:lnTo>
                    <a:pt x="1513" y="1030"/>
                  </a:lnTo>
                  <a:lnTo>
                    <a:pt x="1506" y="1034"/>
                  </a:lnTo>
                  <a:lnTo>
                    <a:pt x="1499" y="1035"/>
                  </a:lnTo>
                  <a:lnTo>
                    <a:pt x="1491" y="1038"/>
                  </a:lnTo>
                  <a:lnTo>
                    <a:pt x="1479" y="1048"/>
                  </a:lnTo>
                  <a:lnTo>
                    <a:pt x="1478" y="1056"/>
                  </a:lnTo>
                  <a:lnTo>
                    <a:pt x="1473" y="1064"/>
                  </a:lnTo>
                  <a:lnTo>
                    <a:pt x="1470" y="1080"/>
                  </a:lnTo>
                  <a:lnTo>
                    <a:pt x="1467" y="1086"/>
                  </a:lnTo>
                  <a:lnTo>
                    <a:pt x="1451" y="1082"/>
                  </a:lnTo>
                  <a:lnTo>
                    <a:pt x="1437" y="1075"/>
                  </a:lnTo>
                  <a:lnTo>
                    <a:pt x="1421" y="1070"/>
                  </a:lnTo>
                  <a:lnTo>
                    <a:pt x="1414" y="1066"/>
                  </a:lnTo>
                  <a:lnTo>
                    <a:pt x="1406" y="1064"/>
                  </a:lnTo>
                  <a:lnTo>
                    <a:pt x="1398" y="1064"/>
                  </a:lnTo>
                  <a:lnTo>
                    <a:pt x="1383" y="1061"/>
                  </a:lnTo>
                  <a:lnTo>
                    <a:pt x="1375" y="1062"/>
                  </a:lnTo>
                  <a:lnTo>
                    <a:pt x="1367" y="1060"/>
                  </a:lnTo>
                  <a:lnTo>
                    <a:pt x="1351" y="1062"/>
                  </a:lnTo>
                  <a:lnTo>
                    <a:pt x="1344" y="1066"/>
                  </a:lnTo>
                  <a:lnTo>
                    <a:pt x="1341" y="1073"/>
                  </a:lnTo>
                  <a:lnTo>
                    <a:pt x="1343" y="1081"/>
                  </a:lnTo>
                  <a:lnTo>
                    <a:pt x="1338" y="1088"/>
                  </a:lnTo>
                  <a:lnTo>
                    <a:pt x="1334" y="1096"/>
                  </a:lnTo>
                  <a:lnTo>
                    <a:pt x="1332" y="1103"/>
                  </a:lnTo>
                  <a:lnTo>
                    <a:pt x="1320" y="1115"/>
                  </a:lnTo>
                  <a:lnTo>
                    <a:pt x="1313" y="1118"/>
                  </a:lnTo>
                  <a:lnTo>
                    <a:pt x="1306" y="1115"/>
                  </a:lnTo>
                  <a:lnTo>
                    <a:pt x="1300" y="1130"/>
                  </a:lnTo>
                  <a:lnTo>
                    <a:pt x="1293" y="1135"/>
                  </a:lnTo>
                  <a:lnTo>
                    <a:pt x="1271" y="1145"/>
                  </a:lnTo>
                  <a:lnTo>
                    <a:pt x="1257" y="1153"/>
                  </a:lnTo>
                  <a:lnTo>
                    <a:pt x="1252" y="1159"/>
                  </a:lnTo>
                  <a:lnTo>
                    <a:pt x="1244" y="1162"/>
                  </a:lnTo>
                  <a:lnTo>
                    <a:pt x="1237" y="1167"/>
                  </a:lnTo>
                  <a:lnTo>
                    <a:pt x="1233" y="1174"/>
                  </a:lnTo>
                  <a:lnTo>
                    <a:pt x="1231" y="1182"/>
                  </a:lnTo>
                  <a:lnTo>
                    <a:pt x="1225" y="1186"/>
                  </a:lnTo>
                  <a:lnTo>
                    <a:pt x="1217" y="1190"/>
                  </a:lnTo>
                  <a:lnTo>
                    <a:pt x="1209" y="1189"/>
                  </a:lnTo>
                  <a:lnTo>
                    <a:pt x="1194" y="1183"/>
                  </a:lnTo>
                  <a:lnTo>
                    <a:pt x="1185" y="1180"/>
                  </a:lnTo>
                  <a:lnTo>
                    <a:pt x="1172" y="1172"/>
                  </a:lnTo>
                  <a:lnTo>
                    <a:pt x="1115" y="1178"/>
                  </a:lnTo>
                  <a:lnTo>
                    <a:pt x="1105" y="1132"/>
                  </a:lnTo>
                  <a:lnTo>
                    <a:pt x="1072" y="1126"/>
                  </a:lnTo>
                  <a:lnTo>
                    <a:pt x="1071" y="1113"/>
                  </a:lnTo>
                  <a:lnTo>
                    <a:pt x="1071" y="1097"/>
                  </a:lnTo>
                  <a:lnTo>
                    <a:pt x="1080" y="1096"/>
                  </a:lnTo>
                  <a:lnTo>
                    <a:pt x="1078" y="1053"/>
                  </a:lnTo>
                  <a:lnTo>
                    <a:pt x="1065" y="1054"/>
                  </a:lnTo>
                  <a:lnTo>
                    <a:pt x="1048" y="1021"/>
                  </a:lnTo>
                  <a:lnTo>
                    <a:pt x="1035" y="1011"/>
                  </a:lnTo>
                  <a:lnTo>
                    <a:pt x="1028" y="1007"/>
                  </a:lnTo>
                  <a:lnTo>
                    <a:pt x="1016" y="997"/>
                  </a:lnTo>
                  <a:lnTo>
                    <a:pt x="1010" y="991"/>
                  </a:lnTo>
                  <a:lnTo>
                    <a:pt x="996" y="997"/>
                  </a:lnTo>
                  <a:lnTo>
                    <a:pt x="920" y="996"/>
                  </a:lnTo>
                  <a:lnTo>
                    <a:pt x="849" y="1008"/>
                  </a:lnTo>
                  <a:lnTo>
                    <a:pt x="820" y="980"/>
                  </a:lnTo>
                  <a:lnTo>
                    <a:pt x="777" y="932"/>
                  </a:lnTo>
                  <a:lnTo>
                    <a:pt x="742" y="899"/>
                  </a:lnTo>
                  <a:lnTo>
                    <a:pt x="728" y="889"/>
                  </a:lnTo>
                  <a:lnTo>
                    <a:pt x="709" y="874"/>
                  </a:lnTo>
                  <a:lnTo>
                    <a:pt x="689" y="860"/>
                  </a:lnTo>
                  <a:lnTo>
                    <a:pt x="658" y="847"/>
                  </a:lnTo>
                  <a:lnTo>
                    <a:pt x="518" y="898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16" name="Freeform 167"/>
            <p:cNvSpPr>
              <a:spLocks noChangeAspect="1"/>
            </p:cNvSpPr>
            <p:nvPr/>
          </p:nvSpPr>
          <p:spPr bwMode="gray">
            <a:xfrm>
              <a:off x="3834053" y="3503932"/>
              <a:ext cx="97735" cy="47547"/>
            </a:xfrm>
            <a:custGeom>
              <a:avLst/>
              <a:gdLst/>
              <a:ahLst/>
              <a:cxnLst>
                <a:cxn ang="0">
                  <a:pos x="94" y="154"/>
                </a:cxn>
                <a:cxn ang="0">
                  <a:pos x="115" y="150"/>
                </a:cxn>
                <a:cxn ang="0">
                  <a:pos x="140" y="156"/>
                </a:cxn>
                <a:cxn ang="0">
                  <a:pos x="150" y="145"/>
                </a:cxn>
                <a:cxn ang="0">
                  <a:pos x="166" y="155"/>
                </a:cxn>
                <a:cxn ang="0">
                  <a:pos x="182" y="172"/>
                </a:cxn>
                <a:cxn ang="0">
                  <a:pos x="212" y="181"/>
                </a:cxn>
                <a:cxn ang="0">
                  <a:pos x="235" y="175"/>
                </a:cxn>
                <a:cxn ang="0">
                  <a:pos x="258" y="174"/>
                </a:cxn>
                <a:cxn ang="0">
                  <a:pos x="277" y="167"/>
                </a:cxn>
                <a:cxn ang="0">
                  <a:pos x="296" y="156"/>
                </a:cxn>
                <a:cxn ang="0">
                  <a:pos x="311" y="160"/>
                </a:cxn>
                <a:cxn ang="0">
                  <a:pos x="332" y="174"/>
                </a:cxn>
                <a:cxn ang="0">
                  <a:pos x="355" y="179"/>
                </a:cxn>
                <a:cxn ang="0">
                  <a:pos x="368" y="174"/>
                </a:cxn>
                <a:cxn ang="0">
                  <a:pos x="352" y="156"/>
                </a:cxn>
                <a:cxn ang="0">
                  <a:pos x="343" y="143"/>
                </a:cxn>
                <a:cxn ang="0">
                  <a:pos x="355" y="124"/>
                </a:cxn>
                <a:cxn ang="0">
                  <a:pos x="352" y="121"/>
                </a:cxn>
                <a:cxn ang="0">
                  <a:pos x="329" y="111"/>
                </a:cxn>
                <a:cxn ang="0">
                  <a:pos x="321" y="86"/>
                </a:cxn>
                <a:cxn ang="0">
                  <a:pos x="310" y="75"/>
                </a:cxn>
                <a:cxn ang="0">
                  <a:pos x="295" y="72"/>
                </a:cxn>
                <a:cxn ang="0">
                  <a:pos x="274" y="63"/>
                </a:cxn>
                <a:cxn ang="0">
                  <a:pos x="261" y="59"/>
                </a:cxn>
                <a:cxn ang="0">
                  <a:pos x="237" y="66"/>
                </a:cxn>
                <a:cxn ang="0">
                  <a:pos x="223" y="73"/>
                </a:cxn>
                <a:cxn ang="0">
                  <a:pos x="213" y="61"/>
                </a:cxn>
                <a:cxn ang="0">
                  <a:pos x="171" y="34"/>
                </a:cxn>
                <a:cxn ang="0">
                  <a:pos x="148" y="29"/>
                </a:cxn>
                <a:cxn ang="0">
                  <a:pos x="108" y="26"/>
                </a:cxn>
                <a:cxn ang="0">
                  <a:pos x="76" y="15"/>
                </a:cxn>
                <a:cxn ang="0">
                  <a:pos x="54" y="7"/>
                </a:cxn>
                <a:cxn ang="0">
                  <a:pos x="31" y="3"/>
                </a:cxn>
                <a:cxn ang="0">
                  <a:pos x="15" y="2"/>
                </a:cxn>
                <a:cxn ang="0">
                  <a:pos x="5" y="11"/>
                </a:cxn>
                <a:cxn ang="0">
                  <a:pos x="21" y="27"/>
                </a:cxn>
                <a:cxn ang="0">
                  <a:pos x="56" y="39"/>
                </a:cxn>
                <a:cxn ang="0">
                  <a:pos x="78" y="57"/>
                </a:cxn>
                <a:cxn ang="0">
                  <a:pos x="87" y="82"/>
                </a:cxn>
                <a:cxn ang="0">
                  <a:pos x="100" y="113"/>
                </a:cxn>
                <a:cxn ang="0">
                  <a:pos x="99" y="138"/>
                </a:cxn>
                <a:cxn ang="0">
                  <a:pos x="87" y="148"/>
                </a:cxn>
              </a:cxnLst>
              <a:rect l="0" t="0" r="r" b="b"/>
              <a:pathLst>
                <a:path w="368" h="182">
                  <a:moveTo>
                    <a:pt x="87" y="148"/>
                  </a:moveTo>
                  <a:lnTo>
                    <a:pt x="94" y="154"/>
                  </a:lnTo>
                  <a:lnTo>
                    <a:pt x="102" y="154"/>
                  </a:lnTo>
                  <a:lnTo>
                    <a:pt x="115" y="150"/>
                  </a:lnTo>
                  <a:lnTo>
                    <a:pt x="134" y="156"/>
                  </a:lnTo>
                  <a:lnTo>
                    <a:pt x="140" y="156"/>
                  </a:lnTo>
                  <a:lnTo>
                    <a:pt x="145" y="149"/>
                  </a:lnTo>
                  <a:lnTo>
                    <a:pt x="150" y="145"/>
                  </a:lnTo>
                  <a:lnTo>
                    <a:pt x="158" y="148"/>
                  </a:lnTo>
                  <a:lnTo>
                    <a:pt x="166" y="155"/>
                  </a:lnTo>
                  <a:lnTo>
                    <a:pt x="177" y="171"/>
                  </a:lnTo>
                  <a:lnTo>
                    <a:pt x="182" y="172"/>
                  </a:lnTo>
                  <a:lnTo>
                    <a:pt x="191" y="182"/>
                  </a:lnTo>
                  <a:lnTo>
                    <a:pt x="212" y="181"/>
                  </a:lnTo>
                  <a:lnTo>
                    <a:pt x="219" y="176"/>
                  </a:lnTo>
                  <a:lnTo>
                    <a:pt x="235" y="175"/>
                  </a:lnTo>
                  <a:lnTo>
                    <a:pt x="242" y="171"/>
                  </a:lnTo>
                  <a:lnTo>
                    <a:pt x="258" y="174"/>
                  </a:lnTo>
                  <a:lnTo>
                    <a:pt x="267" y="172"/>
                  </a:lnTo>
                  <a:lnTo>
                    <a:pt x="277" y="167"/>
                  </a:lnTo>
                  <a:lnTo>
                    <a:pt x="282" y="166"/>
                  </a:lnTo>
                  <a:lnTo>
                    <a:pt x="296" y="156"/>
                  </a:lnTo>
                  <a:lnTo>
                    <a:pt x="304" y="158"/>
                  </a:lnTo>
                  <a:lnTo>
                    <a:pt x="311" y="160"/>
                  </a:lnTo>
                  <a:lnTo>
                    <a:pt x="317" y="166"/>
                  </a:lnTo>
                  <a:lnTo>
                    <a:pt x="332" y="174"/>
                  </a:lnTo>
                  <a:lnTo>
                    <a:pt x="341" y="172"/>
                  </a:lnTo>
                  <a:lnTo>
                    <a:pt x="355" y="179"/>
                  </a:lnTo>
                  <a:lnTo>
                    <a:pt x="364" y="180"/>
                  </a:lnTo>
                  <a:lnTo>
                    <a:pt x="368" y="174"/>
                  </a:lnTo>
                  <a:lnTo>
                    <a:pt x="365" y="166"/>
                  </a:lnTo>
                  <a:lnTo>
                    <a:pt x="352" y="156"/>
                  </a:lnTo>
                  <a:lnTo>
                    <a:pt x="349" y="149"/>
                  </a:lnTo>
                  <a:lnTo>
                    <a:pt x="343" y="143"/>
                  </a:lnTo>
                  <a:lnTo>
                    <a:pt x="344" y="134"/>
                  </a:lnTo>
                  <a:lnTo>
                    <a:pt x="355" y="124"/>
                  </a:lnTo>
                  <a:lnTo>
                    <a:pt x="357" y="124"/>
                  </a:lnTo>
                  <a:lnTo>
                    <a:pt x="352" y="121"/>
                  </a:lnTo>
                  <a:lnTo>
                    <a:pt x="345" y="116"/>
                  </a:lnTo>
                  <a:lnTo>
                    <a:pt x="329" y="111"/>
                  </a:lnTo>
                  <a:lnTo>
                    <a:pt x="317" y="101"/>
                  </a:lnTo>
                  <a:lnTo>
                    <a:pt x="321" y="86"/>
                  </a:lnTo>
                  <a:lnTo>
                    <a:pt x="317" y="79"/>
                  </a:lnTo>
                  <a:lnTo>
                    <a:pt x="310" y="75"/>
                  </a:lnTo>
                  <a:lnTo>
                    <a:pt x="302" y="75"/>
                  </a:lnTo>
                  <a:lnTo>
                    <a:pt x="295" y="72"/>
                  </a:lnTo>
                  <a:lnTo>
                    <a:pt x="290" y="66"/>
                  </a:lnTo>
                  <a:lnTo>
                    <a:pt x="274" y="63"/>
                  </a:lnTo>
                  <a:lnTo>
                    <a:pt x="267" y="64"/>
                  </a:lnTo>
                  <a:lnTo>
                    <a:pt x="261" y="59"/>
                  </a:lnTo>
                  <a:lnTo>
                    <a:pt x="252" y="59"/>
                  </a:lnTo>
                  <a:lnTo>
                    <a:pt x="237" y="66"/>
                  </a:lnTo>
                  <a:lnTo>
                    <a:pt x="231" y="70"/>
                  </a:lnTo>
                  <a:lnTo>
                    <a:pt x="223" y="73"/>
                  </a:lnTo>
                  <a:lnTo>
                    <a:pt x="215" y="69"/>
                  </a:lnTo>
                  <a:lnTo>
                    <a:pt x="213" y="61"/>
                  </a:lnTo>
                  <a:lnTo>
                    <a:pt x="175" y="39"/>
                  </a:lnTo>
                  <a:lnTo>
                    <a:pt x="171" y="34"/>
                  </a:lnTo>
                  <a:lnTo>
                    <a:pt x="164" y="29"/>
                  </a:lnTo>
                  <a:lnTo>
                    <a:pt x="148" y="29"/>
                  </a:lnTo>
                  <a:lnTo>
                    <a:pt x="132" y="24"/>
                  </a:lnTo>
                  <a:lnTo>
                    <a:pt x="108" y="26"/>
                  </a:lnTo>
                  <a:lnTo>
                    <a:pt x="99" y="25"/>
                  </a:lnTo>
                  <a:lnTo>
                    <a:pt x="76" y="15"/>
                  </a:lnTo>
                  <a:lnTo>
                    <a:pt x="60" y="13"/>
                  </a:lnTo>
                  <a:lnTo>
                    <a:pt x="54" y="7"/>
                  </a:lnTo>
                  <a:lnTo>
                    <a:pt x="40" y="2"/>
                  </a:lnTo>
                  <a:lnTo>
                    <a:pt x="31" y="3"/>
                  </a:lnTo>
                  <a:lnTo>
                    <a:pt x="24" y="0"/>
                  </a:lnTo>
                  <a:lnTo>
                    <a:pt x="15" y="2"/>
                  </a:lnTo>
                  <a:lnTo>
                    <a:pt x="0" y="7"/>
                  </a:lnTo>
                  <a:lnTo>
                    <a:pt x="5" y="11"/>
                  </a:lnTo>
                  <a:lnTo>
                    <a:pt x="14" y="18"/>
                  </a:lnTo>
                  <a:lnTo>
                    <a:pt x="21" y="27"/>
                  </a:lnTo>
                  <a:lnTo>
                    <a:pt x="31" y="32"/>
                  </a:lnTo>
                  <a:lnTo>
                    <a:pt x="56" y="39"/>
                  </a:lnTo>
                  <a:lnTo>
                    <a:pt x="67" y="51"/>
                  </a:lnTo>
                  <a:lnTo>
                    <a:pt x="78" y="57"/>
                  </a:lnTo>
                  <a:lnTo>
                    <a:pt x="84" y="68"/>
                  </a:lnTo>
                  <a:lnTo>
                    <a:pt x="87" y="82"/>
                  </a:lnTo>
                  <a:lnTo>
                    <a:pt x="91" y="104"/>
                  </a:lnTo>
                  <a:lnTo>
                    <a:pt x="100" y="113"/>
                  </a:lnTo>
                  <a:lnTo>
                    <a:pt x="100" y="124"/>
                  </a:lnTo>
                  <a:lnTo>
                    <a:pt x="99" y="138"/>
                  </a:lnTo>
                  <a:lnTo>
                    <a:pt x="92" y="145"/>
                  </a:lnTo>
                  <a:lnTo>
                    <a:pt x="87" y="148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17" name="Freeform 168"/>
            <p:cNvSpPr>
              <a:spLocks noChangeAspect="1"/>
            </p:cNvSpPr>
            <p:nvPr/>
          </p:nvSpPr>
          <p:spPr bwMode="gray">
            <a:xfrm>
              <a:off x="4067824" y="3462989"/>
              <a:ext cx="248299" cy="161130"/>
            </a:xfrm>
            <a:custGeom>
              <a:avLst/>
              <a:gdLst/>
              <a:ahLst/>
              <a:cxnLst>
                <a:cxn ang="0">
                  <a:pos x="0" y="260"/>
                </a:cxn>
                <a:cxn ang="0">
                  <a:pos x="56" y="310"/>
                </a:cxn>
                <a:cxn ang="0">
                  <a:pos x="63" y="274"/>
                </a:cxn>
                <a:cxn ang="0">
                  <a:pos x="96" y="260"/>
                </a:cxn>
                <a:cxn ang="0">
                  <a:pos x="115" y="238"/>
                </a:cxn>
                <a:cxn ang="0">
                  <a:pos x="127" y="234"/>
                </a:cxn>
                <a:cxn ang="0">
                  <a:pos x="143" y="220"/>
                </a:cxn>
                <a:cxn ang="0">
                  <a:pos x="183" y="250"/>
                </a:cxn>
                <a:cxn ang="0">
                  <a:pos x="220" y="262"/>
                </a:cxn>
                <a:cxn ang="0">
                  <a:pos x="231" y="287"/>
                </a:cxn>
                <a:cxn ang="0">
                  <a:pos x="223" y="314"/>
                </a:cxn>
                <a:cxn ang="0">
                  <a:pos x="267" y="330"/>
                </a:cxn>
                <a:cxn ang="0">
                  <a:pos x="306" y="321"/>
                </a:cxn>
                <a:cxn ang="0">
                  <a:pos x="333" y="351"/>
                </a:cxn>
                <a:cxn ang="0">
                  <a:pos x="350" y="384"/>
                </a:cxn>
                <a:cxn ang="0">
                  <a:pos x="365" y="429"/>
                </a:cxn>
                <a:cxn ang="0">
                  <a:pos x="460" y="489"/>
                </a:cxn>
                <a:cxn ang="0">
                  <a:pos x="521" y="542"/>
                </a:cxn>
                <a:cxn ang="0">
                  <a:pos x="567" y="547"/>
                </a:cxn>
                <a:cxn ang="0">
                  <a:pos x="581" y="569"/>
                </a:cxn>
                <a:cxn ang="0">
                  <a:pos x="578" y="606"/>
                </a:cxn>
                <a:cxn ang="0">
                  <a:pos x="630" y="610"/>
                </a:cxn>
                <a:cxn ang="0">
                  <a:pos x="646" y="595"/>
                </a:cxn>
                <a:cxn ang="0">
                  <a:pos x="671" y="559"/>
                </a:cxn>
                <a:cxn ang="0">
                  <a:pos x="670" y="536"/>
                </a:cxn>
                <a:cxn ang="0">
                  <a:pos x="666" y="498"/>
                </a:cxn>
                <a:cxn ang="0">
                  <a:pos x="640" y="486"/>
                </a:cxn>
                <a:cxn ang="0">
                  <a:pos x="632" y="462"/>
                </a:cxn>
                <a:cxn ang="0">
                  <a:pos x="650" y="443"/>
                </a:cxn>
                <a:cxn ang="0">
                  <a:pos x="687" y="446"/>
                </a:cxn>
                <a:cxn ang="0">
                  <a:pos x="723" y="409"/>
                </a:cxn>
                <a:cxn ang="0">
                  <a:pos x="726" y="382"/>
                </a:cxn>
                <a:cxn ang="0">
                  <a:pos x="747" y="370"/>
                </a:cxn>
                <a:cxn ang="0">
                  <a:pos x="788" y="347"/>
                </a:cxn>
                <a:cxn ang="0">
                  <a:pos x="807" y="357"/>
                </a:cxn>
                <a:cxn ang="0">
                  <a:pos x="791" y="380"/>
                </a:cxn>
                <a:cxn ang="0">
                  <a:pos x="816" y="398"/>
                </a:cxn>
                <a:cxn ang="0">
                  <a:pos x="855" y="403"/>
                </a:cxn>
                <a:cxn ang="0">
                  <a:pos x="888" y="385"/>
                </a:cxn>
                <a:cxn ang="0">
                  <a:pos x="915" y="378"/>
                </a:cxn>
                <a:cxn ang="0">
                  <a:pos x="933" y="354"/>
                </a:cxn>
                <a:cxn ang="0">
                  <a:pos x="890" y="342"/>
                </a:cxn>
                <a:cxn ang="0">
                  <a:pos x="865" y="314"/>
                </a:cxn>
                <a:cxn ang="0">
                  <a:pos x="843" y="337"/>
                </a:cxn>
                <a:cxn ang="0">
                  <a:pos x="796" y="317"/>
                </a:cxn>
                <a:cxn ang="0">
                  <a:pos x="798" y="292"/>
                </a:cxn>
                <a:cxn ang="0">
                  <a:pos x="833" y="253"/>
                </a:cxn>
                <a:cxn ang="0">
                  <a:pos x="795" y="271"/>
                </a:cxn>
                <a:cxn ang="0">
                  <a:pos x="753" y="298"/>
                </a:cxn>
                <a:cxn ang="0">
                  <a:pos x="719" y="320"/>
                </a:cxn>
                <a:cxn ang="0">
                  <a:pos x="699" y="343"/>
                </a:cxn>
                <a:cxn ang="0">
                  <a:pos x="654" y="325"/>
                </a:cxn>
                <a:cxn ang="0">
                  <a:pos x="553" y="266"/>
                </a:cxn>
                <a:cxn ang="0">
                  <a:pos x="547" y="207"/>
                </a:cxn>
                <a:cxn ang="0">
                  <a:pos x="498" y="150"/>
                </a:cxn>
                <a:cxn ang="0">
                  <a:pos x="331" y="161"/>
                </a:cxn>
                <a:cxn ang="0">
                  <a:pos x="210" y="42"/>
                </a:cxn>
                <a:cxn ang="0">
                  <a:pos x="0" y="51"/>
                </a:cxn>
              </a:cxnLst>
              <a:rect l="0" t="0" r="r" b="b"/>
              <a:pathLst>
                <a:path w="940" h="612">
                  <a:moveTo>
                    <a:pt x="0" y="51"/>
                  </a:moveTo>
                  <a:lnTo>
                    <a:pt x="0" y="121"/>
                  </a:lnTo>
                  <a:lnTo>
                    <a:pt x="0" y="195"/>
                  </a:lnTo>
                  <a:lnTo>
                    <a:pt x="0" y="260"/>
                  </a:lnTo>
                  <a:lnTo>
                    <a:pt x="0" y="321"/>
                  </a:lnTo>
                  <a:lnTo>
                    <a:pt x="54" y="330"/>
                  </a:lnTo>
                  <a:lnTo>
                    <a:pt x="62" y="325"/>
                  </a:lnTo>
                  <a:lnTo>
                    <a:pt x="56" y="310"/>
                  </a:lnTo>
                  <a:lnTo>
                    <a:pt x="57" y="303"/>
                  </a:lnTo>
                  <a:lnTo>
                    <a:pt x="52" y="287"/>
                  </a:lnTo>
                  <a:lnTo>
                    <a:pt x="56" y="279"/>
                  </a:lnTo>
                  <a:lnTo>
                    <a:pt x="63" y="274"/>
                  </a:lnTo>
                  <a:lnTo>
                    <a:pt x="67" y="268"/>
                  </a:lnTo>
                  <a:lnTo>
                    <a:pt x="72" y="261"/>
                  </a:lnTo>
                  <a:lnTo>
                    <a:pt x="80" y="260"/>
                  </a:lnTo>
                  <a:lnTo>
                    <a:pt x="96" y="260"/>
                  </a:lnTo>
                  <a:lnTo>
                    <a:pt x="105" y="256"/>
                  </a:lnTo>
                  <a:lnTo>
                    <a:pt x="107" y="249"/>
                  </a:lnTo>
                  <a:lnTo>
                    <a:pt x="107" y="241"/>
                  </a:lnTo>
                  <a:lnTo>
                    <a:pt x="115" y="238"/>
                  </a:lnTo>
                  <a:lnTo>
                    <a:pt x="127" y="246"/>
                  </a:lnTo>
                  <a:lnTo>
                    <a:pt x="135" y="249"/>
                  </a:lnTo>
                  <a:lnTo>
                    <a:pt x="132" y="241"/>
                  </a:lnTo>
                  <a:lnTo>
                    <a:pt x="127" y="234"/>
                  </a:lnTo>
                  <a:lnTo>
                    <a:pt x="121" y="229"/>
                  </a:lnTo>
                  <a:lnTo>
                    <a:pt x="128" y="225"/>
                  </a:lnTo>
                  <a:lnTo>
                    <a:pt x="135" y="225"/>
                  </a:lnTo>
                  <a:lnTo>
                    <a:pt x="143" y="220"/>
                  </a:lnTo>
                  <a:lnTo>
                    <a:pt x="144" y="214"/>
                  </a:lnTo>
                  <a:lnTo>
                    <a:pt x="165" y="235"/>
                  </a:lnTo>
                  <a:lnTo>
                    <a:pt x="178" y="244"/>
                  </a:lnTo>
                  <a:lnTo>
                    <a:pt x="183" y="250"/>
                  </a:lnTo>
                  <a:lnTo>
                    <a:pt x="192" y="253"/>
                  </a:lnTo>
                  <a:lnTo>
                    <a:pt x="201" y="251"/>
                  </a:lnTo>
                  <a:lnTo>
                    <a:pt x="216" y="255"/>
                  </a:lnTo>
                  <a:lnTo>
                    <a:pt x="220" y="262"/>
                  </a:lnTo>
                  <a:lnTo>
                    <a:pt x="218" y="269"/>
                  </a:lnTo>
                  <a:lnTo>
                    <a:pt x="219" y="278"/>
                  </a:lnTo>
                  <a:lnTo>
                    <a:pt x="225" y="283"/>
                  </a:lnTo>
                  <a:lnTo>
                    <a:pt x="231" y="287"/>
                  </a:lnTo>
                  <a:lnTo>
                    <a:pt x="224" y="290"/>
                  </a:lnTo>
                  <a:lnTo>
                    <a:pt x="224" y="298"/>
                  </a:lnTo>
                  <a:lnTo>
                    <a:pt x="225" y="306"/>
                  </a:lnTo>
                  <a:lnTo>
                    <a:pt x="223" y="314"/>
                  </a:lnTo>
                  <a:lnTo>
                    <a:pt x="228" y="320"/>
                  </a:lnTo>
                  <a:lnTo>
                    <a:pt x="242" y="328"/>
                  </a:lnTo>
                  <a:lnTo>
                    <a:pt x="259" y="331"/>
                  </a:lnTo>
                  <a:lnTo>
                    <a:pt x="267" y="330"/>
                  </a:lnTo>
                  <a:lnTo>
                    <a:pt x="291" y="335"/>
                  </a:lnTo>
                  <a:lnTo>
                    <a:pt x="299" y="332"/>
                  </a:lnTo>
                  <a:lnTo>
                    <a:pt x="300" y="325"/>
                  </a:lnTo>
                  <a:lnTo>
                    <a:pt x="306" y="321"/>
                  </a:lnTo>
                  <a:lnTo>
                    <a:pt x="314" y="326"/>
                  </a:lnTo>
                  <a:lnTo>
                    <a:pt x="326" y="337"/>
                  </a:lnTo>
                  <a:lnTo>
                    <a:pt x="331" y="343"/>
                  </a:lnTo>
                  <a:lnTo>
                    <a:pt x="333" y="351"/>
                  </a:lnTo>
                  <a:lnTo>
                    <a:pt x="334" y="366"/>
                  </a:lnTo>
                  <a:lnTo>
                    <a:pt x="338" y="374"/>
                  </a:lnTo>
                  <a:lnTo>
                    <a:pt x="345" y="378"/>
                  </a:lnTo>
                  <a:lnTo>
                    <a:pt x="350" y="384"/>
                  </a:lnTo>
                  <a:lnTo>
                    <a:pt x="355" y="400"/>
                  </a:lnTo>
                  <a:lnTo>
                    <a:pt x="354" y="408"/>
                  </a:lnTo>
                  <a:lnTo>
                    <a:pt x="360" y="423"/>
                  </a:lnTo>
                  <a:lnTo>
                    <a:pt x="365" y="429"/>
                  </a:lnTo>
                  <a:lnTo>
                    <a:pt x="416" y="459"/>
                  </a:lnTo>
                  <a:lnTo>
                    <a:pt x="436" y="483"/>
                  </a:lnTo>
                  <a:lnTo>
                    <a:pt x="443" y="488"/>
                  </a:lnTo>
                  <a:lnTo>
                    <a:pt x="460" y="489"/>
                  </a:lnTo>
                  <a:lnTo>
                    <a:pt x="473" y="498"/>
                  </a:lnTo>
                  <a:lnTo>
                    <a:pt x="493" y="513"/>
                  </a:lnTo>
                  <a:lnTo>
                    <a:pt x="515" y="536"/>
                  </a:lnTo>
                  <a:lnTo>
                    <a:pt x="521" y="542"/>
                  </a:lnTo>
                  <a:lnTo>
                    <a:pt x="530" y="543"/>
                  </a:lnTo>
                  <a:lnTo>
                    <a:pt x="536" y="538"/>
                  </a:lnTo>
                  <a:lnTo>
                    <a:pt x="544" y="537"/>
                  </a:lnTo>
                  <a:lnTo>
                    <a:pt x="567" y="547"/>
                  </a:lnTo>
                  <a:lnTo>
                    <a:pt x="572" y="553"/>
                  </a:lnTo>
                  <a:lnTo>
                    <a:pt x="579" y="557"/>
                  </a:lnTo>
                  <a:lnTo>
                    <a:pt x="585" y="562"/>
                  </a:lnTo>
                  <a:lnTo>
                    <a:pt x="581" y="569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79" y="601"/>
                  </a:lnTo>
                  <a:lnTo>
                    <a:pt x="578" y="606"/>
                  </a:lnTo>
                  <a:lnTo>
                    <a:pt x="607" y="605"/>
                  </a:lnTo>
                  <a:lnTo>
                    <a:pt x="615" y="607"/>
                  </a:lnTo>
                  <a:lnTo>
                    <a:pt x="621" y="612"/>
                  </a:lnTo>
                  <a:lnTo>
                    <a:pt x="630" y="610"/>
                  </a:lnTo>
                  <a:lnTo>
                    <a:pt x="643" y="611"/>
                  </a:lnTo>
                  <a:lnTo>
                    <a:pt x="648" y="608"/>
                  </a:lnTo>
                  <a:lnTo>
                    <a:pt x="648" y="601"/>
                  </a:lnTo>
                  <a:lnTo>
                    <a:pt x="646" y="595"/>
                  </a:lnTo>
                  <a:lnTo>
                    <a:pt x="653" y="581"/>
                  </a:lnTo>
                  <a:lnTo>
                    <a:pt x="661" y="570"/>
                  </a:lnTo>
                  <a:lnTo>
                    <a:pt x="664" y="564"/>
                  </a:lnTo>
                  <a:lnTo>
                    <a:pt x="671" y="559"/>
                  </a:lnTo>
                  <a:lnTo>
                    <a:pt x="676" y="554"/>
                  </a:lnTo>
                  <a:lnTo>
                    <a:pt x="678" y="547"/>
                  </a:lnTo>
                  <a:lnTo>
                    <a:pt x="677" y="541"/>
                  </a:lnTo>
                  <a:lnTo>
                    <a:pt x="670" y="536"/>
                  </a:lnTo>
                  <a:lnTo>
                    <a:pt x="665" y="529"/>
                  </a:lnTo>
                  <a:lnTo>
                    <a:pt x="661" y="513"/>
                  </a:lnTo>
                  <a:lnTo>
                    <a:pt x="665" y="507"/>
                  </a:lnTo>
                  <a:lnTo>
                    <a:pt x="666" y="498"/>
                  </a:lnTo>
                  <a:lnTo>
                    <a:pt x="664" y="491"/>
                  </a:lnTo>
                  <a:lnTo>
                    <a:pt x="658" y="486"/>
                  </a:lnTo>
                  <a:lnTo>
                    <a:pt x="649" y="487"/>
                  </a:lnTo>
                  <a:lnTo>
                    <a:pt x="640" y="486"/>
                  </a:lnTo>
                  <a:lnTo>
                    <a:pt x="638" y="478"/>
                  </a:lnTo>
                  <a:lnTo>
                    <a:pt x="630" y="473"/>
                  </a:lnTo>
                  <a:lnTo>
                    <a:pt x="624" y="467"/>
                  </a:lnTo>
                  <a:lnTo>
                    <a:pt x="632" y="462"/>
                  </a:lnTo>
                  <a:lnTo>
                    <a:pt x="630" y="454"/>
                  </a:lnTo>
                  <a:lnTo>
                    <a:pt x="634" y="448"/>
                  </a:lnTo>
                  <a:lnTo>
                    <a:pt x="642" y="444"/>
                  </a:lnTo>
                  <a:lnTo>
                    <a:pt x="650" y="443"/>
                  </a:lnTo>
                  <a:lnTo>
                    <a:pt x="656" y="449"/>
                  </a:lnTo>
                  <a:lnTo>
                    <a:pt x="664" y="450"/>
                  </a:lnTo>
                  <a:lnTo>
                    <a:pt x="680" y="449"/>
                  </a:lnTo>
                  <a:lnTo>
                    <a:pt x="687" y="446"/>
                  </a:lnTo>
                  <a:lnTo>
                    <a:pt x="699" y="424"/>
                  </a:lnTo>
                  <a:lnTo>
                    <a:pt x="699" y="417"/>
                  </a:lnTo>
                  <a:lnTo>
                    <a:pt x="707" y="412"/>
                  </a:lnTo>
                  <a:lnTo>
                    <a:pt x="723" y="409"/>
                  </a:lnTo>
                  <a:lnTo>
                    <a:pt x="729" y="405"/>
                  </a:lnTo>
                  <a:lnTo>
                    <a:pt x="731" y="397"/>
                  </a:lnTo>
                  <a:lnTo>
                    <a:pt x="731" y="389"/>
                  </a:lnTo>
                  <a:lnTo>
                    <a:pt x="726" y="382"/>
                  </a:lnTo>
                  <a:lnTo>
                    <a:pt x="732" y="378"/>
                  </a:lnTo>
                  <a:lnTo>
                    <a:pt x="734" y="369"/>
                  </a:lnTo>
                  <a:lnTo>
                    <a:pt x="741" y="365"/>
                  </a:lnTo>
                  <a:lnTo>
                    <a:pt x="747" y="370"/>
                  </a:lnTo>
                  <a:lnTo>
                    <a:pt x="756" y="369"/>
                  </a:lnTo>
                  <a:lnTo>
                    <a:pt x="769" y="362"/>
                  </a:lnTo>
                  <a:lnTo>
                    <a:pt x="784" y="354"/>
                  </a:lnTo>
                  <a:lnTo>
                    <a:pt x="788" y="347"/>
                  </a:lnTo>
                  <a:lnTo>
                    <a:pt x="794" y="342"/>
                  </a:lnTo>
                  <a:lnTo>
                    <a:pt x="801" y="342"/>
                  </a:lnTo>
                  <a:lnTo>
                    <a:pt x="802" y="351"/>
                  </a:lnTo>
                  <a:lnTo>
                    <a:pt x="807" y="357"/>
                  </a:lnTo>
                  <a:lnTo>
                    <a:pt x="809" y="364"/>
                  </a:lnTo>
                  <a:lnTo>
                    <a:pt x="805" y="371"/>
                  </a:lnTo>
                  <a:lnTo>
                    <a:pt x="798" y="375"/>
                  </a:lnTo>
                  <a:lnTo>
                    <a:pt x="791" y="380"/>
                  </a:lnTo>
                  <a:lnTo>
                    <a:pt x="796" y="396"/>
                  </a:lnTo>
                  <a:lnTo>
                    <a:pt x="800" y="403"/>
                  </a:lnTo>
                  <a:lnTo>
                    <a:pt x="809" y="402"/>
                  </a:lnTo>
                  <a:lnTo>
                    <a:pt x="816" y="398"/>
                  </a:lnTo>
                  <a:lnTo>
                    <a:pt x="820" y="398"/>
                  </a:lnTo>
                  <a:lnTo>
                    <a:pt x="832" y="397"/>
                  </a:lnTo>
                  <a:lnTo>
                    <a:pt x="839" y="398"/>
                  </a:lnTo>
                  <a:lnTo>
                    <a:pt x="855" y="403"/>
                  </a:lnTo>
                  <a:lnTo>
                    <a:pt x="871" y="401"/>
                  </a:lnTo>
                  <a:lnTo>
                    <a:pt x="877" y="396"/>
                  </a:lnTo>
                  <a:lnTo>
                    <a:pt x="881" y="389"/>
                  </a:lnTo>
                  <a:lnTo>
                    <a:pt x="888" y="385"/>
                  </a:lnTo>
                  <a:lnTo>
                    <a:pt x="896" y="385"/>
                  </a:lnTo>
                  <a:lnTo>
                    <a:pt x="901" y="379"/>
                  </a:lnTo>
                  <a:lnTo>
                    <a:pt x="909" y="381"/>
                  </a:lnTo>
                  <a:lnTo>
                    <a:pt x="915" y="378"/>
                  </a:lnTo>
                  <a:lnTo>
                    <a:pt x="919" y="369"/>
                  </a:lnTo>
                  <a:lnTo>
                    <a:pt x="935" y="365"/>
                  </a:lnTo>
                  <a:lnTo>
                    <a:pt x="940" y="358"/>
                  </a:lnTo>
                  <a:lnTo>
                    <a:pt x="933" y="354"/>
                  </a:lnTo>
                  <a:lnTo>
                    <a:pt x="925" y="357"/>
                  </a:lnTo>
                  <a:lnTo>
                    <a:pt x="909" y="352"/>
                  </a:lnTo>
                  <a:lnTo>
                    <a:pt x="898" y="342"/>
                  </a:lnTo>
                  <a:lnTo>
                    <a:pt x="890" y="342"/>
                  </a:lnTo>
                  <a:lnTo>
                    <a:pt x="884" y="337"/>
                  </a:lnTo>
                  <a:lnTo>
                    <a:pt x="870" y="328"/>
                  </a:lnTo>
                  <a:lnTo>
                    <a:pt x="870" y="320"/>
                  </a:lnTo>
                  <a:lnTo>
                    <a:pt x="865" y="314"/>
                  </a:lnTo>
                  <a:lnTo>
                    <a:pt x="858" y="310"/>
                  </a:lnTo>
                  <a:lnTo>
                    <a:pt x="853" y="325"/>
                  </a:lnTo>
                  <a:lnTo>
                    <a:pt x="845" y="330"/>
                  </a:lnTo>
                  <a:lnTo>
                    <a:pt x="843" y="337"/>
                  </a:lnTo>
                  <a:lnTo>
                    <a:pt x="836" y="337"/>
                  </a:lnTo>
                  <a:lnTo>
                    <a:pt x="812" y="327"/>
                  </a:lnTo>
                  <a:lnTo>
                    <a:pt x="804" y="314"/>
                  </a:lnTo>
                  <a:lnTo>
                    <a:pt x="796" y="317"/>
                  </a:lnTo>
                  <a:lnTo>
                    <a:pt x="790" y="312"/>
                  </a:lnTo>
                  <a:lnTo>
                    <a:pt x="782" y="310"/>
                  </a:lnTo>
                  <a:lnTo>
                    <a:pt x="783" y="301"/>
                  </a:lnTo>
                  <a:lnTo>
                    <a:pt x="798" y="292"/>
                  </a:lnTo>
                  <a:lnTo>
                    <a:pt x="810" y="280"/>
                  </a:lnTo>
                  <a:lnTo>
                    <a:pt x="820" y="268"/>
                  </a:lnTo>
                  <a:lnTo>
                    <a:pt x="834" y="262"/>
                  </a:lnTo>
                  <a:lnTo>
                    <a:pt x="833" y="253"/>
                  </a:lnTo>
                  <a:lnTo>
                    <a:pt x="816" y="249"/>
                  </a:lnTo>
                  <a:lnTo>
                    <a:pt x="814" y="256"/>
                  </a:lnTo>
                  <a:lnTo>
                    <a:pt x="802" y="268"/>
                  </a:lnTo>
                  <a:lnTo>
                    <a:pt x="795" y="271"/>
                  </a:lnTo>
                  <a:lnTo>
                    <a:pt x="788" y="268"/>
                  </a:lnTo>
                  <a:lnTo>
                    <a:pt x="782" y="283"/>
                  </a:lnTo>
                  <a:lnTo>
                    <a:pt x="775" y="288"/>
                  </a:lnTo>
                  <a:lnTo>
                    <a:pt x="753" y="298"/>
                  </a:lnTo>
                  <a:lnTo>
                    <a:pt x="739" y="306"/>
                  </a:lnTo>
                  <a:lnTo>
                    <a:pt x="734" y="312"/>
                  </a:lnTo>
                  <a:lnTo>
                    <a:pt x="726" y="315"/>
                  </a:lnTo>
                  <a:lnTo>
                    <a:pt x="719" y="320"/>
                  </a:lnTo>
                  <a:lnTo>
                    <a:pt x="715" y="327"/>
                  </a:lnTo>
                  <a:lnTo>
                    <a:pt x="713" y="335"/>
                  </a:lnTo>
                  <a:lnTo>
                    <a:pt x="707" y="339"/>
                  </a:lnTo>
                  <a:lnTo>
                    <a:pt x="699" y="343"/>
                  </a:lnTo>
                  <a:lnTo>
                    <a:pt x="691" y="342"/>
                  </a:lnTo>
                  <a:lnTo>
                    <a:pt x="676" y="335"/>
                  </a:lnTo>
                  <a:lnTo>
                    <a:pt x="667" y="333"/>
                  </a:lnTo>
                  <a:lnTo>
                    <a:pt x="654" y="325"/>
                  </a:lnTo>
                  <a:lnTo>
                    <a:pt x="597" y="331"/>
                  </a:lnTo>
                  <a:lnTo>
                    <a:pt x="587" y="285"/>
                  </a:lnTo>
                  <a:lnTo>
                    <a:pt x="554" y="279"/>
                  </a:lnTo>
                  <a:lnTo>
                    <a:pt x="553" y="266"/>
                  </a:lnTo>
                  <a:lnTo>
                    <a:pt x="554" y="250"/>
                  </a:lnTo>
                  <a:lnTo>
                    <a:pt x="562" y="249"/>
                  </a:lnTo>
                  <a:lnTo>
                    <a:pt x="560" y="206"/>
                  </a:lnTo>
                  <a:lnTo>
                    <a:pt x="547" y="207"/>
                  </a:lnTo>
                  <a:lnTo>
                    <a:pt x="530" y="174"/>
                  </a:lnTo>
                  <a:lnTo>
                    <a:pt x="517" y="164"/>
                  </a:lnTo>
                  <a:lnTo>
                    <a:pt x="510" y="160"/>
                  </a:lnTo>
                  <a:lnTo>
                    <a:pt x="498" y="150"/>
                  </a:lnTo>
                  <a:lnTo>
                    <a:pt x="492" y="144"/>
                  </a:lnTo>
                  <a:lnTo>
                    <a:pt x="478" y="150"/>
                  </a:lnTo>
                  <a:lnTo>
                    <a:pt x="402" y="149"/>
                  </a:lnTo>
                  <a:lnTo>
                    <a:pt x="331" y="161"/>
                  </a:lnTo>
                  <a:lnTo>
                    <a:pt x="304" y="133"/>
                  </a:lnTo>
                  <a:lnTo>
                    <a:pt x="259" y="85"/>
                  </a:lnTo>
                  <a:lnTo>
                    <a:pt x="224" y="52"/>
                  </a:lnTo>
                  <a:lnTo>
                    <a:pt x="210" y="42"/>
                  </a:lnTo>
                  <a:lnTo>
                    <a:pt x="191" y="26"/>
                  </a:lnTo>
                  <a:lnTo>
                    <a:pt x="171" y="13"/>
                  </a:lnTo>
                  <a:lnTo>
                    <a:pt x="142" y="0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18" name="Freeform 169"/>
            <p:cNvSpPr>
              <a:spLocks noChangeAspect="1"/>
            </p:cNvSpPr>
            <p:nvPr/>
          </p:nvSpPr>
          <p:spPr bwMode="gray">
            <a:xfrm>
              <a:off x="4016315" y="3518461"/>
              <a:ext cx="206036" cy="142640"/>
            </a:xfrm>
            <a:custGeom>
              <a:avLst/>
              <a:gdLst/>
              <a:ahLst/>
              <a:cxnLst>
                <a:cxn ang="0">
                  <a:pos x="249" y="96"/>
                </a:cxn>
                <a:cxn ang="0">
                  <a:pos x="256" y="60"/>
                </a:cxn>
                <a:cxn ang="0">
                  <a:pos x="289" y="46"/>
                </a:cxn>
                <a:cxn ang="0">
                  <a:pos x="308" y="24"/>
                </a:cxn>
                <a:cxn ang="0">
                  <a:pos x="320" y="20"/>
                </a:cxn>
                <a:cxn ang="0">
                  <a:pos x="336" y="6"/>
                </a:cxn>
                <a:cxn ang="0">
                  <a:pos x="376" y="36"/>
                </a:cxn>
                <a:cxn ang="0">
                  <a:pos x="413" y="48"/>
                </a:cxn>
                <a:cxn ang="0">
                  <a:pos x="424" y="73"/>
                </a:cxn>
                <a:cxn ang="0">
                  <a:pos x="416" y="100"/>
                </a:cxn>
                <a:cxn ang="0">
                  <a:pos x="460" y="116"/>
                </a:cxn>
                <a:cxn ang="0">
                  <a:pos x="499" y="107"/>
                </a:cxn>
                <a:cxn ang="0">
                  <a:pos x="526" y="137"/>
                </a:cxn>
                <a:cxn ang="0">
                  <a:pos x="543" y="170"/>
                </a:cxn>
                <a:cxn ang="0">
                  <a:pos x="558" y="215"/>
                </a:cxn>
                <a:cxn ang="0">
                  <a:pos x="653" y="275"/>
                </a:cxn>
                <a:cxn ang="0">
                  <a:pos x="714" y="328"/>
                </a:cxn>
                <a:cxn ang="0">
                  <a:pos x="760" y="333"/>
                </a:cxn>
                <a:cxn ang="0">
                  <a:pos x="774" y="355"/>
                </a:cxn>
                <a:cxn ang="0">
                  <a:pos x="771" y="392"/>
                </a:cxn>
                <a:cxn ang="0">
                  <a:pos x="728" y="380"/>
                </a:cxn>
                <a:cxn ang="0">
                  <a:pos x="717" y="397"/>
                </a:cxn>
                <a:cxn ang="0">
                  <a:pos x="685" y="398"/>
                </a:cxn>
                <a:cxn ang="0">
                  <a:pos x="675" y="417"/>
                </a:cxn>
                <a:cxn ang="0">
                  <a:pos x="664" y="457"/>
                </a:cxn>
                <a:cxn ang="0">
                  <a:pos x="634" y="479"/>
                </a:cxn>
                <a:cxn ang="0">
                  <a:pos x="594" y="494"/>
                </a:cxn>
                <a:cxn ang="0">
                  <a:pos x="589" y="509"/>
                </a:cxn>
                <a:cxn ang="0">
                  <a:pos x="570" y="528"/>
                </a:cxn>
                <a:cxn ang="0">
                  <a:pos x="538" y="536"/>
                </a:cxn>
                <a:cxn ang="0">
                  <a:pos x="508" y="523"/>
                </a:cxn>
                <a:cxn ang="0">
                  <a:pos x="482" y="507"/>
                </a:cxn>
                <a:cxn ang="0">
                  <a:pos x="476" y="441"/>
                </a:cxn>
                <a:cxn ang="0">
                  <a:pos x="396" y="403"/>
                </a:cxn>
                <a:cxn ang="0">
                  <a:pos x="364" y="369"/>
                </a:cxn>
                <a:cxn ang="0">
                  <a:pos x="314" y="359"/>
                </a:cxn>
                <a:cxn ang="0">
                  <a:pos x="231" y="321"/>
                </a:cxn>
                <a:cxn ang="0">
                  <a:pos x="198" y="337"/>
                </a:cxn>
                <a:cxn ang="0">
                  <a:pos x="145" y="351"/>
                </a:cxn>
                <a:cxn ang="0">
                  <a:pos x="80" y="378"/>
                </a:cxn>
                <a:cxn ang="0">
                  <a:pos x="86" y="275"/>
                </a:cxn>
                <a:cxn ang="0">
                  <a:pos x="50" y="250"/>
                </a:cxn>
                <a:cxn ang="0">
                  <a:pos x="66" y="230"/>
                </a:cxn>
                <a:cxn ang="0">
                  <a:pos x="68" y="214"/>
                </a:cxn>
                <a:cxn ang="0">
                  <a:pos x="34" y="203"/>
                </a:cxn>
                <a:cxn ang="0">
                  <a:pos x="16" y="166"/>
                </a:cxn>
                <a:cxn ang="0">
                  <a:pos x="27" y="143"/>
                </a:cxn>
                <a:cxn ang="0">
                  <a:pos x="84" y="156"/>
                </a:cxn>
                <a:cxn ang="0">
                  <a:pos x="97" y="148"/>
                </a:cxn>
                <a:cxn ang="0">
                  <a:pos x="86" y="91"/>
                </a:cxn>
                <a:cxn ang="0">
                  <a:pos x="57" y="57"/>
                </a:cxn>
                <a:cxn ang="0">
                  <a:pos x="14" y="91"/>
                </a:cxn>
                <a:cxn ang="0">
                  <a:pos x="4" y="92"/>
                </a:cxn>
                <a:cxn ang="0">
                  <a:pos x="77" y="32"/>
                </a:cxn>
                <a:cxn ang="0">
                  <a:pos x="107" y="41"/>
                </a:cxn>
                <a:cxn ang="0">
                  <a:pos x="139" y="75"/>
                </a:cxn>
                <a:cxn ang="0">
                  <a:pos x="181" y="113"/>
                </a:cxn>
              </a:cxnLst>
              <a:rect l="0" t="0" r="r" b="b"/>
              <a:pathLst>
                <a:path w="778" h="536">
                  <a:moveTo>
                    <a:pt x="193" y="107"/>
                  </a:moveTo>
                  <a:lnTo>
                    <a:pt x="247" y="116"/>
                  </a:lnTo>
                  <a:lnTo>
                    <a:pt x="255" y="111"/>
                  </a:lnTo>
                  <a:lnTo>
                    <a:pt x="249" y="96"/>
                  </a:lnTo>
                  <a:lnTo>
                    <a:pt x="250" y="89"/>
                  </a:lnTo>
                  <a:lnTo>
                    <a:pt x="245" y="73"/>
                  </a:lnTo>
                  <a:lnTo>
                    <a:pt x="249" y="65"/>
                  </a:lnTo>
                  <a:lnTo>
                    <a:pt x="256" y="60"/>
                  </a:lnTo>
                  <a:lnTo>
                    <a:pt x="260" y="54"/>
                  </a:lnTo>
                  <a:lnTo>
                    <a:pt x="265" y="47"/>
                  </a:lnTo>
                  <a:lnTo>
                    <a:pt x="273" y="46"/>
                  </a:lnTo>
                  <a:lnTo>
                    <a:pt x="289" y="46"/>
                  </a:lnTo>
                  <a:lnTo>
                    <a:pt x="298" y="42"/>
                  </a:lnTo>
                  <a:lnTo>
                    <a:pt x="300" y="35"/>
                  </a:lnTo>
                  <a:lnTo>
                    <a:pt x="300" y="27"/>
                  </a:lnTo>
                  <a:lnTo>
                    <a:pt x="308" y="24"/>
                  </a:lnTo>
                  <a:lnTo>
                    <a:pt x="320" y="32"/>
                  </a:lnTo>
                  <a:lnTo>
                    <a:pt x="328" y="35"/>
                  </a:lnTo>
                  <a:lnTo>
                    <a:pt x="325" y="27"/>
                  </a:lnTo>
                  <a:lnTo>
                    <a:pt x="320" y="20"/>
                  </a:lnTo>
                  <a:lnTo>
                    <a:pt x="314" y="15"/>
                  </a:lnTo>
                  <a:lnTo>
                    <a:pt x="321" y="11"/>
                  </a:lnTo>
                  <a:lnTo>
                    <a:pt x="328" y="11"/>
                  </a:lnTo>
                  <a:lnTo>
                    <a:pt x="336" y="6"/>
                  </a:lnTo>
                  <a:lnTo>
                    <a:pt x="337" y="0"/>
                  </a:lnTo>
                  <a:lnTo>
                    <a:pt x="358" y="21"/>
                  </a:lnTo>
                  <a:lnTo>
                    <a:pt x="371" y="30"/>
                  </a:lnTo>
                  <a:lnTo>
                    <a:pt x="376" y="36"/>
                  </a:lnTo>
                  <a:lnTo>
                    <a:pt x="385" y="39"/>
                  </a:lnTo>
                  <a:lnTo>
                    <a:pt x="394" y="37"/>
                  </a:lnTo>
                  <a:lnTo>
                    <a:pt x="409" y="41"/>
                  </a:lnTo>
                  <a:lnTo>
                    <a:pt x="413" y="48"/>
                  </a:lnTo>
                  <a:lnTo>
                    <a:pt x="411" y="55"/>
                  </a:lnTo>
                  <a:lnTo>
                    <a:pt x="412" y="64"/>
                  </a:lnTo>
                  <a:lnTo>
                    <a:pt x="418" y="69"/>
                  </a:lnTo>
                  <a:lnTo>
                    <a:pt x="424" y="73"/>
                  </a:lnTo>
                  <a:lnTo>
                    <a:pt x="417" y="76"/>
                  </a:lnTo>
                  <a:lnTo>
                    <a:pt x="417" y="84"/>
                  </a:lnTo>
                  <a:lnTo>
                    <a:pt x="418" y="92"/>
                  </a:lnTo>
                  <a:lnTo>
                    <a:pt x="416" y="100"/>
                  </a:lnTo>
                  <a:lnTo>
                    <a:pt x="421" y="106"/>
                  </a:lnTo>
                  <a:lnTo>
                    <a:pt x="435" y="114"/>
                  </a:lnTo>
                  <a:lnTo>
                    <a:pt x="452" y="117"/>
                  </a:lnTo>
                  <a:lnTo>
                    <a:pt x="460" y="116"/>
                  </a:lnTo>
                  <a:lnTo>
                    <a:pt x="484" y="121"/>
                  </a:lnTo>
                  <a:lnTo>
                    <a:pt x="492" y="118"/>
                  </a:lnTo>
                  <a:lnTo>
                    <a:pt x="493" y="111"/>
                  </a:lnTo>
                  <a:lnTo>
                    <a:pt x="499" y="107"/>
                  </a:lnTo>
                  <a:lnTo>
                    <a:pt x="507" y="112"/>
                  </a:lnTo>
                  <a:lnTo>
                    <a:pt x="519" y="123"/>
                  </a:lnTo>
                  <a:lnTo>
                    <a:pt x="524" y="129"/>
                  </a:lnTo>
                  <a:lnTo>
                    <a:pt x="526" y="137"/>
                  </a:lnTo>
                  <a:lnTo>
                    <a:pt x="527" y="152"/>
                  </a:lnTo>
                  <a:lnTo>
                    <a:pt x="531" y="160"/>
                  </a:lnTo>
                  <a:lnTo>
                    <a:pt x="538" y="164"/>
                  </a:lnTo>
                  <a:lnTo>
                    <a:pt x="543" y="170"/>
                  </a:lnTo>
                  <a:lnTo>
                    <a:pt x="548" y="186"/>
                  </a:lnTo>
                  <a:lnTo>
                    <a:pt x="547" y="194"/>
                  </a:lnTo>
                  <a:lnTo>
                    <a:pt x="553" y="209"/>
                  </a:lnTo>
                  <a:lnTo>
                    <a:pt x="558" y="215"/>
                  </a:lnTo>
                  <a:lnTo>
                    <a:pt x="609" y="245"/>
                  </a:lnTo>
                  <a:lnTo>
                    <a:pt x="629" y="269"/>
                  </a:lnTo>
                  <a:lnTo>
                    <a:pt x="636" y="274"/>
                  </a:lnTo>
                  <a:lnTo>
                    <a:pt x="653" y="275"/>
                  </a:lnTo>
                  <a:lnTo>
                    <a:pt x="666" y="284"/>
                  </a:lnTo>
                  <a:lnTo>
                    <a:pt x="686" y="299"/>
                  </a:lnTo>
                  <a:lnTo>
                    <a:pt x="708" y="322"/>
                  </a:lnTo>
                  <a:lnTo>
                    <a:pt x="714" y="328"/>
                  </a:lnTo>
                  <a:lnTo>
                    <a:pt x="723" y="329"/>
                  </a:lnTo>
                  <a:lnTo>
                    <a:pt x="729" y="324"/>
                  </a:lnTo>
                  <a:lnTo>
                    <a:pt x="737" y="323"/>
                  </a:lnTo>
                  <a:lnTo>
                    <a:pt x="760" y="333"/>
                  </a:lnTo>
                  <a:lnTo>
                    <a:pt x="765" y="339"/>
                  </a:lnTo>
                  <a:lnTo>
                    <a:pt x="772" y="343"/>
                  </a:lnTo>
                  <a:lnTo>
                    <a:pt x="778" y="348"/>
                  </a:lnTo>
                  <a:lnTo>
                    <a:pt x="774" y="355"/>
                  </a:lnTo>
                  <a:lnTo>
                    <a:pt x="771" y="363"/>
                  </a:lnTo>
                  <a:lnTo>
                    <a:pt x="771" y="378"/>
                  </a:lnTo>
                  <a:lnTo>
                    <a:pt x="772" y="387"/>
                  </a:lnTo>
                  <a:lnTo>
                    <a:pt x="771" y="392"/>
                  </a:lnTo>
                  <a:lnTo>
                    <a:pt x="756" y="392"/>
                  </a:lnTo>
                  <a:lnTo>
                    <a:pt x="746" y="388"/>
                  </a:lnTo>
                  <a:lnTo>
                    <a:pt x="733" y="380"/>
                  </a:lnTo>
                  <a:lnTo>
                    <a:pt x="728" y="380"/>
                  </a:lnTo>
                  <a:lnTo>
                    <a:pt x="723" y="380"/>
                  </a:lnTo>
                  <a:lnTo>
                    <a:pt x="720" y="383"/>
                  </a:lnTo>
                  <a:lnTo>
                    <a:pt x="719" y="391"/>
                  </a:lnTo>
                  <a:lnTo>
                    <a:pt x="717" y="397"/>
                  </a:lnTo>
                  <a:lnTo>
                    <a:pt x="714" y="398"/>
                  </a:lnTo>
                  <a:lnTo>
                    <a:pt x="699" y="398"/>
                  </a:lnTo>
                  <a:lnTo>
                    <a:pt x="693" y="397"/>
                  </a:lnTo>
                  <a:lnTo>
                    <a:pt x="685" y="398"/>
                  </a:lnTo>
                  <a:lnTo>
                    <a:pt x="680" y="404"/>
                  </a:lnTo>
                  <a:lnTo>
                    <a:pt x="676" y="408"/>
                  </a:lnTo>
                  <a:lnTo>
                    <a:pt x="675" y="410"/>
                  </a:lnTo>
                  <a:lnTo>
                    <a:pt x="675" y="417"/>
                  </a:lnTo>
                  <a:lnTo>
                    <a:pt x="669" y="434"/>
                  </a:lnTo>
                  <a:lnTo>
                    <a:pt x="666" y="437"/>
                  </a:lnTo>
                  <a:lnTo>
                    <a:pt x="664" y="450"/>
                  </a:lnTo>
                  <a:lnTo>
                    <a:pt x="664" y="457"/>
                  </a:lnTo>
                  <a:lnTo>
                    <a:pt x="663" y="462"/>
                  </a:lnTo>
                  <a:lnTo>
                    <a:pt x="648" y="472"/>
                  </a:lnTo>
                  <a:lnTo>
                    <a:pt x="640" y="473"/>
                  </a:lnTo>
                  <a:lnTo>
                    <a:pt x="634" y="479"/>
                  </a:lnTo>
                  <a:lnTo>
                    <a:pt x="626" y="483"/>
                  </a:lnTo>
                  <a:lnTo>
                    <a:pt x="618" y="488"/>
                  </a:lnTo>
                  <a:lnTo>
                    <a:pt x="601" y="491"/>
                  </a:lnTo>
                  <a:lnTo>
                    <a:pt x="594" y="494"/>
                  </a:lnTo>
                  <a:lnTo>
                    <a:pt x="586" y="493"/>
                  </a:lnTo>
                  <a:lnTo>
                    <a:pt x="586" y="499"/>
                  </a:lnTo>
                  <a:lnTo>
                    <a:pt x="593" y="504"/>
                  </a:lnTo>
                  <a:lnTo>
                    <a:pt x="589" y="509"/>
                  </a:lnTo>
                  <a:lnTo>
                    <a:pt x="585" y="510"/>
                  </a:lnTo>
                  <a:lnTo>
                    <a:pt x="583" y="522"/>
                  </a:lnTo>
                  <a:lnTo>
                    <a:pt x="579" y="525"/>
                  </a:lnTo>
                  <a:lnTo>
                    <a:pt x="570" y="528"/>
                  </a:lnTo>
                  <a:lnTo>
                    <a:pt x="564" y="534"/>
                  </a:lnTo>
                  <a:lnTo>
                    <a:pt x="551" y="534"/>
                  </a:lnTo>
                  <a:lnTo>
                    <a:pt x="543" y="536"/>
                  </a:lnTo>
                  <a:lnTo>
                    <a:pt x="538" y="536"/>
                  </a:lnTo>
                  <a:lnTo>
                    <a:pt x="534" y="530"/>
                  </a:lnTo>
                  <a:lnTo>
                    <a:pt x="526" y="526"/>
                  </a:lnTo>
                  <a:lnTo>
                    <a:pt x="520" y="521"/>
                  </a:lnTo>
                  <a:lnTo>
                    <a:pt x="508" y="523"/>
                  </a:lnTo>
                  <a:lnTo>
                    <a:pt x="497" y="520"/>
                  </a:lnTo>
                  <a:lnTo>
                    <a:pt x="494" y="517"/>
                  </a:lnTo>
                  <a:lnTo>
                    <a:pt x="488" y="511"/>
                  </a:lnTo>
                  <a:lnTo>
                    <a:pt x="482" y="507"/>
                  </a:lnTo>
                  <a:lnTo>
                    <a:pt x="484" y="494"/>
                  </a:lnTo>
                  <a:lnTo>
                    <a:pt x="481" y="483"/>
                  </a:lnTo>
                  <a:lnTo>
                    <a:pt x="481" y="446"/>
                  </a:lnTo>
                  <a:lnTo>
                    <a:pt x="476" y="441"/>
                  </a:lnTo>
                  <a:lnTo>
                    <a:pt x="450" y="441"/>
                  </a:lnTo>
                  <a:lnTo>
                    <a:pt x="434" y="431"/>
                  </a:lnTo>
                  <a:lnTo>
                    <a:pt x="412" y="413"/>
                  </a:lnTo>
                  <a:lnTo>
                    <a:pt x="396" y="403"/>
                  </a:lnTo>
                  <a:lnTo>
                    <a:pt x="386" y="399"/>
                  </a:lnTo>
                  <a:lnTo>
                    <a:pt x="382" y="387"/>
                  </a:lnTo>
                  <a:lnTo>
                    <a:pt x="373" y="374"/>
                  </a:lnTo>
                  <a:lnTo>
                    <a:pt x="364" y="369"/>
                  </a:lnTo>
                  <a:lnTo>
                    <a:pt x="349" y="366"/>
                  </a:lnTo>
                  <a:lnTo>
                    <a:pt x="338" y="369"/>
                  </a:lnTo>
                  <a:lnTo>
                    <a:pt x="327" y="366"/>
                  </a:lnTo>
                  <a:lnTo>
                    <a:pt x="314" y="359"/>
                  </a:lnTo>
                  <a:lnTo>
                    <a:pt x="276" y="347"/>
                  </a:lnTo>
                  <a:lnTo>
                    <a:pt x="267" y="335"/>
                  </a:lnTo>
                  <a:lnTo>
                    <a:pt x="252" y="323"/>
                  </a:lnTo>
                  <a:lnTo>
                    <a:pt x="231" y="321"/>
                  </a:lnTo>
                  <a:lnTo>
                    <a:pt x="217" y="323"/>
                  </a:lnTo>
                  <a:lnTo>
                    <a:pt x="214" y="332"/>
                  </a:lnTo>
                  <a:lnTo>
                    <a:pt x="209" y="337"/>
                  </a:lnTo>
                  <a:lnTo>
                    <a:pt x="198" y="337"/>
                  </a:lnTo>
                  <a:lnTo>
                    <a:pt x="187" y="333"/>
                  </a:lnTo>
                  <a:lnTo>
                    <a:pt x="176" y="333"/>
                  </a:lnTo>
                  <a:lnTo>
                    <a:pt x="160" y="337"/>
                  </a:lnTo>
                  <a:lnTo>
                    <a:pt x="145" y="351"/>
                  </a:lnTo>
                  <a:lnTo>
                    <a:pt x="111" y="378"/>
                  </a:lnTo>
                  <a:lnTo>
                    <a:pt x="93" y="382"/>
                  </a:lnTo>
                  <a:lnTo>
                    <a:pt x="79" y="382"/>
                  </a:lnTo>
                  <a:lnTo>
                    <a:pt x="80" y="378"/>
                  </a:lnTo>
                  <a:lnTo>
                    <a:pt x="74" y="338"/>
                  </a:lnTo>
                  <a:lnTo>
                    <a:pt x="73" y="312"/>
                  </a:lnTo>
                  <a:lnTo>
                    <a:pt x="77" y="289"/>
                  </a:lnTo>
                  <a:lnTo>
                    <a:pt x="86" y="275"/>
                  </a:lnTo>
                  <a:lnTo>
                    <a:pt x="75" y="272"/>
                  </a:lnTo>
                  <a:lnTo>
                    <a:pt x="64" y="262"/>
                  </a:lnTo>
                  <a:lnTo>
                    <a:pt x="57" y="252"/>
                  </a:lnTo>
                  <a:lnTo>
                    <a:pt x="50" y="250"/>
                  </a:lnTo>
                  <a:lnTo>
                    <a:pt x="50" y="247"/>
                  </a:lnTo>
                  <a:lnTo>
                    <a:pt x="70" y="238"/>
                  </a:lnTo>
                  <a:lnTo>
                    <a:pt x="77" y="234"/>
                  </a:lnTo>
                  <a:lnTo>
                    <a:pt x="66" y="230"/>
                  </a:lnTo>
                  <a:lnTo>
                    <a:pt x="58" y="225"/>
                  </a:lnTo>
                  <a:lnTo>
                    <a:pt x="51" y="219"/>
                  </a:lnTo>
                  <a:lnTo>
                    <a:pt x="61" y="209"/>
                  </a:lnTo>
                  <a:lnTo>
                    <a:pt x="68" y="214"/>
                  </a:lnTo>
                  <a:lnTo>
                    <a:pt x="78" y="218"/>
                  </a:lnTo>
                  <a:lnTo>
                    <a:pt x="72" y="207"/>
                  </a:lnTo>
                  <a:lnTo>
                    <a:pt x="51" y="199"/>
                  </a:lnTo>
                  <a:lnTo>
                    <a:pt x="34" y="203"/>
                  </a:lnTo>
                  <a:lnTo>
                    <a:pt x="26" y="211"/>
                  </a:lnTo>
                  <a:lnTo>
                    <a:pt x="21" y="211"/>
                  </a:lnTo>
                  <a:lnTo>
                    <a:pt x="14" y="181"/>
                  </a:lnTo>
                  <a:lnTo>
                    <a:pt x="16" y="166"/>
                  </a:lnTo>
                  <a:lnTo>
                    <a:pt x="23" y="155"/>
                  </a:lnTo>
                  <a:lnTo>
                    <a:pt x="24" y="151"/>
                  </a:lnTo>
                  <a:lnTo>
                    <a:pt x="21" y="128"/>
                  </a:lnTo>
                  <a:lnTo>
                    <a:pt x="27" y="143"/>
                  </a:lnTo>
                  <a:lnTo>
                    <a:pt x="32" y="151"/>
                  </a:lnTo>
                  <a:lnTo>
                    <a:pt x="53" y="151"/>
                  </a:lnTo>
                  <a:lnTo>
                    <a:pt x="73" y="157"/>
                  </a:lnTo>
                  <a:lnTo>
                    <a:pt x="84" y="156"/>
                  </a:lnTo>
                  <a:lnTo>
                    <a:pt x="99" y="160"/>
                  </a:lnTo>
                  <a:lnTo>
                    <a:pt x="109" y="155"/>
                  </a:lnTo>
                  <a:lnTo>
                    <a:pt x="99" y="154"/>
                  </a:lnTo>
                  <a:lnTo>
                    <a:pt x="97" y="148"/>
                  </a:lnTo>
                  <a:lnTo>
                    <a:pt x="112" y="144"/>
                  </a:lnTo>
                  <a:lnTo>
                    <a:pt x="126" y="127"/>
                  </a:lnTo>
                  <a:lnTo>
                    <a:pt x="102" y="109"/>
                  </a:lnTo>
                  <a:lnTo>
                    <a:pt x="86" y="91"/>
                  </a:lnTo>
                  <a:lnTo>
                    <a:pt x="80" y="74"/>
                  </a:lnTo>
                  <a:lnTo>
                    <a:pt x="70" y="60"/>
                  </a:lnTo>
                  <a:lnTo>
                    <a:pt x="68" y="58"/>
                  </a:lnTo>
                  <a:lnTo>
                    <a:pt x="57" y="57"/>
                  </a:lnTo>
                  <a:lnTo>
                    <a:pt x="39" y="62"/>
                  </a:lnTo>
                  <a:lnTo>
                    <a:pt x="23" y="70"/>
                  </a:lnTo>
                  <a:lnTo>
                    <a:pt x="14" y="82"/>
                  </a:lnTo>
                  <a:lnTo>
                    <a:pt x="14" y="91"/>
                  </a:lnTo>
                  <a:lnTo>
                    <a:pt x="19" y="94"/>
                  </a:lnTo>
                  <a:lnTo>
                    <a:pt x="20" y="119"/>
                  </a:lnTo>
                  <a:lnTo>
                    <a:pt x="18" y="117"/>
                  </a:lnTo>
                  <a:lnTo>
                    <a:pt x="4" y="92"/>
                  </a:lnTo>
                  <a:lnTo>
                    <a:pt x="0" y="74"/>
                  </a:lnTo>
                  <a:lnTo>
                    <a:pt x="30" y="48"/>
                  </a:lnTo>
                  <a:lnTo>
                    <a:pt x="53" y="39"/>
                  </a:lnTo>
                  <a:lnTo>
                    <a:pt x="77" y="32"/>
                  </a:lnTo>
                  <a:lnTo>
                    <a:pt x="85" y="31"/>
                  </a:lnTo>
                  <a:lnTo>
                    <a:pt x="93" y="31"/>
                  </a:lnTo>
                  <a:lnTo>
                    <a:pt x="100" y="35"/>
                  </a:lnTo>
                  <a:lnTo>
                    <a:pt x="107" y="41"/>
                  </a:lnTo>
                  <a:lnTo>
                    <a:pt x="122" y="47"/>
                  </a:lnTo>
                  <a:lnTo>
                    <a:pt x="127" y="54"/>
                  </a:lnTo>
                  <a:lnTo>
                    <a:pt x="133" y="69"/>
                  </a:lnTo>
                  <a:lnTo>
                    <a:pt x="139" y="75"/>
                  </a:lnTo>
                  <a:lnTo>
                    <a:pt x="143" y="82"/>
                  </a:lnTo>
                  <a:lnTo>
                    <a:pt x="153" y="105"/>
                  </a:lnTo>
                  <a:lnTo>
                    <a:pt x="163" y="112"/>
                  </a:lnTo>
                  <a:lnTo>
                    <a:pt x="181" y="113"/>
                  </a:lnTo>
                  <a:lnTo>
                    <a:pt x="193" y="107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19" name="Group 170"/>
            <p:cNvGrpSpPr>
              <a:grpSpLocks noChangeAspect="1"/>
            </p:cNvGrpSpPr>
            <p:nvPr/>
          </p:nvGrpSpPr>
          <p:grpSpPr bwMode="gray">
            <a:xfrm>
              <a:off x="3905372" y="3536951"/>
              <a:ext cx="80565" cy="64716"/>
              <a:chOff x="3007" y="1982"/>
              <a:chExt cx="61" cy="49"/>
            </a:xfrm>
            <a:solidFill>
              <a:srgbClr val="DEEDBF"/>
            </a:solidFill>
          </p:grpSpPr>
          <p:sp>
            <p:nvSpPr>
              <p:cNvPr id="302" name="Freeform 171"/>
              <p:cNvSpPr>
                <a:spLocks noChangeAspect="1"/>
              </p:cNvSpPr>
              <p:nvPr/>
            </p:nvSpPr>
            <p:spPr bwMode="gray">
              <a:xfrm>
                <a:off x="3007" y="2013"/>
                <a:ext cx="13" cy="12"/>
              </a:xfrm>
              <a:custGeom>
                <a:avLst/>
                <a:gdLst/>
                <a:ahLst/>
                <a:cxnLst>
                  <a:cxn ang="0">
                    <a:pos x="65" y="59"/>
                  </a:cxn>
                  <a:cxn ang="0">
                    <a:pos x="52" y="56"/>
                  </a:cxn>
                  <a:cxn ang="0">
                    <a:pos x="36" y="53"/>
                  </a:cxn>
                  <a:cxn ang="0">
                    <a:pos x="4" y="7"/>
                  </a:cxn>
                  <a:cxn ang="0">
                    <a:pos x="0" y="2"/>
                  </a:cxn>
                  <a:cxn ang="0">
                    <a:pos x="10" y="0"/>
                  </a:cxn>
                  <a:cxn ang="0">
                    <a:pos x="17" y="1"/>
                  </a:cxn>
                  <a:cxn ang="0">
                    <a:pos x="22" y="9"/>
                  </a:cxn>
                  <a:cxn ang="0">
                    <a:pos x="30" y="12"/>
                  </a:cxn>
                  <a:cxn ang="0">
                    <a:pos x="37" y="13"/>
                  </a:cxn>
                  <a:cxn ang="0">
                    <a:pos x="44" y="10"/>
                  </a:cxn>
                  <a:cxn ang="0">
                    <a:pos x="52" y="12"/>
                  </a:cxn>
                  <a:cxn ang="0">
                    <a:pos x="55" y="20"/>
                  </a:cxn>
                  <a:cxn ang="0">
                    <a:pos x="60" y="27"/>
                  </a:cxn>
                  <a:cxn ang="0">
                    <a:pos x="64" y="34"/>
                  </a:cxn>
                  <a:cxn ang="0">
                    <a:pos x="65" y="59"/>
                  </a:cxn>
                </a:cxnLst>
                <a:rect l="0" t="0" r="r" b="b"/>
                <a:pathLst>
                  <a:path w="65" h="59">
                    <a:moveTo>
                      <a:pt x="65" y="59"/>
                    </a:moveTo>
                    <a:lnTo>
                      <a:pt x="52" y="56"/>
                    </a:lnTo>
                    <a:lnTo>
                      <a:pt x="36" y="53"/>
                    </a:lnTo>
                    <a:lnTo>
                      <a:pt x="4" y="7"/>
                    </a:lnTo>
                    <a:lnTo>
                      <a:pt x="0" y="2"/>
                    </a:lnTo>
                    <a:lnTo>
                      <a:pt x="10" y="0"/>
                    </a:lnTo>
                    <a:lnTo>
                      <a:pt x="17" y="1"/>
                    </a:lnTo>
                    <a:lnTo>
                      <a:pt x="22" y="9"/>
                    </a:lnTo>
                    <a:lnTo>
                      <a:pt x="30" y="12"/>
                    </a:lnTo>
                    <a:lnTo>
                      <a:pt x="37" y="13"/>
                    </a:lnTo>
                    <a:lnTo>
                      <a:pt x="44" y="10"/>
                    </a:lnTo>
                    <a:lnTo>
                      <a:pt x="52" y="12"/>
                    </a:lnTo>
                    <a:lnTo>
                      <a:pt x="55" y="20"/>
                    </a:lnTo>
                    <a:lnTo>
                      <a:pt x="60" y="27"/>
                    </a:lnTo>
                    <a:lnTo>
                      <a:pt x="64" y="34"/>
                    </a:lnTo>
                    <a:lnTo>
                      <a:pt x="65" y="5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303" name="Freeform 172"/>
              <p:cNvSpPr>
                <a:spLocks noChangeAspect="1"/>
              </p:cNvSpPr>
              <p:nvPr/>
            </p:nvSpPr>
            <p:spPr bwMode="gray">
              <a:xfrm>
                <a:off x="3009" y="1982"/>
                <a:ext cx="59" cy="49"/>
              </a:xfrm>
              <a:custGeom>
                <a:avLst/>
                <a:gdLst/>
                <a:ahLst/>
                <a:cxnLst>
                  <a:cxn ang="0">
                    <a:pos x="88" y="5"/>
                  </a:cxn>
                  <a:cxn ang="0">
                    <a:pos x="107" y="16"/>
                  </a:cxn>
                  <a:cxn ang="0">
                    <a:pos x="119" y="24"/>
                  </a:cxn>
                  <a:cxn ang="0">
                    <a:pos x="126" y="47"/>
                  </a:cxn>
                  <a:cxn ang="0">
                    <a:pos x="151" y="51"/>
                  </a:cxn>
                  <a:cxn ang="0">
                    <a:pos x="164" y="43"/>
                  </a:cxn>
                  <a:cxn ang="0">
                    <a:pos x="178" y="24"/>
                  </a:cxn>
                  <a:cxn ang="0">
                    <a:pos x="188" y="13"/>
                  </a:cxn>
                  <a:cxn ang="0">
                    <a:pos x="220" y="34"/>
                  </a:cxn>
                  <a:cxn ang="0">
                    <a:pos x="245" y="83"/>
                  </a:cxn>
                  <a:cxn ang="0">
                    <a:pos x="261" y="98"/>
                  </a:cxn>
                  <a:cxn ang="0">
                    <a:pos x="281" y="98"/>
                  </a:cxn>
                  <a:cxn ang="0">
                    <a:pos x="292" y="109"/>
                  </a:cxn>
                  <a:cxn ang="0">
                    <a:pos x="283" y="109"/>
                  </a:cxn>
                  <a:cxn ang="0">
                    <a:pos x="259" y="117"/>
                  </a:cxn>
                  <a:cxn ang="0">
                    <a:pos x="248" y="147"/>
                  </a:cxn>
                  <a:cxn ang="0">
                    <a:pos x="240" y="180"/>
                  </a:cxn>
                  <a:cxn ang="0">
                    <a:pos x="223" y="192"/>
                  </a:cxn>
                  <a:cxn ang="0">
                    <a:pos x="213" y="206"/>
                  </a:cxn>
                  <a:cxn ang="0">
                    <a:pos x="215" y="244"/>
                  </a:cxn>
                  <a:cxn ang="0">
                    <a:pos x="204" y="245"/>
                  </a:cxn>
                  <a:cxn ang="0">
                    <a:pos x="189" y="235"/>
                  </a:cxn>
                  <a:cxn ang="0">
                    <a:pos x="177" y="227"/>
                  </a:cxn>
                  <a:cxn ang="0">
                    <a:pos x="169" y="215"/>
                  </a:cxn>
                  <a:cxn ang="0">
                    <a:pos x="177" y="186"/>
                  </a:cxn>
                  <a:cxn ang="0">
                    <a:pos x="161" y="163"/>
                  </a:cxn>
                  <a:cxn ang="0">
                    <a:pos x="123" y="177"/>
                  </a:cxn>
                  <a:cxn ang="0">
                    <a:pos x="107" y="203"/>
                  </a:cxn>
                  <a:cxn ang="0">
                    <a:pos x="84" y="218"/>
                  </a:cxn>
                  <a:cxn ang="0">
                    <a:pos x="80" y="203"/>
                  </a:cxn>
                  <a:cxn ang="0">
                    <a:pos x="82" y="196"/>
                  </a:cxn>
                  <a:cxn ang="0">
                    <a:pos x="77" y="182"/>
                  </a:cxn>
                  <a:cxn ang="0">
                    <a:pos x="82" y="166"/>
                  </a:cxn>
                  <a:cxn ang="0">
                    <a:pos x="67" y="165"/>
                  </a:cxn>
                  <a:cxn ang="0">
                    <a:pos x="43" y="144"/>
                  </a:cxn>
                  <a:cxn ang="0">
                    <a:pos x="49" y="136"/>
                  </a:cxn>
                  <a:cxn ang="0">
                    <a:pos x="51" y="120"/>
                  </a:cxn>
                  <a:cxn ang="0">
                    <a:pos x="32" y="106"/>
                  </a:cxn>
                  <a:cxn ang="0">
                    <a:pos x="24" y="91"/>
                  </a:cxn>
                  <a:cxn ang="0">
                    <a:pos x="29" y="77"/>
                  </a:cxn>
                  <a:cxn ang="0">
                    <a:pos x="21" y="64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9" y="32"/>
                  </a:cxn>
                  <a:cxn ang="0">
                    <a:pos x="34" y="36"/>
                  </a:cxn>
                  <a:cxn ang="0">
                    <a:pos x="55" y="50"/>
                  </a:cxn>
                  <a:cxn ang="0">
                    <a:pos x="78" y="55"/>
                  </a:cxn>
                  <a:cxn ang="0">
                    <a:pos x="91" y="50"/>
                  </a:cxn>
                  <a:cxn ang="0">
                    <a:pos x="75" y="32"/>
                  </a:cxn>
                  <a:cxn ang="0">
                    <a:pos x="66" y="19"/>
                  </a:cxn>
                  <a:cxn ang="0">
                    <a:pos x="78" y="0"/>
                  </a:cxn>
                </a:cxnLst>
                <a:rect l="0" t="0" r="r" b="b"/>
                <a:pathLst>
                  <a:path w="294" h="245">
                    <a:moveTo>
                      <a:pt x="80" y="0"/>
                    </a:moveTo>
                    <a:lnTo>
                      <a:pt x="88" y="5"/>
                    </a:lnTo>
                    <a:lnTo>
                      <a:pt x="95" y="5"/>
                    </a:lnTo>
                    <a:lnTo>
                      <a:pt x="107" y="16"/>
                    </a:lnTo>
                    <a:lnTo>
                      <a:pt x="111" y="24"/>
                    </a:lnTo>
                    <a:lnTo>
                      <a:pt x="119" y="24"/>
                    </a:lnTo>
                    <a:lnTo>
                      <a:pt x="124" y="40"/>
                    </a:lnTo>
                    <a:lnTo>
                      <a:pt x="126" y="47"/>
                    </a:lnTo>
                    <a:lnTo>
                      <a:pt x="135" y="47"/>
                    </a:lnTo>
                    <a:lnTo>
                      <a:pt x="151" y="51"/>
                    </a:lnTo>
                    <a:lnTo>
                      <a:pt x="159" y="48"/>
                    </a:lnTo>
                    <a:lnTo>
                      <a:pt x="164" y="43"/>
                    </a:lnTo>
                    <a:lnTo>
                      <a:pt x="170" y="28"/>
                    </a:lnTo>
                    <a:lnTo>
                      <a:pt x="178" y="24"/>
                    </a:lnTo>
                    <a:lnTo>
                      <a:pt x="185" y="20"/>
                    </a:lnTo>
                    <a:lnTo>
                      <a:pt x="188" y="13"/>
                    </a:lnTo>
                    <a:lnTo>
                      <a:pt x="194" y="3"/>
                    </a:lnTo>
                    <a:lnTo>
                      <a:pt x="220" y="34"/>
                    </a:lnTo>
                    <a:lnTo>
                      <a:pt x="236" y="68"/>
                    </a:lnTo>
                    <a:lnTo>
                      <a:pt x="245" y="83"/>
                    </a:lnTo>
                    <a:lnTo>
                      <a:pt x="253" y="93"/>
                    </a:lnTo>
                    <a:lnTo>
                      <a:pt x="261" y="98"/>
                    </a:lnTo>
                    <a:lnTo>
                      <a:pt x="274" y="93"/>
                    </a:lnTo>
                    <a:lnTo>
                      <a:pt x="281" y="98"/>
                    </a:lnTo>
                    <a:lnTo>
                      <a:pt x="287" y="100"/>
                    </a:lnTo>
                    <a:lnTo>
                      <a:pt x="292" y="109"/>
                    </a:lnTo>
                    <a:lnTo>
                      <a:pt x="294" y="118"/>
                    </a:lnTo>
                    <a:lnTo>
                      <a:pt x="283" y="109"/>
                    </a:lnTo>
                    <a:lnTo>
                      <a:pt x="269" y="110"/>
                    </a:lnTo>
                    <a:lnTo>
                      <a:pt x="259" y="117"/>
                    </a:lnTo>
                    <a:lnTo>
                      <a:pt x="251" y="127"/>
                    </a:lnTo>
                    <a:lnTo>
                      <a:pt x="248" y="147"/>
                    </a:lnTo>
                    <a:lnTo>
                      <a:pt x="247" y="164"/>
                    </a:lnTo>
                    <a:lnTo>
                      <a:pt x="240" y="180"/>
                    </a:lnTo>
                    <a:lnTo>
                      <a:pt x="236" y="206"/>
                    </a:lnTo>
                    <a:lnTo>
                      <a:pt x="223" y="192"/>
                    </a:lnTo>
                    <a:lnTo>
                      <a:pt x="216" y="197"/>
                    </a:lnTo>
                    <a:lnTo>
                      <a:pt x="213" y="206"/>
                    </a:lnTo>
                    <a:lnTo>
                      <a:pt x="213" y="227"/>
                    </a:lnTo>
                    <a:lnTo>
                      <a:pt x="215" y="244"/>
                    </a:lnTo>
                    <a:lnTo>
                      <a:pt x="211" y="245"/>
                    </a:lnTo>
                    <a:lnTo>
                      <a:pt x="204" y="245"/>
                    </a:lnTo>
                    <a:lnTo>
                      <a:pt x="197" y="242"/>
                    </a:lnTo>
                    <a:lnTo>
                      <a:pt x="189" y="235"/>
                    </a:lnTo>
                    <a:lnTo>
                      <a:pt x="181" y="231"/>
                    </a:lnTo>
                    <a:lnTo>
                      <a:pt x="177" y="227"/>
                    </a:lnTo>
                    <a:lnTo>
                      <a:pt x="166" y="220"/>
                    </a:lnTo>
                    <a:lnTo>
                      <a:pt x="169" y="215"/>
                    </a:lnTo>
                    <a:lnTo>
                      <a:pt x="184" y="207"/>
                    </a:lnTo>
                    <a:lnTo>
                      <a:pt x="177" y="186"/>
                    </a:lnTo>
                    <a:lnTo>
                      <a:pt x="178" y="172"/>
                    </a:lnTo>
                    <a:lnTo>
                      <a:pt x="161" y="163"/>
                    </a:lnTo>
                    <a:lnTo>
                      <a:pt x="135" y="169"/>
                    </a:lnTo>
                    <a:lnTo>
                      <a:pt x="123" y="177"/>
                    </a:lnTo>
                    <a:lnTo>
                      <a:pt x="113" y="187"/>
                    </a:lnTo>
                    <a:lnTo>
                      <a:pt x="107" y="203"/>
                    </a:lnTo>
                    <a:lnTo>
                      <a:pt x="95" y="217"/>
                    </a:lnTo>
                    <a:lnTo>
                      <a:pt x="84" y="218"/>
                    </a:lnTo>
                    <a:lnTo>
                      <a:pt x="83" y="211"/>
                    </a:lnTo>
                    <a:lnTo>
                      <a:pt x="80" y="203"/>
                    </a:lnTo>
                    <a:lnTo>
                      <a:pt x="75" y="197"/>
                    </a:lnTo>
                    <a:lnTo>
                      <a:pt x="82" y="196"/>
                    </a:lnTo>
                    <a:lnTo>
                      <a:pt x="83" y="187"/>
                    </a:lnTo>
                    <a:lnTo>
                      <a:pt x="77" y="182"/>
                    </a:lnTo>
                    <a:lnTo>
                      <a:pt x="78" y="175"/>
                    </a:lnTo>
                    <a:lnTo>
                      <a:pt x="82" y="166"/>
                    </a:lnTo>
                    <a:lnTo>
                      <a:pt x="75" y="165"/>
                    </a:lnTo>
                    <a:lnTo>
                      <a:pt x="67" y="165"/>
                    </a:lnTo>
                    <a:lnTo>
                      <a:pt x="52" y="156"/>
                    </a:lnTo>
                    <a:lnTo>
                      <a:pt x="43" y="144"/>
                    </a:lnTo>
                    <a:lnTo>
                      <a:pt x="40" y="137"/>
                    </a:lnTo>
                    <a:lnTo>
                      <a:pt x="49" y="136"/>
                    </a:lnTo>
                    <a:lnTo>
                      <a:pt x="52" y="127"/>
                    </a:lnTo>
                    <a:lnTo>
                      <a:pt x="51" y="120"/>
                    </a:lnTo>
                    <a:lnTo>
                      <a:pt x="37" y="111"/>
                    </a:lnTo>
                    <a:lnTo>
                      <a:pt x="32" y="106"/>
                    </a:lnTo>
                    <a:lnTo>
                      <a:pt x="27" y="99"/>
                    </a:lnTo>
                    <a:lnTo>
                      <a:pt x="24" y="91"/>
                    </a:lnTo>
                    <a:lnTo>
                      <a:pt x="24" y="83"/>
                    </a:lnTo>
                    <a:lnTo>
                      <a:pt x="29" y="77"/>
                    </a:lnTo>
                    <a:lnTo>
                      <a:pt x="28" y="69"/>
                    </a:lnTo>
                    <a:lnTo>
                      <a:pt x="21" y="64"/>
                    </a:lnTo>
                    <a:lnTo>
                      <a:pt x="13" y="64"/>
                    </a:lnTo>
                    <a:lnTo>
                      <a:pt x="3" y="51"/>
                    </a:lnTo>
                    <a:lnTo>
                      <a:pt x="1" y="43"/>
                    </a:lnTo>
                    <a:lnTo>
                      <a:pt x="0" y="43"/>
                    </a:lnTo>
                    <a:lnTo>
                      <a:pt x="5" y="42"/>
                    </a:lnTo>
                    <a:lnTo>
                      <a:pt x="19" y="32"/>
                    </a:lnTo>
                    <a:lnTo>
                      <a:pt x="27" y="34"/>
                    </a:lnTo>
                    <a:lnTo>
                      <a:pt x="34" y="36"/>
                    </a:lnTo>
                    <a:lnTo>
                      <a:pt x="40" y="42"/>
                    </a:lnTo>
                    <a:lnTo>
                      <a:pt x="55" y="50"/>
                    </a:lnTo>
                    <a:lnTo>
                      <a:pt x="64" y="48"/>
                    </a:lnTo>
                    <a:lnTo>
                      <a:pt x="78" y="55"/>
                    </a:lnTo>
                    <a:lnTo>
                      <a:pt x="87" y="56"/>
                    </a:lnTo>
                    <a:lnTo>
                      <a:pt x="91" y="50"/>
                    </a:lnTo>
                    <a:lnTo>
                      <a:pt x="88" y="42"/>
                    </a:lnTo>
                    <a:lnTo>
                      <a:pt x="75" y="32"/>
                    </a:lnTo>
                    <a:lnTo>
                      <a:pt x="72" y="25"/>
                    </a:lnTo>
                    <a:lnTo>
                      <a:pt x="66" y="19"/>
                    </a:lnTo>
                    <a:lnTo>
                      <a:pt x="67" y="10"/>
                    </a:lnTo>
                    <a:lnTo>
                      <a:pt x="78" y="0"/>
                    </a:lnTo>
                    <a:lnTo>
                      <a:pt x="80" y="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20" name="Freeform 173"/>
            <p:cNvSpPr>
              <a:spLocks noChangeAspect="1"/>
            </p:cNvSpPr>
            <p:nvPr/>
          </p:nvSpPr>
          <p:spPr bwMode="gray">
            <a:xfrm>
              <a:off x="2901609" y="2904316"/>
              <a:ext cx="158489" cy="108301"/>
            </a:xfrm>
            <a:custGeom>
              <a:avLst/>
              <a:gdLst/>
              <a:ahLst/>
              <a:cxnLst>
                <a:cxn ang="0">
                  <a:pos x="221" y="370"/>
                </a:cxn>
                <a:cxn ang="0">
                  <a:pos x="145" y="352"/>
                </a:cxn>
                <a:cxn ang="0">
                  <a:pos x="103" y="337"/>
                </a:cxn>
                <a:cxn ang="0">
                  <a:pos x="150" y="308"/>
                </a:cxn>
                <a:cxn ang="0">
                  <a:pos x="141" y="270"/>
                </a:cxn>
                <a:cxn ang="0">
                  <a:pos x="127" y="259"/>
                </a:cxn>
                <a:cxn ang="0">
                  <a:pos x="108" y="227"/>
                </a:cxn>
                <a:cxn ang="0">
                  <a:pos x="59" y="228"/>
                </a:cxn>
                <a:cxn ang="0">
                  <a:pos x="48" y="218"/>
                </a:cxn>
                <a:cxn ang="0">
                  <a:pos x="102" y="205"/>
                </a:cxn>
                <a:cxn ang="0">
                  <a:pos x="146" y="180"/>
                </a:cxn>
                <a:cxn ang="0">
                  <a:pos x="118" y="167"/>
                </a:cxn>
                <a:cxn ang="0">
                  <a:pos x="138" y="137"/>
                </a:cxn>
                <a:cxn ang="0">
                  <a:pos x="119" y="136"/>
                </a:cxn>
                <a:cxn ang="0">
                  <a:pos x="71" y="138"/>
                </a:cxn>
                <a:cxn ang="0">
                  <a:pos x="0" y="144"/>
                </a:cxn>
                <a:cxn ang="0">
                  <a:pos x="43" y="130"/>
                </a:cxn>
                <a:cxn ang="0">
                  <a:pos x="21" y="97"/>
                </a:cxn>
                <a:cxn ang="0">
                  <a:pos x="68" y="108"/>
                </a:cxn>
                <a:cxn ang="0">
                  <a:pos x="53" y="86"/>
                </a:cxn>
                <a:cxn ang="0">
                  <a:pos x="54" y="71"/>
                </a:cxn>
                <a:cxn ang="0">
                  <a:pos x="77" y="57"/>
                </a:cxn>
                <a:cxn ang="0">
                  <a:pos x="102" y="79"/>
                </a:cxn>
                <a:cxn ang="0">
                  <a:pos x="112" y="66"/>
                </a:cxn>
                <a:cxn ang="0">
                  <a:pos x="103" y="40"/>
                </a:cxn>
                <a:cxn ang="0">
                  <a:pos x="95" y="24"/>
                </a:cxn>
                <a:cxn ang="0">
                  <a:pos x="77" y="9"/>
                </a:cxn>
                <a:cxn ang="0">
                  <a:pos x="109" y="17"/>
                </a:cxn>
                <a:cxn ang="0">
                  <a:pos x="155" y="60"/>
                </a:cxn>
                <a:cxn ang="0">
                  <a:pos x="176" y="100"/>
                </a:cxn>
                <a:cxn ang="0">
                  <a:pos x="156" y="117"/>
                </a:cxn>
                <a:cxn ang="0">
                  <a:pos x="172" y="146"/>
                </a:cxn>
                <a:cxn ang="0">
                  <a:pos x="189" y="152"/>
                </a:cxn>
                <a:cxn ang="0">
                  <a:pos x="217" y="127"/>
                </a:cxn>
                <a:cxn ang="0">
                  <a:pos x="229" y="72"/>
                </a:cxn>
                <a:cxn ang="0">
                  <a:pos x="265" y="95"/>
                </a:cxn>
                <a:cxn ang="0">
                  <a:pos x="283" y="76"/>
                </a:cxn>
                <a:cxn ang="0">
                  <a:pos x="318" y="45"/>
                </a:cxn>
                <a:cxn ang="0">
                  <a:pos x="333" y="77"/>
                </a:cxn>
                <a:cxn ang="0">
                  <a:pos x="355" y="103"/>
                </a:cxn>
                <a:cxn ang="0">
                  <a:pos x="349" y="47"/>
                </a:cxn>
                <a:cxn ang="0">
                  <a:pos x="392" y="65"/>
                </a:cxn>
                <a:cxn ang="0">
                  <a:pos x="424" y="57"/>
                </a:cxn>
                <a:cxn ang="0">
                  <a:pos x="437" y="7"/>
                </a:cxn>
                <a:cxn ang="0">
                  <a:pos x="480" y="19"/>
                </a:cxn>
                <a:cxn ang="0">
                  <a:pos x="504" y="44"/>
                </a:cxn>
                <a:cxn ang="0">
                  <a:pos x="543" y="19"/>
                </a:cxn>
                <a:cxn ang="0">
                  <a:pos x="523" y="72"/>
                </a:cxn>
                <a:cxn ang="0">
                  <a:pos x="560" y="106"/>
                </a:cxn>
                <a:cxn ang="0">
                  <a:pos x="582" y="120"/>
                </a:cxn>
                <a:cxn ang="0">
                  <a:pos x="600" y="179"/>
                </a:cxn>
                <a:cxn ang="0">
                  <a:pos x="591" y="217"/>
                </a:cxn>
                <a:cxn ang="0">
                  <a:pos x="550" y="243"/>
                </a:cxn>
                <a:cxn ang="0">
                  <a:pos x="555" y="270"/>
                </a:cxn>
                <a:cxn ang="0">
                  <a:pos x="516" y="285"/>
                </a:cxn>
                <a:cxn ang="0">
                  <a:pos x="483" y="309"/>
                </a:cxn>
                <a:cxn ang="0">
                  <a:pos x="413" y="347"/>
                </a:cxn>
                <a:cxn ang="0">
                  <a:pos x="385" y="364"/>
                </a:cxn>
                <a:cxn ang="0">
                  <a:pos x="302" y="407"/>
                </a:cxn>
              </a:cxnLst>
              <a:rect l="0" t="0" r="r" b="b"/>
              <a:pathLst>
                <a:path w="603" h="409">
                  <a:moveTo>
                    <a:pt x="251" y="389"/>
                  </a:moveTo>
                  <a:lnTo>
                    <a:pt x="248" y="390"/>
                  </a:lnTo>
                  <a:lnTo>
                    <a:pt x="240" y="384"/>
                  </a:lnTo>
                  <a:lnTo>
                    <a:pt x="231" y="382"/>
                  </a:lnTo>
                  <a:lnTo>
                    <a:pt x="221" y="370"/>
                  </a:lnTo>
                  <a:lnTo>
                    <a:pt x="202" y="356"/>
                  </a:lnTo>
                  <a:lnTo>
                    <a:pt x="182" y="348"/>
                  </a:lnTo>
                  <a:lnTo>
                    <a:pt x="170" y="353"/>
                  </a:lnTo>
                  <a:lnTo>
                    <a:pt x="151" y="348"/>
                  </a:lnTo>
                  <a:lnTo>
                    <a:pt x="145" y="352"/>
                  </a:lnTo>
                  <a:lnTo>
                    <a:pt x="135" y="352"/>
                  </a:lnTo>
                  <a:lnTo>
                    <a:pt x="118" y="351"/>
                  </a:lnTo>
                  <a:lnTo>
                    <a:pt x="111" y="357"/>
                  </a:lnTo>
                  <a:lnTo>
                    <a:pt x="102" y="355"/>
                  </a:lnTo>
                  <a:lnTo>
                    <a:pt x="103" y="337"/>
                  </a:lnTo>
                  <a:lnTo>
                    <a:pt x="100" y="324"/>
                  </a:lnTo>
                  <a:lnTo>
                    <a:pt x="113" y="334"/>
                  </a:lnTo>
                  <a:lnTo>
                    <a:pt x="119" y="325"/>
                  </a:lnTo>
                  <a:lnTo>
                    <a:pt x="135" y="319"/>
                  </a:lnTo>
                  <a:lnTo>
                    <a:pt x="150" y="308"/>
                  </a:lnTo>
                  <a:lnTo>
                    <a:pt x="150" y="288"/>
                  </a:lnTo>
                  <a:lnTo>
                    <a:pt x="131" y="293"/>
                  </a:lnTo>
                  <a:lnTo>
                    <a:pt x="141" y="283"/>
                  </a:lnTo>
                  <a:lnTo>
                    <a:pt x="143" y="278"/>
                  </a:lnTo>
                  <a:lnTo>
                    <a:pt x="141" y="270"/>
                  </a:lnTo>
                  <a:lnTo>
                    <a:pt x="150" y="259"/>
                  </a:lnTo>
                  <a:lnTo>
                    <a:pt x="140" y="260"/>
                  </a:lnTo>
                  <a:lnTo>
                    <a:pt x="134" y="271"/>
                  </a:lnTo>
                  <a:lnTo>
                    <a:pt x="128" y="266"/>
                  </a:lnTo>
                  <a:lnTo>
                    <a:pt x="127" y="259"/>
                  </a:lnTo>
                  <a:lnTo>
                    <a:pt x="122" y="260"/>
                  </a:lnTo>
                  <a:lnTo>
                    <a:pt x="120" y="255"/>
                  </a:lnTo>
                  <a:lnTo>
                    <a:pt x="119" y="245"/>
                  </a:lnTo>
                  <a:lnTo>
                    <a:pt x="116" y="228"/>
                  </a:lnTo>
                  <a:lnTo>
                    <a:pt x="108" y="227"/>
                  </a:lnTo>
                  <a:lnTo>
                    <a:pt x="95" y="232"/>
                  </a:lnTo>
                  <a:lnTo>
                    <a:pt x="90" y="227"/>
                  </a:lnTo>
                  <a:lnTo>
                    <a:pt x="81" y="226"/>
                  </a:lnTo>
                  <a:lnTo>
                    <a:pt x="69" y="226"/>
                  </a:lnTo>
                  <a:lnTo>
                    <a:pt x="59" y="228"/>
                  </a:lnTo>
                  <a:lnTo>
                    <a:pt x="49" y="235"/>
                  </a:lnTo>
                  <a:lnTo>
                    <a:pt x="37" y="238"/>
                  </a:lnTo>
                  <a:lnTo>
                    <a:pt x="32" y="232"/>
                  </a:lnTo>
                  <a:lnTo>
                    <a:pt x="33" y="219"/>
                  </a:lnTo>
                  <a:lnTo>
                    <a:pt x="48" y="218"/>
                  </a:lnTo>
                  <a:lnTo>
                    <a:pt x="66" y="213"/>
                  </a:lnTo>
                  <a:lnTo>
                    <a:pt x="73" y="207"/>
                  </a:lnTo>
                  <a:lnTo>
                    <a:pt x="85" y="207"/>
                  </a:lnTo>
                  <a:lnTo>
                    <a:pt x="96" y="197"/>
                  </a:lnTo>
                  <a:lnTo>
                    <a:pt x="102" y="205"/>
                  </a:lnTo>
                  <a:lnTo>
                    <a:pt x="111" y="196"/>
                  </a:lnTo>
                  <a:lnTo>
                    <a:pt x="122" y="200"/>
                  </a:lnTo>
                  <a:lnTo>
                    <a:pt x="144" y="201"/>
                  </a:lnTo>
                  <a:lnTo>
                    <a:pt x="152" y="178"/>
                  </a:lnTo>
                  <a:lnTo>
                    <a:pt x="146" y="180"/>
                  </a:lnTo>
                  <a:lnTo>
                    <a:pt x="140" y="191"/>
                  </a:lnTo>
                  <a:lnTo>
                    <a:pt x="133" y="187"/>
                  </a:lnTo>
                  <a:lnTo>
                    <a:pt x="111" y="184"/>
                  </a:lnTo>
                  <a:lnTo>
                    <a:pt x="111" y="176"/>
                  </a:lnTo>
                  <a:lnTo>
                    <a:pt x="118" y="167"/>
                  </a:lnTo>
                  <a:lnTo>
                    <a:pt x="125" y="165"/>
                  </a:lnTo>
                  <a:lnTo>
                    <a:pt x="130" y="159"/>
                  </a:lnTo>
                  <a:lnTo>
                    <a:pt x="147" y="147"/>
                  </a:lnTo>
                  <a:lnTo>
                    <a:pt x="147" y="144"/>
                  </a:lnTo>
                  <a:lnTo>
                    <a:pt x="138" y="137"/>
                  </a:lnTo>
                  <a:lnTo>
                    <a:pt x="131" y="143"/>
                  </a:lnTo>
                  <a:lnTo>
                    <a:pt x="124" y="143"/>
                  </a:lnTo>
                  <a:lnTo>
                    <a:pt x="124" y="137"/>
                  </a:lnTo>
                  <a:lnTo>
                    <a:pt x="119" y="133"/>
                  </a:lnTo>
                  <a:lnTo>
                    <a:pt x="119" y="136"/>
                  </a:lnTo>
                  <a:lnTo>
                    <a:pt x="116" y="127"/>
                  </a:lnTo>
                  <a:lnTo>
                    <a:pt x="112" y="126"/>
                  </a:lnTo>
                  <a:lnTo>
                    <a:pt x="90" y="124"/>
                  </a:lnTo>
                  <a:lnTo>
                    <a:pt x="82" y="127"/>
                  </a:lnTo>
                  <a:lnTo>
                    <a:pt x="71" y="138"/>
                  </a:lnTo>
                  <a:lnTo>
                    <a:pt x="64" y="138"/>
                  </a:lnTo>
                  <a:lnTo>
                    <a:pt x="48" y="147"/>
                  </a:lnTo>
                  <a:lnTo>
                    <a:pt x="42" y="147"/>
                  </a:lnTo>
                  <a:lnTo>
                    <a:pt x="25" y="137"/>
                  </a:lnTo>
                  <a:lnTo>
                    <a:pt x="0" y="144"/>
                  </a:lnTo>
                  <a:lnTo>
                    <a:pt x="4" y="132"/>
                  </a:lnTo>
                  <a:lnTo>
                    <a:pt x="9" y="122"/>
                  </a:lnTo>
                  <a:lnTo>
                    <a:pt x="15" y="127"/>
                  </a:lnTo>
                  <a:lnTo>
                    <a:pt x="34" y="136"/>
                  </a:lnTo>
                  <a:lnTo>
                    <a:pt x="43" y="130"/>
                  </a:lnTo>
                  <a:lnTo>
                    <a:pt x="31" y="125"/>
                  </a:lnTo>
                  <a:lnTo>
                    <a:pt x="34" y="124"/>
                  </a:lnTo>
                  <a:lnTo>
                    <a:pt x="36" y="116"/>
                  </a:lnTo>
                  <a:lnTo>
                    <a:pt x="26" y="110"/>
                  </a:lnTo>
                  <a:lnTo>
                    <a:pt x="21" y="97"/>
                  </a:lnTo>
                  <a:lnTo>
                    <a:pt x="44" y="108"/>
                  </a:lnTo>
                  <a:lnTo>
                    <a:pt x="53" y="120"/>
                  </a:lnTo>
                  <a:lnTo>
                    <a:pt x="70" y="116"/>
                  </a:lnTo>
                  <a:lnTo>
                    <a:pt x="63" y="111"/>
                  </a:lnTo>
                  <a:lnTo>
                    <a:pt x="68" y="108"/>
                  </a:lnTo>
                  <a:lnTo>
                    <a:pt x="69" y="100"/>
                  </a:lnTo>
                  <a:lnTo>
                    <a:pt x="50" y="103"/>
                  </a:lnTo>
                  <a:lnTo>
                    <a:pt x="41" y="92"/>
                  </a:lnTo>
                  <a:lnTo>
                    <a:pt x="42" y="88"/>
                  </a:lnTo>
                  <a:lnTo>
                    <a:pt x="53" y="86"/>
                  </a:lnTo>
                  <a:lnTo>
                    <a:pt x="44" y="78"/>
                  </a:lnTo>
                  <a:lnTo>
                    <a:pt x="37" y="65"/>
                  </a:lnTo>
                  <a:lnTo>
                    <a:pt x="38" y="67"/>
                  </a:lnTo>
                  <a:lnTo>
                    <a:pt x="52" y="73"/>
                  </a:lnTo>
                  <a:lnTo>
                    <a:pt x="54" y="71"/>
                  </a:lnTo>
                  <a:lnTo>
                    <a:pt x="47" y="59"/>
                  </a:lnTo>
                  <a:lnTo>
                    <a:pt x="58" y="63"/>
                  </a:lnTo>
                  <a:lnTo>
                    <a:pt x="50" y="51"/>
                  </a:lnTo>
                  <a:lnTo>
                    <a:pt x="58" y="47"/>
                  </a:lnTo>
                  <a:lnTo>
                    <a:pt x="77" y="57"/>
                  </a:lnTo>
                  <a:lnTo>
                    <a:pt x="77" y="73"/>
                  </a:lnTo>
                  <a:lnTo>
                    <a:pt x="80" y="74"/>
                  </a:lnTo>
                  <a:lnTo>
                    <a:pt x="87" y="77"/>
                  </a:lnTo>
                  <a:lnTo>
                    <a:pt x="93" y="70"/>
                  </a:lnTo>
                  <a:lnTo>
                    <a:pt x="102" y="79"/>
                  </a:lnTo>
                  <a:lnTo>
                    <a:pt x="104" y="93"/>
                  </a:lnTo>
                  <a:lnTo>
                    <a:pt x="108" y="81"/>
                  </a:lnTo>
                  <a:lnTo>
                    <a:pt x="113" y="93"/>
                  </a:lnTo>
                  <a:lnTo>
                    <a:pt x="119" y="79"/>
                  </a:lnTo>
                  <a:lnTo>
                    <a:pt x="112" y="66"/>
                  </a:lnTo>
                  <a:lnTo>
                    <a:pt x="113" y="60"/>
                  </a:lnTo>
                  <a:lnTo>
                    <a:pt x="97" y="51"/>
                  </a:lnTo>
                  <a:lnTo>
                    <a:pt x="89" y="44"/>
                  </a:lnTo>
                  <a:lnTo>
                    <a:pt x="95" y="33"/>
                  </a:lnTo>
                  <a:lnTo>
                    <a:pt x="103" y="40"/>
                  </a:lnTo>
                  <a:lnTo>
                    <a:pt x="108" y="40"/>
                  </a:lnTo>
                  <a:lnTo>
                    <a:pt x="112" y="38"/>
                  </a:lnTo>
                  <a:lnTo>
                    <a:pt x="103" y="29"/>
                  </a:lnTo>
                  <a:lnTo>
                    <a:pt x="101" y="24"/>
                  </a:lnTo>
                  <a:lnTo>
                    <a:pt x="95" y="24"/>
                  </a:lnTo>
                  <a:lnTo>
                    <a:pt x="85" y="30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80" y="18"/>
                  </a:lnTo>
                  <a:lnTo>
                    <a:pt x="77" y="9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97" y="16"/>
                  </a:lnTo>
                  <a:lnTo>
                    <a:pt x="103" y="13"/>
                  </a:lnTo>
                  <a:lnTo>
                    <a:pt x="109" y="17"/>
                  </a:lnTo>
                  <a:lnTo>
                    <a:pt x="114" y="14"/>
                  </a:lnTo>
                  <a:lnTo>
                    <a:pt x="124" y="33"/>
                  </a:lnTo>
                  <a:lnTo>
                    <a:pt x="139" y="36"/>
                  </a:lnTo>
                  <a:lnTo>
                    <a:pt x="145" y="47"/>
                  </a:lnTo>
                  <a:lnTo>
                    <a:pt x="155" y="60"/>
                  </a:lnTo>
                  <a:lnTo>
                    <a:pt x="166" y="63"/>
                  </a:lnTo>
                  <a:lnTo>
                    <a:pt x="173" y="71"/>
                  </a:lnTo>
                  <a:lnTo>
                    <a:pt x="163" y="78"/>
                  </a:lnTo>
                  <a:lnTo>
                    <a:pt x="174" y="86"/>
                  </a:lnTo>
                  <a:lnTo>
                    <a:pt x="176" y="100"/>
                  </a:lnTo>
                  <a:lnTo>
                    <a:pt x="171" y="104"/>
                  </a:lnTo>
                  <a:lnTo>
                    <a:pt x="170" y="109"/>
                  </a:lnTo>
                  <a:lnTo>
                    <a:pt x="166" y="114"/>
                  </a:lnTo>
                  <a:lnTo>
                    <a:pt x="152" y="106"/>
                  </a:lnTo>
                  <a:lnTo>
                    <a:pt x="156" y="117"/>
                  </a:lnTo>
                  <a:lnTo>
                    <a:pt x="170" y="124"/>
                  </a:lnTo>
                  <a:lnTo>
                    <a:pt x="168" y="133"/>
                  </a:lnTo>
                  <a:lnTo>
                    <a:pt x="174" y="126"/>
                  </a:lnTo>
                  <a:lnTo>
                    <a:pt x="177" y="140"/>
                  </a:lnTo>
                  <a:lnTo>
                    <a:pt x="172" y="146"/>
                  </a:lnTo>
                  <a:lnTo>
                    <a:pt x="181" y="149"/>
                  </a:lnTo>
                  <a:lnTo>
                    <a:pt x="182" y="157"/>
                  </a:lnTo>
                  <a:lnTo>
                    <a:pt x="182" y="175"/>
                  </a:lnTo>
                  <a:lnTo>
                    <a:pt x="189" y="162"/>
                  </a:lnTo>
                  <a:lnTo>
                    <a:pt x="189" y="152"/>
                  </a:lnTo>
                  <a:lnTo>
                    <a:pt x="202" y="151"/>
                  </a:lnTo>
                  <a:lnTo>
                    <a:pt x="202" y="127"/>
                  </a:lnTo>
                  <a:lnTo>
                    <a:pt x="206" y="116"/>
                  </a:lnTo>
                  <a:lnTo>
                    <a:pt x="215" y="117"/>
                  </a:lnTo>
                  <a:lnTo>
                    <a:pt x="217" y="127"/>
                  </a:lnTo>
                  <a:lnTo>
                    <a:pt x="222" y="137"/>
                  </a:lnTo>
                  <a:lnTo>
                    <a:pt x="229" y="127"/>
                  </a:lnTo>
                  <a:lnTo>
                    <a:pt x="232" y="113"/>
                  </a:lnTo>
                  <a:lnTo>
                    <a:pt x="233" y="97"/>
                  </a:lnTo>
                  <a:lnTo>
                    <a:pt x="229" y="72"/>
                  </a:lnTo>
                  <a:lnTo>
                    <a:pt x="227" y="59"/>
                  </a:lnTo>
                  <a:lnTo>
                    <a:pt x="233" y="56"/>
                  </a:lnTo>
                  <a:lnTo>
                    <a:pt x="240" y="59"/>
                  </a:lnTo>
                  <a:lnTo>
                    <a:pt x="256" y="76"/>
                  </a:lnTo>
                  <a:lnTo>
                    <a:pt x="265" y="95"/>
                  </a:lnTo>
                  <a:lnTo>
                    <a:pt x="269" y="106"/>
                  </a:lnTo>
                  <a:lnTo>
                    <a:pt x="275" y="106"/>
                  </a:lnTo>
                  <a:lnTo>
                    <a:pt x="281" y="104"/>
                  </a:lnTo>
                  <a:lnTo>
                    <a:pt x="284" y="88"/>
                  </a:lnTo>
                  <a:lnTo>
                    <a:pt x="283" y="76"/>
                  </a:lnTo>
                  <a:lnTo>
                    <a:pt x="280" y="66"/>
                  </a:lnTo>
                  <a:lnTo>
                    <a:pt x="292" y="61"/>
                  </a:lnTo>
                  <a:lnTo>
                    <a:pt x="299" y="65"/>
                  </a:lnTo>
                  <a:lnTo>
                    <a:pt x="305" y="54"/>
                  </a:lnTo>
                  <a:lnTo>
                    <a:pt x="318" y="45"/>
                  </a:lnTo>
                  <a:lnTo>
                    <a:pt x="318" y="55"/>
                  </a:lnTo>
                  <a:lnTo>
                    <a:pt x="321" y="55"/>
                  </a:lnTo>
                  <a:lnTo>
                    <a:pt x="323" y="61"/>
                  </a:lnTo>
                  <a:lnTo>
                    <a:pt x="331" y="63"/>
                  </a:lnTo>
                  <a:lnTo>
                    <a:pt x="333" y="77"/>
                  </a:lnTo>
                  <a:lnTo>
                    <a:pt x="340" y="84"/>
                  </a:lnTo>
                  <a:lnTo>
                    <a:pt x="346" y="95"/>
                  </a:lnTo>
                  <a:lnTo>
                    <a:pt x="349" y="111"/>
                  </a:lnTo>
                  <a:lnTo>
                    <a:pt x="353" y="117"/>
                  </a:lnTo>
                  <a:lnTo>
                    <a:pt x="355" y="103"/>
                  </a:lnTo>
                  <a:lnTo>
                    <a:pt x="355" y="89"/>
                  </a:lnTo>
                  <a:lnTo>
                    <a:pt x="353" y="81"/>
                  </a:lnTo>
                  <a:lnTo>
                    <a:pt x="344" y="60"/>
                  </a:lnTo>
                  <a:lnTo>
                    <a:pt x="344" y="50"/>
                  </a:lnTo>
                  <a:lnTo>
                    <a:pt x="349" y="47"/>
                  </a:lnTo>
                  <a:lnTo>
                    <a:pt x="360" y="50"/>
                  </a:lnTo>
                  <a:lnTo>
                    <a:pt x="370" y="59"/>
                  </a:lnTo>
                  <a:lnTo>
                    <a:pt x="377" y="72"/>
                  </a:lnTo>
                  <a:lnTo>
                    <a:pt x="387" y="70"/>
                  </a:lnTo>
                  <a:lnTo>
                    <a:pt x="392" y="65"/>
                  </a:lnTo>
                  <a:lnTo>
                    <a:pt x="397" y="55"/>
                  </a:lnTo>
                  <a:lnTo>
                    <a:pt x="397" y="49"/>
                  </a:lnTo>
                  <a:lnTo>
                    <a:pt x="410" y="46"/>
                  </a:lnTo>
                  <a:lnTo>
                    <a:pt x="412" y="56"/>
                  </a:lnTo>
                  <a:lnTo>
                    <a:pt x="424" y="57"/>
                  </a:lnTo>
                  <a:lnTo>
                    <a:pt x="432" y="51"/>
                  </a:lnTo>
                  <a:lnTo>
                    <a:pt x="444" y="50"/>
                  </a:lnTo>
                  <a:lnTo>
                    <a:pt x="444" y="28"/>
                  </a:lnTo>
                  <a:lnTo>
                    <a:pt x="441" y="16"/>
                  </a:lnTo>
                  <a:lnTo>
                    <a:pt x="437" y="7"/>
                  </a:lnTo>
                  <a:lnTo>
                    <a:pt x="448" y="8"/>
                  </a:lnTo>
                  <a:lnTo>
                    <a:pt x="456" y="0"/>
                  </a:lnTo>
                  <a:lnTo>
                    <a:pt x="464" y="1"/>
                  </a:lnTo>
                  <a:lnTo>
                    <a:pt x="468" y="13"/>
                  </a:lnTo>
                  <a:lnTo>
                    <a:pt x="480" y="19"/>
                  </a:lnTo>
                  <a:lnTo>
                    <a:pt x="482" y="31"/>
                  </a:lnTo>
                  <a:lnTo>
                    <a:pt x="479" y="36"/>
                  </a:lnTo>
                  <a:lnTo>
                    <a:pt x="495" y="49"/>
                  </a:lnTo>
                  <a:lnTo>
                    <a:pt x="501" y="49"/>
                  </a:lnTo>
                  <a:lnTo>
                    <a:pt x="504" y="44"/>
                  </a:lnTo>
                  <a:lnTo>
                    <a:pt x="502" y="36"/>
                  </a:lnTo>
                  <a:lnTo>
                    <a:pt x="518" y="36"/>
                  </a:lnTo>
                  <a:lnTo>
                    <a:pt x="523" y="23"/>
                  </a:lnTo>
                  <a:lnTo>
                    <a:pt x="530" y="20"/>
                  </a:lnTo>
                  <a:lnTo>
                    <a:pt x="543" y="19"/>
                  </a:lnTo>
                  <a:lnTo>
                    <a:pt x="547" y="23"/>
                  </a:lnTo>
                  <a:lnTo>
                    <a:pt x="532" y="30"/>
                  </a:lnTo>
                  <a:lnTo>
                    <a:pt x="515" y="59"/>
                  </a:lnTo>
                  <a:lnTo>
                    <a:pt x="518" y="67"/>
                  </a:lnTo>
                  <a:lnTo>
                    <a:pt x="523" y="72"/>
                  </a:lnTo>
                  <a:lnTo>
                    <a:pt x="538" y="63"/>
                  </a:lnTo>
                  <a:lnTo>
                    <a:pt x="542" y="82"/>
                  </a:lnTo>
                  <a:lnTo>
                    <a:pt x="536" y="99"/>
                  </a:lnTo>
                  <a:lnTo>
                    <a:pt x="536" y="109"/>
                  </a:lnTo>
                  <a:lnTo>
                    <a:pt x="560" y="106"/>
                  </a:lnTo>
                  <a:lnTo>
                    <a:pt x="559" y="115"/>
                  </a:lnTo>
                  <a:lnTo>
                    <a:pt x="560" y="124"/>
                  </a:lnTo>
                  <a:lnTo>
                    <a:pt x="576" y="129"/>
                  </a:lnTo>
                  <a:lnTo>
                    <a:pt x="577" y="115"/>
                  </a:lnTo>
                  <a:lnTo>
                    <a:pt x="582" y="120"/>
                  </a:lnTo>
                  <a:lnTo>
                    <a:pt x="593" y="147"/>
                  </a:lnTo>
                  <a:lnTo>
                    <a:pt x="592" y="159"/>
                  </a:lnTo>
                  <a:lnTo>
                    <a:pt x="586" y="165"/>
                  </a:lnTo>
                  <a:lnTo>
                    <a:pt x="592" y="180"/>
                  </a:lnTo>
                  <a:lnTo>
                    <a:pt x="600" y="179"/>
                  </a:lnTo>
                  <a:lnTo>
                    <a:pt x="603" y="174"/>
                  </a:lnTo>
                  <a:lnTo>
                    <a:pt x="603" y="189"/>
                  </a:lnTo>
                  <a:lnTo>
                    <a:pt x="600" y="202"/>
                  </a:lnTo>
                  <a:lnTo>
                    <a:pt x="591" y="206"/>
                  </a:lnTo>
                  <a:lnTo>
                    <a:pt x="591" y="217"/>
                  </a:lnTo>
                  <a:lnTo>
                    <a:pt x="587" y="219"/>
                  </a:lnTo>
                  <a:lnTo>
                    <a:pt x="580" y="229"/>
                  </a:lnTo>
                  <a:lnTo>
                    <a:pt x="560" y="234"/>
                  </a:lnTo>
                  <a:lnTo>
                    <a:pt x="560" y="244"/>
                  </a:lnTo>
                  <a:lnTo>
                    <a:pt x="550" y="243"/>
                  </a:lnTo>
                  <a:lnTo>
                    <a:pt x="553" y="246"/>
                  </a:lnTo>
                  <a:lnTo>
                    <a:pt x="548" y="253"/>
                  </a:lnTo>
                  <a:lnTo>
                    <a:pt x="555" y="254"/>
                  </a:lnTo>
                  <a:lnTo>
                    <a:pt x="565" y="246"/>
                  </a:lnTo>
                  <a:lnTo>
                    <a:pt x="555" y="270"/>
                  </a:lnTo>
                  <a:lnTo>
                    <a:pt x="545" y="282"/>
                  </a:lnTo>
                  <a:lnTo>
                    <a:pt x="532" y="287"/>
                  </a:lnTo>
                  <a:lnTo>
                    <a:pt x="528" y="299"/>
                  </a:lnTo>
                  <a:lnTo>
                    <a:pt x="516" y="292"/>
                  </a:lnTo>
                  <a:lnTo>
                    <a:pt x="516" y="285"/>
                  </a:lnTo>
                  <a:lnTo>
                    <a:pt x="510" y="278"/>
                  </a:lnTo>
                  <a:lnTo>
                    <a:pt x="504" y="277"/>
                  </a:lnTo>
                  <a:lnTo>
                    <a:pt x="501" y="291"/>
                  </a:lnTo>
                  <a:lnTo>
                    <a:pt x="488" y="300"/>
                  </a:lnTo>
                  <a:lnTo>
                    <a:pt x="483" y="309"/>
                  </a:lnTo>
                  <a:lnTo>
                    <a:pt x="467" y="325"/>
                  </a:lnTo>
                  <a:lnTo>
                    <a:pt x="450" y="337"/>
                  </a:lnTo>
                  <a:lnTo>
                    <a:pt x="437" y="345"/>
                  </a:lnTo>
                  <a:lnTo>
                    <a:pt x="423" y="343"/>
                  </a:lnTo>
                  <a:lnTo>
                    <a:pt x="413" y="347"/>
                  </a:lnTo>
                  <a:lnTo>
                    <a:pt x="410" y="341"/>
                  </a:lnTo>
                  <a:lnTo>
                    <a:pt x="404" y="346"/>
                  </a:lnTo>
                  <a:lnTo>
                    <a:pt x="401" y="351"/>
                  </a:lnTo>
                  <a:lnTo>
                    <a:pt x="401" y="359"/>
                  </a:lnTo>
                  <a:lnTo>
                    <a:pt x="385" y="364"/>
                  </a:lnTo>
                  <a:lnTo>
                    <a:pt x="356" y="394"/>
                  </a:lnTo>
                  <a:lnTo>
                    <a:pt x="332" y="402"/>
                  </a:lnTo>
                  <a:lnTo>
                    <a:pt x="324" y="409"/>
                  </a:lnTo>
                  <a:lnTo>
                    <a:pt x="310" y="404"/>
                  </a:lnTo>
                  <a:lnTo>
                    <a:pt x="302" y="407"/>
                  </a:lnTo>
                  <a:lnTo>
                    <a:pt x="291" y="399"/>
                  </a:lnTo>
                  <a:lnTo>
                    <a:pt x="279" y="396"/>
                  </a:lnTo>
                  <a:lnTo>
                    <a:pt x="260" y="388"/>
                  </a:lnTo>
                  <a:lnTo>
                    <a:pt x="251" y="389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21" name="Group 174"/>
            <p:cNvGrpSpPr>
              <a:grpSpLocks noChangeAspect="1"/>
            </p:cNvGrpSpPr>
            <p:nvPr/>
          </p:nvGrpSpPr>
          <p:grpSpPr bwMode="gray">
            <a:xfrm>
              <a:off x="3107645" y="2722053"/>
              <a:ext cx="731691" cy="923198"/>
              <a:chOff x="2403" y="1365"/>
              <a:chExt cx="554" cy="699"/>
            </a:xfrm>
            <a:solidFill>
              <a:srgbClr val="DEEDBF"/>
            </a:solidFill>
          </p:grpSpPr>
          <p:sp>
            <p:nvSpPr>
              <p:cNvPr id="255" name="Freeform 175"/>
              <p:cNvSpPr>
                <a:spLocks noChangeAspect="1"/>
              </p:cNvSpPr>
              <p:nvPr/>
            </p:nvSpPr>
            <p:spPr bwMode="gray">
              <a:xfrm>
                <a:off x="2619" y="1872"/>
                <a:ext cx="84" cy="41"/>
              </a:xfrm>
              <a:custGeom>
                <a:avLst/>
                <a:gdLst/>
                <a:ahLst/>
                <a:cxnLst>
                  <a:cxn ang="0">
                    <a:pos x="234" y="27"/>
                  </a:cxn>
                  <a:cxn ang="0">
                    <a:pos x="213" y="43"/>
                  </a:cxn>
                  <a:cxn ang="0">
                    <a:pos x="188" y="62"/>
                  </a:cxn>
                  <a:cxn ang="0">
                    <a:pos x="184" y="90"/>
                  </a:cxn>
                  <a:cxn ang="0">
                    <a:pos x="191" y="113"/>
                  </a:cxn>
                  <a:cxn ang="0">
                    <a:pos x="179" y="110"/>
                  </a:cxn>
                  <a:cxn ang="0">
                    <a:pos x="153" y="106"/>
                  </a:cxn>
                  <a:cxn ang="0">
                    <a:pos x="116" y="114"/>
                  </a:cxn>
                  <a:cxn ang="0">
                    <a:pos x="83" y="127"/>
                  </a:cxn>
                  <a:cxn ang="0">
                    <a:pos x="59" y="118"/>
                  </a:cxn>
                  <a:cxn ang="0">
                    <a:pos x="49" y="132"/>
                  </a:cxn>
                  <a:cxn ang="0">
                    <a:pos x="34" y="129"/>
                  </a:cxn>
                  <a:cxn ang="0">
                    <a:pos x="19" y="119"/>
                  </a:cxn>
                  <a:cxn ang="0">
                    <a:pos x="0" y="123"/>
                  </a:cxn>
                  <a:cxn ang="0">
                    <a:pos x="16" y="137"/>
                  </a:cxn>
                  <a:cxn ang="0">
                    <a:pos x="17" y="155"/>
                  </a:cxn>
                  <a:cxn ang="0">
                    <a:pos x="17" y="167"/>
                  </a:cxn>
                  <a:cxn ang="0">
                    <a:pos x="36" y="172"/>
                  </a:cxn>
                  <a:cxn ang="0">
                    <a:pos x="51" y="173"/>
                  </a:cxn>
                  <a:cxn ang="0">
                    <a:pos x="68" y="177"/>
                  </a:cxn>
                  <a:cxn ang="0">
                    <a:pos x="104" y="165"/>
                  </a:cxn>
                  <a:cxn ang="0">
                    <a:pos x="132" y="161"/>
                  </a:cxn>
                  <a:cxn ang="0">
                    <a:pos x="143" y="156"/>
                  </a:cxn>
                  <a:cxn ang="0">
                    <a:pos x="146" y="164"/>
                  </a:cxn>
                  <a:cxn ang="0">
                    <a:pos x="152" y="178"/>
                  </a:cxn>
                  <a:cxn ang="0">
                    <a:pos x="168" y="187"/>
                  </a:cxn>
                  <a:cxn ang="0">
                    <a:pos x="208" y="198"/>
                  </a:cxn>
                  <a:cxn ang="0">
                    <a:pos x="231" y="203"/>
                  </a:cxn>
                  <a:cxn ang="0">
                    <a:pos x="275" y="205"/>
                  </a:cxn>
                  <a:cxn ang="0">
                    <a:pos x="292" y="189"/>
                  </a:cxn>
                  <a:cxn ang="0">
                    <a:pos x="325" y="191"/>
                  </a:cxn>
                  <a:cxn ang="0">
                    <a:pos x="334" y="182"/>
                  </a:cxn>
                  <a:cxn ang="0">
                    <a:pos x="353" y="176"/>
                  </a:cxn>
                  <a:cxn ang="0">
                    <a:pos x="372" y="161"/>
                  </a:cxn>
                  <a:cxn ang="0">
                    <a:pos x="382" y="148"/>
                  </a:cxn>
                  <a:cxn ang="0">
                    <a:pos x="390" y="119"/>
                  </a:cxn>
                  <a:cxn ang="0">
                    <a:pos x="388" y="103"/>
                  </a:cxn>
                  <a:cxn ang="0">
                    <a:pos x="420" y="95"/>
                  </a:cxn>
                  <a:cxn ang="0">
                    <a:pos x="412" y="62"/>
                  </a:cxn>
                  <a:cxn ang="0">
                    <a:pos x="406" y="26"/>
                  </a:cxn>
                  <a:cxn ang="0">
                    <a:pos x="362" y="19"/>
                  </a:cxn>
                  <a:cxn ang="0">
                    <a:pos x="340" y="1"/>
                  </a:cxn>
                  <a:cxn ang="0">
                    <a:pos x="301" y="10"/>
                  </a:cxn>
                  <a:cxn ang="0">
                    <a:pos x="287" y="27"/>
                  </a:cxn>
                  <a:cxn ang="0">
                    <a:pos x="267" y="32"/>
                  </a:cxn>
                  <a:cxn ang="0">
                    <a:pos x="249" y="25"/>
                  </a:cxn>
                </a:cxnLst>
                <a:rect l="0" t="0" r="r" b="b"/>
                <a:pathLst>
                  <a:path w="420" h="205">
                    <a:moveTo>
                      <a:pt x="235" y="20"/>
                    </a:moveTo>
                    <a:lnTo>
                      <a:pt x="234" y="27"/>
                    </a:lnTo>
                    <a:lnTo>
                      <a:pt x="217" y="35"/>
                    </a:lnTo>
                    <a:lnTo>
                      <a:pt x="213" y="43"/>
                    </a:lnTo>
                    <a:lnTo>
                      <a:pt x="210" y="53"/>
                    </a:lnTo>
                    <a:lnTo>
                      <a:pt x="188" y="62"/>
                    </a:lnTo>
                    <a:lnTo>
                      <a:pt x="183" y="74"/>
                    </a:lnTo>
                    <a:lnTo>
                      <a:pt x="184" y="90"/>
                    </a:lnTo>
                    <a:lnTo>
                      <a:pt x="191" y="106"/>
                    </a:lnTo>
                    <a:lnTo>
                      <a:pt x="191" y="113"/>
                    </a:lnTo>
                    <a:lnTo>
                      <a:pt x="184" y="117"/>
                    </a:lnTo>
                    <a:lnTo>
                      <a:pt x="179" y="110"/>
                    </a:lnTo>
                    <a:lnTo>
                      <a:pt x="164" y="110"/>
                    </a:lnTo>
                    <a:lnTo>
                      <a:pt x="153" y="106"/>
                    </a:lnTo>
                    <a:lnTo>
                      <a:pt x="149" y="111"/>
                    </a:lnTo>
                    <a:lnTo>
                      <a:pt x="116" y="114"/>
                    </a:lnTo>
                    <a:lnTo>
                      <a:pt x="97" y="127"/>
                    </a:lnTo>
                    <a:lnTo>
                      <a:pt x="83" y="127"/>
                    </a:lnTo>
                    <a:lnTo>
                      <a:pt x="70" y="119"/>
                    </a:lnTo>
                    <a:lnTo>
                      <a:pt x="59" y="118"/>
                    </a:lnTo>
                    <a:lnTo>
                      <a:pt x="51" y="124"/>
                    </a:lnTo>
                    <a:lnTo>
                      <a:pt x="49" y="132"/>
                    </a:lnTo>
                    <a:lnTo>
                      <a:pt x="44" y="134"/>
                    </a:lnTo>
                    <a:lnTo>
                      <a:pt x="34" y="129"/>
                    </a:lnTo>
                    <a:lnTo>
                      <a:pt x="28" y="121"/>
                    </a:lnTo>
                    <a:lnTo>
                      <a:pt x="19" y="119"/>
                    </a:lnTo>
                    <a:lnTo>
                      <a:pt x="11" y="119"/>
                    </a:lnTo>
                    <a:lnTo>
                      <a:pt x="0" y="123"/>
                    </a:lnTo>
                    <a:lnTo>
                      <a:pt x="7" y="132"/>
                    </a:lnTo>
                    <a:lnTo>
                      <a:pt x="16" y="137"/>
                    </a:lnTo>
                    <a:lnTo>
                      <a:pt x="17" y="144"/>
                    </a:lnTo>
                    <a:lnTo>
                      <a:pt x="17" y="155"/>
                    </a:lnTo>
                    <a:lnTo>
                      <a:pt x="11" y="162"/>
                    </a:lnTo>
                    <a:lnTo>
                      <a:pt x="17" y="167"/>
                    </a:lnTo>
                    <a:lnTo>
                      <a:pt x="27" y="171"/>
                    </a:lnTo>
                    <a:lnTo>
                      <a:pt x="36" y="172"/>
                    </a:lnTo>
                    <a:lnTo>
                      <a:pt x="44" y="168"/>
                    </a:lnTo>
                    <a:lnTo>
                      <a:pt x="51" y="173"/>
                    </a:lnTo>
                    <a:lnTo>
                      <a:pt x="65" y="178"/>
                    </a:lnTo>
                    <a:lnTo>
                      <a:pt x="68" y="177"/>
                    </a:lnTo>
                    <a:lnTo>
                      <a:pt x="84" y="172"/>
                    </a:lnTo>
                    <a:lnTo>
                      <a:pt x="104" y="165"/>
                    </a:lnTo>
                    <a:lnTo>
                      <a:pt x="122" y="164"/>
                    </a:lnTo>
                    <a:lnTo>
                      <a:pt x="132" y="161"/>
                    </a:lnTo>
                    <a:lnTo>
                      <a:pt x="137" y="157"/>
                    </a:lnTo>
                    <a:lnTo>
                      <a:pt x="143" y="156"/>
                    </a:lnTo>
                    <a:lnTo>
                      <a:pt x="146" y="159"/>
                    </a:lnTo>
                    <a:lnTo>
                      <a:pt x="146" y="164"/>
                    </a:lnTo>
                    <a:lnTo>
                      <a:pt x="148" y="171"/>
                    </a:lnTo>
                    <a:lnTo>
                      <a:pt x="152" y="178"/>
                    </a:lnTo>
                    <a:lnTo>
                      <a:pt x="163" y="187"/>
                    </a:lnTo>
                    <a:lnTo>
                      <a:pt x="168" y="187"/>
                    </a:lnTo>
                    <a:lnTo>
                      <a:pt x="178" y="193"/>
                    </a:lnTo>
                    <a:lnTo>
                      <a:pt x="208" y="198"/>
                    </a:lnTo>
                    <a:lnTo>
                      <a:pt x="222" y="203"/>
                    </a:lnTo>
                    <a:lnTo>
                      <a:pt x="231" y="203"/>
                    </a:lnTo>
                    <a:lnTo>
                      <a:pt x="247" y="203"/>
                    </a:lnTo>
                    <a:lnTo>
                      <a:pt x="275" y="205"/>
                    </a:lnTo>
                    <a:lnTo>
                      <a:pt x="283" y="200"/>
                    </a:lnTo>
                    <a:lnTo>
                      <a:pt x="292" y="189"/>
                    </a:lnTo>
                    <a:lnTo>
                      <a:pt x="305" y="187"/>
                    </a:lnTo>
                    <a:lnTo>
                      <a:pt x="325" y="191"/>
                    </a:lnTo>
                    <a:lnTo>
                      <a:pt x="330" y="182"/>
                    </a:lnTo>
                    <a:lnTo>
                      <a:pt x="334" y="182"/>
                    </a:lnTo>
                    <a:lnTo>
                      <a:pt x="351" y="184"/>
                    </a:lnTo>
                    <a:lnTo>
                      <a:pt x="353" y="176"/>
                    </a:lnTo>
                    <a:lnTo>
                      <a:pt x="362" y="172"/>
                    </a:lnTo>
                    <a:lnTo>
                      <a:pt x="372" y="161"/>
                    </a:lnTo>
                    <a:lnTo>
                      <a:pt x="383" y="159"/>
                    </a:lnTo>
                    <a:lnTo>
                      <a:pt x="382" y="148"/>
                    </a:lnTo>
                    <a:lnTo>
                      <a:pt x="382" y="138"/>
                    </a:lnTo>
                    <a:lnTo>
                      <a:pt x="390" y="119"/>
                    </a:lnTo>
                    <a:lnTo>
                      <a:pt x="384" y="111"/>
                    </a:lnTo>
                    <a:lnTo>
                      <a:pt x="388" y="103"/>
                    </a:lnTo>
                    <a:lnTo>
                      <a:pt x="415" y="103"/>
                    </a:lnTo>
                    <a:lnTo>
                      <a:pt x="420" y="95"/>
                    </a:lnTo>
                    <a:lnTo>
                      <a:pt x="420" y="75"/>
                    </a:lnTo>
                    <a:lnTo>
                      <a:pt x="412" y="62"/>
                    </a:lnTo>
                    <a:lnTo>
                      <a:pt x="406" y="40"/>
                    </a:lnTo>
                    <a:lnTo>
                      <a:pt x="406" y="26"/>
                    </a:lnTo>
                    <a:lnTo>
                      <a:pt x="398" y="15"/>
                    </a:lnTo>
                    <a:lnTo>
                      <a:pt x="362" y="19"/>
                    </a:lnTo>
                    <a:lnTo>
                      <a:pt x="348" y="6"/>
                    </a:lnTo>
                    <a:lnTo>
                      <a:pt x="340" y="1"/>
                    </a:lnTo>
                    <a:lnTo>
                      <a:pt x="307" y="0"/>
                    </a:lnTo>
                    <a:lnTo>
                      <a:pt x="301" y="10"/>
                    </a:lnTo>
                    <a:lnTo>
                      <a:pt x="297" y="19"/>
                    </a:lnTo>
                    <a:lnTo>
                      <a:pt x="287" y="27"/>
                    </a:lnTo>
                    <a:lnTo>
                      <a:pt x="278" y="31"/>
                    </a:lnTo>
                    <a:lnTo>
                      <a:pt x="267" y="32"/>
                    </a:lnTo>
                    <a:lnTo>
                      <a:pt x="256" y="31"/>
                    </a:lnTo>
                    <a:lnTo>
                      <a:pt x="249" y="25"/>
                    </a:lnTo>
                    <a:lnTo>
                      <a:pt x="235" y="2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6" name="Freeform 176"/>
              <p:cNvSpPr>
                <a:spLocks noChangeAspect="1"/>
              </p:cNvSpPr>
              <p:nvPr/>
            </p:nvSpPr>
            <p:spPr bwMode="gray">
              <a:xfrm>
                <a:off x="2531" y="1972"/>
                <a:ext cx="5" cy="3"/>
              </a:xfrm>
              <a:custGeom>
                <a:avLst/>
                <a:gdLst/>
                <a:ahLst/>
                <a:cxnLst>
                  <a:cxn ang="0">
                    <a:pos x="18" y="7"/>
                  </a:cxn>
                  <a:cxn ang="0">
                    <a:pos x="21" y="11"/>
                  </a:cxn>
                  <a:cxn ang="0">
                    <a:pos x="16" y="13"/>
                  </a:cxn>
                  <a:cxn ang="0">
                    <a:pos x="10" y="12"/>
                  </a:cxn>
                  <a:cxn ang="0">
                    <a:pos x="6" y="7"/>
                  </a:cxn>
                  <a:cxn ang="0">
                    <a:pos x="0" y="0"/>
                  </a:cxn>
                  <a:cxn ang="0">
                    <a:pos x="13" y="1"/>
                  </a:cxn>
                  <a:cxn ang="0">
                    <a:pos x="18" y="7"/>
                  </a:cxn>
                </a:cxnLst>
                <a:rect l="0" t="0" r="r" b="b"/>
                <a:pathLst>
                  <a:path w="21" h="13">
                    <a:moveTo>
                      <a:pt x="18" y="7"/>
                    </a:moveTo>
                    <a:lnTo>
                      <a:pt x="21" y="11"/>
                    </a:lnTo>
                    <a:lnTo>
                      <a:pt x="16" y="13"/>
                    </a:lnTo>
                    <a:lnTo>
                      <a:pt x="10" y="12"/>
                    </a:lnTo>
                    <a:lnTo>
                      <a:pt x="6" y="7"/>
                    </a:lnTo>
                    <a:lnTo>
                      <a:pt x="0" y="0"/>
                    </a:lnTo>
                    <a:lnTo>
                      <a:pt x="13" y="1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7" name="Freeform 177"/>
              <p:cNvSpPr>
                <a:spLocks noChangeAspect="1"/>
              </p:cNvSpPr>
              <p:nvPr/>
            </p:nvSpPr>
            <p:spPr bwMode="gray">
              <a:xfrm>
                <a:off x="2620" y="1898"/>
                <a:ext cx="3" cy="6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14" y="23"/>
                  </a:cxn>
                  <a:cxn ang="0">
                    <a:pos x="14" y="12"/>
                  </a:cxn>
                  <a:cxn ang="0">
                    <a:pos x="13" y="5"/>
                  </a:cxn>
                  <a:cxn ang="0">
                    <a:pos x="4" y="0"/>
                  </a:cxn>
                  <a:cxn ang="0">
                    <a:pos x="2" y="8"/>
                  </a:cxn>
                  <a:cxn ang="0">
                    <a:pos x="0" y="18"/>
                  </a:cxn>
                  <a:cxn ang="0">
                    <a:pos x="8" y="30"/>
                  </a:cxn>
                </a:cxnLst>
                <a:rect l="0" t="0" r="r" b="b"/>
                <a:pathLst>
                  <a:path w="14" h="30">
                    <a:moveTo>
                      <a:pt x="8" y="30"/>
                    </a:moveTo>
                    <a:lnTo>
                      <a:pt x="14" y="23"/>
                    </a:lnTo>
                    <a:lnTo>
                      <a:pt x="14" y="12"/>
                    </a:lnTo>
                    <a:lnTo>
                      <a:pt x="13" y="5"/>
                    </a:lnTo>
                    <a:lnTo>
                      <a:pt x="4" y="0"/>
                    </a:lnTo>
                    <a:lnTo>
                      <a:pt x="2" y="8"/>
                    </a:lnTo>
                    <a:lnTo>
                      <a:pt x="0" y="18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258" name="Group 178"/>
              <p:cNvGrpSpPr>
                <a:grpSpLocks noChangeAspect="1"/>
              </p:cNvGrpSpPr>
              <p:nvPr/>
            </p:nvGrpSpPr>
            <p:grpSpPr bwMode="gray">
              <a:xfrm>
                <a:off x="2589" y="1903"/>
                <a:ext cx="129" cy="153"/>
                <a:chOff x="2589" y="1903"/>
                <a:chExt cx="129" cy="153"/>
              </a:xfrm>
              <a:grpFill/>
            </p:grpSpPr>
            <p:sp>
              <p:nvSpPr>
                <p:cNvPr id="299" name="Freeform 179"/>
                <p:cNvSpPr>
                  <a:spLocks noChangeAspect="1"/>
                </p:cNvSpPr>
                <p:nvPr/>
              </p:nvSpPr>
              <p:spPr bwMode="gray">
                <a:xfrm>
                  <a:off x="2653" y="2034"/>
                  <a:ext cx="34" cy="22"/>
                </a:xfrm>
                <a:custGeom>
                  <a:avLst/>
                  <a:gdLst/>
                  <a:ahLst/>
                  <a:cxnLst>
                    <a:cxn ang="0">
                      <a:pos x="172" y="0"/>
                    </a:cxn>
                    <a:cxn ang="0">
                      <a:pos x="168" y="1"/>
                    </a:cxn>
                    <a:cxn ang="0">
                      <a:pos x="168" y="2"/>
                    </a:cxn>
                    <a:cxn ang="0">
                      <a:pos x="167" y="12"/>
                    </a:cxn>
                    <a:cxn ang="0">
                      <a:pos x="153" y="34"/>
                    </a:cxn>
                    <a:cxn ang="0">
                      <a:pos x="143" y="60"/>
                    </a:cxn>
                    <a:cxn ang="0">
                      <a:pos x="142" y="66"/>
                    </a:cxn>
                    <a:cxn ang="0">
                      <a:pos x="146" y="70"/>
                    </a:cxn>
                    <a:cxn ang="0">
                      <a:pos x="147" y="75"/>
                    </a:cxn>
                    <a:cxn ang="0">
                      <a:pos x="152" y="87"/>
                    </a:cxn>
                    <a:cxn ang="0">
                      <a:pos x="146" y="103"/>
                    </a:cxn>
                    <a:cxn ang="0">
                      <a:pos x="145" y="110"/>
                    </a:cxn>
                    <a:cxn ang="0">
                      <a:pos x="130" y="110"/>
                    </a:cxn>
                    <a:cxn ang="0">
                      <a:pos x="118" y="108"/>
                    </a:cxn>
                    <a:cxn ang="0">
                      <a:pos x="108" y="98"/>
                    </a:cxn>
                    <a:cxn ang="0">
                      <a:pos x="99" y="88"/>
                    </a:cxn>
                    <a:cxn ang="0">
                      <a:pos x="84" y="83"/>
                    </a:cxn>
                    <a:cxn ang="0">
                      <a:pos x="76" y="82"/>
                    </a:cxn>
                    <a:cxn ang="0">
                      <a:pos x="67" y="79"/>
                    </a:cxn>
                    <a:cxn ang="0">
                      <a:pos x="61" y="71"/>
                    </a:cxn>
                    <a:cxn ang="0">
                      <a:pos x="49" y="66"/>
                    </a:cxn>
                    <a:cxn ang="0">
                      <a:pos x="37" y="56"/>
                    </a:cxn>
                    <a:cxn ang="0">
                      <a:pos x="25" y="51"/>
                    </a:cxn>
                    <a:cxn ang="0">
                      <a:pos x="8" y="48"/>
                    </a:cxn>
                    <a:cxn ang="0">
                      <a:pos x="2" y="40"/>
                    </a:cxn>
                    <a:cxn ang="0">
                      <a:pos x="0" y="26"/>
                    </a:cxn>
                    <a:cxn ang="0">
                      <a:pos x="1" y="18"/>
                    </a:cxn>
                    <a:cxn ang="0">
                      <a:pos x="3" y="15"/>
                    </a:cxn>
                    <a:cxn ang="0">
                      <a:pos x="6" y="10"/>
                    </a:cxn>
                    <a:cxn ang="0">
                      <a:pos x="9" y="8"/>
                    </a:cxn>
                    <a:cxn ang="0">
                      <a:pos x="19" y="15"/>
                    </a:cxn>
                    <a:cxn ang="0">
                      <a:pos x="25" y="15"/>
                    </a:cxn>
                    <a:cxn ang="0">
                      <a:pos x="41" y="5"/>
                    </a:cxn>
                    <a:cxn ang="0">
                      <a:pos x="62" y="15"/>
                    </a:cxn>
                    <a:cxn ang="0">
                      <a:pos x="66" y="22"/>
                    </a:cxn>
                    <a:cxn ang="0">
                      <a:pos x="73" y="22"/>
                    </a:cxn>
                    <a:cxn ang="0">
                      <a:pos x="80" y="20"/>
                    </a:cxn>
                    <a:cxn ang="0">
                      <a:pos x="110" y="16"/>
                    </a:cxn>
                    <a:cxn ang="0">
                      <a:pos x="119" y="13"/>
                    </a:cxn>
                    <a:cxn ang="0">
                      <a:pos x="127" y="8"/>
                    </a:cxn>
                    <a:cxn ang="0">
                      <a:pos x="146" y="8"/>
                    </a:cxn>
                    <a:cxn ang="0">
                      <a:pos x="152" y="4"/>
                    </a:cxn>
                    <a:cxn ang="0">
                      <a:pos x="163" y="2"/>
                    </a:cxn>
                    <a:cxn ang="0">
                      <a:pos x="172" y="0"/>
                    </a:cxn>
                  </a:cxnLst>
                  <a:rect l="0" t="0" r="r" b="b"/>
                  <a:pathLst>
                    <a:path w="172" h="110">
                      <a:moveTo>
                        <a:pt x="172" y="0"/>
                      </a:moveTo>
                      <a:lnTo>
                        <a:pt x="168" y="1"/>
                      </a:lnTo>
                      <a:lnTo>
                        <a:pt x="168" y="2"/>
                      </a:lnTo>
                      <a:lnTo>
                        <a:pt x="167" y="12"/>
                      </a:lnTo>
                      <a:lnTo>
                        <a:pt x="153" y="34"/>
                      </a:lnTo>
                      <a:lnTo>
                        <a:pt x="143" y="60"/>
                      </a:lnTo>
                      <a:lnTo>
                        <a:pt x="142" y="66"/>
                      </a:lnTo>
                      <a:lnTo>
                        <a:pt x="146" y="70"/>
                      </a:lnTo>
                      <a:lnTo>
                        <a:pt x="147" y="75"/>
                      </a:lnTo>
                      <a:lnTo>
                        <a:pt x="152" y="87"/>
                      </a:lnTo>
                      <a:lnTo>
                        <a:pt x="146" y="103"/>
                      </a:lnTo>
                      <a:lnTo>
                        <a:pt x="145" y="110"/>
                      </a:lnTo>
                      <a:lnTo>
                        <a:pt x="130" y="110"/>
                      </a:lnTo>
                      <a:lnTo>
                        <a:pt x="118" y="108"/>
                      </a:lnTo>
                      <a:lnTo>
                        <a:pt x="108" y="98"/>
                      </a:lnTo>
                      <a:lnTo>
                        <a:pt x="99" y="88"/>
                      </a:lnTo>
                      <a:lnTo>
                        <a:pt x="84" y="83"/>
                      </a:lnTo>
                      <a:lnTo>
                        <a:pt x="76" y="82"/>
                      </a:lnTo>
                      <a:lnTo>
                        <a:pt x="67" y="79"/>
                      </a:lnTo>
                      <a:lnTo>
                        <a:pt x="61" y="71"/>
                      </a:lnTo>
                      <a:lnTo>
                        <a:pt x="49" y="66"/>
                      </a:lnTo>
                      <a:lnTo>
                        <a:pt x="37" y="56"/>
                      </a:lnTo>
                      <a:lnTo>
                        <a:pt x="25" y="51"/>
                      </a:lnTo>
                      <a:lnTo>
                        <a:pt x="8" y="48"/>
                      </a:lnTo>
                      <a:lnTo>
                        <a:pt x="2" y="40"/>
                      </a:lnTo>
                      <a:lnTo>
                        <a:pt x="0" y="26"/>
                      </a:lnTo>
                      <a:lnTo>
                        <a:pt x="1" y="18"/>
                      </a:lnTo>
                      <a:lnTo>
                        <a:pt x="3" y="15"/>
                      </a:lnTo>
                      <a:lnTo>
                        <a:pt x="6" y="10"/>
                      </a:lnTo>
                      <a:lnTo>
                        <a:pt x="9" y="8"/>
                      </a:lnTo>
                      <a:lnTo>
                        <a:pt x="19" y="15"/>
                      </a:lnTo>
                      <a:lnTo>
                        <a:pt x="25" y="15"/>
                      </a:lnTo>
                      <a:lnTo>
                        <a:pt x="41" y="5"/>
                      </a:lnTo>
                      <a:lnTo>
                        <a:pt x="62" y="15"/>
                      </a:lnTo>
                      <a:lnTo>
                        <a:pt x="66" y="22"/>
                      </a:lnTo>
                      <a:lnTo>
                        <a:pt x="73" y="22"/>
                      </a:lnTo>
                      <a:lnTo>
                        <a:pt x="80" y="20"/>
                      </a:lnTo>
                      <a:lnTo>
                        <a:pt x="110" y="16"/>
                      </a:lnTo>
                      <a:lnTo>
                        <a:pt x="119" y="13"/>
                      </a:lnTo>
                      <a:lnTo>
                        <a:pt x="127" y="8"/>
                      </a:lnTo>
                      <a:lnTo>
                        <a:pt x="146" y="8"/>
                      </a:lnTo>
                      <a:lnTo>
                        <a:pt x="152" y="4"/>
                      </a:lnTo>
                      <a:lnTo>
                        <a:pt x="163" y="2"/>
                      </a:lnTo>
                      <a:lnTo>
                        <a:pt x="172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00" name="Freeform 180"/>
                <p:cNvSpPr>
                  <a:spLocks noChangeAspect="1"/>
                </p:cNvSpPr>
                <p:nvPr/>
              </p:nvSpPr>
              <p:spPr bwMode="gray">
                <a:xfrm>
                  <a:off x="2606" y="1991"/>
                  <a:ext cx="16" cy="35"/>
                </a:xfrm>
                <a:custGeom>
                  <a:avLst/>
                  <a:gdLst/>
                  <a:ahLst/>
                  <a:cxnLst>
                    <a:cxn ang="0">
                      <a:pos x="50" y="0"/>
                    </a:cxn>
                    <a:cxn ang="0">
                      <a:pos x="63" y="5"/>
                    </a:cxn>
                    <a:cxn ang="0">
                      <a:pos x="64" y="8"/>
                    </a:cxn>
                    <a:cxn ang="0">
                      <a:pos x="70" y="12"/>
                    </a:cxn>
                    <a:cxn ang="0">
                      <a:pos x="75" y="24"/>
                    </a:cxn>
                    <a:cxn ang="0">
                      <a:pos x="81" y="43"/>
                    </a:cxn>
                    <a:cxn ang="0">
                      <a:pos x="82" y="63"/>
                    </a:cxn>
                    <a:cxn ang="0">
                      <a:pos x="80" y="79"/>
                    </a:cxn>
                    <a:cxn ang="0">
                      <a:pos x="81" y="111"/>
                    </a:cxn>
                    <a:cxn ang="0">
                      <a:pos x="80" y="138"/>
                    </a:cxn>
                    <a:cxn ang="0">
                      <a:pos x="76" y="144"/>
                    </a:cxn>
                    <a:cxn ang="0">
                      <a:pos x="76" y="149"/>
                    </a:cxn>
                    <a:cxn ang="0">
                      <a:pos x="70" y="154"/>
                    </a:cxn>
                    <a:cxn ang="0">
                      <a:pos x="57" y="150"/>
                    </a:cxn>
                    <a:cxn ang="0">
                      <a:pos x="52" y="155"/>
                    </a:cxn>
                    <a:cxn ang="0">
                      <a:pos x="47" y="165"/>
                    </a:cxn>
                    <a:cxn ang="0">
                      <a:pos x="41" y="171"/>
                    </a:cxn>
                    <a:cxn ang="0">
                      <a:pos x="31" y="173"/>
                    </a:cxn>
                    <a:cxn ang="0">
                      <a:pos x="26" y="168"/>
                    </a:cxn>
                    <a:cxn ang="0">
                      <a:pos x="15" y="152"/>
                    </a:cxn>
                    <a:cxn ang="0">
                      <a:pos x="14" y="144"/>
                    </a:cxn>
                    <a:cxn ang="0">
                      <a:pos x="14" y="139"/>
                    </a:cxn>
                    <a:cxn ang="0">
                      <a:pos x="11" y="130"/>
                    </a:cxn>
                    <a:cxn ang="0">
                      <a:pos x="14" y="109"/>
                    </a:cxn>
                    <a:cxn ang="0">
                      <a:pos x="17" y="106"/>
                    </a:cxn>
                    <a:cxn ang="0">
                      <a:pos x="18" y="101"/>
                    </a:cxn>
                    <a:cxn ang="0">
                      <a:pos x="16" y="97"/>
                    </a:cxn>
                    <a:cxn ang="0">
                      <a:pos x="14" y="89"/>
                    </a:cxn>
                    <a:cxn ang="0">
                      <a:pos x="15" y="80"/>
                    </a:cxn>
                    <a:cxn ang="0">
                      <a:pos x="15" y="70"/>
                    </a:cxn>
                    <a:cxn ang="0">
                      <a:pos x="12" y="63"/>
                    </a:cxn>
                    <a:cxn ang="0">
                      <a:pos x="10" y="54"/>
                    </a:cxn>
                    <a:cxn ang="0">
                      <a:pos x="7" y="53"/>
                    </a:cxn>
                    <a:cxn ang="0">
                      <a:pos x="4" y="53"/>
                    </a:cxn>
                    <a:cxn ang="0">
                      <a:pos x="0" y="47"/>
                    </a:cxn>
                    <a:cxn ang="0">
                      <a:pos x="0" y="26"/>
                    </a:cxn>
                    <a:cxn ang="0">
                      <a:pos x="1" y="25"/>
                    </a:cxn>
                    <a:cxn ang="0">
                      <a:pos x="10" y="33"/>
                    </a:cxn>
                    <a:cxn ang="0">
                      <a:pos x="20" y="32"/>
                    </a:cxn>
                    <a:cxn ang="0">
                      <a:pos x="39" y="12"/>
                    </a:cxn>
                    <a:cxn ang="0">
                      <a:pos x="45" y="1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82" h="173">
                      <a:moveTo>
                        <a:pt x="50" y="0"/>
                      </a:moveTo>
                      <a:lnTo>
                        <a:pt x="63" y="5"/>
                      </a:lnTo>
                      <a:lnTo>
                        <a:pt x="64" y="8"/>
                      </a:lnTo>
                      <a:lnTo>
                        <a:pt x="70" y="12"/>
                      </a:lnTo>
                      <a:lnTo>
                        <a:pt x="75" y="24"/>
                      </a:lnTo>
                      <a:lnTo>
                        <a:pt x="81" y="43"/>
                      </a:lnTo>
                      <a:lnTo>
                        <a:pt x="82" y="63"/>
                      </a:lnTo>
                      <a:lnTo>
                        <a:pt x="80" y="79"/>
                      </a:lnTo>
                      <a:lnTo>
                        <a:pt x="81" y="111"/>
                      </a:lnTo>
                      <a:lnTo>
                        <a:pt x="80" y="138"/>
                      </a:lnTo>
                      <a:lnTo>
                        <a:pt x="76" y="144"/>
                      </a:lnTo>
                      <a:lnTo>
                        <a:pt x="76" y="149"/>
                      </a:lnTo>
                      <a:lnTo>
                        <a:pt x="70" y="154"/>
                      </a:lnTo>
                      <a:lnTo>
                        <a:pt x="57" y="150"/>
                      </a:lnTo>
                      <a:lnTo>
                        <a:pt x="52" y="155"/>
                      </a:lnTo>
                      <a:lnTo>
                        <a:pt x="47" y="165"/>
                      </a:lnTo>
                      <a:lnTo>
                        <a:pt x="41" y="171"/>
                      </a:lnTo>
                      <a:lnTo>
                        <a:pt x="31" y="173"/>
                      </a:lnTo>
                      <a:lnTo>
                        <a:pt x="26" y="168"/>
                      </a:lnTo>
                      <a:lnTo>
                        <a:pt x="15" y="152"/>
                      </a:lnTo>
                      <a:lnTo>
                        <a:pt x="14" y="144"/>
                      </a:lnTo>
                      <a:lnTo>
                        <a:pt x="14" y="139"/>
                      </a:lnTo>
                      <a:lnTo>
                        <a:pt x="11" y="130"/>
                      </a:lnTo>
                      <a:lnTo>
                        <a:pt x="14" y="109"/>
                      </a:lnTo>
                      <a:lnTo>
                        <a:pt x="17" y="106"/>
                      </a:lnTo>
                      <a:lnTo>
                        <a:pt x="18" y="101"/>
                      </a:lnTo>
                      <a:lnTo>
                        <a:pt x="16" y="97"/>
                      </a:lnTo>
                      <a:lnTo>
                        <a:pt x="14" y="89"/>
                      </a:lnTo>
                      <a:lnTo>
                        <a:pt x="15" y="80"/>
                      </a:lnTo>
                      <a:lnTo>
                        <a:pt x="15" y="70"/>
                      </a:lnTo>
                      <a:lnTo>
                        <a:pt x="12" y="63"/>
                      </a:lnTo>
                      <a:lnTo>
                        <a:pt x="10" y="54"/>
                      </a:lnTo>
                      <a:lnTo>
                        <a:pt x="7" y="53"/>
                      </a:lnTo>
                      <a:lnTo>
                        <a:pt x="4" y="53"/>
                      </a:lnTo>
                      <a:lnTo>
                        <a:pt x="0" y="47"/>
                      </a:lnTo>
                      <a:lnTo>
                        <a:pt x="0" y="26"/>
                      </a:lnTo>
                      <a:lnTo>
                        <a:pt x="1" y="25"/>
                      </a:lnTo>
                      <a:lnTo>
                        <a:pt x="10" y="33"/>
                      </a:lnTo>
                      <a:lnTo>
                        <a:pt x="20" y="32"/>
                      </a:lnTo>
                      <a:lnTo>
                        <a:pt x="39" y="12"/>
                      </a:lnTo>
                      <a:lnTo>
                        <a:pt x="45" y="10"/>
                      </a:lnTo>
                      <a:lnTo>
                        <a:pt x="50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301" name="Freeform 181"/>
                <p:cNvSpPr>
                  <a:spLocks noChangeAspect="1"/>
                </p:cNvSpPr>
                <p:nvPr/>
              </p:nvSpPr>
              <p:spPr bwMode="gray">
                <a:xfrm>
                  <a:off x="2589" y="1903"/>
                  <a:ext cx="129" cy="136"/>
                </a:xfrm>
                <a:custGeom>
                  <a:avLst/>
                  <a:gdLst/>
                  <a:ahLst/>
                  <a:cxnLst>
                    <a:cxn ang="0">
                      <a:pos x="195" y="38"/>
                    </a:cxn>
                    <a:cxn ang="0">
                      <a:pos x="186" y="59"/>
                    </a:cxn>
                    <a:cxn ang="0">
                      <a:pos x="147" y="53"/>
                    </a:cxn>
                    <a:cxn ang="0">
                      <a:pos x="125" y="89"/>
                    </a:cxn>
                    <a:cxn ang="0">
                      <a:pos x="98" y="73"/>
                    </a:cxn>
                    <a:cxn ang="0">
                      <a:pos x="75" y="76"/>
                    </a:cxn>
                    <a:cxn ang="0">
                      <a:pos x="23" y="96"/>
                    </a:cxn>
                    <a:cxn ang="0">
                      <a:pos x="5" y="107"/>
                    </a:cxn>
                    <a:cxn ang="0">
                      <a:pos x="2" y="156"/>
                    </a:cxn>
                    <a:cxn ang="0">
                      <a:pos x="11" y="177"/>
                    </a:cxn>
                    <a:cxn ang="0">
                      <a:pos x="13" y="216"/>
                    </a:cxn>
                    <a:cxn ang="0">
                      <a:pos x="48" y="245"/>
                    </a:cxn>
                    <a:cxn ang="0">
                      <a:pos x="64" y="254"/>
                    </a:cxn>
                    <a:cxn ang="0">
                      <a:pos x="94" y="224"/>
                    </a:cxn>
                    <a:cxn ang="0">
                      <a:pos x="132" y="213"/>
                    </a:cxn>
                    <a:cxn ang="0">
                      <a:pos x="195" y="259"/>
                    </a:cxn>
                    <a:cxn ang="0">
                      <a:pos x="231" y="333"/>
                    </a:cxn>
                    <a:cxn ang="0">
                      <a:pos x="259" y="358"/>
                    </a:cxn>
                    <a:cxn ang="0">
                      <a:pos x="309" y="410"/>
                    </a:cxn>
                    <a:cxn ang="0">
                      <a:pos x="379" y="444"/>
                    </a:cxn>
                    <a:cxn ang="0">
                      <a:pos x="421" y="479"/>
                    </a:cxn>
                    <a:cxn ang="0">
                      <a:pos x="444" y="488"/>
                    </a:cxn>
                    <a:cxn ang="0">
                      <a:pos x="455" y="520"/>
                    </a:cxn>
                    <a:cxn ang="0">
                      <a:pos x="483" y="527"/>
                    </a:cxn>
                    <a:cxn ang="0">
                      <a:pos x="498" y="559"/>
                    </a:cxn>
                    <a:cxn ang="0">
                      <a:pos x="507" y="624"/>
                    </a:cxn>
                    <a:cxn ang="0">
                      <a:pos x="492" y="661"/>
                    </a:cxn>
                    <a:cxn ang="0">
                      <a:pos x="496" y="681"/>
                    </a:cxn>
                    <a:cxn ang="0">
                      <a:pos x="522" y="661"/>
                    </a:cxn>
                    <a:cxn ang="0">
                      <a:pos x="540" y="643"/>
                    </a:cxn>
                    <a:cxn ang="0">
                      <a:pos x="562" y="607"/>
                    </a:cxn>
                    <a:cxn ang="0">
                      <a:pos x="568" y="585"/>
                    </a:cxn>
                    <a:cxn ang="0">
                      <a:pos x="549" y="558"/>
                    </a:cxn>
                    <a:cxn ang="0">
                      <a:pos x="551" y="511"/>
                    </a:cxn>
                    <a:cxn ang="0">
                      <a:pos x="604" y="512"/>
                    </a:cxn>
                    <a:cxn ang="0">
                      <a:pos x="637" y="546"/>
                    </a:cxn>
                    <a:cxn ang="0">
                      <a:pos x="636" y="511"/>
                    </a:cxn>
                    <a:cxn ang="0">
                      <a:pos x="572" y="460"/>
                    </a:cxn>
                    <a:cxn ang="0">
                      <a:pos x="510" y="430"/>
                    </a:cxn>
                    <a:cxn ang="0">
                      <a:pos x="508" y="414"/>
                    </a:cxn>
                    <a:cxn ang="0">
                      <a:pos x="500" y="392"/>
                    </a:cxn>
                    <a:cxn ang="0">
                      <a:pos x="465" y="394"/>
                    </a:cxn>
                    <a:cxn ang="0">
                      <a:pos x="437" y="382"/>
                    </a:cxn>
                    <a:cxn ang="0">
                      <a:pos x="405" y="345"/>
                    </a:cxn>
                    <a:cxn ang="0">
                      <a:pos x="382" y="285"/>
                    </a:cxn>
                    <a:cxn ang="0">
                      <a:pos x="362" y="263"/>
                    </a:cxn>
                    <a:cxn ang="0">
                      <a:pos x="314" y="230"/>
                    </a:cxn>
                    <a:cxn ang="0">
                      <a:pos x="308" y="177"/>
                    </a:cxn>
                    <a:cxn ang="0">
                      <a:pos x="304" y="156"/>
                    </a:cxn>
                    <a:cxn ang="0">
                      <a:pos x="318" y="126"/>
                    </a:cxn>
                    <a:cxn ang="0">
                      <a:pos x="366" y="111"/>
                    </a:cxn>
                    <a:cxn ang="0">
                      <a:pos x="379" y="121"/>
                    </a:cxn>
                    <a:cxn ang="0">
                      <a:pos x="393" y="119"/>
                    </a:cxn>
                    <a:cxn ang="0">
                      <a:pos x="385" y="105"/>
                    </a:cxn>
                    <a:cxn ang="0">
                      <a:pos x="371" y="84"/>
                    </a:cxn>
                    <a:cxn ang="0">
                      <a:pos x="367" y="69"/>
                    </a:cxn>
                    <a:cxn ang="0">
                      <a:pos x="372" y="47"/>
                    </a:cxn>
                    <a:cxn ang="0">
                      <a:pos x="313" y="31"/>
                    </a:cxn>
                    <a:cxn ang="0">
                      <a:pos x="296" y="3"/>
                    </a:cxn>
                    <a:cxn ang="0">
                      <a:pos x="272" y="8"/>
                    </a:cxn>
                    <a:cxn ang="0">
                      <a:pos x="215" y="22"/>
                    </a:cxn>
                  </a:cxnLst>
                  <a:rect l="0" t="0" r="r" b="b"/>
                  <a:pathLst>
                    <a:path w="645" h="681">
                      <a:moveTo>
                        <a:pt x="201" y="17"/>
                      </a:moveTo>
                      <a:lnTo>
                        <a:pt x="199" y="28"/>
                      </a:lnTo>
                      <a:lnTo>
                        <a:pt x="199" y="36"/>
                      </a:lnTo>
                      <a:lnTo>
                        <a:pt x="195" y="38"/>
                      </a:lnTo>
                      <a:lnTo>
                        <a:pt x="184" y="40"/>
                      </a:lnTo>
                      <a:lnTo>
                        <a:pt x="183" y="46"/>
                      </a:lnTo>
                      <a:lnTo>
                        <a:pt x="184" y="53"/>
                      </a:lnTo>
                      <a:lnTo>
                        <a:pt x="186" y="59"/>
                      </a:lnTo>
                      <a:lnTo>
                        <a:pt x="185" y="63"/>
                      </a:lnTo>
                      <a:lnTo>
                        <a:pt x="164" y="59"/>
                      </a:lnTo>
                      <a:lnTo>
                        <a:pt x="153" y="58"/>
                      </a:lnTo>
                      <a:lnTo>
                        <a:pt x="147" y="53"/>
                      </a:lnTo>
                      <a:lnTo>
                        <a:pt x="140" y="49"/>
                      </a:lnTo>
                      <a:lnTo>
                        <a:pt x="137" y="60"/>
                      </a:lnTo>
                      <a:lnTo>
                        <a:pt x="126" y="79"/>
                      </a:lnTo>
                      <a:lnTo>
                        <a:pt x="125" y="89"/>
                      </a:lnTo>
                      <a:lnTo>
                        <a:pt x="123" y="94"/>
                      </a:lnTo>
                      <a:lnTo>
                        <a:pt x="115" y="89"/>
                      </a:lnTo>
                      <a:lnTo>
                        <a:pt x="109" y="81"/>
                      </a:lnTo>
                      <a:lnTo>
                        <a:pt x="98" y="73"/>
                      </a:lnTo>
                      <a:lnTo>
                        <a:pt x="92" y="53"/>
                      </a:lnTo>
                      <a:lnTo>
                        <a:pt x="81" y="59"/>
                      </a:lnTo>
                      <a:lnTo>
                        <a:pt x="75" y="68"/>
                      </a:lnTo>
                      <a:lnTo>
                        <a:pt x="75" y="76"/>
                      </a:lnTo>
                      <a:lnTo>
                        <a:pt x="71" y="81"/>
                      </a:lnTo>
                      <a:lnTo>
                        <a:pt x="60" y="90"/>
                      </a:lnTo>
                      <a:lnTo>
                        <a:pt x="48" y="90"/>
                      </a:lnTo>
                      <a:lnTo>
                        <a:pt x="23" y="96"/>
                      </a:lnTo>
                      <a:lnTo>
                        <a:pt x="14" y="96"/>
                      </a:lnTo>
                      <a:lnTo>
                        <a:pt x="5" y="97"/>
                      </a:lnTo>
                      <a:lnTo>
                        <a:pt x="3" y="102"/>
                      </a:lnTo>
                      <a:lnTo>
                        <a:pt x="5" y="107"/>
                      </a:lnTo>
                      <a:lnTo>
                        <a:pt x="16" y="133"/>
                      </a:lnTo>
                      <a:lnTo>
                        <a:pt x="18" y="143"/>
                      </a:lnTo>
                      <a:lnTo>
                        <a:pt x="7" y="150"/>
                      </a:lnTo>
                      <a:lnTo>
                        <a:pt x="2" y="156"/>
                      </a:lnTo>
                      <a:lnTo>
                        <a:pt x="0" y="165"/>
                      </a:lnTo>
                      <a:lnTo>
                        <a:pt x="1" y="170"/>
                      </a:lnTo>
                      <a:lnTo>
                        <a:pt x="2" y="175"/>
                      </a:lnTo>
                      <a:lnTo>
                        <a:pt x="11" y="177"/>
                      </a:lnTo>
                      <a:lnTo>
                        <a:pt x="12" y="186"/>
                      </a:lnTo>
                      <a:lnTo>
                        <a:pt x="10" y="194"/>
                      </a:lnTo>
                      <a:lnTo>
                        <a:pt x="11" y="205"/>
                      </a:lnTo>
                      <a:lnTo>
                        <a:pt x="13" y="216"/>
                      </a:lnTo>
                      <a:lnTo>
                        <a:pt x="19" y="225"/>
                      </a:lnTo>
                      <a:lnTo>
                        <a:pt x="44" y="227"/>
                      </a:lnTo>
                      <a:lnTo>
                        <a:pt x="48" y="236"/>
                      </a:lnTo>
                      <a:lnTo>
                        <a:pt x="48" y="245"/>
                      </a:lnTo>
                      <a:lnTo>
                        <a:pt x="45" y="251"/>
                      </a:lnTo>
                      <a:lnTo>
                        <a:pt x="46" y="254"/>
                      </a:lnTo>
                      <a:lnTo>
                        <a:pt x="54" y="254"/>
                      </a:lnTo>
                      <a:lnTo>
                        <a:pt x="64" y="254"/>
                      </a:lnTo>
                      <a:lnTo>
                        <a:pt x="80" y="247"/>
                      </a:lnTo>
                      <a:lnTo>
                        <a:pt x="81" y="240"/>
                      </a:lnTo>
                      <a:lnTo>
                        <a:pt x="89" y="226"/>
                      </a:lnTo>
                      <a:lnTo>
                        <a:pt x="94" y="224"/>
                      </a:lnTo>
                      <a:lnTo>
                        <a:pt x="97" y="218"/>
                      </a:lnTo>
                      <a:lnTo>
                        <a:pt x="114" y="210"/>
                      </a:lnTo>
                      <a:lnTo>
                        <a:pt x="123" y="210"/>
                      </a:lnTo>
                      <a:lnTo>
                        <a:pt x="132" y="213"/>
                      </a:lnTo>
                      <a:lnTo>
                        <a:pt x="173" y="236"/>
                      </a:lnTo>
                      <a:lnTo>
                        <a:pt x="190" y="243"/>
                      </a:lnTo>
                      <a:lnTo>
                        <a:pt x="193" y="248"/>
                      </a:lnTo>
                      <a:lnTo>
                        <a:pt x="195" y="259"/>
                      </a:lnTo>
                      <a:lnTo>
                        <a:pt x="207" y="294"/>
                      </a:lnTo>
                      <a:lnTo>
                        <a:pt x="211" y="306"/>
                      </a:lnTo>
                      <a:lnTo>
                        <a:pt x="210" y="313"/>
                      </a:lnTo>
                      <a:lnTo>
                        <a:pt x="231" y="333"/>
                      </a:lnTo>
                      <a:lnTo>
                        <a:pt x="241" y="345"/>
                      </a:lnTo>
                      <a:lnTo>
                        <a:pt x="244" y="361"/>
                      </a:lnTo>
                      <a:lnTo>
                        <a:pt x="252" y="358"/>
                      </a:lnTo>
                      <a:lnTo>
                        <a:pt x="259" y="358"/>
                      </a:lnTo>
                      <a:lnTo>
                        <a:pt x="269" y="365"/>
                      </a:lnTo>
                      <a:lnTo>
                        <a:pt x="282" y="386"/>
                      </a:lnTo>
                      <a:lnTo>
                        <a:pt x="292" y="387"/>
                      </a:lnTo>
                      <a:lnTo>
                        <a:pt x="309" y="410"/>
                      </a:lnTo>
                      <a:lnTo>
                        <a:pt x="323" y="424"/>
                      </a:lnTo>
                      <a:lnTo>
                        <a:pt x="347" y="444"/>
                      </a:lnTo>
                      <a:lnTo>
                        <a:pt x="352" y="442"/>
                      </a:lnTo>
                      <a:lnTo>
                        <a:pt x="379" y="444"/>
                      </a:lnTo>
                      <a:lnTo>
                        <a:pt x="385" y="445"/>
                      </a:lnTo>
                      <a:lnTo>
                        <a:pt x="400" y="462"/>
                      </a:lnTo>
                      <a:lnTo>
                        <a:pt x="404" y="472"/>
                      </a:lnTo>
                      <a:lnTo>
                        <a:pt x="421" y="479"/>
                      </a:lnTo>
                      <a:lnTo>
                        <a:pt x="422" y="482"/>
                      </a:lnTo>
                      <a:lnTo>
                        <a:pt x="421" y="490"/>
                      </a:lnTo>
                      <a:lnTo>
                        <a:pt x="440" y="487"/>
                      </a:lnTo>
                      <a:lnTo>
                        <a:pt x="444" y="488"/>
                      </a:lnTo>
                      <a:lnTo>
                        <a:pt x="449" y="494"/>
                      </a:lnTo>
                      <a:lnTo>
                        <a:pt x="453" y="505"/>
                      </a:lnTo>
                      <a:lnTo>
                        <a:pt x="451" y="512"/>
                      </a:lnTo>
                      <a:lnTo>
                        <a:pt x="455" y="520"/>
                      </a:lnTo>
                      <a:lnTo>
                        <a:pt x="467" y="525"/>
                      </a:lnTo>
                      <a:lnTo>
                        <a:pt x="473" y="530"/>
                      </a:lnTo>
                      <a:lnTo>
                        <a:pt x="478" y="537"/>
                      </a:lnTo>
                      <a:lnTo>
                        <a:pt x="483" y="527"/>
                      </a:lnTo>
                      <a:lnTo>
                        <a:pt x="487" y="527"/>
                      </a:lnTo>
                      <a:lnTo>
                        <a:pt x="495" y="539"/>
                      </a:lnTo>
                      <a:lnTo>
                        <a:pt x="495" y="546"/>
                      </a:lnTo>
                      <a:lnTo>
                        <a:pt x="498" y="559"/>
                      </a:lnTo>
                      <a:lnTo>
                        <a:pt x="510" y="578"/>
                      </a:lnTo>
                      <a:lnTo>
                        <a:pt x="513" y="596"/>
                      </a:lnTo>
                      <a:lnTo>
                        <a:pt x="522" y="617"/>
                      </a:lnTo>
                      <a:lnTo>
                        <a:pt x="507" y="624"/>
                      </a:lnTo>
                      <a:lnTo>
                        <a:pt x="500" y="629"/>
                      </a:lnTo>
                      <a:lnTo>
                        <a:pt x="503" y="640"/>
                      </a:lnTo>
                      <a:lnTo>
                        <a:pt x="496" y="651"/>
                      </a:lnTo>
                      <a:lnTo>
                        <a:pt x="492" y="661"/>
                      </a:lnTo>
                      <a:lnTo>
                        <a:pt x="494" y="673"/>
                      </a:lnTo>
                      <a:lnTo>
                        <a:pt x="496" y="681"/>
                      </a:lnTo>
                      <a:lnTo>
                        <a:pt x="496" y="678"/>
                      </a:lnTo>
                      <a:lnTo>
                        <a:pt x="496" y="681"/>
                      </a:lnTo>
                      <a:lnTo>
                        <a:pt x="503" y="681"/>
                      </a:lnTo>
                      <a:lnTo>
                        <a:pt x="511" y="681"/>
                      </a:lnTo>
                      <a:lnTo>
                        <a:pt x="514" y="678"/>
                      </a:lnTo>
                      <a:lnTo>
                        <a:pt x="522" y="661"/>
                      </a:lnTo>
                      <a:lnTo>
                        <a:pt x="525" y="656"/>
                      </a:lnTo>
                      <a:lnTo>
                        <a:pt x="532" y="651"/>
                      </a:lnTo>
                      <a:lnTo>
                        <a:pt x="538" y="649"/>
                      </a:lnTo>
                      <a:lnTo>
                        <a:pt x="540" y="643"/>
                      </a:lnTo>
                      <a:lnTo>
                        <a:pt x="541" y="621"/>
                      </a:lnTo>
                      <a:lnTo>
                        <a:pt x="544" y="616"/>
                      </a:lnTo>
                      <a:lnTo>
                        <a:pt x="553" y="613"/>
                      </a:lnTo>
                      <a:lnTo>
                        <a:pt x="562" y="607"/>
                      </a:lnTo>
                      <a:lnTo>
                        <a:pt x="567" y="607"/>
                      </a:lnTo>
                      <a:lnTo>
                        <a:pt x="570" y="603"/>
                      </a:lnTo>
                      <a:lnTo>
                        <a:pt x="570" y="590"/>
                      </a:lnTo>
                      <a:lnTo>
                        <a:pt x="568" y="585"/>
                      </a:lnTo>
                      <a:lnTo>
                        <a:pt x="567" y="575"/>
                      </a:lnTo>
                      <a:lnTo>
                        <a:pt x="564" y="570"/>
                      </a:lnTo>
                      <a:lnTo>
                        <a:pt x="554" y="564"/>
                      </a:lnTo>
                      <a:lnTo>
                        <a:pt x="549" y="558"/>
                      </a:lnTo>
                      <a:lnTo>
                        <a:pt x="538" y="553"/>
                      </a:lnTo>
                      <a:lnTo>
                        <a:pt x="538" y="543"/>
                      </a:lnTo>
                      <a:lnTo>
                        <a:pt x="543" y="523"/>
                      </a:lnTo>
                      <a:lnTo>
                        <a:pt x="551" y="511"/>
                      </a:lnTo>
                      <a:lnTo>
                        <a:pt x="564" y="499"/>
                      </a:lnTo>
                      <a:lnTo>
                        <a:pt x="575" y="496"/>
                      </a:lnTo>
                      <a:lnTo>
                        <a:pt x="591" y="509"/>
                      </a:lnTo>
                      <a:lnTo>
                        <a:pt x="604" y="512"/>
                      </a:lnTo>
                      <a:lnTo>
                        <a:pt x="615" y="519"/>
                      </a:lnTo>
                      <a:lnTo>
                        <a:pt x="619" y="527"/>
                      </a:lnTo>
                      <a:lnTo>
                        <a:pt x="626" y="539"/>
                      </a:lnTo>
                      <a:lnTo>
                        <a:pt x="637" y="546"/>
                      </a:lnTo>
                      <a:lnTo>
                        <a:pt x="637" y="543"/>
                      </a:lnTo>
                      <a:lnTo>
                        <a:pt x="645" y="527"/>
                      </a:lnTo>
                      <a:lnTo>
                        <a:pt x="642" y="520"/>
                      </a:lnTo>
                      <a:lnTo>
                        <a:pt x="636" y="511"/>
                      </a:lnTo>
                      <a:lnTo>
                        <a:pt x="626" y="500"/>
                      </a:lnTo>
                      <a:lnTo>
                        <a:pt x="615" y="482"/>
                      </a:lnTo>
                      <a:lnTo>
                        <a:pt x="580" y="468"/>
                      </a:lnTo>
                      <a:lnTo>
                        <a:pt x="572" y="460"/>
                      </a:lnTo>
                      <a:lnTo>
                        <a:pt x="560" y="452"/>
                      </a:lnTo>
                      <a:lnTo>
                        <a:pt x="524" y="437"/>
                      </a:lnTo>
                      <a:lnTo>
                        <a:pt x="516" y="433"/>
                      </a:lnTo>
                      <a:lnTo>
                        <a:pt x="510" y="430"/>
                      </a:lnTo>
                      <a:lnTo>
                        <a:pt x="506" y="430"/>
                      </a:lnTo>
                      <a:lnTo>
                        <a:pt x="502" y="426"/>
                      </a:lnTo>
                      <a:lnTo>
                        <a:pt x="502" y="420"/>
                      </a:lnTo>
                      <a:lnTo>
                        <a:pt x="508" y="414"/>
                      </a:lnTo>
                      <a:lnTo>
                        <a:pt x="516" y="409"/>
                      </a:lnTo>
                      <a:lnTo>
                        <a:pt x="517" y="401"/>
                      </a:lnTo>
                      <a:lnTo>
                        <a:pt x="511" y="392"/>
                      </a:lnTo>
                      <a:lnTo>
                        <a:pt x="500" y="392"/>
                      </a:lnTo>
                      <a:lnTo>
                        <a:pt x="496" y="394"/>
                      </a:lnTo>
                      <a:lnTo>
                        <a:pt x="503" y="392"/>
                      </a:lnTo>
                      <a:lnTo>
                        <a:pt x="496" y="394"/>
                      </a:lnTo>
                      <a:lnTo>
                        <a:pt x="465" y="394"/>
                      </a:lnTo>
                      <a:lnTo>
                        <a:pt x="465" y="403"/>
                      </a:lnTo>
                      <a:lnTo>
                        <a:pt x="453" y="390"/>
                      </a:lnTo>
                      <a:lnTo>
                        <a:pt x="442" y="382"/>
                      </a:lnTo>
                      <a:lnTo>
                        <a:pt x="437" y="382"/>
                      </a:lnTo>
                      <a:lnTo>
                        <a:pt x="435" y="374"/>
                      </a:lnTo>
                      <a:lnTo>
                        <a:pt x="431" y="374"/>
                      </a:lnTo>
                      <a:lnTo>
                        <a:pt x="410" y="354"/>
                      </a:lnTo>
                      <a:lnTo>
                        <a:pt x="405" y="345"/>
                      </a:lnTo>
                      <a:lnTo>
                        <a:pt x="398" y="332"/>
                      </a:lnTo>
                      <a:lnTo>
                        <a:pt x="392" y="313"/>
                      </a:lnTo>
                      <a:lnTo>
                        <a:pt x="388" y="309"/>
                      </a:lnTo>
                      <a:lnTo>
                        <a:pt x="382" y="285"/>
                      </a:lnTo>
                      <a:lnTo>
                        <a:pt x="374" y="270"/>
                      </a:lnTo>
                      <a:lnTo>
                        <a:pt x="369" y="267"/>
                      </a:lnTo>
                      <a:lnTo>
                        <a:pt x="363" y="267"/>
                      </a:lnTo>
                      <a:lnTo>
                        <a:pt x="362" y="263"/>
                      </a:lnTo>
                      <a:lnTo>
                        <a:pt x="347" y="254"/>
                      </a:lnTo>
                      <a:lnTo>
                        <a:pt x="341" y="247"/>
                      </a:lnTo>
                      <a:lnTo>
                        <a:pt x="320" y="237"/>
                      </a:lnTo>
                      <a:lnTo>
                        <a:pt x="314" y="230"/>
                      </a:lnTo>
                      <a:lnTo>
                        <a:pt x="309" y="220"/>
                      </a:lnTo>
                      <a:lnTo>
                        <a:pt x="306" y="211"/>
                      </a:lnTo>
                      <a:lnTo>
                        <a:pt x="306" y="193"/>
                      </a:lnTo>
                      <a:lnTo>
                        <a:pt x="308" y="177"/>
                      </a:lnTo>
                      <a:lnTo>
                        <a:pt x="313" y="172"/>
                      </a:lnTo>
                      <a:lnTo>
                        <a:pt x="314" y="165"/>
                      </a:lnTo>
                      <a:lnTo>
                        <a:pt x="312" y="159"/>
                      </a:lnTo>
                      <a:lnTo>
                        <a:pt x="304" y="156"/>
                      </a:lnTo>
                      <a:lnTo>
                        <a:pt x="302" y="141"/>
                      </a:lnTo>
                      <a:lnTo>
                        <a:pt x="304" y="134"/>
                      </a:lnTo>
                      <a:lnTo>
                        <a:pt x="314" y="126"/>
                      </a:lnTo>
                      <a:lnTo>
                        <a:pt x="318" y="126"/>
                      </a:lnTo>
                      <a:lnTo>
                        <a:pt x="319" y="127"/>
                      </a:lnTo>
                      <a:lnTo>
                        <a:pt x="324" y="126"/>
                      </a:lnTo>
                      <a:lnTo>
                        <a:pt x="357" y="108"/>
                      </a:lnTo>
                      <a:lnTo>
                        <a:pt x="366" y="111"/>
                      </a:lnTo>
                      <a:lnTo>
                        <a:pt x="376" y="106"/>
                      </a:lnTo>
                      <a:lnTo>
                        <a:pt x="382" y="107"/>
                      </a:lnTo>
                      <a:lnTo>
                        <a:pt x="383" y="113"/>
                      </a:lnTo>
                      <a:lnTo>
                        <a:pt x="379" y="121"/>
                      </a:lnTo>
                      <a:lnTo>
                        <a:pt x="379" y="122"/>
                      </a:lnTo>
                      <a:lnTo>
                        <a:pt x="384" y="123"/>
                      </a:lnTo>
                      <a:lnTo>
                        <a:pt x="389" y="122"/>
                      </a:lnTo>
                      <a:lnTo>
                        <a:pt x="393" y="119"/>
                      </a:lnTo>
                      <a:lnTo>
                        <a:pt x="394" y="114"/>
                      </a:lnTo>
                      <a:lnTo>
                        <a:pt x="392" y="111"/>
                      </a:lnTo>
                      <a:lnTo>
                        <a:pt x="388" y="110"/>
                      </a:lnTo>
                      <a:lnTo>
                        <a:pt x="385" y="105"/>
                      </a:lnTo>
                      <a:lnTo>
                        <a:pt x="378" y="101"/>
                      </a:lnTo>
                      <a:lnTo>
                        <a:pt x="376" y="98"/>
                      </a:lnTo>
                      <a:lnTo>
                        <a:pt x="376" y="90"/>
                      </a:lnTo>
                      <a:lnTo>
                        <a:pt x="371" y="84"/>
                      </a:lnTo>
                      <a:lnTo>
                        <a:pt x="372" y="76"/>
                      </a:lnTo>
                      <a:lnTo>
                        <a:pt x="374" y="69"/>
                      </a:lnTo>
                      <a:lnTo>
                        <a:pt x="369" y="70"/>
                      </a:lnTo>
                      <a:lnTo>
                        <a:pt x="367" y="69"/>
                      </a:lnTo>
                      <a:lnTo>
                        <a:pt x="367" y="64"/>
                      </a:lnTo>
                      <a:lnTo>
                        <a:pt x="369" y="57"/>
                      </a:lnTo>
                      <a:lnTo>
                        <a:pt x="381" y="47"/>
                      </a:lnTo>
                      <a:lnTo>
                        <a:pt x="372" y="47"/>
                      </a:lnTo>
                      <a:lnTo>
                        <a:pt x="358" y="42"/>
                      </a:lnTo>
                      <a:lnTo>
                        <a:pt x="328" y="37"/>
                      </a:lnTo>
                      <a:lnTo>
                        <a:pt x="318" y="31"/>
                      </a:lnTo>
                      <a:lnTo>
                        <a:pt x="313" y="31"/>
                      </a:lnTo>
                      <a:lnTo>
                        <a:pt x="302" y="22"/>
                      </a:lnTo>
                      <a:lnTo>
                        <a:pt x="298" y="15"/>
                      </a:lnTo>
                      <a:lnTo>
                        <a:pt x="296" y="8"/>
                      </a:lnTo>
                      <a:lnTo>
                        <a:pt x="296" y="3"/>
                      </a:lnTo>
                      <a:lnTo>
                        <a:pt x="293" y="0"/>
                      </a:lnTo>
                      <a:lnTo>
                        <a:pt x="287" y="1"/>
                      </a:lnTo>
                      <a:lnTo>
                        <a:pt x="282" y="5"/>
                      </a:lnTo>
                      <a:lnTo>
                        <a:pt x="272" y="8"/>
                      </a:lnTo>
                      <a:lnTo>
                        <a:pt x="254" y="9"/>
                      </a:lnTo>
                      <a:lnTo>
                        <a:pt x="234" y="16"/>
                      </a:lnTo>
                      <a:lnTo>
                        <a:pt x="218" y="21"/>
                      </a:lnTo>
                      <a:lnTo>
                        <a:pt x="215" y="22"/>
                      </a:lnTo>
                      <a:lnTo>
                        <a:pt x="201" y="17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259" name="Freeform 182"/>
              <p:cNvSpPr>
                <a:spLocks noChangeAspect="1"/>
              </p:cNvSpPr>
              <p:nvPr/>
            </p:nvSpPr>
            <p:spPr bwMode="gray">
              <a:xfrm>
                <a:off x="2578" y="1852"/>
                <a:ext cx="7" cy="11"/>
              </a:xfrm>
              <a:custGeom>
                <a:avLst/>
                <a:gdLst/>
                <a:ahLst/>
                <a:cxnLst>
                  <a:cxn ang="0">
                    <a:pos x="21" y="53"/>
                  </a:cxn>
                  <a:cxn ang="0">
                    <a:pos x="33" y="52"/>
                  </a:cxn>
                  <a:cxn ang="0">
                    <a:pos x="38" y="45"/>
                  </a:cxn>
                  <a:cxn ang="0">
                    <a:pos x="37" y="33"/>
                  </a:cxn>
                  <a:cxn ang="0">
                    <a:pos x="33" y="26"/>
                  </a:cxn>
                  <a:cxn ang="0">
                    <a:pos x="28" y="18"/>
                  </a:cxn>
                  <a:cxn ang="0">
                    <a:pos x="28" y="11"/>
                  </a:cxn>
                  <a:cxn ang="0">
                    <a:pos x="30" y="4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7"/>
                  </a:cxn>
                  <a:cxn ang="0">
                    <a:pos x="0" y="20"/>
                  </a:cxn>
                  <a:cxn ang="0">
                    <a:pos x="3" y="33"/>
                  </a:cxn>
                  <a:cxn ang="0">
                    <a:pos x="3" y="48"/>
                  </a:cxn>
                  <a:cxn ang="0">
                    <a:pos x="21" y="53"/>
                  </a:cxn>
                </a:cxnLst>
                <a:rect l="0" t="0" r="r" b="b"/>
                <a:pathLst>
                  <a:path w="38" h="53">
                    <a:moveTo>
                      <a:pt x="21" y="53"/>
                    </a:moveTo>
                    <a:lnTo>
                      <a:pt x="33" y="52"/>
                    </a:lnTo>
                    <a:lnTo>
                      <a:pt x="38" y="45"/>
                    </a:lnTo>
                    <a:lnTo>
                      <a:pt x="37" y="33"/>
                    </a:lnTo>
                    <a:lnTo>
                      <a:pt x="33" y="26"/>
                    </a:lnTo>
                    <a:lnTo>
                      <a:pt x="28" y="18"/>
                    </a:lnTo>
                    <a:lnTo>
                      <a:pt x="28" y="11"/>
                    </a:lnTo>
                    <a:lnTo>
                      <a:pt x="30" y="4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7"/>
                    </a:lnTo>
                    <a:lnTo>
                      <a:pt x="0" y="20"/>
                    </a:lnTo>
                    <a:lnTo>
                      <a:pt x="3" y="33"/>
                    </a:lnTo>
                    <a:lnTo>
                      <a:pt x="3" y="48"/>
                    </a:lnTo>
                    <a:lnTo>
                      <a:pt x="2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0" name="Freeform 183"/>
              <p:cNvSpPr>
                <a:spLocks noChangeAspect="1"/>
              </p:cNvSpPr>
              <p:nvPr/>
            </p:nvSpPr>
            <p:spPr bwMode="gray">
              <a:xfrm>
                <a:off x="2581" y="1894"/>
                <a:ext cx="49" cy="28"/>
              </a:xfrm>
              <a:custGeom>
                <a:avLst/>
                <a:gdLst/>
                <a:ahLst/>
                <a:cxnLst>
                  <a:cxn ang="0">
                    <a:pos x="52" y="131"/>
                  </a:cxn>
                  <a:cxn ang="0">
                    <a:pos x="42" y="119"/>
                  </a:cxn>
                  <a:cxn ang="0">
                    <a:pos x="38" y="100"/>
                  </a:cxn>
                  <a:cxn ang="0">
                    <a:pos x="10" y="117"/>
                  </a:cxn>
                  <a:cxn ang="0">
                    <a:pos x="0" y="119"/>
                  </a:cxn>
                  <a:cxn ang="0">
                    <a:pos x="5" y="84"/>
                  </a:cxn>
                  <a:cxn ang="0">
                    <a:pos x="13" y="74"/>
                  </a:cxn>
                  <a:cxn ang="0">
                    <a:pos x="21" y="67"/>
                  </a:cxn>
                  <a:cxn ang="0">
                    <a:pos x="30" y="49"/>
                  </a:cxn>
                  <a:cxn ang="0">
                    <a:pos x="50" y="18"/>
                  </a:cxn>
                  <a:cxn ang="0">
                    <a:pos x="70" y="13"/>
                  </a:cxn>
                  <a:cxn ang="0">
                    <a:pos x="85" y="3"/>
                  </a:cxn>
                  <a:cxn ang="0">
                    <a:pos x="127" y="6"/>
                  </a:cxn>
                  <a:cxn ang="0">
                    <a:pos x="172" y="6"/>
                  </a:cxn>
                  <a:cxn ang="0">
                    <a:pos x="197" y="22"/>
                  </a:cxn>
                  <a:cxn ang="0">
                    <a:pos x="193" y="40"/>
                  </a:cxn>
                  <a:cxn ang="0">
                    <a:pos x="207" y="57"/>
                  </a:cxn>
                  <a:cxn ang="0">
                    <a:pos x="226" y="63"/>
                  </a:cxn>
                  <a:cxn ang="0">
                    <a:pos x="241" y="63"/>
                  </a:cxn>
                  <a:cxn ang="0">
                    <a:pos x="239" y="82"/>
                  </a:cxn>
                  <a:cxn ang="0">
                    <a:pos x="224" y="86"/>
                  </a:cxn>
                  <a:cxn ang="0">
                    <a:pos x="224" y="99"/>
                  </a:cxn>
                  <a:cxn ang="0">
                    <a:pos x="225" y="109"/>
                  </a:cxn>
                  <a:cxn ang="0">
                    <a:pos x="193" y="104"/>
                  </a:cxn>
                  <a:cxn ang="0">
                    <a:pos x="180" y="95"/>
                  </a:cxn>
                  <a:cxn ang="0">
                    <a:pos x="166" y="126"/>
                  </a:cxn>
                  <a:cxn ang="0">
                    <a:pos x="163" y="140"/>
                  </a:cxn>
                  <a:cxn ang="0">
                    <a:pos x="149" y="127"/>
                  </a:cxn>
                  <a:cxn ang="0">
                    <a:pos x="132" y="99"/>
                  </a:cxn>
                  <a:cxn ang="0">
                    <a:pos x="115" y="114"/>
                  </a:cxn>
                  <a:cxn ang="0">
                    <a:pos x="111" y="127"/>
                  </a:cxn>
                  <a:cxn ang="0">
                    <a:pos x="88" y="136"/>
                  </a:cxn>
                  <a:cxn ang="0">
                    <a:pos x="54" y="142"/>
                  </a:cxn>
                </a:cxnLst>
                <a:rect l="0" t="0" r="r" b="b"/>
                <a:pathLst>
                  <a:path w="241" h="142">
                    <a:moveTo>
                      <a:pt x="54" y="142"/>
                    </a:moveTo>
                    <a:lnTo>
                      <a:pt x="52" y="131"/>
                    </a:lnTo>
                    <a:lnTo>
                      <a:pt x="45" y="130"/>
                    </a:lnTo>
                    <a:lnTo>
                      <a:pt x="42" y="119"/>
                    </a:lnTo>
                    <a:lnTo>
                      <a:pt x="42" y="101"/>
                    </a:lnTo>
                    <a:lnTo>
                      <a:pt x="38" y="100"/>
                    </a:lnTo>
                    <a:lnTo>
                      <a:pt x="21" y="100"/>
                    </a:lnTo>
                    <a:lnTo>
                      <a:pt x="10" y="117"/>
                    </a:lnTo>
                    <a:lnTo>
                      <a:pt x="4" y="121"/>
                    </a:lnTo>
                    <a:lnTo>
                      <a:pt x="0" y="119"/>
                    </a:lnTo>
                    <a:lnTo>
                      <a:pt x="2" y="97"/>
                    </a:lnTo>
                    <a:lnTo>
                      <a:pt x="5" y="84"/>
                    </a:lnTo>
                    <a:lnTo>
                      <a:pt x="9" y="81"/>
                    </a:lnTo>
                    <a:lnTo>
                      <a:pt x="13" y="74"/>
                    </a:lnTo>
                    <a:lnTo>
                      <a:pt x="20" y="70"/>
                    </a:lnTo>
                    <a:lnTo>
                      <a:pt x="21" y="67"/>
                    </a:lnTo>
                    <a:lnTo>
                      <a:pt x="24" y="57"/>
                    </a:lnTo>
                    <a:lnTo>
                      <a:pt x="30" y="49"/>
                    </a:lnTo>
                    <a:lnTo>
                      <a:pt x="53" y="23"/>
                    </a:lnTo>
                    <a:lnTo>
                      <a:pt x="50" y="18"/>
                    </a:lnTo>
                    <a:lnTo>
                      <a:pt x="53" y="11"/>
                    </a:lnTo>
                    <a:lnTo>
                      <a:pt x="70" y="13"/>
                    </a:lnTo>
                    <a:lnTo>
                      <a:pt x="78" y="9"/>
                    </a:lnTo>
                    <a:lnTo>
                      <a:pt x="85" y="3"/>
                    </a:lnTo>
                    <a:lnTo>
                      <a:pt x="91" y="9"/>
                    </a:lnTo>
                    <a:lnTo>
                      <a:pt x="127" y="6"/>
                    </a:lnTo>
                    <a:lnTo>
                      <a:pt x="153" y="0"/>
                    </a:lnTo>
                    <a:lnTo>
                      <a:pt x="172" y="6"/>
                    </a:lnTo>
                    <a:lnTo>
                      <a:pt x="190" y="13"/>
                    </a:lnTo>
                    <a:lnTo>
                      <a:pt x="197" y="22"/>
                    </a:lnTo>
                    <a:lnTo>
                      <a:pt x="195" y="30"/>
                    </a:lnTo>
                    <a:lnTo>
                      <a:pt x="193" y="40"/>
                    </a:lnTo>
                    <a:lnTo>
                      <a:pt x="201" y="52"/>
                    </a:lnTo>
                    <a:lnTo>
                      <a:pt x="207" y="57"/>
                    </a:lnTo>
                    <a:lnTo>
                      <a:pt x="217" y="62"/>
                    </a:lnTo>
                    <a:lnTo>
                      <a:pt x="226" y="63"/>
                    </a:lnTo>
                    <a:lnTo>
                      <a:pt x="234" y="58"/>
                    </a:lnTo>
                    <a:lnTo>
                      <a:pt x="241" y="63"/>
                    </a:lnTo>
                    <a:lnTo>
                      <a:pt x="239" y="74"/>
                    </a:lnTo>
                    <a:lnTo>
                      <a:pt x="239" y="82"/>
                    </a:lnTo>
                    <a:lnTo>
                      <a:pt x="235" y="84"/>
                    </a:lnTo>
                    <a:lnTo>
                      <a:pt x="224" y="86"/>
                    </a:lnTo>
                    <a:lnTo>
                      <a:pt x="223" y="92"/>
                    </a:lnTo>
                    <a:lnTo>
                      <a:pt x="224" y="99"/>
                    </a:lnTo>
                    <a:lnTo>
                      <a:pt x="226" y="105"/>
                    </a:lnTo>
                    <a:lnTo>
                      <a:pt x="225" y="109"/>
                    </a:lnTo>
                    <a:lnTo>
                      <a:pt x="204" y="105"/>
                    </a:lnTo>
                    <a:lnTo>
                      <a:pt x="193" y="104"/>
                    </a:lnTo>
                    <a:lnTo>
                      <a:pt x="187" y="99"/>
                    </a:lnTo>
                    <a:lnTo>
                      <a:pt x="180" y="95"/>
                    </a:lnTo>
                    <a:lnTo>
                      <a:pt x="177" y="106"/>
                    </a:lnTo>
                    <a:lnTo>
                      <a:pt x="166" y="126"/>
                    </a:lnTo>
                    <a:lnTo>
                      <a:pt x="165" y="135"/>
                    </a:lnTo>
                    <a:lnTo>
                      <a:pt x="163" y="140"/>
                    </a:lnTo>
                    <a:lnTo>
                      <a:pt x="155" y="135"/>
                    </a:lnTo>
                    <a:lnTo>
                      <a:pt x="149" y="127"/>
                    </a:lnTo>
                    <a:lnTo>
                      <a:pt x="138" y="119"/>
                    </a:lnTo>
                    <a:lnTo>
                      <a:pt x="132" y="99"/>
                    </a:lnTo>
                    <a:lnTo>
                      <a:pt x="121" y="105"/>
                    </a:lnTo>
                    <a:lnTo>
                      <a:pt x="115" y="114"/>
                    </a:lnTo>
                    <a:lnTo>
                      <a:pt x="115" y="122"/>
                    </a:lnTo>
                    <a:lnTo>
                      <a:pt x="111" y="127"/>
                    </a:lnTo>
                    <a:lnTo>
                      <a:pt x="100" y="136"/>
                    </a:lnTo>
                    <a:lnTo>
                      <a:pt x="88" y="136"/>
                    </a:lnTo>
                    <a:lnTo>
                      <a:pt x="63" y="142"/>
                    </a:lnTo>
                    <a:lnTo>
                      <a:pt x="54" y="14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1" name="Freeform 184"/>
              <p:cNvSpPr>
                <a:spLocks noChangeAspect="1"/>
              </p:cNvSpPr>
              <p:nvPr/>
            </p:nvSpPr>
            <p:spPr bwMode="gray">
              <a:xfrm>
                <a:off x="2547" y="1830"/>
                <a:ext cx="37" cy="32"/>
              </a:xfrm>
              <a:custGeom>
                <a:avLst/>
                <a:gdLst/>
                <a:ahLst/>
                <a:cxnLst>
                  <a:cxn ang="0">
                    <a:pos x="158" y="160"/>
                  </a:cxn>
                  <a:cxn ang="0">
                    <a:pos x="150" y="161"/>
                  </a:cxn>
                  <a:cxn ang="0">
                    <a:pos x="140" y="159"/>
                  </a:cxn>
                  <a:cxn ang="0">
                    <a:pos x="131" y="152"/>
                  </a:cxn>
                  <a:cxn ang="0">
                    <a:pos x="120" y="146"/>
                  </a:cxn>
                  <a:cxn ang="0">
                    <a:pos x="123" y="140"/>
                  </a:cxn>
                  <a:cxn ang="0">
                    <a:pos x="118" y="138"/>
                  </a:cxn>
                  <a:cxn ang="0">
                    <a:pos x="118" y="114"/>
                  </a:cxn>
                  <a:cxn ang="0">
                    <a:pos x="112" y="114"/>
                  </a:cxn>
                  <a:cxn ang="0">
                    <a:pos x="106" y="122"/>
                  </a:cxn>
                  <a:cxn ang="0">
                    <a:pos x="101" y="129"/>
                  </a:cxn>
                  <a:cxn ang="0">
                    <a:pos x="91" y="129"/>
                  </a:cxn>
                  <a:cxn ang="0">
                    <a:pos x="81" y="125"/>
                  </a:cxn>
                  <a:cxn ang="0">
                    <a:pos x="79" y="110"/>
                  </a:cxn>
                  <a:cxn ang="0">
                    <a:pos x="76" y="101"/>
                  </a:cxn>
                  <a:cxn ang="0">
                    <a:pos x="70" y="96"/>
                  </a:cxn>
                  <a:cxn ang="0">
                    <a:pos x="58" y="92"/>
                  </a:cxn>
                  <a:cxn ang="0">
                    <a:pos x="44" y="84"/>
                  </a:cxn>
                  <a:cxn ang="0">
                    <a:pos x="34" y="80"/>
                  </a:cxn>
                  <a:cxn ang="0">
                    <a:pos x="25" y="62"/>
                  </a:cxn>
                  <a:cxn ang="0">
                    <a:pos x="13" y="63"/>
                  </a:cxn>
                  <a:cxn ang="0">
                    <a:pos x="2" y="58"/>
                  </a:cxn>
                  <a:cxn ang="0">
                    <a:pos x="0" y="48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23" y="15"/>
                  </a:cxn>
                  <a:cxn ang="0">
                    <a:pos x="33" y="11"/>
                  </a:cxn>
                  <a:cxn ang="0">
                    <a:pos x="39" y="10"/>
                  </a:cxn>
                  <a:cxn ang="0">
                    <a:pos x="39" y="11"/>
                  </a:cxn>
                  <a:cxn ang="0">
                    <a:pos x="56" y="20"/>
                  </a:cxn>
                  <a:cxn ang="0">
                    <a:pos x="76" y="14"/>
                  </a:cxn>
                  <a:cxn ang="0">
                    <a:pos x="91" y="4"/>
                  </a:cxn>
                  <a:cxn ang="0">
                    <a:pos x="103" y="1"/>
                  </a:cxn>
                  <a:cxn ang="0">
                    <a:pos x="118" y="0"/>
                  </a:cxn>
                  <a:cxn ang="0">
                    <a:pos x="124" y="6"/>
                  </a:cxn>
                  <a:cxn ang="0">
                    <a:pos x="127" y="6"/>
                  </a:cxn>
                  <a:cxn ang="0">
                    <a:pos x="129" y="14"/>
                  </a:cxn>
                  <a:cxn ang="0">
                    <a:pos x="138" y="17"/>
                  </a:cxn>
                  <a:cxn ang="0">
                    <a:pos x="146" y="19"/>
                  </a:cxn>
                  <a:cxn ang="0">
                    <a:pos x="155" y="24"/>
                  </a:cxn>
                  <a:cxn ang="0">
                    <a:pos x="155" y="35"/>
                  </a:cxn>
                  <a:cxn ang="0">
                    <a:pos x="154" y="44"/>
                  </a:cxn>
                  <a:cxn ang="0">
                    <a:pos x="156" y="55"/>
                  </a:cxn>
                  <a:cxn ang="0">
                    <a:pos x="163" y="62"/>
                  </a:cxn>
                  <a:cxn ang="0">
                    <a:pos x="176" y="62"/>
                  </a:cxn>
                  <a:cxn ang="0">
                    <a:pos x="181" y="68"/>
                  </a:cxn>
                  <a:cxn ang="0">
                    <a:pos x="182" y="79"/>
                  </a:cxn>
                  <a:cxn ang="0">
                    <a:pos x="188" y="87"/>
                  </a:cxn>
                  <a:cxn ang="0">
                    <a:pos x="188" y="96"/>
                  </a:cxn>
                  <a:cxn ang="0">
                    <a:pos x="177" y="112"/>
                  </a:cxn>
                  <a:cxn ang="0">
                    <a:pos x="171" y="112"/>
                  </a:cxn>
                  <a:cxn ang="0">
                    <a:pos x="161" y="119"/>
                  </a:cxn>
                  <a:cxn ang="0">
                    <a:pos x="155" y="132"/>
                  </a:cxn>
                  <a:cxn ang="0">
                    <a:pos x="158" y="145"/>
                  </a:cxn>
                  <a:cxn ang="0">
                    <a:pos x="158" y="160"/>
                  </a:cxn>
                </a:cxnLst>
                <a:rect l="0" t="0" r="r" b="b"/>
                <a:pathLst>
                  <a:path w="188" h="161">
                    <a:moveTo>
                      <a:pt x="158" y="160"/>
                    </a:moveTo>
                    <a:lnTo>
                      <a:pt x="150" y="161"/>
                    </a:lnTo>
                    <a:lnTo>
                      <a:pt x="140" y="159"/>
                    </a:lnTo>
                    <a:lnTo>
                      <a:pt x="131" y="152"/>
                    </a:lnTo>
                    <a:lnTo>
                      <a:pt x="120" y="146"/>
                    </a:lnTo>
                    <a:lnTo>
                      <a:pt x="123" y="140"/>
                    </a:lnTo>
                    <a:lnTo>
                      <a:pt x="118" y="138"/>
                    </a:lnTo>
                    <a:lnTo>
                      <a:pt x="118" y="114"/>
                    </a:lnTo>
                    <a:lnTo>
                      <a:pt x="112" y="114"/>
                    </a:lnTo>
                    <a:lnTo>
                      <a:pt x="106" y="122"/>
                    </a:lnTo>
                    <a:lnTo>
                      <a:pt x="101" y="129"/>
                    </a:lnTo>
                    <a:lnTo>
                      <a:pt x="91" y="129"/>
                    </a:lnTo>
                    <a:lnTo>
                      <a:pt x="81" y="125"/>
                    </a:lnTo>
                    <a:lnTo>
                      <a:pt x="79" y="110"/>
                    </a:lnTo>
                    <a:lnTo>
                      <a:pt x="76" y="101"/>
                    </a:lnTo>
                    <a:lnTo>
                      <a:pt x="70" y="96"/>
                    </a:lnTo>
                    <a:lnTo>
                      <a:pt x="58" y="92"/>
                    </a:lnTo>
                    <a:lnTo>
                      <a:pt x="44" y="84"/>
                    </a:lnTo>
                    <a:lnTo>
                      <a:pt x="34" y="80"/>
                    </a:lnTo>
                    <a:lnTo>
                      <a:pt x="25" y="62"/>
                    </a:lnTo>
                    <a:lnTo>
                      <a:pt x="13" y="63"/>
                    </a:lnTo>
                    <a:lnTo>
                      <a:pt x="2" y="58"/>
                    </a:lnTo>
                    <a:lnTo>
                      <a:pt x="0" y="48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23" y="15"/>
                    </a:lnTo>
                    <a:lnTo>
                      <a:pt x="33" y="11"/>
                    </a:lnTo>
                    <a:lnTo>
                      <a:pt x="39" y="10"/>
                    </a:lnTo>
                    <a:lnTo>
                      <a:pt x="39" y="11"/>
                    </a:lnTo>
                    <a:lnTo>
                      <a:pt x="56" y="20"/>
                    </a:lnTo>
                    <a:lnTo>
                      <a:pt x="76" y="14"/>
                    </a:lnTo>
                    <a:lnTo>
                      <a:pt x="91" y="4"/>
                    </a:lnTo>
                    <a:lnTo>
                      <a:pt x="103" y="1"/>
                    </a:lnTo>
                    <a:lnTo>
                      <a:pt x="118" y="0"/>
                    </a:lnTo>
                    <a:lnTo>
                      <a:pt x="124" y="6"/>
                    </a:lnTo>
                    <a:lnTo>
                      <a:pt x="127" y="6"/>
                    </a:lnTo>
                    <a:lnTo>
                      <a:pt x="129" y="14"/>
                    </a:lnTo>
                    <a:lnTo>
                      <a:pt x="138" y="17"/>
                    </a:lnTo>
                    <a:lnTo>
                      <a:pt x="146" y="19"/>
                    </a:lnTo>
                    <a:lnTo>
                      <a:pt x="155" y="24"/>
                    </a:lnTo>
                    <a:lnTo>
                      <a:pt x="155" y="35"/>
                    </a:lnTo>
                    <a:lnTo>
                      <a:pt x="154" y="44"/>
                    </a:lnTo>
                    <a:lnTo>
                      <a:pt x="156" y="55"/>
                    </a:lnTo>
                    <a:lnTo>
                      <a:pt x="163" y="62"/>
                    </a:lnTo>
                    <a:lnTo>
                      <a:pt x="176" y="62"/>
                    </a:lnTo>
                    <a:lnTo>
                      <a:pt x="181" y="68"/>
                    </a:lnTo>
                    <a:lnTo>
                      <a:pt x="182" y="79"/>
                    </a:lnTo>
                    <a:lnTo>
                      <a:pt x="188" y="87"/>
                    </a:lnTo>
                    <a:lnTo>
                      <a:pt x="188" y="96"/>
                    </a:lnTo>
                    <a:lnTo>
                      <a:pt x="177" y="112"/>
                    </a:lnTo>
                    <a:lnTo>
                      <a:pt x="171" y="112"/>
                    </a:lnTo>
                    <a:lnTo>
                      <a:pt x="161" y="119"/>
                    </a:lnTo>
                    <a:lnTo>
                      <a:pt x="155" y="132"/>
                    </a:lnTo>
                    <a:lnTo>
                      <a:pt x="158" y="145"/>
                    </a:lnTo>
                    <a:lnTo>
                      <a:pt x="158" y="16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2" name="Freeform 185"/>
              <p:cNvSpPr>
                <a:spLocks noChangeAspect="1"/>
              </p:cNvSpPr>
              <p:nvPr/>
            </p:nvSpPr>
            <p:spPr bwMode="gray">
              <a:xfrm>
                <a:off x="2416" y="1955"/>
                <a:ext cx="137" cy="109"/>
              </a:xfrm>
              <a:custGeom>
                <a:avLst/>
                <a:gdLst/>
                <a:ahLst/>
                <a:cxnLst>
                  <a:cxn ang="0">
                    <a:pos x="100" y="440"/>
                  </a:cxn>
                  <a:cxn ang="0">
                    <a:pos x="128" y="410"/>
                  </a:cxn>
                  <a:cxn ang="0">
                    <a:pos x="112" y="376"/>
                  </a:cxn>
                  <a:cxn ang="0">
                    <a:pos x="124" y="340"/>
                  </a:cxn>
                  <a:cxn ang="0">
                    <a:pos x="106" y="301"/>
                  </a:cxn>
                  <a:cxn ang="0">
                    <a:pos x="135" y="280"/>
                  </a:cxn>
                  <a:cxn ang="0">
                    <a:pos x="129" y="253"/>
                  </a:cxn>
                  <a:cxn ang="0">
                    <a:pos x="138" y="210"/>
                  </a:cxn>
                  <a:cxn ang="0">
                    <a:pos x="169" y="165"/>
                  </a:cxn>
                  <a:cxn ang="0">
                    <a:pos x="155" y="138"/>
                  </a:cxn>
                  <a:cxn ang="0">
                    <a:pos x="110" y="140"/>
                  </a:cxn>
                  <a:cxn ang="0">
                    <a:pos x="65" y="135"/>
                  </a:cxn>
                  <a:cxn ang="0">
                    <a:pos x="36" y="131"/>
                  </a:cxn>
                  <a:cxn ang="0">
                    <a:pos x="25" y="128"/>
                  </a:cxn>
                  <a:cxn ang="0">
                    <a:pos x="26" y="108"/>
                  </a:cxn>
                  <a:cxn ang="0">
                    <a:pos x="27" y="82"/>
                  </a:cxn>
                  <a:cxn ang="0">
                    <a:pos x="16" y="70"/>
                  </a:cxn>
                  <a:cxn ang="0">
                    <a:pos x="17" y="34"/>
                  </a:cxn>
                  <a:cxn ang="0">
                    <a:pos x="56" y="22"/>
                  </a:cxn>
                  <a:cxn ang="0">
                    <a:pos x="84" y="0"/>
                  </a:cxn>
                  <a:cxn ang="0">
                    <a:pos x="129" y="14"/>
                  </a:cxn>
                  <a:cxn ang="0">
                    <a:pos x="192" y="9"/>
                  </a:cxn>
                  <a:cxn ang="0">
                    <a:pos x="256" y="22"/>
                  </a:cxn>
                  <a:cxn ang="0">
                    <a:pos x="306" y="18"/>
                  </a:cxn>
                  <a:cxn ang="0">
                    <a:pos x="366" y="23"/>
                  </a:cxn>
                  <a:cxn ang="0">
                    <a:pos x="408" y="27"/>
                  </a:cxn>
                  <a:cxn ang="0">
                    <a:pos x="440" y="54"/>
                  </a:cxn>
                  <a:cxn ang="0">
                    <a:pos x="469" y="69"/>
                  </a:cxn>
                  <a:cxn ang="0">
                    <a:pos x="537" y="81"/>
                  </a:cxn>
                  <a:cxn ang="0">
                    <a:pos x="564" y="75"/>
                  </a:cxn>
                  <a:cxn ang="0">
                    <a:pos x="589" y="97"/>
                  </a:cxn>
                  <a:cxn ang="0">
                    <a:pos x="597" y="92"/>
                  </a:cxn>
                  <a:cxn ang="0">
                    <a:pos x="644" y="101"/>
                  </a:cxn>
                  <a:cxn ang="0">
                    <a:pos x="678" y="100"/>
                  </a:cxn>
                  <a:cxn ang="0">
                    <a:pos x="678" y="114"/>
                  </a:cxn>
                  <a:cxn ang="0">
                    <a:pos x="675" y="144"/>
                  </a:cxn>
                  <a:cxn ang="0">
                    <a:pos x="564" y="203"/>
                  </a:cxn>
                  <a:cxn ang="0">
                    <a:pos x="543" y="232"/>
                  </a:cxn>
                  <a:cxn ang="0">
                    <a:pos x="495" y="300"/>
                  </a:cxn>
                  <a:cxn ang="0">
                    <a:pos x="489" y="321"/>
                  </a:cxn>
                  <a:cxn ang="0">
                    <a:pos x="497" y="343"/>
                  </a:cxn>
                  <a:cxn ang="0">
                    <a:pos x="515" y="354"/>
                  </a:cxn>
                  <a:cxn ang="0">
                    <a:pos x="500" y="378"/>
                  </a:cxn>
                  <a:cxn ang="0">
                    <a:pos x="474" y="409"/>
                  </a:cxn>
                  <a:cxn ang="0">
                    <a:pos x="465" y="435"/>
                  </a:cxn>
                  <a:cxn ang="0">
                    <a:pos x="415" y="463"/>
                  </a:cxn>
                  <a:cxn ang="0">
                    <a:pos x="398" y="496"/>
                  </a:cxn>
                  <a:cxn ang="0">
                    <a:pos x="364" y="501"/>
                  </a:cxn>
                  <a:cxn ang="0">
                    <a:pos x="318" y="500"/>
                  </a:cxn>
                  <a:cxn ang="0">
                    <a:pos x="258" y="515"/>
                  </a:cxn>
                  <a:cxn ang="0">
                    <a:pos x="226" y="529"/>
                  </a:cxn>
                  <a:cxn ang="0">
                    <a:pos x="210" y="545"/>
                  </a:cxn>
                  <a:cxn ang="0">
                    <a:pos x="170" y="517"/>
                  </a:cxn>
                  <a:cxn ang="0">
                    <a:pos x="161" y="491"/>
                  </a:cxn>
                  <a:cxn ang="0">
                    <a:pos x="148" y="477"/>
                  </a:cxn>
                  <a:cxn ang="0">
                    <a:pos x="105" y="468"/>
                  </a:cxn>
                </a:cxnLst>
                <a:rect l="0" t="0" r="r" b="b"/>
                <a:pathLst>
                  <a:path w="687" h="545">
                    <a:moveTo>
                      <a:pt x="105" y="468"/>
                    </a:moveTo>
                    <a:lnTo>
                      <a:pt x="101" y="451"/>
                    </a:lnTo>
                    <a:lnTo>
                      <a:pt x="100" y="440"/>
                    </a:lnTo>
                    <a:lnTo>
                      <a:pt x="107" y="430"/>
                    </a:lnTo>
                    <a:lnTo>
                      <a:pt x="122" y="419"/>
                    </a:lnTo>
                    <a:lnTo>
                      <a:pt x="128" y="410"/>
                    </a:lnTo>
                    <a:lnTo>
                      <a:pt x="126" y="399"/>
                    </a:lnTo>
                    <a:lnTo>
                      <a:pt x="116" y="388"/>
                    </a:lnTo>
                    <a:lnTo>
                      <a:pt x="112" y="376"/>
                    </a:lnTo>
                    <a:lnTo>
                      <a:pt x="113" y="361"/>
                    </a:lnTo>
                    <a:lnTo>
                      <a:pt x="121" y="349"/>
                    </a:lnTo>
                    <a:lnTo>
                      <a:pt x="124" y="340"/>
                    </a:lnTo>
                    <a:lnTo>
                      <a:pt x="122" y="335"/>
                    </a:lnTo>
                    <a:lnTo>
                      <a:pt x="110" y="317"/>
                    </a:lnTo>
                    <a:lnTo>
                      <a:pt x="106" y="301"/>
                    </a:lnTo>
                    <a:lnTo>
                      <a:pt x="114" y="295"/>
                    </a:lnTo>
                    <a:lnTo>
                      <a:pt x="126" y="291"/>
                    </a:lnTo>
                    <a:lnTo>
                      <a:pt x="135" y="280"/>
                    </a:lnTo>
                    <a:lnTo>
                      <a:pt x="137" y="270"/>
                    </a:lnTo>
                    <a:lnTo>
                      <a:pt x="129" y="260"/>
                    </a:lnTo>
                    <a:lnTo>
                      <a:pt x="129" y="253"/>
                    </a:lnTo>
                    <a:lnTo>
                      <a:pt x="135" y="238"/>
                    </a:lnTo>
                    <a:lnTo>
                      <a:pt x="138" y="224"/>
                    </a:lnTo>
                    <a:lnTo>
                      <a:pt x="138" y="210"/>
                    </a:lnTo>
                    <a:lnTo>
                      <a:pt x="139" y="200"/>
                    </a:lnTo>
                    <a:lnTo>
                      <a:pt x="161" y="178"/>
                    </a:lnTo>
                    <a:lnTo>
                      <a:pt x="169" y="165"/>
                    </a:lnTo>
                    <a:lnTo>
                      <a:pt x="169" y="156"/>
                    </a:lnTo>
                    <a:lnTo>
                      <a:pt x="161" y="147"/>
                    </a:lnTo>
                    <a:lnTo>
                      <a:pt x="155" y="138"/>
                    </a:lnTo>
                    <a:lnTo>
                      <a:pt x="140" y="134"/>
                    </a:lnTo>
                    <a:lnTo>
                      <a:pt x="123" y="134"/>
                    </a:lnTo>
                    <a:lnTo>
                      <a:pt x="110" y="140"/>
                    </a:lnTo>
                    <a:lnTo>
                      <a:pt x="86" y="138"/>
                    </a:lnTo>
                    <a:lnTo>
                      <a:pt x="73" y="140"/>
                    </a:lnTo>
                    <a:lnTo>
                      <a:pt x="65" y="135"/>
                    </a:lnTo>
                    <a:lnTo>
                      <a:pt x="64" y="123"/>
                    </a:lnTo>
                    <a:lnTo>
                      <a:pt x="51" y="125"/>
                    </a:lnTo>
                    <a:lnTo>
                      <a:pt x="36" y="131"/>
                    </a:lnTo>
                    <a:lnTo>
                      <a:pt x="27" y="141"/>
                    </a:lnTo>
                    <a:lnTo>
                      <a:pt x="25" y="136"/>
                    </a:lnTo>
                    <a:lnTo>
                      <a:pt x="25" y="128"/>
                    </a:lnTo>
                    <a:lnTo>
                      <a:pt x="28" y="116"/>
                    </a:lnTo>
                    <a:lnTo>
                      <a:pt x="35" y="107"/>
                    </a:lnTo>
                    <a:lnTo>
                      <a:pt x="26" y="108"/>
                    </a:lnTo>
                    <a:lnTo>
                      <a:pt x="30" y="100"/>
                    </a:lnTo>
                    <a:lnTo>
                      <a:pt x="20" y="95"/>
                    </a:lnTo>
                    <a:lnTo>
                      <a:pt x="27" y="82"/>
                    </a:lnTo>
                    <a:lnTo>
                      <a:pt x="22" y="82"/>
                    </a:lnTo>
                    <a:lnTo>
                      <a:pt x="15" y="79"/>
                    </a:lnTo>
                    <a:lnTo>
                      <a:pt x="16" y="70"/>
                    </a:lnTo>
                    <a:lnTo>
                      <a:pt x="0" y="57"/>
                    </a:lnTo>
                    <a:lnTo>
                      <a:pt x="5" y="43"/>
                    </a:lnTo>
                    <a:lnTo>
                      <a:pt x="17" y="34"/>
                    </a:lnTo>
                    <a:lnTo>
                      <a:pt x="28" y="31"/>
                    </a:lnTo>
                    <a:lnTo>
                      <a:pt x="47" y="31"/>
                    </a:lnTo>
                    <a:lnTo>
                      <a:pt x="56" y="22"/>
                    </a:lnTo>
                    <a:lnTo>
                      <a:pt x="54" y="16"/>
                    </a:lnTo>
                    <a:lnTo>
                      <a:pt x="62" y="5"/>
                    </a:lnTo>
                    <a:lnTo>
                      <a:pt x="84" y="0"/>
                    </a:lnTo>
                    <a:lnTo>
                      <a:pt x="95" y="3"/>
                    </a:lnTo>
                    <a:lnTo>
                      <a:pt x="110" y="10"/>
                    </a:lnTo>
                    <a:lnTo>
                      <a:pt x="129" y="14"/>
                    </a:lnTo>
                    <a:lnTo>
                      <a:pt x="170" y="12"/>
                    </a:lnTo>
                    <a:lnTo>
                      <a:pt x="180" y="7"/>
                    </a:lnTo>
                    <a:lnTo>
                      <a:pt x="192" y="9"/>
                    </a:lnTo>
                    <a:lnTo>
                      <a:pt x="212" y="15"/>
                    </a:lnTo>
                    <a:lnTo>
                      <a:pt x="223" y="15"/>
                    </a:lnTo>
                    <a:lnTo>
                      <a:pt x="256" y="22"/>
                    </a:lnTo>
                    <a:lnTo>
                      <a:pt x="273" y="23"/>
                    </a:lnTo>
                    <a:lnTo>
                      <a:pt x="293" y="22"/>
                    </a:lnTo>
                    <a:lnTo>
                      <a:pt x="306" y="18"/>
                    </a:lnTo>
                    <a:lnTo>
                      <a:pt x="317" y="22"/>
                    </a:lnTo>
                    <a:lnTo>
                      <a:pt x="337" y="25"/>
                    </a:lnTo>
                    <a:lnTo>
                      <a:pt x="366" y="23"/>
                    </a:lnTo>
                    <a:lnTo>
                      <a:pt x="381" y="28"/>
                    </a:lnTo>
                    <a:lnTo>
                      <a:pt x="398" y="30"/>
                    </a:lnTo>
                    <a:lnTo>
                      <a:pt x="408" y="27"/>
                    </a:lnTo>
                    <a:lnTo>
                      <a:pt x="409" y="31"/>
                    </a:lnTo>
                    <a:lnTo>
                      <a:pt x="431" y="49"/>
                    </a:lnTo>
                    <a:lnTo>
                      <a:pt x="440" y="54"/>
                    </a:lnTo>
                    <a:lnTo>
                      <a:pt x="451" y="57"/>
                    </a:lnTo>
                    <a:lnTo>
                      <a:pt x="462" y="63"/>
                    </a:lnTo>
                    <a:lnTo>
                      <a:pt x="469" y="69"/>
                    </a:lnTo>
                    <a:lnTo>
                      <a:pt x="515" y="81"/>
                    </a:lnTo>
                    <a:lnTo>
                      <a:pt x="531" y="82"/>
                    </a:lnTo>
                    <a:lnTo>
                      <a:pt x="537" y="81"/>
                    </a:lnTo>
                    <a:lnTo>
                      <a:pt x="547" y="74"/>
                    </a:lnTo>
                    <a:lnTo>
                      <a:pt x="555" y="73"/>
                    </a:lnTo>
                    <a:lnTo>
                      <a:pt x="564" y="75"/>
                    </a:lnTo>
                    <a:lnTo>
                      <a:pt x="579" y="85"/>
                    </a:lnTo>
                    <a:lnTo>
                      <a:pt x="585" y="92"/>
                    </a:lnTo>
                    <a:lnTo>
                      <a:pt x="589" y="97"/>
                    </a:lnTo>
                    <a:lnTo>
                      <a:pt x="595" y="98"/>
                    </a:lnTo>
                    <a:lnTo>
                      <a:pt x="600" y="96"/>
                    </a:lnTo>
                    <a:lnTo>
                      <a:pt x="597" y="92"/>
                    </a:lnTo>
                    <a:lnTo>
                      <a:pt x="608" y="101"/>
                    </a:lnTo>
                    <a:lnTo>
                      <a:pt x="616" y="103"/>
                    </a:lnTo>
                    <a:lnTo>
                      <a:pt x="644" y="101"/>
                    </a:lnTo>
                    <a:lnTo>
                      <a:pt x="657" y="98"/>
                    </a:lnTo>
                    <a:lnTo>
                      <a:pt x="671" y="98"/>
                    </a:lnTo>
                    <a:lnTo>
                      <a:pt x="678" y="100"/>
                    </a:lnTo>
                    <a:lnTo>
                      <a:pt x="686" y="102"/>
                    </a:lnTo>
                    <a:lnTo>
                      <a:pt x="687" y="109"/>
                    </a:lnTo>
                    <a:lnTo>
                      <a:pt x="678" y="114"/>
                    </a:lnTo>
                    <a:lnTo>
                      <a:pt x="680" y="124"/>
                    </a:lnTo>
                    <a:lnTo>
                      <a:pt x="683" y="133"/>
                    </a:lnTo>
                    <a:lnTo>
                      <a:pt x="675" y="144"/>
                    </a:lnTo>
                    <a:lnTo>
                      <a:pt x="637" y="167"/>
                    </a:lnTo>
                    <a:lnTo>
                      <a:pt x="623" y="181"/>
                    </a:lnTo>
                    <a:lnTo>
                      <a:pt x="564" y="203"/>
                    </a:lnTo>
                    <a:lnTo>
                      <a:pt x="552" y="217"/>
                    </a:lnTo>
                    <a:lnTo>
                      <a:pt x="552" y="224"/>
                    </a:lnTo>
                    <a:lnTo>
                      <a:pt x="543" y="232"/>
                    </a:lnTo>
                    <a:lnTo>
                      <a:pt x="531" y="247"/>
                    </a:lnTo>
                    <a:lnTo>
                      <a:pt x="515" y="274"/>
                    </a:lnTo>
                    <a:lnTo>
                      <a:pt x="495" y="300"/>
                    </a:lnTo>
                    <a:lnTo>
                      <a:pt x="492" y="312"/>
                    </a:lnTo>
                    <a:lnTo>
                      <a:pt x="489" y="318"/>
                    </a:lnTo>
                    <a:lnTo>
                      <a:pt x="489" y="321"/>
                    </a:lnTo>
                    <a:lnTo>
                      <a:pt x="492" y="327"/>
                    </a:lnTo>
                    <a:lnTo>
                      <a:pt x="494" y="337"/>
                    </a:lnTo>
                    <a:lnTo>
                      <a:pt x="497" y="343"/>
                    </a:lnTo>
                    <a:lnTo>
                      <a:pt x="501" y="349"/>
                    </a:lnTo>
                    <a:lnTo>
                      <a:pt x="506" y="351"/>
                    </a:lnTo>
                    <a:lnTo>
                      <a:pt x="515" y="354"/>
                    </a:lnTo>
                    <a:lnTo>
                      <a:pt x="519" y="360"/>
                    </a:lnTo>
                    <a:lnTo>
                      <a:pt x="514" y="369"/>
                    </a:lnTo>
                    <a:lnTo>
                      <a:pt x="500" y="378"/>
                    </a:lnTo>
                    <a:lnTo>
                      <a:pt x="492" y="385"/>
                    </a:lnTo>
                    <a:lnTo>
                      <a:pt x="484" y="392"/>
                    </a:lnTo>
                    <a:lnTo>
                      <a:pt x="474" y="409"/>
                    </a:lnTo>
                    <a:lnTo>
                      <a:pt x="472" y="418"/>
                    </a:lnTo>
                    <a:lnTo>
                      <a:pt x="467" y="426"/>
                    </a:lnTo>
                    <a:lnTo>
                      <a:pt x="465" y="435"/>
                    </a:lnTo>
                    <a:lnTo>
                      <a:pt x="467" y="441"/>
                    </a:lnTo>
                    <a:lnTo>
                      <a:pt x="435" y="445"/>
                    </a:lnTo>
                    <a:lnTo>
                      <a:pt x="415" y="463"/>
                    </a:lnTo>
                    <a:lnTo>
                      <a:pt x="408" y="482"/>
                    </a:lnTo>
                    <a:lnTo>
                      <a:pt x="404" y="490"/>
                    </a:lnTo>
                    <a:lnTo>
                      <a:pt x="398" y="496"/>
                    </a:lnTo>
                    <a:lnTo>
                      <a:pt x="391" y="498"/>
                    </a:lnTo>
                    <a:lnTo>
                      <a:pt x="379" y="495"/>
                    </a:lnTo>
                    <a:lnTo>
                      <a:pt x="364" y="501"/>
                    </a:lnTo>
                    <a:lnTo>
                      <a:pt x="350" y="501"/>
                    </a:lnTo>
                    <a:lnTo>
                      <a:pt x="334" y="498"/>
                    </a:lnTo>
                    <a:lnTo>
                      <a:pt x="318" y="500"/>
                    </a:lnTo>
                    <a:lnTo>
                      <a:pt x="306" y="498"/>
                    </a:lnTo>
                    <a:lnTo>
                      <a:pt x="269" y="502"/>
                    </a:lnTo>
                    <a:lnTo>
                      <a:pt x="258" y="515"/>
                    </a:lnTo>
                    <a:lnTo>
                      <a:pt x="246" y="516"/>
                    </a:lnTo>
                    <a:lnTo>
                      <a:pt x="234" y="521"/>
                    </a:lnTo>
                    <a:lnTo>
                      <a:pt x="226" y="529"/>
                    </a:lnTo>
                    <a:lnTo>
                      <a:pt x="223" y="536"/>
                    </a:lnTo>
                    <a:lnTo>
                      <a:pt x="218" y="541"/>
                    </a:lnTo>
                    <a:lnTo>
                      <a:pt x="210" y="545"/>
                    </a:lnTo>
                    <a:lnTo>
                      <a:pt x="193" y="542"/>
                    </a:lnTo>
                    <a:lnTo>
                      <a:pt x="181" y="533"/>
                    </a:lnTo>
                    <a:lnTo>
                      <a:pt x="170" y="517"/>
                    </a:lnTo>
                    <a:lnTo>
                      <a:pt x="169" y="509"/>
                    </a:lnTo>
                    <a:lnTo>
                      <a:pt x="161" y="502"/>
                    </a:lnTo>
                    <a:lnTo>
                      <a:pt x="161" y="491"/>
                    </a:lnTo>
                    <a:lnTo>
                      <a:pt x="160" y="488"/>
                    </a:lnTo>
                    <a:lnTo>
                      <a:pt x="156" y="484"/>
                    </a:lnTo>
                    <a:lnTo>
                      <a:pt x="148" y="477"/>
                    </a:lnTo>
                    <a:lnTo>
                      <a:pt x="133" y="468"/>
                    </a:lnTo>
                    <a:lnTo>
                      <a:pt x="126" y="467"/>
                    </a:lnTo>
                    <a:lnTo>
                      <a:pt x="105" y="46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3" name="Freeform 186"/>
              <p:cNvSpPr>
                <a:spLocks noChangeAspect="1"/>
              </p:cNvSpPr>
              <p:nvPr/>
            </p:nvSpPr>
            <p:spPr bwMode="gray">
              <a:xfrm>
                <a:off x="2554" y="1794"/>
                <a:ext cx="40" cy="48"/>
              </a:xfrm>
              <a:custGeom>
                <a:avLst/>
                <a:gdLst/>
                <a:ahLst/>
                <a:cxnLst>
                  <a:cxn ang="0">
                    <a:pos x="124" y="239"/>
                  </a:cxn>
                  <a:cxn ang="0">
                    <a:pos x="116" y="221"/>
                  </a:cxn>
                  <a:cxn ang="0">
                    <a:pos x="116" y="201"/>
                  </a:cxn>
                  <a:cxn ang="0">
                    <a:pos x="99" y="194"/>
                  </a:cxn>
                  <a:cxn ang="0">
                    <a:pos x="88" y="183"/>
                  </a:cxn>
                  <a:cxn ang="0">
                    <a:pos x="79" y="177"/>
                  </a:cxn>
                  <a:cxn ang="0">
                    <a:pos x="52" y="181"/>
                  </a:cxn>
                  <a:cxn ang="0">
                    <a:pos x="17" y="197"/>
                  </a:cxn>
                  <a:cxn ang="0">
                    <a:pos x="0" y="187"/>
                  </a:cxn>
                  <a:cxn ang="0">
                    <a:pos x="10" y="185"/>
                  </a:cxn>
                  <a:cxn ang="0">
                    <a:pos x="30" y="186"/>
                  </a:cxn>
                  <a:cxn ang="0">
                    <a:pos x="42" y="182"/>
                  </a:cxn>
                  <a:cxn ang="0">
                    <a:pos x="25" y="182"/>
                  </a:cxn>
                  <a:cxn ang="0">
                    <a:pos x="24" y="172"/>
                  </a:cxn>
                  <a:cxn ang="0">
                    <a:pos x="54" y="162"/>
                  </a:cxn>
                  <a:cxn ang="0">
                    <a:pos x="78" y="155"/>
                  </a:cxn>
                  <a:cxn ang="0">
                    <a:pos x="62" y="156"/>
                  </a:cxn>
                  <a:cxn ang="0">
                    <a:pos x="45" y="153"/>
                  </a:cxn>
                  <a:cxn ang="0">
                    <a:pos x="38" y="138"/>
                  </a:cxn>
                  <a:cxn ang="0">
                    <a:pos x="62" y="106"/>
                  </a:cxn>
                  <a:cxn ang="0">
                    <a:pos x="74" y="52"/>
                  </a:cxn>
                  <a:cxn ang="0">
                    <a:pos x="88" y="57"/>
                  </a:cxn>
                  <a:cxn ang="0">
                    <a:pos x="94" y="65"/>
                  </a:cxn>
                  <a:cxn ang="0">
                    <a:pos x="85" y="69"/>
                  </a:cxn>
                  <a:cxn ang="0">
                    <a:pos x="83" y="79"/>
                  </a:cxn>
                  <a:cxn ang="0">
                    <a:pos x="84" y="94"/>
                  </a:cxn>
                  <a:cxn ang="0">
                    <a:pos x="100" y="103"/>
                  </a:cxn>
                  <a:cxn ang="0">
                    <a:pos x="106" y="101"/>
                  </a:cxn>
                  <a:cxn ang="0">
                    <a:pos x="101" y="88"/>
                  </a:cxn>
                  <a:cxn ang="0">
                    <a:pos x="103" y="81"/>
                  </a:cxn>
                  <a:cxn ang="0">
                    <a:pos x="111" y="65"/>
                  </a:cxn>
                  <a:cxn ang="0">
                    <a:pos x="112" y="51"/>
                  </a:cxn>
                  <a:cxn ang="0">
                    <a:pos x="105" y="48"/>
                  </a:cxn>
                  <a:cxn ang="0">
                    <a:pos x="103" y="26"/>
                  </a:cxn>
                  <a:cxn ang="0">
                    <a:pos x="117" y="11"/>
                  </a:cxn>
                  <a:cxn ang="0">
                    <a:pos x="138" y="4"/>
                  </a:cxn>
                  <a:cxn ang="0">
                    <a:pos x="161" y="2"/>
                  </a:cxn>
                  <a:cxn ang="0">
                    <a:pos x="182" y="3"/>
                  </a:cxn>
                  <a:cxn ang="0">
                    <a:pos x="196" y="16"/>
                  </a:cxn>
                  <a:cxn ang="0">
                    <a:pos x="170" y="73"/>
                  </a:cxn>
                  <a:cxn ang="0">
                    <a:pos x="191" y="90"/>
                  </a:cxn>
                  <a:cxn ang="0">
                    <a:pos x="182" y="111"/>
                  </a:cxn>
                  <a:cxn ang="0">
                    <a:pos x="171" y="129"/>
                  </a:cxn>
                  <a:cxn ang="0">
                    <a:pos x="158" y="142"/>
                  </a:cxn>
                  <a:cxn ang="0">
                    <a:pos x="135" y="137"/>
                  </a:cxn>
                  <a:cxn ang="0">
                    <a:pos x="138" y="160"/>
                  </a:cxn>
                  <a:cxn ang="0">
                    <a:pos x="138" y="182"/>
                  </a:cxn>
                  <a:cxn ang="0">
                    <a:pos x="132" y="208"/>
                  </a:cxn>
                  <a:cxn ang="0">
                    <a:pos x="137" y="232"/>
                  </a:cxn>
                </a:cxnLst>
                <a:rect l="0" t="0" r="r" b="b"/>
                <a:pathLst>
                  <a:path w="196" h="239">
                    <a:moveTo>
                      <a:pt x="137" y="239"/>
                    </a:moveTo>
                    <a:lnTo>
                      <a:pt x="124" y="239"/>
                    </a:lnTo>
                    <a:lnTo>
                      <a:pt x="117" y="232"/>
                    </a:lnTo>
                    <a:lnTo>
                      <a:pt x="116" y="221"/>
                    </a:lnTo>
                    <a:lnTo>
                      <a:pt x="117" y="212"/>
                    </a:lnTo>
                    <a:lnTo>
                      <a:pt x="116" y="201"/>
                    </a:lnTo>
                    <a:lnTo>
                      <a:pt x="107" y="196"/>
                    </a:lnTo>
                    <a:lnTo>
                      <a:pt x="99" y="194"/>
                    </a:lnTo>
                    <a:lnTo>
                      <a:pt x="90" y="189"/>
                    </a:lnTo>
                    <a:lnTo>
                      <a:pt x="88" y="183"/>
                    </a:lnTo>
                    <a:lnTo>
                      <a:pt x="85" y="183"/>
                    </a:lnTo>
                    <a:lnTo>
                      <a:pt x="79" y="177"/>
                    </a:lnTo>
                    <a:lnTo>
                      <a:pt x="64" y="178"/>
                    </a:lnTo>
                    <a:lnTo>
                      <a:pt x="52" y="181"/>
                    </a:lnTo>
                    <a:lnTo>
                      <a:pt x="37" y="191"/>
                    </a:lnTo>
                    <a:lnTo>
                      <a:pt x="17" y="197"/>
                    </a:lnTo>
                    <a:lnTo>
                      <a:pt x="0" y="188"/>
                    </a:lnTo>
                    <a:lnTo>
                      <a:pt x="0" y="187"/>
                    </a:lnTo>
                    <a:lnTo>
                      <a:pt x="3" y="185"/>
                    </a:lnTo>
                    <a:lnTo>
                      <a:pt x="10" y="185"/>
                    </a:lnTo>
                    <a:lnTo>
                      <a:pt x="21" y="191"/>
                    </a:lnTo>
                    <a:lnTo>
                      <a:pt x="30" y="186"/>
                    </a:lnTo>
                    <a:lnTo>
                      <a:pt x="38" y="186"/>
                    </a:lnTo>
                    <a:lnTo>
                      <a:pt x="42" y="182"/>
                    </a:lnTo>
                    <a:lnTo>
                      <a:pt x="35" y="181"/>
                    </a:lnTo>
                    <a:lnTo>
                      <a:pt x="25" y="182"/>
                    </a:lnTo>
                    <a:lnTo>
                      <a:pt x="20" y="181"/>
                    </a:lnTo>
                    <a:lnTo>
                      <a:pt x="24" y="172"/>
                    </a:lnTo>
                    <a:lnTo>
                      <a:pt x="43" y="169"/>
                    </a:lnTo>
                    <a:lnTo>
                      <a:pt x="54" y="162"/>
                    </a:lnTo>
                    <a:lnTo>
                      <a:pt x="72" y="159"/>
                    </a:lnTo>
                    <a:lnTo>
                      <a:pt x="78" y="155"/>
                    </a:lnTo>
                    <a:lnTo>
                      <a:pt x="73" y="151"/>
                    </a:lnTo>
                    <a:lnTo>
                      <a:pt x="62" y="156"/>
                    </a:lnTo>
                    <a:lnTo>
                      <a:pt x="52" y="155"/>
                    </a:lnTo>
                    <a:lnTo>
                      <a:pt x="45" y="153"/>
                    </a:lnTo>
                    <a:lnTo>
                      <a:pt x="38" y="146"/>
                    </a:lnTo>
                    <a:lnTo>
                      <a:pt x="38" y="138"/>
                    </a:lnTo>
                    <a:lnTo>
                      <a:pt x="40" y="133"/>
                    </a:lnTo>
                    <a:lnTo>
                      <a:pt x="62" y="106"/>
                    </a:lnTo>
                    <a:lnTo>
                      <a:pt x="68" y="69"/>
                    </a:lnTo>
                    <a:lnTo>
                      <a:pt x="74" y="52"/>
                    </a:lnTo>
                    <a:lnTo>
                      <a:pt x="84" y="48"/>
                    </a:lnTo>
                    <a:lnTo>
                      <a:pt x="88" y="57"/>
                    </a:lnTo>
                    <a:lnTo>
                      <a:pt x="94" y="62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85" y="69"/>
                    </a:lnTo>
                    <a:lnTo>
                      <a:pt x="84" y="73"/>
                    </a:lnTo>
                    <a:lnTo>
                      <a:pt x="83" y="79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9" y="100"/>
                    </a:lnTo>
                    <a:lnTo>
                      <a:pt x="100" y="103"/>
                    </a:lnTo>
                    <a:lnTo>
                      <a:pt x="105" y="103"/>
                    </a:lnTo>
                    <a:lnTo>
                      <a:pt x="106" y="101"/>
                    </a:lnTo>
                    <a:lnTo>
                      <a:pt x="105" y="94"/>
                    </a:lnTo>
                    <a:lnTo>
                      <a:pt x="101" y="88"/>
                    </a:lnTo>
                    <a:lnTo>
                      <a:pt x="100" y="83"/>
                    </a:lnTo>
                    <a:lnTo>
                      <a:pt x="103" y="81"/>
                    </a:lnTo>
                    <a:lnTo>
                      <a:pt x="110" y="76"/>
                    </a:lnTo>
                    <a:lnTo>
                      <a:pt x="111" y="65"/>
                    </a:lnTo>
                    <a:lnTo>
                      <a:pt x="116" y="53"/>
                    </a:lnTo>
                    <a:lnTo>
                      <a:pt x="112" y="51"/>
                    </a:lnTo>
                    <a:lnTo>
                      <a:pt x="106" y="51"/>
                    </a:lnTo>
                    <a:lnTo>
                      <a:pt x="105" y="48"/>
                    </a:lnTo>
                    <a:lnTo>
                      <a:pt x="102" y="31"/>
                    </a:lnTo>
                    <a:lnTo>
                      <a:pt x="103" y="26"/>
                    </a:lnTo>
                    <a:lnTo>
                      <a:pt x="108" y="19"/>
                    </a:lnTo>
                    <a:lnTo>
                      <a:pt x="117" y="11"/>
                    </a:lnTo>
                    <a:lnTo>
                      <a:pt x="128" y="6"/>
                    </a:lnTo>
                    <a:lnTo>
                      <a:pt x="138" y="4"/>
                    </a:lnTo>
                    <a:lnTo>
                      <a:pt x="151" y="6"/>
                    </a:lnTo>
                    <a:lnTo>
                      <a:pt x="161" y="2"/>
                    </a:lnTo>
                    <a:lnTo>
                      <a:pt x="173" y="0"/>
                    </a:lnTo>
                    <a:lnTo>
                      <a:pt x="182" y="3"/>
                    </a:lnTo>
                    <a:lnTo>
                      <a:pt x="191" y="10"/>
                    </a:lnTo>
                    <a:lnTo>
                      <a:pt x="196" y="16"/>
                    </a:lnTo>
                    <a:lnTo>
                      <a:pt x="186" y="62"/>
                    </a:lnTo>
                    <a:lnTo>
                      <a:pt x="170" y="73"/>
                    </a:lnTo>
                    <a:lnTo>
                      <a:pt x="172" y="81"/>
                    </a:lnTo>
                    <a:lnTo>
                      <a:pt x="191" y="90"/>
                    </a:lnTo>
                    <a:lnTo>
                      <a:pt x="189" y="101"/>
                    </a:lnTo>
                    <a:lnTo>
                      <a:pt x="182" y="111"/>
                    </a:lnTo>
                    <a:lnTo>
                      <a:pt x="172" y="118"/>
                    </a:lnTo>
                    <a:lnTo>
                      <a:pt x="171" y="129"/>
                    </a:lnTo>
                    <a:lnTo>
                      <a:pt x="166" y="140"/>
                    </a:lnTo>
                    <a:lnTo>
                      <a:pt x="158" y="142"/>
                    </a:lnTo>
                    <a:lnTo>
                      <a:pt x="145" y="137"/>
                    </a:lnTo>
                    <a:lnTo>
                      <a:pt x="135" y="137"/>
                    </a:lnTo>
                    <a:lnTo>
                      <a:pt x="134" y="145"/>
                    </a:lnTo>
                    <a:lnTo>
                      <a:pt x="138" y="160"/>
                    </a:lnTo>
                    <a:lnTo>
                      <a:pt x="139" y="170"/>
                    </a:lnTo>
                    <a:lnTo>
                      <a:pt x="138" y="182"/>
                    </a:lnTo>
                    <a:lnTo>
                      <a:pt x="138" y="201"/>
                    </a:lnTo>
                    <a:lnTo>
                      <a:pt x="132" y="208"/>
                    </a:lnTo>
                    <a:lnTo>
                      <a:pt x="132" y="215"/>
                    </a:lnTo>
                    <a:lnTo>
                      <a:pt x="137" y="232"/>
                    </a:lnTo>
                    <a:lnTo>
                      <a:pt x="137" y="23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4" name="Freeform 187"/>
              <p:cNvSpPr>
                <a:spLocks noChangeAspect="1"/>
              </p:cNvSpPr>
              <p:nvPr/>
            </p:nvSpPr>
            <p:spPr bwMode="gray">
              <a:xfrm>
                <a:off x="2414" y="1980"/>
                <a:ext cx="35" cy="71"/>
              </a:xfrm>
              <a:custGeom>
                <a:avLst/>
                <a:gdLst/>
                <a:ahLst/>
                <a:cxnLst>
                  <a:cxn ang="0">
                    <a:pos x="109" y="328"/>
                  </a:cxn>
                  <a:cxn ang="0">
                    <a:pos x="115" y="307"/>
                  </a:cxn>
                  <a:cxn ang="0">
                    <a:pos x="136" y="287"/>
                  </a:cxn>
                  <a:cxn ang="0">
                    <a:pos x="124" y="265"/>
                  </a:cxn>
                  <a:cxn ang="0">
                    <a:pos x="121" y="238"/>
                  </a:cxn>
                  <a:cxn ang="0">
                    <a:pos x="132" y="217"/>
                  </a:cxn>
                  <a:cxn ang="0">
                    <a:pos x="118" y="194"/>
                  </a:cxn>
                  <a:cxn ang="0">
                    <a:pos x="122" y="172"/>
                  </a:cxn>
                  <a:cxn ang="0">
                    <a:pos x="143" y="157"/>
                  </a:cxn>
                  <a:cxn ang="0">
                    <a:pos x="137" y="137"/>
                  </a:cxn>
                  <a:cxn ang="0">
                    <a:pos x="143" y="115"/>
                  </a:cxn>
                  <a:cxn ang="0">
                    <a:pos x="146" y="87"/>
                  </a:cxn>
                  <a:cxn ang="0">
                    <a:pos x="169" y="55"/>
                  </a:cxn>
                  <a:cxn ang="0">
                    <a:pos x="177" y="33"/>
                  </a:cxn>
                  <a:cxn ang="0">
                    <a:pos x="163" y="15"/>
                  </a:cxn>
                  <a:cxn ang="0">
                    <a:pos x="131" y="11"/>
                  </a:cxn>
                  <a:cxn ang="0">
                    <a:pos x="94" y="15"/>
                  </a:cxn>
                  <a:cxn ang="0">
                    <a:pos x="73" y="12"/>
                  </a:cxn>
                  <a:cxn ang="0">
                    <a:pos x="59" y="2"/>
                  </a:cxn>
                  <a:cxn ang="0">
                    <a:pos x="35" y="18"/>
                  </a:cxn>
                  <a:cxn ang="0">
                    <a:pos x="45" y="74"/>
                  </a:cxn>
                  <a:cxn ang="0">
                    <a:pos x="38" y="104"/>
                  </a:cxn>
                  <a:cxn ang="0">
                    <a:pos x="32" y="129"/>
                  </a:cxn>
                  <a:cxn ang="0">
                    <a:pos x="28" y="155"/>
                  </a:cxn>
                  <a:cxn ang="0">
                    <a:pos x="16" y="184"/>
                  </a:cxn>
                  <a:cxn ang="0">
                    <a:pos x="3" y="220"/>
                  </a:cxn>
                  <a:cxn ang="0">
                    <a:pos x="1" y="238"/>
                  </a:cxn>
                  <a:cxn ang="0">
                    <a:pos x="18" y="259"/>
                  </a:cxn>
                  <a:cxn ang="0">
                    <a:pos x="40" y="253"/>
                  </a:cxn>
                  <a:cxn ang="0">
                    <a:pos x="36" y="262"/>
                  </a:cxn>
                  <a:cxn ang="0">
                    <a:pos x="35" y="290"/>
                  </a:cxn>
                  <a:cxn ang="0">
                    <a:pos x="36" y="319"/>
                  </a:cxn>
                  <a:cxn ang="0">
                    <a:pos x="29" y="340"/>
                  </a:cxn>
                  <a:cxn ang="0">
                    <a:pos x="32" y="355"/>
                  </a:cxn>
                  <a:cxn ang="0">
                    <a:pos x="55" y="352"/>
                  </a:cxn>
                  <a:cxn ang="0">
                    <a:pos x="76" y="356"/>
                  </a:cxn>
                  <a:cxn ang="0">
                    <a:pos x="97" y="352"/>
                  </a:cxn>
                  <a:cxn ang="0">
                    <a:pos x="113" y="345"/>
                  </a:cxn>
                </a:cxnLst>
                <a:rect l="0" t="0" r="r" b="b"/>
                <a:pathLst>
                  <a:path w="177" h="356">
                    <a:moveTo>
                      <a:pt x="113" y="345"/>
                    </a:moveTo>
                    <a:lnTo>
                      <a:pt x="109" y="328"/>
                    </a:lnTo>
                    <a:lnTo>
                      <a:pt x="108" y="317"/>
                    </a:lnTo>
                    <a:lnTo>
                      <a:pt x="115" y="307"/>
                    </a:lnTo>
                    <a:lnTo>
                      <a:pt x="130" y="296"/>
                    </a:lnTo>
                    <a:lnTo>
                      <a:pt x="136" y="287"/>
                    </a:lnTo>
                    <a:lnTo>
                      <a:pt x="134" y="275"/>
                    </a:lnTo>
                    <a:lnTo>
                      <a:pt x="124" y="265"/>
                    </a:lnTo>
                    <a:lnTo>
                      <a:pt x="120" y="253"/>
                    </a:lnTo>
                    <a:lnTo>
                      <a:pt x="121" y="238"/>
                    </a:lnTo>
                    <a:lnTo>
                      <a:pt x="129" y="226"/>
                    </a:lnTo>
                    <a:lnTo>
                      <a:pt x="132" y="217"/>
                    </a:lnTo>
                    <a:lnTo>
                      <a:pt x="130" y="212"/>
                    </a:lnTo>
                    <a:lnTo>
                      <a:pt x="118" y="194"/>
                    </a:lnTo>
                    <a:lnTo>
                      <a:pt x="114" y="178"/>
                    </a:lnTo>
                    <a:lnTo>
                      <a:pt x="122" y="172"/>
                    </a:lnTo>
                    <a:lnTo>
                      <a:pt x="134" y="168"/>
                    </a:lnTo>
                    <a:lnTo>
                      <a:pt x="143" y="157"/>
                    </a:lnTo>
                    <a:lnTo>
                      <a:pt x="145" y="147"/>
                    </a:lnTo>
                    <a:lnTo>
                      <a:pt x="137" y="137"/>
                    </a:lnTo>
                    <a:lnTo>
                      <a:pt x="137" y="130"/>
                    </a:lnTo>
                    <a:lnTo>
                      <a:pt x="143" y="115"/>
                    </a:lnTo>
                    <a:lnTo>
                      <a:pt x="146" y="101"/>
                    </a:lnTo>
                    <a:lnTo>
                      <a:pt x="146" y="87"/>
                    </a:lnTo>
                    <a:lnTo>
                      <a:pt x="147" y="77"/>
                    </a:lnTo>
                    <a:lnTo>
                      <a:pt x="169" y="55"/>
                    </a:lnTo>
                    <a:lnTo>
                      <a:pt x="177" y="42"/>
                    </a:lnTo>
                    <a:lnTo>
                      <a:pt x="177" y="33"/>
                    </a:lnTo>
                    <a:lnTo>
                      <a:pt x="169" y="24"/>
                    </a:lnTo>
                    <a:lnTo>
                      <a:pt x="163" y="15"/>
                    </a:lnTo>
                    <a:lnTo>
                      <a:pt x="148" y="11"/>
                    </a:lnTo>
                    <a:lnTo>
                      <a:pt x="131" y="11"/>
                    </a:lnTo>
                    <a:lnTo>
                      <a:pt x="118" y="17"/>
                    </a:lnTo>
                    <a:lnTo>
                      <a:pt x="94" y="15"/>
                    </a:lnTo>
                    <a:lnTo>
                      <a:pt x="81" y="17"/>
                    </a:lnTo>
                    <a:lnTo>
                      <a:pt x="73" y="12"/>
                    </a:lnTo>
                    <a:lnTo>
                      <a:pt x="72" y="0"/>
                    </a:lnTo>
                    <a:lnTo>
                      <a:pt x="59" y="2"/>
                    </a:lnTo>
                    <a:lnTo>
                      <a:pt x="44" y="8"/>
                    </a:lnTo>
                    <a:lnTo>
                      <a:pt x="35" y="18"/>
                    </a:lnTo>
                    <a:lnTo>
                      <a:pt x="44" y="63"/>
                    </a:lnTo>
                    <a:lnTo>
                      <a:pt x="45" y="74"/>
                    </a:lnTo>
                    <a:lnTo>
                      <a:pt x="41" y="81"/>
                    </a:lnTo>
                    <a:lnTo>
                      <a:pt x="38" y="104"/>
                    </a:lnTo>
                    <a:lnTo>
                      <a:pt x="35" y="113"/>
                    </a:lnTo>
                    <a:lnTo>
                      <a:pt x="32" y="129"/>
                    </a:lnTo>
                    <a:lnTo>
                      <a:pt x="30" y="144"/>
                    </a:lnTo>
                    <a:lnTo>
                      <a:pt x="28" y="155"/>
                    </a:lnTo>
                    <a:lnTo>
                      <a:pt x="22" y="173"/>
                    </a:lnTo>
                    <a:lnTo>
                      <a:pt x="16" y="184"/>
                    </a:lnTo>
                    <a:lnTo>
                      <a:pt x="3" y="203"/>
                    </a:lnTo>
                    <a:lnTo>
                      <a:pt x="3" y="220"/>
                    </a:lnTo>
                    <a:lnTo>
                      <a:pt x="0" y="235"/>
                    </a:lnTo>
                    <a:lnTo>
                      <a:pt x="1" y="238"/>
                    </a:lnTo>
                    <a:lnTo>
                      <a:pt x="8" y="243"/>
                    </a:lnTo>
                    <a:lnTo>
                      <a:pt x="18" y="259"/>
                    </a:lnTo>
                    <a:lnTo>
                      <a:pt x="25" y="255"/>
                    </a:lnTo>
                    <a:lnTo>
                      <a:pt x="40" y="253"/>
                    </a:lnTo>
                    <a:lnTo>
                      <a:pt x="39" y="258"/>
                    </a:lnTo>
                    <a:lnTo>
                      <a:pt x="36" y="262"/>
                    </a:lnTo>
                    <a:lnTo>
                      <a:pt x="38" y="277"/>
                    </a:lnTo>
                    <a:lnTo>
                      <a:pt x="35" y="290"/>
                    </a:lnTo>
                    <a:lnTo>
                      <a:pt x="36" y="296"/>
                    </a:lnTo>
                    <a:lnTo>
                      <a:pt x="36" y="319"/>
                    </a:lnTo>
                    <a:lnTo>
                      <a:pt x="35" y="328"/>
                    </a:lnTo>
                    <a:lnTo>
                      <a:pt x="29" y="340"/>
                    </a:lnTo>
                    <a:lnTo>
                      <a:pt x="29" y="351"/>
                    </a:lnTo>
                    <a:lnTo>
                      <a:pt x="32" y="355"/>
                    </a:lnTo>
                    <a:lnTo>
                      <a:pt x="43" y="352"/>
                    </a:lnTo>
                    <a:lnTo>
                      <a:pt x="55" y="352"/>
                    </a:lnTo>
                    <a:lnTo>
                      <a:pt x="67" y="352"/>
                    </a:lnTo>
                    <a:lnTo>
                      <a:pt x="76" y="356"/>
                    </a:lnTo>
                    <a:lnTo>
                      <a:pt x="87" y="356"/>
                    </a:lnTo>
                    <a:lnTo>
                      <a:pt x="97" y="352"/>
                    </a:lnTo>
                    <a:lnTo>
                      <a:pt x="104" y="348"/>
                    </a:lnTo>
                    <a:lnTo>
                      <a:pt x="113" y="34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5" name="Freeform 188"/>
              <p:cNvSpPr>
                <a:spLocks noChangeAspect="1"/>
              </p:cNvSpPr>
              <p:nvPr/>
            </p:nvSpPr>
            <p:spPr bwMode="gray">
              <a:xfrm>
                <a:off x="2581" y="1767"/>
                <a:ext cx="98" cy="131"/>
              </a:xfrm>
              <a:custGeom>
                <a:avLst/>
                <a:gdLst/>
                <a:ahLst/>
                <a:cxnLst>
                  <a:cxn ang="0">
                    <a:pos x="271" y="68"/>
                  </a:cxn>
                  <a:cxn ang="0">
                    <a:pos x="255" y="55"/>
                  </a:cxn>
                  <a:cxn ang="0">
                    <a:pos x="228" y="50"/>
                  </a:cxn>
                  <a:cxn ang="0">
                    <a:pos x="211" y="39"/>
                  </a:cxn>
                  <a:cxn ang="0">
                    <a:pos x="196" y="6"/>
                  </a:cxn>
                  <a:cxn ang="0">
                    <a:pos x="158" y="0"/>
                  </a:cxn>
                  <a:cxn ang="0">
                    <a:pos x="164" y="31"/>
                  </a:cxn>
                  <a:cxn ang="0">
                    <a:pos x="148" y="55"/>
                  </a:cxn>
                  <a:cxn ang="0">
                    <a:pos x="161" y="71"/>
                  </a:cxn>
                  <a:cxn ang="0">
                    <a:pos x="159" y="87"/>
                  </a:cxn>
                  <a:cxn ang="0">
                    <a:pos x="145" y="106"/>
                  </a:cxn>
                  <a:cxn ang="0">
                    <a:pos x="142" y="142"/>
                  </a:cxn>
                  <a:cxn ang="0">
                    <a:pos x="123" y="137"/>
                  </a:cxn>
                  <a:cxn ang="0">
                    <a:pos x="72" y="117"/>
                  </a:cxn>
                  <a:cxn ang="0">
                    <a:pos x="62" y="140"/>
                  </a:cxn>
                  <a:cxn ang="0">
                    <a:pos x="86" y="160"/>
                  </a:cxn>
                  <a:cxn ang="0">
                    <a:pos x="54" y="200"/>
                  </a:cxn>
                  <a:cxn ang="0">
                    <a:pos x="57" y="239"/>
                  </a:cxn>
                  <a:cxn ang="0">
                    <a:pos x="34" y="278"/>
                  </a:cxn>
                  <a:cxn ang="0">
                    <a:pos x="2" y="283"/>
                  </a:cxn>
                  <a:cxn ang="0">
                    <a:pos x="6" y="339"/>
                  </a:cxn>
                  <a:cxn ang="0">
                    <a:pos x="5" y="377"/>
                  </a:cxn>
                  <a:cxn ang="0">
                    <a:pos x="17" y="410"/>
                  </a:cxn>
                  <a:cxn ang="0">
                    <a:pos x="12" y="445"/>
                  </a:cxn>
                  <a:cxn ang="0">
                    <a:pos x="17" y="479"/>
                  </a:cxn>
                  <a:cxn ang="0">
                    <a:pos x="61" y="508"/>
                  </a:cxn>
                  <a:cxn ang="0">
                    <a:pos x="96" y="561"/>
                  </a:cxn>
                  <a:cxn ang="0">
                    <a:pos x="86" y="636"/>
                  </a:cxn>
                  <a:cxn ang="0">
                    <a:pos x="156" y="635"/>
                  </a:cxn>
                  <a:cxn ang="0">
                    <a:pos x="212" y="644"/>
                  </a:cxn>
                  <a:cxn ang="0">
                    <a:pos x="242" y="657"/>
                  </a:cxn>
                  <a:cxn ang="0">
                    <a:pos x="276" y="652"/>
                  </a:cxn>
                  <a:cxn ang="0">
                    <a:pos x="346" y="631"/>
                  </a:cxn>
                  <a:cxn ang="0">
                    <a:pos x="384" y="638"/>
                  </a:cxn>
                  <a:cxn ang="0">
                    <a:pos x="381" y="587"/>
                  </a:cxn>
                  <a:cxn ang="0">
                    <a:pos x="427" y="552"/>
                  </a:cxn>
                  <a:cxn ang="0">
                    <a:pos x="389" y="506"/>
                  </a:cxn>
                  <a:cxn ang="0">
                    <a:pos x="349" y="440"/>
                  </a:cxn>
                  <a:cxn ang="0">
                    <a:pos x="329" y="411"/>
                  </a:cxn>
                  <a:cxn ang="0">
                    <a:pos x="368" y="405"/>
                  </a:cxn>
                  <a:cxn ang="0">
                    <a:pos x="447" y="366"/>
                  </a:cxn>
                  <a:cxn ang="0">
                    <a:pos x="474" y="367"/>
                  </a:cxn>
                  <a:cxn ang="0">
                    <a:pos x="490" y="320"/>
                  </a:cxn>
                  <a:cxn ang="0">
                    <a:pos x="470" y="262"/>
                  </a:cxn>
                  <a:cxn ang="0">
                    <a:pos x="463" y="205"/>
                  </a:cxn>
                  <a:cxn ang="0">
                    <a:pos x="458" y="162"/>
                  </a:cxn>
                  <a:cxn ang="0">
                    <a:pos x="448" y="106"/>
                  </a:cxn>
                  <a:cxn ang="0">
                    <a:pos x="405" y="73"/>
                  </a:cxn>
                  <a:cxn ang="0">
                    <a:pos x="387" y="55"/>
                  </a:cxn>
                  <a:cxn ang="0">
                    <a:pos x="351" y="60"/>
                  </a:cxn>
                  <a:cxn ang="0">
                    <a:pos x="361" y="41"/>
                  </a:cxn>
                  <a:cxn ang="0">
                    <a:pos x="330" y="72"/>
                  </a:cxn>
                  <a:cxn ang="0">
                    <a:pos x="299" y="88"/>
                  </a:cxn>
                  <a:cxn ang="0">
                    <a:pos x="261" y="88"/>
                  </a:cxn>
                </a:cxnLst>
                <a:rect l="0" t="0" r="r" b="b"/>
                <a:pathLst>
                  <a:path w="490" h="659">
                    <a:moveTo>
                      <a:pt x="261" y="88"/>
                    </a:moveTo>
                    <a:lnTo>
                      <a:pt x="260" y="83"/>
                    </a:lnTo>
                    <a:lnTo>
                      <a:pt x="264" y="73"/>
                    </a:lnTo>
                    <a:lnTo>
                      <a:pt x="271" y="68"/>
                    </a:lnTo>
                    <a:lnTo>
                      <a:pt x="276" y="62"/>
                    </a:lnTo>
                    <a:lnTo>
                      <a:pt x="276" y="52"/>
                    </a:lnTo>
                    <a:lnTo>
                      <a:pt x="272" y="49"/>
                    </a:lnTo>
                    <a:lnTo>
                      <a:pt x="255" y="55"/>
                    </a:lnTo>
                    <a:lnTo>
                      <a:pt x="249" y="55"/>
                    </a:lnTo>
                    <a:lnTo>
                      <a:pt x="244" y="49"/>
                    </a:lnTo>
                    <a:lnTo>
                      <a:pt x="233" y="44"/>
                    </a:lnTo>
                    <a:lnTo>
                      <a:pt x="228" y="50"/>
                    </a:lnTo>
                    <a:lnTo>
                      <a:pt x="223" y="50"/>
                    </a:lnTo>
                    <a:lnTo>
                      <a:pt x="222" y="42"/>
                    </a:lnTo>
                    <a:lnTo>
                      <a:pt x="215" y="42"/>
                    </a:lnTo>
                    <a:lnTo>
                      <a:pt x="211" y="39"/>
                    </a:lnTo>
                    <a:lnTo>
                      <a:pt x="217" y="31"/>
                    </a:lnTo>
                    <a:lnTo>
                      <a:pt x="217" y="22"/>
                    </a:lnTo>
                    <a:lnTo>
                      <a:pt x="212" y="11"/>
                    </a:lnTo>
                    <a:lnTo>
                      <a:pt x="196" y="6"/>
                    </a:lnTo>
                    <a:lnTo>
                      <a:pt x="189" y="7"/>
                    </a:lnTo>
                    <a:lnTo>
                      <a:pt x="190" y="2"/>
                    </a:lnTo>
                    <a:lnTo>
                      <a:pt x="182" y="6"/>
                    </a:lnTo>
                    <a:lnTo>
                      <a:pt x="158" y="0"/>
                    </a:lnTo>
                    <a:lnTo>
                      <a:pt x="150" y="1"/>
                    </a:lnTo>
                    <a:lnTo>
                      <a:pt x="150" y="11"/>
                    </a:lnTo>
                    <a:lnTo>
                      <a:pt x="158" y="25"/>
                    </a:lnTo>
                    <a:lnTo>
                      <a:pt x="164" y="31"/>
                    </a:lnTo>
                    <a:lnTo>
                      <a:pt x="167" y="38"/>
                    </a:lnTo>
                    <a:lnTo>
                      <a:pt x="153" y="46"/>
                    </a:lnTo>
                    <a:lnTo>
                      <a:pt x="152" y="50"/>
                    </a:lnTo>
                    <a:lnTo>
                      <a:pt x="148" y="55"/>
                    </a:lnTo>
                    <a:lnTo>
                      <a:pt x="155" y="55"/>
                    </a:lnTo>
                    <a:lnTo>
                      <a:pt x="159" y="58"/>
                    </a:lnTo>
                    <a:lnTo>
                      <a:pt x="157" y="65"/>
                    </a:lnTo>
                    <a:lnTo>
                      <a:pt x="161" y="71"/>
                    </a:lnTo>
                    <a:lnTo>
                      <a:pt x="166" y="74"/>
                    </a:lnTo>
                    <a:lnTo>
                      <a:pt x="164" y="78"/>
                    </a:lnTo>
                    <a:lnTo>
                      <a:pt x="159" y="79"/>
                    </a:lnTo>
                    <a:lnTo>
                      <a:pt x="159" y="87"/>
                    </a:lnTo>
                    <a:lnTo>
                      <a:pt x="172" y="97"/>
                    </a:lnTo>
                    <a:lnTo>
                      <a:pt x="170" y="99"/>
                    </a:lnTo>
                    <a:lnTo>
                      <a:pt x="148" y="99"/>
                    </a:lnTo>
                    <a:lnTo>
                      <a:pt x="145" y="106"/>
                    </a:lnTo>
                    <a:lnTo>
                      <a:pt x="142" y="110"/>
                    </a:lnTo>
                    <a:lnTo>
                      <a:pt x="142" y="128"/>
                    </a:lnTo>
                    <a:lnTo>
                      <a:pt x="148" y="148"/>
                    </a:lnTo>
                    <a:lnTo>
                      <a:pt x="142" y="142"/>
                    </a:lnTo>
                    <a:lnTo>
                      <a:pt x="137" y="128"/>
                    </a:lnTo>
                    <a:lnTo>
                      <a:pt x="130" y="126"/>
                    </a:lnTo>
                    <a:lnTo>
                      <a:pt x="129" y="137"/>
                    </a:lnTo>
                    <a:lnTo>
                      <a:pt x="123" y="137"/>
                    </a:lnTo>
                    <a:lnTo>
                      <a:pt x="120" y="125"/>
                    </a:lnTo>
                    <a:lnTo>
                      <a:pt x="115" y="115"/>
                    </a:lnTo>
                    <a:lnTo>
                      <a:pt x="99" y="113"/>
                    </a:lnTo>
                    <a:lnTo>
                      <a:pt x="72" y="117"/>
                    </a:lnTo>
                    <a:lnTo>
                      <a:pt x="69" y="126"/>
                    </a:lnTo>
                    <a:lnTo>
                      <a:pt x="65" y="130"/>
                    </a:lnTo>
                    <a:lnTo>
                      <a:pt x="61" y="137"/>
                    </a:lnTo>
                    <a:lnTo>
                      <a:pt x="62" y="140"/>
                    </a:lnTo>
                    <a:lnTo>
                      <a:pt x="73" y="142"/>
                    </a:lnTo>
                    <a:lnTo>
                      <a:pt x="78" y="146"/>
                    </a:lnTo>
                    <a:lnTo>
                      <a:pt x="83" y="152"/>
                    </a:lnTo>
                    <a:lnTo>
                      <a:pt x="86" y="160"/>
                    </a:lnTo>
                    <a:lnTo>
                      <a:pt x="83" y="159"/>
                    </a:lnTo>
                    <a:lnTo>
                      <a:pt x="78" y="151"/>
                    </a:lnTo>
                    <a:lnTo>
                      <a:pt x="64" y="154"/>
                    </a:lnTo>
                    <a:lnTo>
                      <a:pt x="54" y="200"/>
                    </a:lnTo>
                    <a:lnTo>
                      <a:pt x="38" y="211"/>
                    </a:lnTo>
                    <a:lnTo>
                      <a:pt x="40" y="219"/>
                    </a:lnTo>
                    <a:lnTo>
                      <a:pt x="59" y="228"/>
                    </a:lnTo>
                    <a:lnTo>
                      <a:pt x="57" y="239"/>
                    </a:lnTo>
                    <a:lnTo>
                      <a:pt x="50" y="249"/>
                    </a:lnTo>
                    <a:lnTo>
                      <a:pt x="40" y="256"/>
                    </a:lnTo>
                    <a:lnTo>
                      <a:pt x="39" y="267"/>
                    </a:lnTo>
                    <a:lnTo>
                      <a:pt x="34" y="278"/>
                    </a:lnTo>
                    <a:lnTo>
                      <a:pt x="26" y="280"/>
                    </a:lnTo>
                    <a:lnTo>
                      <a:pt x="13" y="275"/>
                    </a:lnTo>
                    <a:lnTo>
                      <a:pt x="3" y="275"/>
                    </a:lnTo>
                    <a:lnTo>
                      <a:pt x="2" y="283"/>
                    </a:lnTo>
                    <a:lnTo>
                      <a:pt x="6" y="298"/>
                    </a:lnTo>
                    <a:lnTo>
                      <a:pt x="7" y="308"/>
                    </a:lnTo>
                    <a:lnTo>
                      <a:pt x="6" y="320"/>
                    </a:lnTo>
                    <a:lnTo>
                      <a:pt x="6" y="339"/>
                    </a:lnTo>
                    <a:lnTo>
                      <a:pt x="0" y="346"/>
                    </a:lnTo>
                    <a:lnTo>
                      <a:pt x="0" y="353"/>
                    </a:lnTo>
                    <a:lnTo>
                      <a:pt x="5" y="370"/>
                    </a:lnTo>
                    <a:lnTo>
                      <a:pt x="5" y="377"/>
                    </a:lnTo>
                    <a:lnTo>
                      <a:pt x="10" y="383"/>
                    </a:lnTo>
                    <a:lnTo>
                      <a:pt x="11" y="394"/>
                    </a:lnTo>
                    <a:lnTo>
                      <a:pt x="17" y="402"/>
                    </a:lnTo>
                    <a:lnTo>
                      <a:pt x="17" y="410"/>
                    </a:lnTo>
                    <a:lnTo>
                      <a:pt x="6" y="427"/>
                    </a:lnTo>
                    <a:lnTo>
                      <a:pt x="14" y="431"/>
                    </a:lnTo>
                    <a:lnTo>
                      <a:pt x="12" y="438"/>
                    </a:lnTo>
                    <a:lnTo>
                      <a:pt x="12" y="445"/>
                    </a:lnTo>
                    <a:lnTo>
                      <a:pt x="17" y="453"/>
                    </a:lnTo>
                    <a:lnTo>
                      <a:pt x="21" y="460"/>
                    </a:lnTo>
                    <a:lnTo>
                      <a:pt x="22" y="472"/>
                    </a:lnTo>
                    <a:lnTo>
                      <a:pt x="17" y="479"/>
                    </a:lnTo>
                    <a:lnTo>
                      <a:pt x="29" y="490"/>
                    </a:lnTo>
                    <a:lnTo>
                      <a:pt x="37" y="496"/>
                    </a:lnTo>
                    <a:lnTo>
                      <a:pt x="43" y="507"/>
                    </a:lnTo>
                    <a:lnTo>
                      <a:pt x="61" y="508"/>
                    </a:lnTo>
                    <a:lnTo>
                      <a:pt x="102" y="520"/>
                    </a:lnTo>
                    <a:lnTo>
                      <a:pt x="115" y="526"/>
                    </a:lnTo>
                    <a:lnTo>
                      <a:pt x="113" y="538"/>
                    </a:lnTo>
                    <a:lnTo>
                      <a:pt x="96" y="561"/>
                    </a:lnTo>
                    <a:lnTo>
                      <a:pt x="93" y="573"/>
                    </a:lnTo>
                    <a:lnTo>
                      <a:pt x="86" y="598"/>
                    </a:lnTo>
                    <a:lnTo>
                      <a:pt x="84" y="626"/>
                    </a:lnTo>
                    <a:lnTo>
                      <a:pt x="86" y="636"/>
                    </a:lnTo>
                    <a:lnTo>
                      <a:pt x="88" y="638"/>
                    </a:lnTo>
                    <a:lnTo>
                      <a:pt x="94" y="644"/>
                    </a:lnTo>
                    <a:lnTo>
                      <a:pt x="130" y="639"/>
                    </a:lnTo>
                    <a:lnTo>
                      <a:pt x="156" y="635"/>
                    </a:lnTo>
                    <a:lnTo>
                      <a:pt x="175" y="639"/>
                    </a:lnTo>
                    <a:lnTo>
                      <a:pt x="193" y="648"/>
                    </a:lnTo>
                    <a:lnTo>
                      <a:pt x="204" y="644"/>
                    </a:lnTo>
                    <a:lnTo>
                      <a:pt x="212" y="644"/>
                    </a:lnTo>
                    <a:lnTo>
                      <a:pt x="221" y="646"/>
                    </a:lnTo>
                    <a:lnTo>
                      <a:pt x="227" y="654"/>
                    </a:lnTo>
                    <a:lnTo>
                      <a:pt x="237" y="659"/>
                    </a:lnTo>
                    <a:lnTo>
                      <a:pt x="242" y="657"/>
                    </a:lnTo>
                    <a:lnTo>
                      <a:pt x="244" y="649"/>
                    </a:lnTo>
                    <a:lnTo>
                      <a:pt x="252" y="643"/>
                    </a:lnTo>
                    <a:lnTo>
                      <a:pt x="263" y="644"/>
                    </a:lnTo>
                    <a:lnTo>
                      <a:pt x="276" y="652"/>
                    </a:lnTo>
                    <a:lnTo>
                      <a:pt x="290" y="652"/>
                    </a:lnTo>
                    <a:lnTo>
                      <a:pt x="309" y="639"/>
                    </a:lnTo>
                    <a:lnTo>
                      <a:pt x="342" y="636"/>
                    </a:lnTo>
                    <a:lnTo>
                      <a:pt x="346" y="631"/>
                    </a:lnTo>
                    <a:lnTo>
                      <a:pt x="357" y="635"/>
                    </a:lnTo>
                    <a:lnTo>
                      <a:pt x="372" y="635"/>
                    </a:lnTo>
                    <a:lnTo>
                      <a:pt x="377" y="642"/>
                    </a:lnTo>
                    <a:lnTo>
                      <a:pt x="384" y="638"/>
                    </a:lnTo>
                    <a:lnTo>
                      <a:pt x="384" y="631"/>
                    </a:lnTo>
                    <a:lnTo>
                      <a:pt x="377" y="615"/>
                    </a:lnTo>
                    <a:lnTo>
                      <a:pt x="376" y="599"/>
                    </a:lnTo>
                    <a:lnTo>
                      <a:pt x="381" y="587"/>
                    </a:lnTo>
                    <a:lnTo>
                      <a:pt x="403" y="578"/>
                    </a:lnTo>
                    <a:lnTo>
                      <a:pt x="406" y="568"/>
                    </a:lnTo>
                    <a:lnTo>
                      <a:pt x="410" y="560"/>
                    </a:lnTo>
                    <a:lnTo>
                      <a:pt x="427" y="552"/>
                    </a:lnTo>
                    <a:lnTo>
                      <a:pt x="428" y="545"/>
                    </a:lnTo>
                    <a:lnTo>
                      <a:pt x="425" y="539"/>
                    </a:lnTo>
                    <a:lnTo>
                      <a:pt x="399" y="519"/>
                    </a:lnTo>
                    <a:lnTo>
                      <a:pt x="389" y="506"/>
                    </a:lnTo>
                    <a:lnTo>
                      <a:pt x="361" y="483"/>
                    </a:lnTo>
                    <a:lnTo>
                      <a:pt x="351" y="470"/>
                    </a:lnTo>
                    <a:lnTo>
                      <a:pt x="351" y="453"/>
                    </a:lnTo>
                    <a:lnTo>
                      <a:pt x="349" y="440"/>
                    </a:lnTo>
                    <a:lnTo>
                      <a:pt x="336" y="434"/>
                    </a:lnTo>
                    <a:lnTo>
                      <a:pt x="328" y="425"/>
                    </a:lnTo>
                    <a:lnTo>
                      <a:pt x="328" y="416"/>
                    </a:lnTo>
                    <a:lnTo>
                      <a:pt x="329" y="411"/>
                    </a:lnTo>
                    <a:lnTo>
                      <a:pt x="345" y="426"/>
                    </a:lnTo>
                    <a:lnTo>
                      <a:pt x="347" y="426"/>
                    </a:lnTo>
                    <a:lnTo>
                      <a:pt x="352" y="412"/>
                    </a:lnTo>
                    <a:lnTo>
                      <a:pt x="368" y="405"/>
                    </a:lnTo>
                    <a:lnTo>
                      <a:pt x="385" y="399"/>
                    </a:lnTo>
                    <a:lnTo>
                      <a:pt x="403" y="391"/>
                    </a:lnTo>
                    <a:lnTo>
                      <a:pt x="409" y="379"/>
                    </a:lnTo>
                    <a:lnTo>
                      <a:pt x="447" y="366"/>
                    </a:lnTo>
                    <a:lnTo>
                      <a:pt x="451" y="343"/>
                    </a:lnTo>
                    <a:lnTo>
                      <a:pt x="460" y="346"/>
                    </a:lnTo>
                    <a:lnTo>
                      <a:pt x="468" y="358"/>
                    </a:lnTo>
                    <a:lnTo>
                      <a:pt x="474" y="367"/>
                    </a:lnTo>
                    <a:lnTo>
                      <a:pt x="481" y="367"/>
                    </a:lnTo>
                    <a:lnTo>
                      <a:pt x="485" y="358"/>
                    </a:lnTo>
                    <a:lnTo>
                      <a:pt x="489" y="341"/>
                    </a:lnTo>
                    <a:lnTo>
                      <a:pt x="490" y="320"/>
                    </a:lnTo>
                    <a:lnTo>
                      <a:pt x="489" y="316"/>
                    </a:lnTo>
                    <a:lnTo>
                      <a:pt x="473" y="297"/>
                    </a:lnTo>
                    <a:lnTo>
                      <a:pt x="470" y="273"/>
                    </a:lnTo>
                    <a:lnTo>
                      <a:pt x="470" y="262"/>
                    </a:lnTo>
                    <a:lnTo>
                      <a:pt x="469" y="246"/>
                    </a:lnTo>
                    <a:lnTo>
                      <a:pt x="467" y="237"/>
                    </a:lnTo>
                    <a:lnTo>
                      <a:pt x="464" y="213"/>
                    </a:lnTo>
                    <a:lnTo>
                      <a:pt x="463" y="205"/>
                    </a:lnTo>
                    <a:lnTo>
                      <a:pt x="448" y="194"/>
                    </a:lnTo>
                    <a:lnTo>
                      <a:pt x="447" y="186"/>
                    </a:lnTo>
                    <a:lnTo>
                      <a:pt x="452" y="174"/>
                    </a:lnTo>
                    <a:lnTo>
                      <a:pt x="458" y="162"/>
                    </a:lnTo>
                    <a:lnTo>
                      <a:pt x="459" y="149"/>
                    </a:lnTo>
                    <a:lnTo>
                      <a:pt x="459" y="132"/>
                    </a:lnTo>
                    <a:lnTo>
                      <a:pt x="451" y="115"/>
                    </a:lnTo>
                    <a:lnTo>
                      <a:pt x="448" y="106"/>
                    </a:lnTo>
                    <a:lnTo>
                      <a:pt x="426" y="99"/>
                    </a:lnTo>
                    <a:lnTo>
                      <a:pt x="424" y="85"/>
                    </a:lnTo>
                    <a:lnTo>
                      <a:pt x="415" y="72"/>
                    </a:lnTo>
                    <a:lnTo>
                      <a:pt x="405" y="73"/>
                    </a:lnTo>
                    <a:lnTo>
                      <a:pt x="399" y="68"/>
                    </a:lnTo>
                    <a:lnTo>
                      <a:pt x="397" y="67"/>
                    </a:lnTo>
                    <a:lnTo>
                      <a:pt x="394" y="60"/>
                    </a:lnTo>
                    <a:lnTo>
                      <a:pt x="387" y="55"/>
                    </a:lnTo>
                    <a:lnTo>
                      <a:pt x="381" y="49"/>
                    </a:lnTo>
                    <a:lnTo>
                      <a:pt x="365" y="51"/>
                    </a:lnTo>
                    <a:lnTo>
                      <a:pt x="357" y="55"/>
                    </a:lnTo>
                    <a:lnTo>
                      <a:pt x="351" y="60"/>
                    </a:lnTo>
                    <a:lnTo>
                      <a:pt x="352" y="54"/>
                    </a:lnTo>
                    <a:lnTo>
                      <a:pt x="358" y="49"/>
                    </a:lnTo>
                    <a:lnTo>
                      <a:pt x="368" y="42"/>
                    </a:lnTo>
                    <a:lnTo>
                      <a:pt x="361" y="41"/>
                    </a:lnTo>
                    <a:lnTo>
                      <a:pt x="352" y="42"/>
                    </a:lnTo>
                    <a:lnTo>
                      <a:pt x="339" y="60"/>
                    </a:lnTo>
                    <a:lnTo>
                      <a:pt x="335" y="70"/>
                    </a:lnTo>
                    <a:lnTo>
                      <a:pt x="330" y="72"/>
                    </a:lnTo>
                    <a:lnTo>
                      <a:pt x="330" y="66"/>
                    </a:lnTo>
                    <a:lnTo>
                      <a:pt x="312" y="71"/>
                    </a:lnTo>
                    <a:lnTo>
                      <a:pt x="296" y="83"/>
                    </a:lnTo>
                    <a:lnTo>
                      <a:pt x="299" y="88"/>
                    </a:lnTo>
                    <a:lnTo>
                      <a:pt x="290" y="88"/>
                    </a:lnTo>
                    <a:lnTo>
                      <a:pt x="277" y="84"/>
                    </a:lnTo>
                    <a:lnTo>
                      <a:pt x="264" y="94"/>
                    </a:lnTo>
                    <a:lnTo>
                      <a:pt x="261" y="8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266" name="Group 189"/>
              <p:cNvGrpSpPr>
                <a:grpSpLocks noChangeAspect="1"/>
              </p:cNvGrpSpPr>
              <p:nvPr/>
            </p:nvGrpSpPr>
            <p:grpSpPr bwMode="gray">
              <a:xfrm>
                <a:off x="2465" y="1836"/>
                <a:ext cx="156" cy="154"/>
                <a:chOff x="2465" y="1836"/>
                <a:chExt cx="156" cy="154"/>
              </a:xfrm>
              <a:grpFill/>
            </p:grpSpPr>
            <p:sp>
              <p:nvSpPr>
                <p:cNvPr id="297" name="Freeform 190"/>
                <p:cNvSpPr>
                  <a:spLocks noChangeAspect="1"/>
                </p:cNvSpPr>
                <p:nvPr/>
              </p:nvSpPr>
              <p:spPr bwMode="gray">
                <a:xfrm>
                  <a:off x="2610" y="1966"/>
                  <a:ext cx="11" cy="24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6" y="2"/>
                    </a:cxn>
                    <a:cxn ang="0">
                      <a:pos x="47" y="32"/>
                    </a:cxn>
                    <a:cxn ang="0">
                      <a:pos x="52" y="59"/>
                    </a:cxn>
                    <a:cxn ang="0">
                      <a:pos x="51" y="70"/>
                    </a:cxn>
                    <a:cxn ang="0">
                      <a:pos x="47" y="79"/>
                    </a:cxn>
                    <a:cxn ang="0">
                      <a:pos x="44" y="89"/>
                    </a:cxn>
                    <a:cxn ang="0">
                      <a:pos x="41" y="103"/>
                    </a:cxn>
                    <a:cxn ang="0">
                      <a:pos x="33" y="115"/>
                    </a:cxn>
                    <a:cxn ang="0">
                      <a:pos x="33" y="121"/>
                    </a:cxn>
                    <a:cxn ang="0">
                      <a:pos x="28" y="114"/>
                    </a:cxn>
                    <a:cxn ang="0">
                      <a:pos x="22" y="113"/>
                    </a:cxn>
                    <a:cxn ang="0">
                      <a:pos x="16" y="109"/>
                    </a:cxn>
                    <a:cxn ang="0">
                      <a:pos x="14" y="103"/>
                    </a:cxn>
                    <a:cxn ang="0">
                      <a:pos x="14" y="95"/>
                    </a:cxn>
                    <a:cxn ang="0">
                      <a:pos x="8" y="93"/>
                    </a:cxn>
                    <a:cxn ang="0">
                      <a:pos x="5" y="87"/>
                    </a:cxn>
                    <a:cxn ang="0">
                      <a:pos x="4" y="65"/>
                    </a:cxn>
                    <a:cxn ang="0">
                      <a:pos x="0" y="60"/>
                    </a:cxn>
                    <a:cxn ang="0">
                      <a:pos x="0" y="44"/>
                    </a:cxn>
                    <a:cxn ang="0">
                      <a:pos x="5" y="30"/>
                    </a:cxn>
                    <a:cxn ang="0">
                      <a:pos x="10" y="32"/>
                    </a:cxn>
                    <a:cxn ang="0">
                      <a:pos x="16" y="29"/>
                    </a:cxn>
                    <a:cxn ang="0">
                      <a:pos x="27" y="22"/>
                    </a:cxn>
                    <a:cxn ang="0">
                      <a:pos x="36" y="18"/>
                    </a:cxn>
                    <a:cxn ang="0">
                      <a:pos x="38" y="14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52" h="121">
                      <a:moveTo>
                        <a:pt x="41" y="0"/>
                      </a:moveTo>
                      <a:lnTo>
                        <a:pt x="46" y="2"/>
                      </a:lnTo>
                      <a:lnTo>
                        <a:pt x="47" y="32"/>
                      </a:lnTo>
                      <a:lnTo>
                        <a:pt x="52" y="59"/>
                      </a:lnTo>
                      <a:lnTo>
                        <a:pt x="51" y="70"/>
                      </a:lnTo>
                      <a:lnTo>
                        <a:pt x="47" y="79"/>
                      </a:lnTo>
                      <a:lnTo>
                        <a:pt x="44" y="89"/>
                      </a:lnTo>
                      <a:lnTo>
                        <a:pt x="41" y="103"/>
                      </a:lnTo>
                      <a:lnTo>
                        <a:pt x="33" y="115"/>
                      </a:lnTo>
                      <a:lnTo>
                        <a:pt x="33" y="121"/>
                      </a:lnTo>
                      <a:lnTo>
                        <a:pt x="28" y="114"/>
                      </a:lnTo>
                      <a:lnTo>
                        <a:pt x="22" y="113"/>
                      </a:lnTo>
                      <a:lnTo>
                        <a:pt x="16" y="109"/>
                      </a:lnTo>
                      <a:lnTo>
                        <a:pt x="14" y="103"/>
                      </a:lnTo>
                      <a:lnTo>
                        <a:pt x="14" y="95"/>
                      </a:lnTo>
                      <a:lnTo>
                        <a:pt x="8" y="93"/>
                      </a:lnTo>
                      <a:lnTo>
                        <a:pt x="5" y="87"/>
                      </a:lnTo>
                      <a:lnTo>
                        <a:pt x="4" y="65"/>
                      </a:lnTo>
                      <a:lnTo>
                        <a:pt x="0" y="60"/>
                      </a:lnTo>
                      <a:lnTo>
                        <a:pt x="0" y="44"/>
                      </a:lnTo>
                      <a:lnTo>
                        <a:pt x="5" y="30"/>
                      </a:lnTo>
                      <a:lnTo>
                        <a:pt x="10" y="32"/>
                      </a:lnTo>
                      <a:lnTo>
                        <a:pt x="16" y="29"/>
                      </a:lnTo>
                      <a:lnTo>
                        <a:pt x="27" y="22"/>
                      </a:lnTo>
                      <a:lnTo>
                        <a:pt x="36" y="18"/>
                      </a:lnTo>
                      <a:lnTo>
                        <a:pt x="38" y="1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98" name="Freeform 191"/>
                <p:cNvSpPr>
                  <a:spLocks noChangeAspect="1"/>
                </p:cNvSpPr>
                <p:nvPr/>
              </p:nvSpPr>
              <p:spPr bwMode="gray">
                <a:xfrm>
                  <a:off x="2465" y="1836"/>
                  <a:ext cx="139" cy="140"/>
                </a:xfrm>
                <a:custGeom>
                  <a:avLst/>
                  <a:gdLst/>
                  <a:ahLst/>
                  <a:cxnLst>
                    <a:cxn ang="0">
                      <a:pos x="349" y="36"/>
                    </a:cxn>
                    <a:cxn ang="0">
                      <a:pos x="322" y="100"/>
                    </a:cxn>
                    <a:cxn ang="0">
                      <a:pos x="284" y="138"/>
                    </a:cxn>
                    <a:cxn ang="0">
                      <a:pos x="248" y="154"/>
                    </a:cxn>
                    <a:cxn ang="0">
                      <a:pos x="191" y="133"/>
                    </a:cxn>
                    <a:cxn ang="0">
                      <a:pos x="159" y="140"/>
                    </a:cxn>
                    <a:cxn ang="0">
                      <a:pos x="177" y="202"/>
                    </a:cxn>
                    <a:cxn ang="0">
                      <a:pos x="160" y="205"/>
                    </a:cxn>
                    <a:cxn ang="0">
                      <a:pos x="93" y="194"/>
                    </a:cxn>
                    <a:cxn ang="0">
                      <a:pos x="51" y="206"/>
                    </a:cxn>
                    <a:cxn ang="0">
                      <a:pos x="0" y="235"/>
                    </a:cxn>
                    <a:cxn ang="0">
                      <a:pos x="11" y="248"/>
                    </a:cxn>
                    <a:cxn ang="0">
                      <a:pos x="10" y="263"/>
                    </a:cxn>
                    <a:cxn ang="0">
                      <a:pos x="43" y="273"/>
                    </a:cxn>
                    <a:cxn ang="0">
                      <a:pos x="103" y="294"/>
                    </a:cxn>
                    <a:cxn ang="0">
                      <a:pos x="128" y="302"/>
                    </a:cxn>
                    <a:cxn ang="0">
                      <a:pos x="148" y="328"/>
                    </a:cxn>
                    <a:cxn ang="0">
                      <a:pos x="144" y="351"/>
                    </a:cxn>
                    <a:cxn ang="0">
                      <a:pos x="188" y="397"/>
                    </a:cxn>
                    <a:cxn ang="0">
                      <a:pos x="199" y="440"/>
                    </a:cxn>
                    <a:cxn ang="0">
                      <a:pos x="220" y="475"/>
                    </a:cxn>
                    <a:cxn ang="0">
                      <a:pos x="197" y="527"/>
                    </a:cxn>
                    <a:cxn ang="0">
                      <a:pos x="197" y="547"/>
                    </a:cxn>
                    <a:cxn ang="0">
                      <a:pos x="162" y="628"/>
                    </a:cxn>
                    <a:cxn ang="0">
                      <a:pos x="222" y="666"/>
                    </a:cxn>
                    <a:cxn ang="0">
                      <a:pos x="308" y="670"/>
                    </a:cxn>
                    <a:cxn ang="0">
                      <a:pos x="361" y="698"/>
                    </a:cxn>
                    <a:cxn ang="0">
                      <a:pos x="431" y="697"/>
                    </a:cxn>
                    <a:cxn ang="0">
                      <a:pos x="452" y="629"/>
                    </a:cxn>
                    <a:cxn ang="0">
                      <a:pos x="487" y="615"/>
                    </a:cxn>
                    <a:cxn ang="0">
                      <a:pos x="525" y="625"/>
                    </a:cxn>
                    <a:cxn ang="0">
                      <a:pos x="552" y="628"/>
                    </a:cxn>
                    <a:cxn ang="0">
                      <a:pos x="593" y="645"/>
                    </a:cxn>
                    <a:cxn ang="0">
                      <a:pos x="640" y="608"/>
                    </a:cxn>
                    <a:cxn ang="0">
                      <a:pos x="667" y="585"/>
                    </a:cxn>
                    <a:cxn ang="0">
                      <a:pos x="635" y="550"/>
                    </a:cxn>
                    <a:cxn ang="0">
                      <a:pos x="624" y="509"/>
                    </a:cxn>
                    <a:cxn ang="0">
                      <a:pos x="640" y="477"/>
                    </a:cxn>
                    <a:cxn ang="0">
                      <a:pos x="636" y="430"/>
                    </a:cxn>
                    <a:cxn ang="0">
                      <a:pos x="620" y="388"/>
                    </a:cxn>
                    <a:cxn ang="0">
                      <a:pos x="584" y="385"/>
                    </a:cxn>
                    <a:cxn ang="0">
                      <a:pos x="603" y="355"/>
                    </a:cxn>
                    <a:cxn ang="0">
                      <a:pos x="635" y="299"/>
                    </a:cxn>
                    <a:cxn ang="0">
                      <a:pos x="663" y="279"/>
                    </a:cxn>
                    <a:cxn ang="0">
                      <a:pos x="694" y="179"/>
                    </a:cxn>
                    <a:cxn ang="0">
                      <a:pos x="608" y="143"/>
                    </a:cxn>
                    <a:cxn ang="0">
                      <a:pos x="548" y="127"/>
                    </a:cxn>
                    <a:cxn ang="0">
                      <a:pos x="526" y="82"/>
                    </a:cxn>
                    <a:cxn ang="0">
                      <a:pos x="489" y="93"/>
                    </a:cxn>
                    <a:cxn ang="0">
                      <a:pos x="452" y="52"/>
                    </a:cxn>
                    <a:cxn ang="0">
                      <a:pos x="408" y="16"/>
                    </a:cxn>
                  </a:cxnLst>
                  <a:rect l="0" t="0" r="r" b="b"/>
                  <a:pathLst>
                    <a:path w="694" h="700">
                      <a:moveTo>
                        <a:pt x="408" y="0"/>
                      </a:moveTo>
                      <a:lnTo>
                        <a:pt x="403" y="4"/>
                      </a:lnTo>
                      <a:lnTo>
                        <a:pt x="381" y="7"/>
                      </a:lnTo>
                      <a:lnTo>
                        <a:pt x="355" y="17"/>
                      </a:lnTo>
                      <a:lnTo>
                        <a:pt x="349" y="36"/>
                      </a:lnTo>
                      <a:lnTo>
                        <a:pt x="345" y="66"/>
                      </a:lnTo>
                      <a:lnTo>
                        <a:pt x="349" y="70"/>
                      </a:lnTo>
                      <a:lnTo>
                        <a:pt x="348" y="76"/>
                      </a:lnTo>
                      <a:lnTo>
                        <a:pt x="336" y="90"/>
                      </a:lnTo>
                      <a:lnTo>
                        <a:pt x="322" y="100"/>
                      </a:lnTo>
                      <a:lnTo>
                        <a:pt x="290" y="109"/>
                      </a:lnTo>
                      <a:lnTo>
                        <a:pt x="275" y="119"/>
                      </a:lnTo>
                      <a:lnTo>
                        <a:pt x="268" y="132"/>
                      </a:lnTo>
                      <a:lnTo>
                        <a:pt x="269" y="138"/>
                      </a:lnTo>
                      <a:lnTo>
                        <a:pt x="284" y="138"/>
                      </a:lnTo>
                      <a:lnTo>
                        <a:pt x="289" y="139"/>
                      </a:lnTo>
                      <a:lnTo>
                        <a:pt x="288" y="143"/>
                      </a:lnTo>
                      <a:lnTo>
                        <a:pt x="267" y="145"/>
                      </a:lnTo>
                      <a:lnTo>
                        <a:pt x="257" y="152"/>
                      </a:lnTo>
                      <a:lnTo>
                        <a:pt x="248" y="154"/>
                      </a:lnTo>
                      <a:lnTo>
                        <a:pt x="237" y="154"/>
                      </a:lnTo>
                      <a:lnTo>
                        <a:pt x="224" y="150"/>
                      </a:lnTo>
                      <a:lnTo>
                        <a:pt x="208" y="148"/>
                      </a:lnTo>
                      <a:lnTo>
                        <a:pt x="203" y="149"/>
                      </a:lnTo>
                      <a:lnTo>
                        <a:pt x="191" y="133"/>
                      </a:lnTo>
                      <a:lnTo>
                        <a:pt x="192" y="124"/>
                      </a:lnTo>
                      <a:lnTo>
                        <a:pt x="188" y="122"/>
                      </a:lnTo>
                      <a:lnTo>
                        <a:pt x="167" y="123"/>
                      </a:lnTo>
                      <a:lnTo>
                        <a:pt x="157" y="120"/>
                      </a:lnTo>
                      <a:lnTo>
                        <a:pt x="159" y="140"/>
                      </a:lnTo>
                      <a:lnTo>
                        <a:pt x="162" y="149"/>
                      </a:lnTo>
                      <a:lnTo>
                        <a:pt x="168" y="154"/>
                      </a:lnTo>
                      <a:lnTo>
                        <a:pt x="175" y="177"/>
                      </a:lnTo>
                      <a:lnTo>
                        <a:pt x="175" y="189"/>
                      </a:lnTo>
                      <a:lnTo>
                        <a:pt x="177" y="202"/>
                      </a:lnTo>
                      <a:lnTo>
                        <a:pt x="183" y="206"/>
                      </a:lnTo>
                      <a:lnTo>
                        <a:pt x="179" y="210"/>
                      </a:lnTo>
                      <a:lnTo>
                        <a:pt x="168" y="211"/>
                      </a:lnTo>
                      <a:lnTo>
                        <a:pt x="165" y="208"/>
                      </a:lnTo>
                      <a:lnTo>
                        <a:pt x="160" y="205"/>
                      </a:lnTo>
                      <a:lnTo>
                        <a:pt x="152" y="208"/>
                      </a:lnTo>
                      <a:lnTo>
                        <a:pt x="145" y="210"/>
                      </a:lnTo>
                      <a:lnTo>
                        <a:pt x="136" y="209"/>
                      </a:lnTo>
                      <a:lnTo>
                        <a:pt x="118" y="215"/>
                      </a:lnTo>
                      <a:lnTo>
                        <a:pt x="93" y="194"/>
                      </a:lnTo>
                      <a:lnTo>
                        <a:pt x="76" y="195"/>
                      </a:lnTo>
                      <a:lnTo>
                        <a:pt x="71" y="193"/>
                      </a:lnTo>
                      <a:lnTo>
                        <a:pt x="66" y="197"/>
                      </a:lnTo>
                      <a:lnTo>
                        <a:pt x="65" y="202"/>
                      </a:lnTo>
                      <a:lnTo>
                        <a:pt x="51" y="206"/>
                      </a:lnTo>
                      <a:lnTo>
                        <a:pt x="42" y="206"/>
                      </a:lnTo>
                      <a:lnTo>
                        <a:pt x="26" y="209"/>
                      </a:lnTo>
                      <a:lnTo>
                        <a:pt x="4" y="219"/>
                      </a:lnTo>
                      <a:lnTo>
                        <a:pt x="0" y="229"/>
                      </a:lnTo>
                      <a:lnTo>
                        <a:pt x="0" y="235"/>
                      </a:lnTo>
                      <a:lnTo>
                        <a:pt x="20" y="232"/>
                      </a:lnTo>
                      <a:lnTo>
                        <a:pt x="19" y="237"/>
                      </a:lnTo>
                      <a:lnTo>
                        <a:pt x="14" y="237"/>
                      </a:lnTo>
                      <a:lnTo>
                        <a:pt x="9" y="243"/>
                      </a:lnTo>
                      <a:lnTo>
                        <a:pt x="11" y="248"/>
                      </a:lnTo>
                      <a:lnTo>
                        <a:pt x="19" y="247"/>
                      </a:lnTo>
                      <a:lnTo>
                        <a:pt x="28" y="247"/>
                      </a:lnTo>
                      <a:lnTo>
                        <a:pt x="26" y="254"/>
                      </a:lnTo>
                      <a:lnTo>
                        <a:pt x="5" y="258"/>
                      </a:lnTo>
                      <a:lnTo>
                        <a:pt x="10" y="263"/>
                      </a:lnTo>
                      <a:lnTo>
                        <a:pt x="23" y="268"/>
                      </a:lnTo>
                      <a:lnTo>
                        <a:pt x="23" y="279"/>
                      </a:lnTo>
                      <a:lnTo>
                        <a:pt x="35" y="280"/>
                      </a:lnTo>
                      <a:lnTo>
                        <a:pt x="35" y="274"/>
                      </a:lnTo>
                      <a:lnTo>
                        <a:pt x="43" y="273"/>
                      </a:lnTo>
                      <a:lnTo>
                        <a:pt x="74" y="284"/>
                      </a:lnTo>
                      <a:lnTo>
                        <a:pt x="84" y="291"/>
                      </a:lnTo>
                      <a:lnTo>
                        <a:pt x="86" y="296"/>
                      </a:lnTo>
                      <a:lnTo>
                        <a:pt x="91" y="299"/>
                      </a:lnTo>
                      <a:lnTo>
                        <a:pt x="103" y="294"/>
                      </a:lnTo>
                      <a:lnTo>
                        <a:pt x="111" y="296"/>
                      </a:lnTo>
                      <a:lnTo>
                        <a:pt x="106" y="300"/>
                      </a:lnTo>
                      <a:lnTo>
                        <a:pt x="118" y="305"/>
                      </a:lnTo>
                      <a:lnTo>
                        <a:pt x="124" y="300"/>
                      </a:lnTo>
                      <a:lnTo>
                        <a:pt x="128" y="302"/>
                      </a:lnTo>
                      <a:lnTo>
                        <a:pt x="125" y="318"/>
                      </a:lnTo>
                      <a:lnTo>
                        <a:pt x="140" y="322"/>
                      </a:lnTo>
                      <a:lnTo>
                        <a:pt x="155" y="318"/>
                      </a:lnTo>
                      <a:lnTo>
                        <a:pt x="165" y="323"/>
                      </a:lnTo>
                      <a:lnTo>
                        <a:pt x="148" y="328"/>
                      </a:lnTo>
                      <a:lnTo>
                        <a:pt x="148" y="334"/>
                      </a:lnTo>
                      <a:lnTo>
                        <a:pt x="155" y="342"/>
                      </a:lnTo>
                      <a:lnTo>
                        <a:pt x="150" y="349"/>
                      </a:lnTo>
                      <a:lnTo>
                        <a:pt x="144" y="344"/>
                      </a:lnTo>
                      <a:lnTo>
                        <a:pt x="144" y="351"/>
                      </a:lnTo>
                      <a:lnTo>
                        <a:pt x="155" y="364"/>
                      </a:lnTo>
                      <a:lnTo>
                        <a:pt x="161" y="374"/>
                      </a:lnTo>
                      <a:lnTo>
                        <a:pt x="164" y="381"/>
                      </a:lnTo>
                      <a:lnTo>
                        <a:pt x="176" y="389"/>
                      </a:lnTo>
                      <a:lnTo>
                        <a:pt x="188" y="397"/>
                      </a:lnTo>
                      <a:lnTo>
                        <a:pt x="203" y="401"/>
                      </a:lnTo>
                      <a:lnTo>
                        <a:pt x="200" y="408"/>
                      </a:lnTo>
                      <a:lnTo>
                        <a:pt x="204" y="417"/>
                      </a:lnTo>
                      <a:lnTo>
                        <a:pt x="204" y="429"/>
                      </a:lnTo>
                      <a:lnTo>
                        <a:pt x="199" y="440"/>
                      </a:lnTo>
                      <a:lnTo>
                        <a:pt x="203" y="450"/>
                      </a:lnTo>
                      <a:lnTo>
                        <a:pt x="213" y="457"/>
                      </a:lnTo>
                      <a:lnTo>
                        <a:pt x="220" y="467"/>
                      </a:lnTo>
                      <a:lnTo>
                        <a:pt x="224" y="480"/>
                      </a:lnTo>
                      <a:lnTo>
                        <a:pt x="220" y="475"/>
                      </a:lnTo>
                      <a:lnTo>
                        <a:pt x="207" y="460"/>
                      </a:lnTo>
                      <a:lnTo>
                        <a:pt x="203" y="467"/>
                      </a:lnTo>
                      <a:lnTo>
                        <a:pt x="203" y="484"/>
                      </a:lnTo>
                      <a:lnTo>
                        <a:pt x="198" y="517"/>
                      </a:lnTo>
                      <a:lnTo>
                        <a:pt x="197" y="527"/>
                      </a:lnTo>
                      <a:lnTo>
                        <a:pt x="203" y="518"/>
                      </a:lnTo>
                      <a:lnTo>
                        <a:pt x="207" y="526"/>
                      </a:lnTo>
                      <a:lnTo>
                        <a:pt x="204" y="530"/>
                      </a:lnTo>
                      <a:lnTo>
                        <a:pt x="197" y="534"/>
                      </a:lnTo>
                      <a:lnTo>
                        <a:pt x="197" y="547"/>
                      </a:lnTo>
                      <a:lnTo>
                        <a:pt x="186" y="607"/>
                      </a:lnTo>
                      <a:lnTo>
                        <a:pt x="181" y="618"/>
                      </a:lnTo>
                      <a:lnTo>
                        <a:pt x="171" y="624"/>
                      </a:lnTo>
                      <a:lnTo>
                        <a:pt x="161" y="624"/>
                      </a:lnTo>
                      <a:lnTo>
                        <a:pt x="162" y="628"/>
                      </a:lnTo>
                      <a:lnTo>
                        <a:pt x="184" y="646"/>
                      </a:lnTo>
                      <a:lnTo>
                        <a:pt x="193" y="650"/>
                      </a:lnTo>
                      <a:lnTo>
                        <a:pt x="204" y="652"/>
                      </a:lnTo>
                      <a:lnTo>
                        <a:pt x="215" y="660"/>
                      </a:lnTo>
                      <a:lnTo>
                        <a:pt x="222" y="666"/>
                      </a:lnTo>
                      <a:lnTo>
                        <a:pt x="268" y="678"/>
                      </a:lnTo>
                      <a:lnTo>
                        <a:pt x="284" y="679"/>
                      </a:lnTo>
                      <a:lnTo>
                        <a:pt x="290" y="678"/>
                      </a:lnTo>
                      <a:lnTo>
                        <a:pt x="300" y="671"/>
                      </a:lnTo>
                      <a:lnTo>
                        <a:pt x="308" y="670"/>
                      </a:lnTo>
                      <a:lnTo>
                        <a:pt x="317" y="672"/>
                      </a:lnTo>
                      <a:lnTo>
                        <a:pt x="332" y="682"/>
                      </a:lnTo>
                      <a:lnTo>
                        <a:pt x="345" y="683"/>
                      </a:lnTo>
                      <a:lnTo>
                        <a:pt x="350" y="689"/>
                      </a:lnTo>
                      <a:lnTo>
                        <a:pt x="361" y="698"/>
                      </a:lnTo>
                      <a:lnTo>
                        <a:pt x="369" y="700"/>
                      </a:lnTo>
                      <a:lnTo>
                        <a:pt x="397" y="698"/>
                      </a:lnTo>
                      <a:lnTo>
                        <a:pt x="410" y="695"/>
                      </a:lnTo>
                      <a:lnTo>
                        <a:pt x="424" y="695"/>
                      </a:lnTo>
                      <a:lnTo>
                        <a:pt x="431" y="697"/>
                      </a:lnTo>
                      <a:lnTo>
                        <a:pt x="429" y="667"/>
                      </a:lnTo>
                      <a:lnTo>
                        <a:pt x="425" y="663"/>
                      </a:lnTo>
                      <a:lnTo>
                        <a:pt x="428" y="649"/>
                      </a:lnTo>
                      <a:lnTo>
                        <a:pt x="434" y="638"/>
                      </a:lnTo>
                      <a:lnTo>
                        <a:pt x="452" y="629"/>
                      </a:lnTo>
                      <a:lnTo>
                        <a:pt x="463" y="622"/>
                      </a:lnTo>
                      <a:lnTo>
                        <a:pt x="469" y="617"/>
                      </a:lnTo>
                      <a:lnTo>
                        <a:pt x="478" y="612"/>
                      </a:lnTo>
                      <a:lnTo>
                        <a:pt x="483" y="612"/>
                      </a:lnTo>
                      <a:lnTo>
                        <a:pt x="487" y="615"/>
                      </a:lnTo>
                      <a:lnTo>
                        <a:pt x="503" y="618"/>
                      </a:lnTo>
                      <a:lnTo>
                        <a:pt x="505" y="619"/>
                      </a:lnTo>
                      <a:lnTo>
                        <a:pt x="507" y="623"/>
                      </a:lnTo>
                      <a:lnTo>
                        <a:pt x="512" y="624"/>
                      </a:lnTo>
                      <a:lnTo>
                        <a:pt x="525" y="625"/>
                      </a:lnTo>
                      <a:lnTo>
                        <a:pt x="526" y="622"/>
                      </a:lnTo>
                      <a:lnTo>
                        <a:pt x="536" y="623"/>
                      </a:lnTo>
                      <a:lnTo>
                        <a:pt x="538" y="625"/>
                      </a:lnTo>
                      <a:lnTo>
                        <a:pt x="546" y="625"/>
                      </a:lnTo>
                      <a:lnTo>
                        <a:pt x="552" y="628"/>
                      </a:lnTo>
                      <a:lnTo>
                        <a:pt x="553" y="633"/>
                      </a:lnTo>
                      <a:lnTo>
                        <a:pt x="557" y="634"/>
                      </a:lnTo>
                      <a:lnTo>
                        <a:pt x="569" y="635"/>
                      </a:lnTo>
                      <a:lnTo>
                        <a:pt x="578" y="644"/>
                      </a:lnTo>
                      <a:lnTo>
                        <a:pt x="593" y="645"/>
                      </a:lnTo>
                      <a:lnTo>
                        <a:pt x="617" y="634"/>
                      </a:lnTo>
                      <a:lnTo>
                        <a:pt x="619" y="631"/>
                      </a:lnTo>
                      <a:lnTo>
                        <a:pt x="620" y="625"/>
                      </a:lnTo>
                      <a:lnTo>
                        <a:pt x="629" y="619"/>
                      </a:lnTo>
                      <a:lnTo>
                        <a:pt x="640" y="608"/>
                      </a:lnTo>
                      <a:lnTo>
                        <a:pt x="646" y="604"/>
                      </a:lnTo>
                      <a:lnTo>
                        <a:pt x="648" y="600"/>
                      </a:lnTo>
                      <a:lnTo>
                        <a:pt x="667" y="590"/>
                      </a:lnTo>
                      <a:lnTo>
                        <a:pt x="668" y="588"/>
                      </a:lnTo>
                      <a:lnTo>
                        <a:pt x="667" y="585"/>
                      </a:lnTo>
                      <a:lnTo>
                        <a:pt x="670" y="579"/>
                      </a:lnTo>
                      <a:lnTo>
                        <a:pt x="670" y="570"/>
                      </a:lnTo>
                      <a:lnTo>
                        <a:pt x="666" y="561"/>
                      </a:lnTo>
                      <a:lnTo>
                        <a:pt x="641" y="559"/>
                      </a:lnTo>
                      <a:lnTo>
                        <a:pt x="635" y="550"/>
                      </a:lnTo>
                      <a:lnTo>
                        <a:pt x="633" y="539"/>
                      </a:lnTo>
                      <a:lnTo>
                        <a:pt x="632" y="528"/>
                      </a:lnTo>
                      <a:lnTo>
                        <a:pt x="634" y="520"/>
                      </a:lnTo>
                      <a:lnTo>
                        <a:pt x="633" y="511"/>
                      </a:lnTo>
                      <a:lnTo>
                        <a:pt x="624" y="509"/>
                      </a:lnTo>
                      <a:lnTo>
                        <a:pt x="623" y="504"/>
                      </a:lnTo>
                      <a:lnTo>
                        <a:pt x="622" y="499"/>
                      </a:lnTo>
                      <a:lnTo>
                        <a:pt x="624" y="490"/>
                      </a:lnTo>
                      <a:lnTo>
                        <a:pt x="629" y="484"/>
                      </a:lnTo>
                      <a:lnTo>
                        <a:pt x="640" y="477"/>
                      </a:lnTo>
                      <a:lnTo>
                        <a:pt x="638" y="467"/>
                      </a:lnTo>
                      <a:lnTo>
                        <a:pt x="627" y="441"/>
                      </a:lnTo>
                      <a:lnTo>
                        <a:pt x="625" y="436"/>
                      </a:lnTo>
                      <a:lnTo>
                        <a:pt x="627" y="431"/>
                      </a:lnTo>
                      <a:lnTo>
                        <a:pt x="636" y="430"/>
                      </a:lnTo>
                      <a:lnTo>
                        <a:pt x="634" y="419"/>
                      </a:lnTo>
                      <a:lnTo>
                        <a:pt x="627" y="418"/>
                      </a:lnTo>
                      <a:lnTo>
                        <a:pt x="624" y="407"/>
                      </a:lnTo>
                      <a:lnTo>
                        <a:pt x="624" y="389"/>
                      </a:lnTo>
                      <a:lnTo>
                        <a:pt x="620" y="388"/>
                      </a:lnTo>
                      <a:lnTo>
                        <a:pt x="603" y="388"/>
                      </a:lnTo>
                      <a:lnTo>
                        <a:pt x="592" y="404"/>
                      </a:lnTo>
                      <a:lnTo>
                        <a:pt x="586" y="409"/>
                      </a:lnTo>
                      <a:lnTo>
                        <a:pt x="582" y="407"/>
                      </a:lnTo>
                      <a:lnTo>
                        <a:pt x="584" y="385"/>
                      </a:lnTo>
                      <a:lnTo>
                        <a:pt x="587" y="372"/>
                      </a:lnTo>
                      <a:lnTo>
                        <a:pt x="591" y="369"/>
                      </a:lnTo>
                      <a:lnTo>
                        <a:pt x="595" y="362"/>
                      </a:lnTo>
                      <a:lnTo>
                        <a:pt x="602" y="358"/>
                      </a:lnTo>
                      <a:lnTo>
                        <a:pt x="603" y="355"/>
                      </a:lnTo>
                      <a:lnTo>
                        <a:pt x="606" y="345"/>
                      </a:lnTo>
                      <a:lnTo>
                        <a:pt x="612" y="337"/>
                      </a:lnTo>
                      <a:lnTo>
                        <a:pt x="635" y="311"/>
                      </a:lnTo>
                      <a:lnTo>
                        <a:pt x="632" y="306"/>
                      </a:lnTo>
                      <a:lnTo>
                        <a:pt x="635" y="299"/>
                      </a:lnTo>
                      <a:lnTo>
                        <a:pt x="652" y="300"/>
                      </a:lnTo>
                      <a:lnTo>
                        <a:pt x="660" y="297"/>
                      </a:lnTo>
                      <a:lnTo>
                        <a:pt x="667" y="291"/>
                      </a:lnTo>
                      <a:lnTo>
                        <a:pt x="665" y="289"/>
                      </a:lnTo>
                      <a:lnTo>
                        <a:pt x="663" y="279"/>
                      </a:lnTo>
                      <a:lnTo>
                        <a:pt x="665" y="251"/>
                      </a:lnTo>
                      <a:lnTo>
                        <a:pt x="672" y="226"/>
                      </a:lnTo>
                      <a:lnTo>
                        <a:pt x="675" y="214"/>
                      </a:lnTo>
                      <a:lnTo>
                        <a:pt x="692" y="191"/>
                      </a:lnTo>
                      <a:lnTo>
                        <a:pt x="694" y="179"/>
                      </a:lnTo>
                      <a:lnTo>
                        <a:pt x="681" y="173"/>
                      </a:lnTo>
                      <a:lnTo>
                        <a:pt x="640" y="161"/>
                      </a:lnTo>
                      <a:lnTo>
                        <a:pt x="622" y="160"/>
                      </a:lnTo>
                      <a:lnTo>
                        <a:pt x="616" y="149"/>
                      </a:lnTo>
                      <a:lnTo>
                        <a:pt x="608" y="143"/>
                      </a:lnTo>
                      <a:lnTo>
                        <a:pt x="596" y="132"/>
                      </a:lnTo>
                      <a:lnTo>
                        <a:pt x="584" y="133"/>
                      </a:lnTo>
                      <a:lnTo>
                        <a:pt x="566" y="128"/>
                      </a:lnTo>
                      <a:lnTo>
                        <a:pt x="558" y="129"/>
                      </a:lnTo>
                      <a:lnTo>
                        <a:pt x="548" y="127"/>
                      </a:lnTo>
                      <a:lnTo>
                        <a:pt x="539" y="119"/>
                      </a:lnTo>
                      <a:lnTo>
                        <a:pt x="528" y="114"/>
                      </a:lnTo>
                      <a:lnTo>
                        <a:pt x="531" y="108"/>
                      </a:lnTo>
                      <a:lnTo>
                        <a:pt x="526" y="106"/>
                      </a:lnTo>
                      <a:lnTo>
                        <a:pt x="526" y="82"/>
                      </a:lnTo>
                      <a:lnTo>
                        <a:pt x="520" y="82"/>
                      </a:lnTo>
                      <a:lnTo>
                        <a:pt x="514" y="90"/>
                      </a:lnTo>
                      <a:lnTo>
                        <a:pt x="509" y="97"/>
                      </a:lnTo>
                      <a:lnTo>
                        <a:pt x="499" y="97"/>
                      </a:lnTo>
                      <a:lnTo>
                        <a:pt x="489" y="93"/>
                      </a:lnTo>
                      <a:lnTo>
                        <a:pt x="487" y="78"/>
                      </a:lnTo>
                      <a:lnTo>
                        <a:pt x="484" y="69"/>
                      </a:lnTo>
                      <a:lnTo>
                        <a:pt x="478" y="64"/>
                      </a:lnTo>
                      <a:lnTo>
                        <a:pt x="466" y="60"/>
                      </a:lnTo>
                      <a:lnTo>
                        <a:pt x="452" y="52"/>
                      </a:lnTo>
                      <a:lnTo>
                        <a:pt x="442" y="48"/>
                      </a:lnTo>
                      <a:lnTo>
                        <a:pt x="433" y="30"/>
                      </a:lnTo>
                      <a:lnTo>
                        <a:pt x="421" y="31"/>
                      </a:lnTo>
                      <a:lnTo>
                        <a:pt x="410" y="26"/>
                      </a:lnTo>
                      <a:lnTo>
                        <a:pt x="408" y="16"/>
                      </a:lnTo>
                      <a:lnTo>
                        <a:pt x="408" y="0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grpSp>
            <p:nvGrpSpPr>
              <p:cNvPr id="267" name="Group 192"/>
              <p:cNvGrpSpPr>
                <a:grpSpLocks noChangeAspect="1"/>
              </p:cNvGrpSpPr>
              <p:nvPr/>
            </p:nvGrpSpPr>
            <p:grpSpPr bwMode="gray">
              <a:xfrm>
                <a:off x="2428" y="1692"/>
                <a:ext cx="108" cy="163"/>
                <a:chOff x="2428" y="1692"/>
                <a:chExt cx="108" cy="163"/>
              </a:xfrm>
              <a:grpFill/>
            </p:grpSpPr>
            <p:sp>
              <p:nvSpPr>
                <p:cNvPr id="295" name="Freeform 193"/>
                <p:cNvSpPr>
                  <a:spLocks noChangeAspect="1"/>
                </p:cNvSpPr>
                <p:nvPr/>
              </p:nvSpPr>
              <p:spPr bwMode="gray">
                <a:xfrm>
                  <a:off x="2450" y="1692"/>
                  <a:ext cx="86" cy="163"/>
                </a:xfrm>
                <a:custGeom>
                  <a:avLst/>
                  <a:gdLst/>
                  <a:ahLst/>
                  <a:cxnLst>
                    <a:cxn ang="0">
                      <a:pos x="227" y="761"/>
                    </a:cxn>
                    <a:cxn ang="0">
                      <a:pos x="260" y="737"/>
                    </a:cxn>
                    <a:cxn ang="0">
                      <a:pos x="328" y="744"/>
                    </a:cxn>
                    <a:cxn ang="0">
                      <a:pos x="410" y="698"/>
                    </a:cxn>
                    <a:cxn ang="0">
                      <a:pos x="381" y="674"/>
                    </a:cxn>
                    <a:cxn ang="0">
                      <a:pos x="394" y="659"/>
                    </a:cxn>
                    <a:cxn ang="0">
                      <a:pos x="423" y="628"/>
                    </a:cxn>
                    <a:cxn ang="0">
                      <a:pos x="399" y="554"/>
                    </a:cxn>
                    <a:cxn ang="0">
                      <a:pos x="337" y="565"/>
                    </a:cxn>
                    <a:cxn ang="0">
                      <a:pos x="339" y="507"/>
                    </a:cxn>
                    <a:cxn ang="0">
                      <a:pos x="344" y="495"/>
                    </a:cxn>
                    <a:cxn ang="0">
                      <a:pos x="316" y="433"/>
                    </a:cxn>
                    <a:cxn ang="0">
                      <a:pos x="268" y="385"/>
                    </a:cxn>
                    <a:cxn ang="0">
                      <a:pos x="228" y="293"/>
                    </a:cxn>
                    <a:cxn ang="0">
                      <a:pos x="155" y="265"/>
                    </a:cxn>
                    <a:cxn ang="0">
                      <a:pos x="181" y="229"/>
                    </a:cxn>
                    <a:cxn ang="0">
                      <a:pos x="198" y="202"/>
                    </a:cxn>
                    <a:cxn ang="0">
                      <a:pos x="233" y="109"/>
                    </a:cxn>
                    <a:cxn ang="0">
                      <a:pos x="154" y="97"/>
                    </a:cxn>
                    <a:cxn ang="0">
                      <a:pos x="99" y="104"/>
                    </a:cxn>
                    <a:cxn ang="0">
                      <a:pos x="109" y="78"/>
                    </a:cxn>
                    <a:cxn ang="0">
                      <a:pos x="151" y="0"/>
                    </a:cxn>
                    <a:cxn ang="0">
                      <a:pos x="75" y="6"/>
                    </a:cxn>
                    <a:cxn ang="0">
                      <a:pos x="37" y="60"/>
                    </a:cxn>
                    <a:cxn ang="0">
                      <a:pos x="25" y="115"/>
                    </a:cxn>
                    <a:cxn ang="0">
                      <a:pos x="33" y="133"/>
                    </a:cxn>
                    <a:cxn ang="0">
                      <a:pos x="26" y="158"/>
                    </a:cxn>
                    <a:cxn ang="0">
                      <a:pos x="5" y="195"/>
                    </a:cxn>
                    <a:cxn ang="0">
                      <a:pos x="33" y="215"/>
                    </a:cxn>
                    <a:cxn ang="0">
                      <a:pos x="31" y="254"/>
                    </a:cxn>
                    <a:cxn ang="0">
                      <a:pos x="34" y="286"/>
                    </a:cxn>
                    <a:cxn ang="0">
                      <a:pos x="28" y="330"/>
                    </a:cxn>
                    <a:cxn ang="0">
                      <a:pos x="54" y="248"/>
                    </a:cxn>
                    <a:cxn ang="0">
                      <a:pos x="53" y="273"/>
                    </a:cxn>
                    <a:cxn ang="0">
                      <a:pos x="79" y="272"/>
                    </a:cxn>
                    <a:cxn ang="0">
                      <a:pos x="77" y="308"/>
                    </a:cxn>
                    <a:cxn ang="0">
                      <a:pos x="60" y="372"/>
                    </a:cxn>
                    <a:cxn ang="0">
                      <a:pos x="65" y="384"/>
                    </a:cxn>
                    <a:cxn ang="0">
                      <a:pos x="95" y="380"/>
                    </a:cxn>
                    <a:cxn ang="0">
                      <a:pos x="162" y="373"/>
                    </a:cxn>
                    <a:cxn ang="0">
                      <a:pos x="145" y="431"/>
                    </a:cxn>
                    <a:cxn ang="0">
                      <a:pos x="181" y="437"/>
                    </a:cxn>
                    <a:cxn ang="0">
                      <a:pos x="179" y="481"/>
                    </a:cxn>
                    <a:cxn ang="0">
                      <a:pos x="168" y="523"/>
                    </a:cxn>
                    <a:cxn ang="0">
                      <a:pos x="98" y="558"/>
                    </a:cxn>
                    <a:cxn ang="0">
                      <a:pos x="108" y="615"/>
                    </a:cxn>
                    <a:cxn ang="0">
                      <a:pos x="59" y="674"/>
                    </a:cxn>
                    <a:cxn ang="0">
                      <a:pos x="97" y="674"/>
                    </a:cxn>
                    <a:cxn ang="0">
                      <a:pos x="141" y="692"/>
                    </a:cxn>
                    <a:cxn ang="0">
                      <a:pos x="194" y="663"/>
                    </a:cxn>
                    <a:cxn ang="0">
                      <a:pos x="156" y="711"/>
                    </a:cxn>
                    <a:cxn ang="0">
                      <a:pos x="47" y="791"/>
                    </a:cxn>
                    <a:cxn ang="0">
                      <a:pos x="45" y="810"/>
                    </a:cxn>
                    <a:cxn ang="0">
                      <a:pos x="77" y="784"/>
                    </a:cxn>
                    <a:cxn ang="0">
                      <a:pos x="149" y="759"/>
                    </a:cxn>
                  </a:cxnLst>
                  <a:rect l="0" t="0" r="r" b="b"/>
                  <a:pathLst>
                    <a:path w="430" h="814">
                      <a:moveTo>
                        <a:pt x="199" y="767"/>
                      </a:moveTo>
                      <a:lnTo>
                        <a:pt x="200" y="768"/>
                      </a:lnTo>
                      <a:lnTo>
                        <a:pt x="203" y="762"/>
                      </a:lnTo>
                      <a:lnTo>
                        <a:pt x="212" y="760"/>
                      </a:lnTo>
                      <a:lnTo>
                        <a:pt x="222" y="764"/>
                      </a:lnTo>
                      <a:lnTo>
                        <a:pt x="227" y="761"/>
                      </a:lnTo>
                      <a:lnTo>
                        <a:pt x="225" y="754"/>
                      </a:lnTo>
                      <a:lnTo>
                        <a:pt x="251" y="754"/>
                      </a:lnTo>
                      <a:lnTo>
                        <a:pt x="253" y="750"/>
                      </a:lnTo>
                      <a:lnTo>
                        <a:pt x="259" y="748"/>
                      </a:lnTo>
                      <a:lnTo>
                        <a:pt x="260" y="743"/>
                      </a:lnTo>
                      <a:lnTo>
                        <a:pt x="260" y="737"/>
                      </a:lnTo>
                      <a:lnTo>
                        <a:pt x="267" y="741"/>
                      </a:lnTo>
                      <a:lnTo>
                        <a:pt x="274" y="744"/>
                      </a:lnTo>
                      <a:lnTo>
                        <a:pt x="283" y="741"/>
                      </a:lnTo>
                      <a:lnTo>
                        <a:pt x="285" y="745"/>
                      </a:lnTo>
                      <a:lnTo>
                        <a:pt x="290" y="750"/>
                      </a:lnTo>
                      <a:lnTo>
                        <a:pt x="328" y="744"/>
                      </a:lnTo>
                      <a:lnTo>
                        <a:pt x="339" y="746"/>
                      </a:lnTo>
                      <a:lnTo>
                        <a:pt x="388" y="733"/>
                      </a:lnTo>
                      <a:lnTo>
                        <a:pt x="389" y="729"/>
                      </a:lnTo>
                      <a:lnTo>
                        <a:pt x="410" y="713"/>
                      </a:lnTo>
                      <a:lnTo>
                        <a:pt x="413" y="702"/>
                      </a:lnTo>
                      <a:lnTo>
                        <a:pt x="410" y="698"/>
                      </a:lnTo>
                      <a:lnTo>
                        <a:pt x="386" y="698"/>
                      </a:lnTo>
                      <a:lnTo>
                        <a:pt x="373" y="697"/>
                      </a:lnTo>
                      <a:lnTo>
                        <a:pt x="373" y="689"/>
                      </a:lnTo>
                      <a:lnTo>
                        <a:pt x="369" y="682"/>
                      </a:lnTo>
                      <a:lnTo>
                        <a:pt x="378" y="679"/>
                      </a:lnTo>
                      <a:lnTo>
                        <a:pt x="381" y="674"/>
                      </a:lnTo>
                      <a:lnTo>
                        <a:pt x="386" y="668"/>
                      </a:lnTo>
                      <a:lnTo>
                        <a:pt x="383" y="665"/>
                      </a:lnTo>
                      <a:lnTo>
                        <a:pt x="377" y="663"/>
                      </a:lnTo>
                      <a:lnTo>
                        <a:pt x="383" y="658"/>
                      </a:lnTo>
                      <a:lnTo>
                        <a:pt x="391" y="655"/>
                      </a:lnTo>
                      <a:lnTo>
                        <a:pt x="394" y="659"/>
                      </a:lnTo>
                      <a:lnTo>
                        <a:pt x="403" y="657"/>
                      </a:lnTo>
                      <a:lnTo>
                        <a:pt x="404" y="651"/>
                      </a:lnTo>
                      <a:lnTo>
                        <a:pt x="403" y="642"/>
                      </a:lnTo>
                      <a:lnTo>
                        <a:pt x="408" y="642"/>
                      </a:lnTo>
                      <a:lnTo>
                        <a:pt x="415" y="638"/>
                      </a:lnTo>
                      <a:lnTo>
                        <a:pt x="423" y="628"/>
                      </a:lnTo>
                      <a:lnTo>
                        <a:pt x="429" y="608"/>
                      </a:lnTo>
                      <a:lnTo>
                        <a:pt x="430" y="593"/>
                      </a:lnTo>
                      <a:lnTo>
                        <a:pt x="426" y="577"/>
                      </a:lnTo>
                      <a:lnTo>
                        <a:pt x="418" y="563"/>
                      </a:lnTo>
                      <a:lnTo>
                        <a:pt x="408" y="557"/>
                      </a:lnTo>
                      <a:lnTo>
                        <a:pt x="399" y="554"/>
                      </a:lnTo>
                      <a:lnTo>
                        <a:pt x="387" y="554"/>
                      </a:lnTo>
                      <a:lnTo>
                        <a:pt x="365" y="557"/>
                      </a:lnTo>
                      <a:lnTo>
                        <a:pt x="355" y="572"/>
                      </a:lnTo>
                      <a:lnTo>
                        <a:pt x="350" y="567"/>
                      </a:lnTo>
                      <a:lnTo>
                        <a:pt x="340" y="566"/>
                      </a:lnTo>
                      <a:lnTo>
                        <a:pt x="337" y="565"/>
                      </a:lnTo>
                      <a:lnTo>
                        <a:pt x="340" y="555"/>
                      </a:lnTo>
                      <a:lnTo>
                        <a:pt x="353" y="540"/>
                      </a:lnTo>
                      <a:lnTo>
                        <a:pt x="355" y="534"/>
                      </a:lnTo>
                      <a:lnTo>
                        <a:pt x="355" y="525"/>
                      </a:lnTo>
                      <a:lnTo>
                        <a:pt x="345" y="512"/>
                      </a:lnTo>
                      <a:lnTo>
                        <a:pt x="339" y="507"/>
                      </a:lnTo>
                      <a:lnTo>
                        <a:pt x="335" y="501"/>
                      </a:lnTo>
                      <a:lnTo>
                        <a:pt x="330" y="498"/>
                      </a:lnTo>
                      <a:lnTo>
                        <a:pt x="317" y="485"/>
                      </a:lnTo>
                      <a:lnTo>
                        <a:pt x="321" y="482"/>
                      </a:lnTo>
                      <a:lnTo>
                        <a:pt x="332" y="492"/>
                      </a:lnTo>
                      <a:lnTo>
                        <a:pt x="344" y="495"/>
                      </a:lnTo>
                      <a:lnTo>
                        <a:pt x="345" y="493"/>
                      </a:lnTo>
                      <a:lnTo>
                        <a:pt x="343" y="477"/>
                      </a:lnTo>
                      <a:lnTo>
                        <a:pt x="335" y="471"/>
                      </a:lnTo>
                      <a:lnTo>
                        <a:pt x="326" y="459"/>
                      </a:lnTo>
                      <a:lnTo>
                        <a:pt x="323" y="444"/>
                      </a:lnTo>
                      <a:lnTo>
                        <a:pt x="316" y="433"/>
                      </a:lnTo>
                      <a:lnTo>
                        <a:pt x="311" y="423"/>
                      </a:lnTo>
                      <a:lnTo>
                        <a:pt x="301" y="410"/>
                      </a:lnTo>
                      <a:lnTo>
                        <a:pt x="290" y="405"/>
                      </a:lnTo>
                      <a:lnTo>
                        <a:pt x="276" y="402"/>
                      </a:lnTo>
                      <a:lnTo>
                        <a:pt x="273" y="399"/>
                      </a:lnTo>
                      <a:lnTo>
                        <a:pt x="268" y="385"/>
                      </a:lnTo>
                      <a:lnTo>
                        <a:pt x="260" y="374"/>
                      </a:lnTo>
                      <a:lnTo>
                        <a:pt x="254" y="361"/>
                      </a:lnTo>
                      <a:lnTo>
                        <a:pt x="252" y="350"/>
                      </a:lnTo>
                      <a:lnTo>
                        <a:pt x="248" y="312"/>
                      </a:lnTo>
                      <a:lnTo>
                        <a:pt x="240" y="305"/>
                      </a:lnTo>
                      <a:lnTo>
                        <a:pt x="228" y="293"/>
                      </a:lnTo>
                      <a:lnTo>
                        <a:pt x="221" y="282"/>
                      </a:lnTo>
                      <a:lnTo>
                        <a:pt x="193" y="266"/>
                      </a:lnTo>
                      <a:lnTo>
                        <a:pt x="188" y="265"/>
                      </a:lnTo>
                      <a:lnTo>
                        <a:pt x="171" y="271"/>
                      </a:lnTo>
                      <a:lnTo>
                        <a:pt x="156" y="267"/>
                      </a:lnTo>
                      <a:lnTo>
                        <a:pt x="155" y="265"/>
                      </a:lnTo>
                      <a:lnTo>
                        <a:pt x="157" y="258"/>
                      </a:lnTo>
                      <a:lnTo>
                        <a:pt x="163" y="251"/>
                      </a:lnTo>
                      <a:lnTo>
                        <a:pt x="172" y="249"/>
                      </a:lnTo>
                      <a:lnTo>
                        <a:pt x="182" y="249"/>
                      </a:lnTo>
                      <a:lnTo>
                        <a:pt x="192" y="244"/>
                      </a:lnTo>
                      <a:lnTo>
                        <a:pt x="181" y="229"/>
                      </a:lnTo>
                      <a:lnTo>
                        <a:pt x="176" y="228"/>
                      </a:lnTo>
                      <a:lnTo>
                        <a:pt x="174" y="222"/>
                      </a:lnTo>
                      <a:lnTo>
                        <a:pt x="183" y="223"/>
                      </a:lnTo>
                      <a:lnTo>
                        <a:pt x="189" y="218"/>
                      </a:lnTo>
                      <a:lnTo>
                        <a:pt x="195" y="210"/>
                      </a:lnTo>
                      <a:lnTo>
                        <a:pt x="198" y="202"/>
                      </a:lnTo>
                      <a:lnTo>
                        <a:pt x="211" y="183"/>
                      </a:lnTo>
                      <a:lnTo>
                        <a:pt x="212" y="173"/>
                      </a:lnTo>
                      <a:lnTo>
                        <a:pt x="216" y="160"/>
                      </a:lnTo>
                      <a:lnTo>
                        <a:pt x="220" y="145"/>
                      </a:lnTo>
                      <a:lnTo>
                        <a:pt x="233" y="129"/>
                      </a:lnTo>
                      <a:lnTo>
                        <a:pt x="233" y="109"/>
                      </a:lnTo>
                      <a:lnTo>
                        <a:pt x="230" y="100"/>
                      </a:lnTo>
                      <a:lnTo>
                        <a:pt x="214" y="99"/>
                      </a:lnTo>
                      <a:lnTo>
                        <a:pt x="200" y="102"/>
                      </a:lnTo>
                      <a:lnTo>
                        <a:pt x="178" y="98"/>
                      </a:lnTo>
                      <a:lnTo>
                        <a:pt x="166" y="100"/>
                      </a:lnTo>
                      <a:lnTo>
                        <a:pt x="154" y="97"/>
                      </a:lnTo>
                      <a:lnTo>
                        <a:pt x="118" y="109"/>
                      </a:lnTo>
                      <a:lnTo>
                        <a:pt x="111" y="116"/>
                      </a:lnTo>
                      <a:lnTo>
                        <a:pt x="106" y="113"/>
                      </a:lnTo>
                      <a:lnTo>
                        <a:pt x="108" y="105"/>
                      </a:lnTo>
                      <a:lnTo>
                        <a:pt x="108" y="102"/>
                      </a:lnTo>
                      <a:lnTo>
                        <a:pt x="99" y="104"/>
                      </a:lnTo>
                      <a:lnTo>
                        <a:pt x="99" y="99"/>
                      </a:lnTo>
                      <a:lnTo>
                        <a:pt x="114" y="95"/>
                      </a:lnTo>
                      <a:lnTo>
                        <a:pt x="124" y="86"/>
                      </a:lnTo>
                      <a:lnTo>
                        <a:pt x="107" y="84"/>
                      </a:lnTo>
                      <a:lnTo>
                        <a:pt x="108" y="77"/>
                      </a:lnTo>
                      <a:lnTo>
                        <a:pt x="109" y="78"/>
                      </a:lnTo>
                      <a:lnTo>
                        <a:pt x="119" y="66"/>
                      </a:lnTo>
                      <a:lnTo>
                        <a:pt x="139" y="54"/>
                      </a:lnTo>
                      <a:lnTo>
                        <a:pt x="147" y="39"/>
                      </a:lnTo>
                      <a:lnTo>
                        <a:pt x="161" y="30"/>
                      </a:lnTo>
                      <a:lnTo>
                        <a:pt x="163" y="4"/>
                      </a:lnTo>
                      <a:lnTo>
                        <a:pt x="151" y="0"/>
                      </a:lnTo>
                      <a:lnTo>
                        <a:pt x="138" y="4"/>
                      </a:lnTo>
                      <a:lnTo>
                        <a:pt x="124" y="8"/>
                      </a:lnTo>
                      <a:lnTo>
                        <a:pt x="112" y="8"/>
                      </a:lnTo>
                      <a:lnTo>
                        <a:pt x="96" y="12"/>
                      </a:lnTo>
                      <a:lnTo>
                        <a:pt x="95" y="11"/>
                      </a:lnTo>
                      <a:lnTo>
                        <a:pt x="75" y="6"/>
                      </a:lnTo>
                      <a:lnTo>
                        <a:pt x="64" y="9"/>
                      </a:lnTo>
                      <a:lnTo>
                        <a:pt x="54" y="27"/>
                      </a:lnTo>
                      <a:lnTo>
                        <a:pt x="54" y="41"/>
                      </a:lnTo>
                      <a:lnTo>
                        <a:pt x="42" y="43"/>
                      </a:lnTo>
                      <a:lnTo>
                        <a:pt x="43" y="57"/>
                      </a:lnTo>
                      <a:lnTo>
                        <a:pt x="37" y="60"/>
                      </a:lnTo>
                      <a:lnTo>
                        <a:pt x="39" y="65"/>
                      </a:lnTo>
                      <a:lnTo>
                        <a:pt x="47" y="73"/>
                      </a:lnTo>
                      <a:lnTo>
                        <a:pt x="20" y="88"/>
                      </a:lnTo>
                      <a:lnTo>
                        <a:pt x="20" y="109"/>
                      </a:lnTo>
                      <a:lnTo>
                        <a:pt x="27" y="113"/>
                      </a:lnTo>
                      <a:lnTo>
                        <a:pt x="25" y="115"/>
                      </a:lnTo>
                      <a:lnTo>
                        <a:pt x="18" y="114"/>
                      </a:lnTo>
                      <a:lnTo>
                        <a:pt x="16" y="115"/>
                      </a:lnTo>
                      <a:lnTo>
                        <a:pt x="16" y="130"/>
                      </a:lnTo>
                      <a:lnTo>
                        <a:pt x="22" y="131"/>
                      </a:lnTo>
                      <a:lnTo>
                        <a:pt x="34" y="129"/>
                      </a:lnTo>
                      <a:lnTo>
                        <a:pt x="33" y="133"/>
                      </a:lnTo>
                      <a:lnTo>
                        <a:pt x="27" y="136"/>
                      </a:lnTo>
                      <a:lnTo>
                        <a:pt x="33" y="138"/>
                      </a:lnTo>
                      <a:lnTo>
                        <a:pt x="28" y="147"/>
                      </a:lnTo>
                      <a:lnTo>
                        <a:pt x="27" y="151"/>
                      </a:lnTo>
                      <a:lnTo>
                        <a:pt x="28" y="157"/>
                      </a:lnTo>
                      <a:lnTo>
                        <a:pt x="26" y="158"/>
                      </a:lnTo>
                      <a:lnTo>
                        <a:pt x="22" y="163"/>
                      </a:lnTo>
                      <a:lnTo>
                        <a:pt x="22" y="167"/>
                      </a:lnTo>
                      <a:lnTo>
                        <a:pt x="18" y="170"/>
                      </a:lnTo>
                      <a:lnTo>
                        <a:pt x="16" y="178"/>
                      </a:lnTo>
                      <a:lnTo>
                        <a:pt x="16" y="192"/>
                      </a:lnTo>
                      <a:lnTo>
                        <a:pt x="5" y="195"/>
                      </a:lnTo>
                      <a:lnTo>
                        <a:pt x="0" y="197"/>
                      </a:lnTo>
                      <a:lnTo>
                        <a:pt x="0" y="201"/>
                      </a:lnTo>
                      <a:lnTo>
                        <a:pt x="10" y="202"/>
                      </a:lnTo>
                      <a:lnTo>
                        <a:pt x="11" y="211"/>
                      </a:lnTo>
                      <a:lnTo>
                        <a:pt x="23" y="222"/>
                      </a:lnTo>
                      <a:lnTo>
                        <a:pt x="33" y="215"/>
                      </a:lnTo>
                      <a:lnTo>
                        <a:pt x="43" y="206"/>
                      </a:lnTo>
                      <a:lnTo>
                        <a:pt x="44" y="205"/>
                      </a:lnTo>
                      <a:lnTo>
                        <a:pt x="45" y="206"/>
                      </a:lnTo>
                      <a:lnTo>
                        <a:pt x="45" y="212"/>
                      </a:lnTo>
                      <a:lnTo>
                        <a:pt x="33" y="243"/>
                      </a:lnTo>
                      <a:lnTo>
                        <a:pt x="31" y="254"/>
                      </a:lnTo>
                      <a:lnTo>
                        <a:pt x="31" y="259"/>
                      </a:lnTo>
                      <a:lnTo>
                        <a:pt x="28" y="264"/>
                      </a:lnTo>
                      <a:lnTo>
                        <a:pt x="26" y="275"/>
                      </a:lnTo>
                      <a:lnTo>
                        <a:pt x="26" y="283"/>
                      </a:lnTo>
                      <a:lnTo>
                        <a:pt x="32" y="282"/>
                      </a:lnTo>
                      <a:lnTo>
                        <a:pt x="34" y="286"/>
                      </a:lnTo>
                      <a:lnTo>
                        <a:pt x="33" y="292"/>
                      </a:lnTo>
                      <a:lnTo>
                        <a:pt x="25" y="307"/>
                      </a:lnTo>
                      <a:lnTo>
                        <a:pt x="20" y="331"/>
                      </a:lnTo>
                      <a:lnTo>
                        <a:pt x="20" y="334"/>
                      </a:lnTo>
                      <a:lnTo>
                        <a:pt x="26" y="334"/>
                      </a:lnTo>
                      <a:lnTo>
                        <a:pt x="28" y="330"/>
                      </a:lnTo>
                      <a:lnTo>
                        <a:pt x="32" y="318"/>
                      </a:lnTo>
                      <a:lnTo>
                        <a:pt x="43" y="291"/>
                      </a:lnTo>
                      <a:lnTo>
                        <a:pt x="42" y="277"/>
                      </a:lnTo>
                      <a:lnTo>
                        <a:pt x="39" y="270"/>
                      </a:lnTo>
                      <a:lnTo>
                        <a:pt x="38" y="266"/>
                      </a:lnTo>
                      <a:lnTo>
                        <a:pt x="54" y="248"/>
                      </a:lnTo>
                      <a:lnTo>
                        <a:pt x="54" y="254"/>
                      </a:lnTo>
                      <a:lnTo>
                        <a:pt x="47" y="271"/>
                      </a:lnTo>
                      <a:lnTo>
                        <a:pt x="47" y="282"/>
                      </a:lnTo>
                      <a:lnTo>
                        <a:pt x="49" y="278"/>
                      </a:lnTo>
                      <a:lnTo>
                        <a:pt x="52" y="277"/>
                      </a:lnTo>
                      <a:lnTo>
                        <a:pt x="53" y="273"/>
                      </a:lnTo>
                      <a:lnTo>
                        <a:pt x="55" y="271"/>
                      </a:lnTo>
                      <a:lnTo>
                        <a:pt x="61" y="276"/>
                      </a:lnTo>
                      <a:lnTo>
                        <a:pt x="64" y="275"/>
                      </a:lnTo>
                      <a:lnTo>
                        <a:pt x="64" y="261"/>
                      </a:lnTo>
                      <a:lnTo>
                        <a:pt x="72" y="266"/>
                      </a:lnTo>
                      <a:lnTo>
                        <a:pt x="79" y="272"/>
                      </a:lnTo>
                      <a:lnTo>
                        <a:pt x="74" y="273"/>
                      </a:lnTo>
                      <a:lnTo>
                        <a:pt x="71" y="278"/>
                      </a:lnTo>
                      <a:lnTo>
                        <a:pt x="69" y="283"/>
                      </a:lnTo>
                      <a:lnTo>
                        <a:pt x="68" y="298"/>
                      </a:lnTo>
                      <a:lnTo>
                        <a:pt x="71" y="303"/>
                      </a:lnTo>
                      <a:lnTo>
                        <a:pt x="77" y="308"/>
                      </a:lnTo>
                      <a:lnTo>
                        <a:pt x="79" y="319"/>
                      </a:lnTo>
                      <a:lnTo>
                        <a:pt x="74" y="328"/>
                      </a:lnTo>
                      <a:lnTo>
                        <a:pt x="69" y="341"/>
                      </a:lnTo>
                      <a:lnTo>
                        <a:pt x="61" y="355"/>
                      </a:lnTo>
                      <a:lnTo>
                        <a:pt x="59" y="363"/>
                      </a:lnTo>
                      <a:lnTo>
                        <a:pt x="60" y="372"/>
                      </a:lnTo>
                      <a:lnTo>
                        <a:pt x="54" y="367"/>
                      </a:lnTo>
                      <a:lnTo>
                        <a:pt x="52" y="372"/>
                      </a:lnTo>
                      <a:lnTo>
                        <a:pt x="59" y="395"/>
                      </a:lnTo>
                      <a:lnTo>
                        <a:pt x="64" y="399"/>
                      </a:lnTo>
                      <a:lnTo>
                        <a:pt x="66" y="398"/>
                      </a:lnTo>
                      <a:lnTo>
                        <a:pt x="65" y="384"/>
                      </a:lnTo>
                      <a:lnTo>
                        <a:pt x="66" y="380"/>
                      </a:lnTo>
                      <a:lnTo>
                        <a:pt x="70" y="379"/>
                      </a:lnTo>
                      <a:lnTo>
                        <a:pt x="87" y="391"/>
                      </a:lnTo>
                      <a:lnTo>
                        <a:pt x="92" y="394"/>
                      </a:lnTo>
                      <a:lnTo>
                        <a:pt x="95" y="388"/>
                      </a:lnTo>
                      <a:lnTo>
                        <a:pt x="95" y="380"/>
                      </a:lnTo>
                      <a:lnTo>
                        <a:pt x="119" y="383"/>
                      </a:lnTo>
                      <a:lnTo>
                        <a:pt x="135" y="374"/>
                      </a:lnTo>
                      <a:lnTo>
                        <a:pt x="136" y="372"/>
                      </a:lnTo>
                      <a:lnTo>
                        <a:pt x="144" y="368"/>
                      </a:lnTo>
                      <a:lnTo>
                        <a:pt x="165" y="371"/>
                      </a:lnTo>
                      <a:lnTo>
                        <a:pt x="162" y="373"/>
                      </a:lnTo>
                      <a:lnTo>
                        <a:pt x="158" y="373"/>
                      </a:lnTo>
                      <a:lnTo>
                        <a:pt x="150" y="380"/>
                      </a:lnTo>
                      <a:lnTo>
                        <a:pt x="138" y="406"/>
                      </a:lnTo>
                      <a:lnTo>
                        <a:pt x="135" y="413"/>
                      </a:lnTo>
                      <a:lnTo>
                        <a:pt x="138" y="421"/>
                      </a:lnTo>
                      <a:lnTo>
                        <a:pt x="145" y="431"/>
                      </a:lnTo>
                      <a:lnTo>
                        <a:pt x="149" y="438"/>
                      </a:lnTo>
                      <a:lnTo>
                        <a:pt x="150" y="439"/>
                      </a:lnTo>
                      <a:lnTo>
                        <a:pt x="151" y="437"/>
                      </a:lnTo>
                      <a:lnTo>
                        <a:pt x="158" y="449"/>
                      </a:lnTo>
                      <a:lnTo>
                        <a:pt x="172" y="444"/>
                      </a:lnTo>
                      <a:lnTo>
                        <a:pt x="181" y="437"/>
                      </a:lnTo>
                      <a:lnTo>
                        <a:pt x="184" y="438"/>
                      </a:lnTo>
                      <a:lnTo>
                        <a:pt x="181" y="444"/>
                      </a:lnTo>
                      <a:lnTo>
                        <a:pt x="179" y="461"/>
                      </a:lnTo>
                      <a:lnTo>
                        <a:pt x="174" y="468"/>
                      </a:lnTo>
                      <a:lnTo>
                        <a:pt x="169" y="479"/>
                      </a:lnTo>
                      <a:lnTo>
                        <a:pt x="179" y="481"/>
                      </a:lnTo>
                      <a:lnTo>
                        <a:pt x="174" y="490"/>
                      </a:lnTo>
                      <a:lnTo>
                        <a:pt x="168" y="506"/>
                      </a:lnTo>
                      <a:lnTo>
                        <a:pt x="172" y="509"/>
                      </a:lnTo>
                      <a:lnTo>
                        <a:pt x="177" y="513"/>
                      </a:lnTo>
                      <a:lnTo>
                        <a:pt x="173" y="514"/>
                      </a:lnTo>
                      <a:lnTo>
                        <a:pt x="168" y="523"/>
                      </a:lnTo>
                      <a:lnTo>
                        <a:pt x="128" y="522"/>
                      </a:lnTo>
                      <a:lnTo>
                        <a:pt x="115" y="529"/>
                      </a:lnTo>
                      <a:lnTo>
                        <a:pt x="102" y="540"/>
                      </a:lnTo>
                      <a:lnTo>
                        <a:pt x="79" y="565"/>
                      </a:lnTo>
                      <a:lnTo>
                        <a:pt x="84" y="568"/>
                      </a:lnTo>
                      <a:lnTo>
                        <a:pt x="98" y="558"/>
                      </a:lnTo>
                      <a:lnTo>
                        <a:pt x="109" y="556"/>
                      </a:lnTo>
                      <a:lnTo>
                        <a:pt x="111" y="565"/>
                      </a:lnTo>
                      <a:lnTo>
                        <a:pt x="112" y="585"/>
                      </a:lnTo>
                      <a:lnTo>
                        <a:pt x="113" y="589"/>
                      </a:lnTo>
                      <a:lnTo>
                        <a:pt x="119" y="593"/>
                      </a:lnTo>
                      <a:lnTo>
                        <a:pt x="108" y="615"/>
                      </a:lnTo>
                      <a:lnTo>
                        <a:pt x="79" y="636"/>
                      </a:lnTo>
                      <a:lnTo>
                        <a:pt x="48" y="652"/>
                      </a:lnTo>
                      <a:lnTo>
                        <a:pt x="50" y="654"/>
                      </a:lnTo>
                      <a:lnTo>
                        <a:pt x="52" y="660"/>
                      </a:lnTo>
                      <a:lnTo>
                        <a:pt x="56" y="671"/>
                      </a:lnTo>
                      <a:lnTo>
                        <a:pt x="59" y="674"/>
                      </a:lnTo>
                      <a:lnTo>
                        <a:pt x="65" y="675"/>
                      </a:lnTo>
                      <a:lnTo>
                        <a:pt x="72" y="671"/>
                      </a:lnTo>
                      <a:lnTo>
                        <a:pt x="82" y="663"/>
                      </a:lnTo>
                      <a:lnTo>
                        <a:pt x="91" y="659"/>
                      </a:lnTo>
                      <a:lnTo>
                        <a:pt x="95" y="660"/>
                      </a:lnTo>
                      <a:lnTo>
                        <a:pt x="97" y="674"/>
                      </a:lnTo>
                      <a:lnTo>
                        <a:pt x="101" y="678"/>
                      </a:lnTo>
                      <a:lnTo>
                        <a:pt x="113" y="678"/>
                      </a:lnTo>
                      <a:lnTo>
                        <a:pt x="120" y="671"/>
                      </a:lnTo>
                      <a:lnTo>
                        <a:pt x="123" y="670"/>
                      </a:lnTo>
                      <a:lnTo>
                        <a:pt x="127" y="673"/>
                      </a:lnTo>
                      <a:lnTo>
                        <a:pt x="141" y="692"/>
                      </a:lnTo>
                      <a:lnTo>
                        <a:pt x="147" y="694"/>
                      </a:lnTo>
                      <a:lnTo>
                        <a:pt x="156" y="694"/>
                      </a:lnTo>
                      <a:lnTo>
                        <a:pt x="162" y="689"/>
                      </a:lnTo>
                      <a:lnTo>
                        <a:pt x="166" y="682"/>
                      </a:lnTo>
                      <a:lnTo>
                        <a:pt x="179" y="675"/>
                      </a:lnTo>
                      <a:lnTo>
                        <a:pt x="194" y="663"/>
                      </a:lnTo>
                      <a:lnTo>
                        <a:pt x="195" y="670"/>
                      </a:lnTo>
                      <a:lnTo>
                        <a:pt x="190" y="678"/>
                      </a:lnTo>
                      <a:lnTo>
                        <a:pt x="174" y="697"/>
                      </a:lnTo>
                      <a:lnTo>
                        <a:pt x="172" y="705"/>
                      </a:lnTo>
                      <a:lnTo>
                        <a:pt x="168" y="708"/>
                      </a:lnTo>
                      <a:lnTo>
                        <a:pt x="156" y="711"/>
                      </a:lnTo>
                      <a:lnTo>
                        <a:pt x="124" y="711"/>
                      </a:lnTo>
                      <a:lnTo>
                        <a:pt x="109" y="713"/>
                      </a:lnTo>
                      <a:lnTo>
                        <a:pt x="104" y="724"/>
                      </a:lnTo>
                      <a:lnTo>
                        <a:pt x="95" y="730"/>
                      </a:lnTo>
                      <a:lnTo>
                        <a:pt x="88" y="745"/>
                      </a:lnTo>
                      <a:lnTo>
                        <a:pt x="47" y="791"/>
                      </a:lnTo>
                      <a:lnTo>
                        <a:pt x="31" y="800"/>
                      </a:lnTo>
                      <a:lnTo>
                        <a:pt x="28" y="809"/>
                      </a:lnTo>
                      <a:lnTo>
                        <a:pt x="28" y="813"/>
                      </a:lnTo>
                      <a:lnTo>
                        <a:pt x="31" y="807"/>
                      </a:lnTo>
                      <a:lnTo>
                        <a:pt x="34" y="804"/>
                      </a:lnTo>
                      <a:lnTo>
                        <a:pt x="45" y="810"/>
                      </a:lnTo>
                      <a:lnTo>
                        <a:pt x="50" y="809"/>
                      </a:lnTo>
                      <a:lnTo>
                        <a:pt x="54" y="814"/>
                      </a:lnTo>
                      <a:lnTo>
                        <a:pt x="58" y="809"/>
                      </a:lnTo>
                      <a:lnTo>
                        <a:pt x="60" y="800"/>
                      </a:lnTo>
                      <a:lnTo>
                        <a:pt x="71" y="796"/>
                      </a:lnTo>
                      <a:lnTo>
                        <a:pt x="77" y="784"/>
                      </a:lnTo>
                      <a:lnTo>
                        <a:pt x="107" y="783"/>
                      </a:lnTo>
                      <a:lnTo>
                        <a:pt x="127" y="791"/>
                      </a:lnTo>
                      <a:lnTo>
                        <a:pt x="134" y="791"/>
                      </a:lnTo>
                      <a:lnTo>
                        <a:pt x="141" y="782"/>
                      </a:lnTo>
                      <a:lnTo>
                        <a:pt x="145" y="760"/>
                      </a:lnTo>
                      <a:lnTo>
                        <a:pt x="149" y="759"/>
                      </a:lnTo>
                      <a:lnTo>
                        <a:pt x="156" y="759"/>
                      </a:lnTo>
                      <a:lnTo>
                        <a:pt x="166" y="754"/>
                      </a:lnTo>
                      <a:lnTo>
                        <a:pt x="182" y="750"/>
                      </a:lnTo>
                      <a:lnTo>
                        <a:pt x="199" y="767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96" name="Freeform 194"/>
                <p:cNvSpPr>
                  <a:spLocks noChangeAspect="1"/>
                </p:cNvSpPr>
                <p:nvPr/>
              </p:nvSpPr>
              <p:spPr bwMode="gray">
                <a:xfrm>
                  <a:off x="2428" y="1759"/>
                  <a:ext cx="28" cy="25"/>
                </a:xfrm>
                <a:custGeom>
                  <a:avLst/>
                  <a:gdLst/>
                  <a:ahLst/>
                  <a:cxnLst>
                    <a:cxn ang="0">
                      <a:pos x="28" y="36"/>
                    </a:cxn>
                    <a:cxn ang="0">
                      <a:pos x="27" y="48"/>
                    </a:cxn>
                    <a:cxn ang="0">
                      <a:pos x="21" y="58"/>
                    </a:cxn>
                    <a:cxn ang="0">
                      <a:pos x="11" y="59"/>
                    </a:cxn>
                    <a:cxn ang="0">
                      <a:pos x="11" y="72"/>
                    </a:cxn>
                    <a:cxn ang="0">
                      <a:pos x="0" y="80"/>
                    </a:cxn>
                    <a:cxn ang="0">
                      <a:pos x="16" y="91"/>
                    </a:cxn>
                    <a:cxn ang="0">
                      <a:pos x="23" y="110"/>
                    </a:cxn>
                    <a:cxn ang="0">
                      <a:pos x="34" y="115"/>
                    </a:cxn>
                    <a:cxn ang="0">
                      <a:pos x="47" y="104"/>
                    </a:cxn>
                    <a:cxn ang="0">
                      <a:pos x="53" y="93"/>
                    </a:cxn>
                    <a:cxn ang="0">
                      <a:pos x="82" y="85"/>
                    </a:cxn>
                    <a:cxn ang="0">
                      <a:pos x="97" y="99"/>
                    </a:cxn>
                    <a:cxn ang="0">
                      <a:pos x="98" y="106"/>
                    </a:cxn>
                    <a:cxn ang="0">
                      <a:pos x="98" y="121"/>
                    </a:cxn>
                    <a:cxn ang="0">
                      <a:pos x="101" y="126"/>
                    </a:cxn>
                    <a:cxn ang="0">
                      <a:pos x="103" y="126"/>
                    </a:cxn>
                    <a:cxn ang="0">
                      <a:pos x="117" y="117"/>
                    </a:cxn>
                    <a:cxn ang="0">
                      <a:pos x="119" y="107"/>
                    </a:cxn>
                    <a:cxn ang="0">
                      <a:pos x="132" y="105"/>
                    </a:cxn>
                    <a:cxn ang="0">
                      <a:pos x="138" y="97"/>
                    </a:cxn>
                    <a:cxn ang="0">
                      <a:pos x="132" y="85"/>
                    </a:cxn>
                    <a:cxn ang="0">
                      <a:pos x="130" y="78"/>
                    </a:cxn>
                    <a:cxn ang="0">
                      <a:pos x="138" y="90"/>
                    </a:cxn>
                    <a:cxn ang="0">
                      <a:pos x="140" y="79"/>
                    </a:cxn>
                    <a:cxn ang="0">
                      <a:pos x="135" y="68"/>
                    </a:cxn>
                    <a:cxn ang="0">
                      <a:pos x="130" y="66"/>
                    </a:cxn>
                    <a:cxn ang="0">
                      <a:pos x="116" y="68"/>
                    </a:cxn>
                    <a:cxn ang="0">
                      <a:pos x="122" y="57"/>
                    </a:cxn>
                    <a:cxn ang="0">
                      <a:pos x="120" y="39"/>
                    </a:cxn>
                    <a:cxn ang="0">
                      <a:pos x="112" y="27"/>
                    </a:cxn>
                    <a:cxn ang="0">
                      <a:pos x="106" y="16"/>
                    </a:cxn>
                    <a:cxn ang="0">
                      <a:pos x="89" y="10"/>
                    </a:cxn>
                    <a:cxn ang="0">
                      <a:pos x="64" y="18"/>
                    </a:cxn>
                    <a:cxn ang="0">
                      <a:pos x="58" y="24"/>
                    </a:cxn>
                    <a:cxn ang="0">
                      <a:pos x="50" y="27"/>
                    </a:cxn>
                    <a:cxn ang="0">
                      <a:pos x="48" y="24"/>
                    </a:cxn>
                    <a:cxn ang="0">
                      <a:pos x="59" y="10"/>
                    </a:cxn>
                    <a:cxn ang="0">
                      <a:pos x="57" y="7"/>
                    </a:cxn>
                    <a:cxn ang="0">
                      <a:pos x="48" y="2"/>
                    </a:cxn>
                    <a:cxn ang="0">
                      <a:pos x="39" y="0"/>
                    </a:cxn>
                    <a:cxn ang="0">
                      <a:pos x="38" y="5"/>
                    </a:cxn>
                    <a:cxn ang="0">
                      <a:pos x="36" y="8"/>
                    </a:cxn>
                    <a:cxn ang="0">
                      <a:pos x="33" y="14"/>
                    </a:cxn>
                    <a:cxn ang="0">
                      <a:pos x="34" y="20"/>
                    </a:cxn>
                    <a:cxn ang="0">
                      <a:pos x="34" y="27"/>
                    </a:cxn>
                    <a:cxn ang="0">
                      <a:pos x="33" y="34"/>
                    </a:cxn>
                    <a:cxn ang="0">
                      <a:pos x="28" y="36"/>
                    </a:cxn>
                  </a:cxnLst>
                  <a:rect l="0" t="0" r="r" b="b"/>
                  <a:pathLst>
                    <a:path w="140" h="126">
                      <a:moveTo>
                        <a:pt x="28" y="36"/>
                      </a:moveTo>
                      <a:lnTo>
                        <a:pt x="27" y="48"/>
                      </a:lnTo>
                      <a:lnTo>
                        <a:pt x="21" y="58"/>
                      </a:lnTo>
                      <a:lnTo>
                        <a:pt x="11" y="59"/>
                      </a:lnTo>
                      <a:lnTo>
                        <a:pt x="11" y="72"/>
                      </a:lnTo>
                      <a:lnTo>
                        <a:pt x="0" y="80"/>
                      </a:lnTo>
                      <a:lnTo>
                        <a:pt x="16" y="91"/>
                      </a:lnTo>
                      <a:lnTo>
                        <a:pt x="23" y="110"/>
                      </a:lnTo>
                      <a:lnTo>
                        <a:pt x="34" y="115"/>
                      </a:lnTo>
                      <a:lnTo>
                        <a:pt x="47" y="104"/>
                      </a:lnTo>
                      <a:lnTo>
                        <a:pt x="53" y="93"/>
                      </a:lnTo>
                      <a:lnTo>
                        <a:pt x="82" y="85"/>
                      </a:lnTo>
                      <a:lnTo>
                        <a:pt x="97" y="99"/>
                      </a:lnTo>
                      <a:lnTo>
                        <a:pt x="98" y="106"/>
                      </a:lnTo>
                      <a:lnTo>
                        <a:pt x="98" y="121"/>
                      </a:lnTo>
                      <a:lnTo>
                        <a:pt x="101" y="126"/>
                      </a:lnTo>
                      <a:lnTo>
                        <a:pt x="103" y="126"/>
                      </a:lnTo>
                      <a:lnTo>
                        <a:pt x="117" y="117"/>
                      </a:lnTo>
                      <a:lnTo>
                        <a:pt x="119" y="107"/>
                      </a:lnTo>
                      <a:lnTo>
                        <a:pt x="132" y="105"/>
                      </a:lnTo>
                      <a:lnTo>
                        <a:pt x="138" y="97"/>
                      </a:lnTo>
                      <a:lnTo>
                        <a:pt x="132" y="85"/>
                      </a:lnTo>
                      <a:lnTo>
                        <a:pt x="130" y="78"/>
                      </a:lnTo>
                      <a:lnTo>
                        <a:pt x="138" y="90"/>
                      </a:lnTo>
                      <a:lnTo>
                        <a:pt x="140" y="79"/>
                      </a:lnTo>
                      <a:lnTo>
                        <a:pt x="135" y="68"/>
                      </a:lnTo>
                      <a:lnTo>
                        <a:pt x="130" y="66"/>
                      </a:lnTo>
                      <a:lnTo>
                        <a:pt x="116" y="68"/>
                      </a:lnTo>
                      <a:lnTo>
                        <a:pt x="122" y="57"/>
                      </a:lnTo>
                      <a:lnTo>
                        <a:pt x="120" y="39"/>
                      </a:lnTo>
                      <a:lnTo>
                        <a:pt x="112" y="27"/>
                      </a:lnTo>
                      <a:lnTo>
                        <a:pt x="106" y="16"/>
                      </a:lnTo>
                      <a:lnTo>
                        <a:pt x="89" y="10"/>
                      </a:lnTo>
                      <a:lnTo>
                        <a:pt x="64" y="18"/>
                      </a:lnTo>
                      <a:lnTo>
                        <a:pt x="58" y="24"/>
                      </a:lnTo>
                      <a:lnTo>
                        <a:pt x="50" y="27"/>
                      </a:lnTo>
                      <a:lnTo>
                        <a:pt x="48" y="24"/>
                      </a:lnTo>
                      <a:lnTo>
                        <a:pt x="59" y="10"/>
                      </a:lnTo>
                      <a:lnTo>
                        <a:pt x="57" y="7"/>
                      </a:lnTo>
                      <a:lnTo>
                        <a:pt x="48" y="2"/>
                      </a:lnTo>
                      <a:lnTo>
                        <a:pt x="39" y="0"/>
                      </a:lnTo>
                      <a:lnTo>
                        <a:pt x="38" y="5"/>
                      </a:lnTo>
                      <a:lnTo>
                        <a:pt x="36" y="8"/>
                      </a:lnTo>
                      <a:lnTo>
                        <a:pt x="33" y="14"/>
                      </a:lnTo>
                      <a:lnTo>
                        <a:pt x="34" y="20"/>
                      </a:lnTo>
                      <a:lnTo>
                        <a:pt x="34" y="27"/>
                      </a:lnTo>
                      <a:lnTo>
                        <a:pt x="33" y="34"/>
                      </a:lnTo>
                      <a:lnTo>
                        <a:pt x="28" y="36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268" name="Freeform 195"/>
              <p:cNvSpPr>
                <a:spLocks noChangeAspect="1"/>
              </p:cNvSpPr>
              <p:nvPr/>
            </p:nvSpPr>
            <p:spPr bwMode="gray">
              <a:xfrm>
                <a:off x="2403" y="1761"/>
                <a:ext cx="47" cy="69"/>
              </a:xfrm>
              <a:custGeom>
                <a:avLst/>
                <a:gdLst/>
                <a:ahLst/>
                <a:cxnLst>
                  <a:cxn ang="0">
                    <a:pos x="223" y="97"/>
                  </a:cxn>
                  <a:cxn ang="0">
                    <a:pos x="178" y="84"/>
                  </a:cxn>
                  <a:cxn ang="0">
                    <a:pos x="148" y="100"/>
                  </a:cxn>
                  <a:cxn ang="0">
                    <a:pos x="136" y="63"/>
                  </a:cxn>
                  <a:cxn ang="0">
                    <a:pos x="152" y="39"/>
                  </a:cxn>
                  <a:cxn ang="0">
                    <a:pos x="152" y="2"/>
                  </a:cxn>
                  <a:cxn ang="0">
                    <a:pos x="135" y="6"/>
                  </a:cxn>
                  <a:cxn ang="0">
                    <a:pos x="113" y="18"/>
                  </a:cxn>
                  <a:cxn ang="0">
                    <a:pos x="108" y="34"/>
                  </a:cxn>
                  <a:cxn ang="0">
                    <a:pos x="88" y="53"/>
                  </a:cxn>
                  <a:cxn ang="0">
                    <a:pos x="104" y="60"/>
                  </a:cxn>
                  <a:cxn ang="0">
                    <a:pos x="120" y="63"/>
                  </a:cxn>
                  <a:cxn ang="0">
                    <a:pos x="99" y="87"/>
                  </a:cxn>
                  <a:cxn ang="0">
                    <a:pos x="65" y="97"/>
                  </a:cxn>
                  <a:cxn ang="0">
                    <a:pos x="31" y="96"/>
                  </a:cxn>
                  <a:cxn ang="0">
                    <a:pos x="23" y="118"/>
                  </a:cxn>
                  <a:cxn ang="0">
                    <a:pos x="43" y="130"/>
                  </a:cxn>
                  <a:cxn ang="0">
                    <a:pos x="24" y="154"/>
                  </a:cxn>
                  <a:cxn ang="0">
                    <a:pos x="23" y="173"/>
                  </a:cxn>
                  <a:cxn ang="0">
                    <a:pos x="40" y="179"/>
                  </a:cxn>
                  <a:cxn ang="0">
                    <a:pos x="78" y="192"/>
                  </a:cxn>
                  <a:cxn ang="0">
                    <a:pos x="54" y="209"/>
                  </a:cxn>
                  <a:cxn ang="0">
                    <a:pos x="32" y="248"/>
                  </a:cxn>
                  <a:cxn ang="0">
                    <a:pos x="81" y="238"/>
                  </a:cxn>
                  <a:cxn ang="0">
                    <a:pos x="56" y="249"/>
                  </a:cxn>
                  <a:cxn ang="0">
                    <a:pos x="29" y="274"/>
                  </a:cxn>
                  <a:cxn ang="0">
                    <a:pos x="15" y="279"/>
                  </a:cxn>
                  <a:cxn ang="0">
                    <a:pos x="0" y="291"/>
                  </a:cxn>
                  <a:cxn ang="0">
                    <a:pos x="13" y="299"/>
                  </a:cxn>
                  <a:cxn ang="0">
                    <a:pos x="11" y="314"/>
                  </a:cxn>
                  <a:cxn ang="0">
                    <a:pos x="38" y="312"/>
                  </a:cxn>
                  <a:cxn ang="0">
                    <a:pos x="16" y="334"/>
                  </a:cxn>
                  <a:cxn ang="0">
                    <a:pos x="48" y="328"/>
                  </a:cxn>
                  <a:cxn ang="0">
                    <a:pos x="33" y="338"/>
                  </a:cxn>
                  <a:cxn ang="0">
                    <a:pos x="44" y="340"/>
                  </a:cxn>
                  <a:cxn ang="0">
                    <a:pos x="60" y="343"/>
                  </a:cxn>
                  <a:cxn ang="0">
                    <a:pos x="102" y="329"/>
                  </a:cxn>
                  <a:cxn ang="0">
                    <a:pos x="109" y="308"/>
                  </a:cxn>
                  <a:cxn ang="0">
                    <a:pos x="119" y="317"/>
                  </a:cxn>
                  <a:cxn ang="0">
                    <a:pos x="145" y="306"/>
                  </a:cxn>
                  <a:cxn ang="0">
                    <a:pos x="153" y="291"/>
                  </a:cxn>
                  <a:cxn ang="0">
                    <a:pos x="201" y="281"/>
                  </a:cxn>
                  <a:cxn ang="0">
                    <a:pos x="218" y="278"/>
                  </a:cxn>
                  <a:cxn ang="0">
                    <a:pos x="225" y="236"/>
                  </a:cxn>
                  <a:cxn ang="0">
                    <a:pos x="231" y="197"/>
                  </a:cxn>
                  <a:cxn ang="0">
                    <a:pos x="233" y="160"/>
                  </a:cxn>
                  <a:cxn ang="0">
                    <a:pos x="226" y="117"/>
                  </a:cxn>
                </a:cxnLst>
                <a:rect l="0" t="0" r="r" b="b"/>
                <a:pathLst>
                  <a:path w="233" h="345">
                    <a:moveTo>
                      <a:pt x="226" y="117"/>
                    </a:moveTo>
                    <a:lnTo>
                      <a:pt x="223" y="112"/>
                    </a:lnTo>
                    <a:lnTo>
                      <a:pt x="223" y="97"/>
                    </a:lnTo>
                    <a:lnTo>
                      <a:pt x="222" y="90"/>
                    </a:lnTo>
                    <a:lnTo>
                      <a:pt x="207" y="76"/>
                    </a:lnTo>
                    <a:lnTo>
                      <a:pt x="178" y="84"/>
                    </a:lnTo>
                    <a:lnTo>
                      <a:pt x="172" y="95"/>
                    </a:lnTo>
                    <a:lnTo>
                      <a:pt x="159" y="106"/>
                    </a:lnTo>
                    <a:lnTo>
                      <a:pt x="148" y="100"/>
                    </a:lnTo>
                    <a:lnTo>
                      <a:pt x="141" y="82"/>
                    </a:lnTo>
                    <a:lnTo>
                      <a:pt x="125" y="71"/>
                    </a:lnTo>
                    <a:lnTo>
                      <a:pt x="136" y="63"/>
                    </a:lnTo>
                    <a:lnTo>
                      <a:pt x="136" y="50"/>
                    </a:lnTo>
                    <a:lnTo>
                      <a:pt x="146" y="49"/>
                    </a:lnTo>
                    <a:lnTo>
                      <a:pt x="152" y="39"/>
                    </a:lnTo>
                    <a:lnTo>
                      <a:pt x="153" y="27"/>
                    </a:lnTo>
                    <a:lnTo>
                      <a:pt x="155" y="22"/>
                    </a:lnTo>
                    <a:lnTo>
                      <a:pt x="152" y="2"/>
                    </a:lnTo>
                    <a:lnTo>
                      <a:pt x="151" y="0"/>
                    </a:lnTo>
                    <a:lnTo>
                      <a:pt x="145" y="1"/>
                    </a:lnTo>
                    <a:lnTo>
                      <a:pt x="135" y="6"/>
                    </a:lnTo>
                    <a:lnTo>
                      <a:pt x="131" y="4"/>
                    </a:lnTo>
                    <a:lnTo>
                      <a:pt x="121" y="11"/>
                    </a:lnTo>
                    <a:lnTo>
                      <a:pt x="113" y="18"/>
                    </a:lnTo>
                    <a:lnTo>
                      <a:pt x="108" y="20"/>
                    </a:lnTo>
                    <a:lnTo>
                      <a:pt x="105" y="30"/>
                    </a:lnTo>
                    <a:lnTo>
                      <a:pt x="108" y="34"/>
                    </a:lnTo>
                    <a:lnTo>
                      <a:pt x="107" y="37"/>
                    </a:lnTo>
                    <a:lnTo>
                      <a:pt x="99" y="45"/>
                    </a:lnTo>
                    <a:lnTo>
                      <a:pt x="88" y="53"/>
                    </a:lnTo>
                    <a:lnTo>
                      <a:pt x="91" y="59"/>
                    </a:lnTo>
                    <a:lnTo>
                      <a:pt x="99" y="59"/>
                    </a:lnTo>
                    <a:lnTo>
                      <a:pt x="104" y="60"/>
                    </a:lnTo>
                    <a:lnTo>
                      <a:pt x="110" y="59"/>
                    </a:lnTo>
                    <a:lnTo>
                      <a:pt x="119" y="59"/>
                    </a:lnTo>
                    <a:lnTo>
                      <a:pt x="120" y="63"/>
                    </a:lnTo>
                    <a:lnTo>
                      <a:pt x="117" y="71"/>
                    </a:lnTo>
                    <a:lnTo>
                      <a:pt x="98" y="84"/>
                    </a:lnTo>
                    <a:lnTo>
                      <a:pt x="99" y="87"/>
                    </a:lnTo>
                    <a:lnTo>
                      <a:pt x="98" y="95"/>
                    </a:lnTo>
                    <a:lnTo>
                      <a:pt x="83" y="93"/>
                    </a:lnTo>
                    <a:lnTo>
                      <a:pt x="65" y="97"/>
                    </a:lnTo>
                    <a:lnTo>
                      <a:pt x="61" y="90"/>
                    </a:lnTo>
                    <a:lnTo>
                      <a:pt x="37" y="87"/>
                    </a:lnTo>
                    <a:lnTo>
                      <a:pt x="31" y="96"/>
                    </a:lnTo>
                    <a:lnTo>
                      <a:pt x="26" y="104"/>
                    </a:lnTo>
                    <a:lnTo>
                      <a:pt x="29" y="120"/>
                    </a:lnTo>
                    <a:lnTo>
                      <a:pt x="23" y="118"/>
                    </a:lnTo>
                    <a:lnTo>
                      <a:pt x="15" y="119"/>
                    </a:lnTo>
                    <a:lnTo>
                      <a:pt x="21" y="128"/>
                    </a:lnTo>
                    <a:lnTo>
                      <a:pt x="43" y="130"/>
                    </a:lnTo>
                    <a:lnTo>
                      <a:pt x="44" y="136"/>
                    </a:lnTo>
                    <a:lnTo>
                      <a:pt x="28" y="146"/>
                    </a:lnTo>
                    <a:lnTo>
                      <a:pt x="24" y="154"/>
                    </a:lnTo>
                    <a:lnTo>
                      <a:pt x="17" y="158"/>
                    </a:lnTo>
                    <a:lnTo>
                      <a:pt x="17" y="166"/>
                    </a:lnTo>
                    <a:lnTo>
                      <a:pt x="23" y="173"/>
                    </a:lnTo>
                    <a:lnTo>
                      <a:pt x="28" y="174"/>
                    </a:lnTo>
                    <a:lnTo>
                      <a:pt x="28" y="179"/>
                    </a:lnTo>
                    <a:lnTo>
                      <a:pt x="40" y="179"/>
                    </a:lnTo>
                    <a:lnTo>
                      <a:pt x="43" y="186"/>
                    </a:lnTo>
                    <a:lnTo>
                      <a:pt x="75" y="187"/>
                    </a:lnTo>
                    <a:lnTo>
                      <a:pt x="78" y="192"/>
                    </a:lnTo>
                    <a:lnTo>
                      <a:pt x="74" y="197"/>
                    </a:lnTo>
                    <a:lnTo>
                      <a:pt x="61" y="201"/>
                    </a:lnTo>
                    <a:lnTo>
                      <a:pt x="54" y="209"/>
                    </a:lnTo>
                    <a:lnTo>
                      <a:pt x="53" y="224"/>
                    </a:lnTo>
                    <a:lnTo>
                      <a:pt x="48" y="233"/>
                    </a:lnTo>
                    <a:lnTo>
                      <a:pt x="32" y="248"/>
                    </a:lnTo>
                    <a:lnTo>
                      <a:pt x="65" y="243"/>
                    </a:lnTo>
                    <a:lnTo>
                      <a:pt x="81" y="227"/>
                    </a:lnTo>
                    <a:lnTo>
                      <a:pt x="81" y="238"/>
                    </a:lnTo>
                    <a:lnTo>
                      <a:pt x="89" y="240"/>
                    </a:lnTo>
                    <a:lnTo>
                      <a:pt x="91" y="241"/>
                    </a:lnTo>
                    <a:lnTo>
                      <a:pt x="56" y="249"/>
                    </a:lnTo>
                    <a:lnTo>
                      <a:pt x="42" y="251"/>
                    </a:lnTo>
                    <a:lnTo>
                      <a:pt x="31" y="268"/>
                    </a:lnTo>
                    <a:lnTo>
                      <a:pt x="29" y="274"/>
                    </a:lnTo>
                    <a:lnTo>
                      <a:pt x="27" y="278"/>
                    </a:lnTo>
                    <a:lnTo>
                      <a:pt x="21" y="276"/>
                    </a:lnTo>
                    <a:lnTo>
                      <a:pt x="15" y="279"/>
                    </a:lnTo>
                    <a:lnTo>
                      <a:pt x="8" y="278"/>
                    </a:lnTo>
                    <a:lnTo>
                      <a:pt x="2" y="283"/>
                    </a:lnTo>
                    <a:lnTo>
                      <a:pt x="0" y="291"/>
                    </a:lnTo>
                    <a:lnTo>
                      <a:pt x="24" y="289"/>
                    </a:lnTo>
                    <a:lnTo>
                      <a:pt x="26" y="294"/>
                    </a:lnTo>
                    <a:lnTo>
                      <a:pt x="13" y="299"/>
                    </a:lnTo>
                    <a:lnTo>
                      <a:pt x="5" y="308"/>
                    </a:lnTo>
                    <a:lnTo>
                      <a:pt x="3" y="314"/>
                    </a:lnTo>
                    <a:lnTo>
                      <a:pt x="11" y="314"/>
                    </a:lnTo>
                    <a:lnTo>
                      <a:pt x="13" y="319"/>
                    </a:lnTo>
                    <a:lnTo>
                      <a:pt x="16" y="319"/>
                    </a:lnTo>
                    <a:lnTo>
                      <a:pt x="38" y="312"/>
                    </a:lnTo>
                    <a:lnTo>
                      <a:pt x="38" y="318"/>
                    </a:lnTo>
                    <a:lnTo>
                      <a:pt x="29" y="323"/>
                    </a:lnTo>
                    <a:lnTo>
                      <a:pt x="16" y="334"/>
                    </a:lnTo>
                    <a:lnTo>
                      <a:pt x="19" y="334"/>
                    </a:lnTo>
                    <a:lnTo>
                      <a:pt x="45" y="326"/>
                    </a:lnTo>
                    <a:lnTo>
                      <a:pt x="48" y="328"/>
                    </a:lnTo>
                    <a:lnTo>
                      <a:pt x="45" y="334"/>
                    </a:lnTo>
                    <a:lnTo>
                      <a:pt x="39" y="334"/>
                    </a:lnTo>
                    <a:lnTo>
                      <a:pt x="33" y="338"/>
                    </a:lnTo>
                    <a:lnTo>
                      <a:pt x="34" y="340"/>
                    </a:lnTo>
                    <a:lnTo>
                      <a:pt x="34" y="345"/>
                    </a:lnTo>
                    <a:lnTo>
                      <a:pt x="44" y="340"/>
                    </a:lnTo>
                    <a:lnTo>
                      <a:pt x="51" y="339"/>
                    </a:lnTo>
                    <a:lnTo>
                      <a:pt x="55" y="341"/>
                    </a:lnTo>
                    <a:lnTo>
                      <a:pt x="60" y="343"/>
                    </a:lnTo>
                    <a:lnTo>
                      <a:pt x="67" y="338"/>
                    </a:lnTo>
                    <a:lnTo>
                      <a:pt x="74" y="338"/>
                    </a:lnTo>
                    <a:lnTo>
                      <a:pt x="102" y="329"/>
                    </a:lnTo>
                    <a:lnTo>
                      <a:pt x="109" y="323"/>
                    </a:lnTo>
                    <a:lnTo>
                      <a:pt x="110" y="316"/>
                    </a:lnTo>
                    <a:lnTo>
                      <a:pt x="109" y="308"/>
                    </a:lnTo>
                    <a:lnTo>
                      <a:pt x="113" y="310"/>
                    </a:lnTo>
                    <a:lnTo>
                      <a:pt x="115" y="316"/>
                    </a:lnTo>
                    <a:lnTo>
                      <a:pt x="119" y="317"/>
                    </a:lnTo>
                    <a:lnTo>
                      <a:pt x="131" y="311"/>
                    </a:lnTo>
                    <a:lnTo>
                      <a:pt x="135" y="305"/>
                    </a:lnTo>
                    <a:lnTo>
                      <a:pt x="145" y="306"/>
                    </a:lnTo>
                    <a:lnTo>
                      <a:pt x="148" y="301"/>
                    </a:lnTo>
                    <a:lnTo>
                      <a:pt x="151" y="295"/>
                    </a:lnTo>
                    <a:lnTo>
                      <a:pt x="153" y="291"/>
                    </a:lnTo>
                    <a:lnTo>
                      <a:pt x="177" y="286"/>
                    </a:lnTo>
                    <a:lnTo>
                      <a:pt x="189" y="281"/>
                    </a:lnTo>
                    <a:lnTo>
                      <a:pt x="201" y="281"/>
                    </a:lnTo>
                    <a:lnTo>
                      <a:pt x="209" y="285"/>
                    </a:lnTo>
                    <a:lnTo>
                      <a:pt x="216" y="285"/>
                    </a:lnTo>
                    <a:lnTo>
                      <a:pt x="218" y="278"/>
                    </a:lnTo>
                    <a:lnTo>
                      <a:pt x="215" y="269"/>
                    </a:lnTo>
                    <a:lnTo>
                      <a:pt x="222" y="251"/>
                    </a:lnTo>
                    <a:lnTo>
                      <a:pt x="225" y="236"/>
                    </a:lnTo>
                    <a:lnTo>
                      <a:pt x="231" y="225"/>
                    </a:lnTo>
                    <a:lnTo>
                      <a:pt x="233" y="216"/>
                    </a:lnTo>
                    <a:lnTo>
                      <a:pt x="231" y="197"/>
                    </a:lnTo>
                    <a:lnTo>
                      <a:pt x="227" y="178"/>
                    </a:lnTo>
                    <a:lnTo>
                      <a:pt x="231" y="176"/>
                    </a:lnTo>
                    <a:lnTo>
                      <a:pt x="233" y="160"/>
                    </a:lnTo>
                    <a:lnTo>
                      <a:pt x="220" y="128"/>
                    </a:lnTo>
                    <a:lnTo>
                      <a:pt x="220" y="119"/>
                    </a:lnTo>
                    <a:lnTo>
                      <a:pt x="226" y="117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69" name="Freeform 196"/>
              <p:cNvSpPr>
                <a:spLocks noChangeAspect="1"/>
              </p:cNvSpPr>
              <p:nvPr/>
            </p:nvSpPr>
            <p:spPr bwMode="gray">
              <a:xfrm>
                <a:off x="2758" y="1813"/>
                <a:ext cx="199" cy="132"/>
              </a:xfrm>
              <a:custGeom>
                <a:avLst/>
                <a:gdLst/>
                <a:ahLst/>
                <a:cxnLst>
                  <a:cxn ang="0">
                    <a:pos x="148" y="384"/>
                  </a:cxn>
                  <a:cxn ang="0">
                    <a:pos x="40" y="377"/>
                  </a:cxn>
                  <a:cxn ang="0">
                    <a:pos x="19" y="282"/>
                  </a:cxn>
                  <a:cxn ang="0">
                    <a:pos x="85" y="184"/>
                  </a:cxn>
                  <a:cxn ang="0">
                    <a:pos x="84" y="95"/>
                  </a:cxn>
                  <a:cxn ang="0">
                    <a:pos x="121" y="51"/>
                  </a:cxn>
                  <a:cxn ang="0">
                    <a:pos x="219" y="44"/>
                  </a:cxn>
                  <a:cxn ang="0">
                    <a:pos x="275" y="67"/>
                  </a:cxn>
                  <a:cxn ang="0">
                    <a:pos x="328" y="77"/>
                  </a:cxn>
                  <a:cxn ang="0">
                    <a:pos x="386" y="70"/>
                  </a:cxn>
                  <a:cxn ang="0">
                    <a:pos x="449" y="86"/>
                  </a:cxn>
                  <a:cxn ang="0">
                    <a:pos x="473" y="52"/>
                  </a:cxn>
                  <a:cxn ang="0">
                    <a:pos x="537" y="18"/>
                  </a:cxn>
                  <a:cxn ang="0">
                    <a:pos x="589" y="6"/>
                  </a:cxn>
                  <a:cxn ang="0">
                    <a:pos x="662" y="25"/>
                  </a:cxn>
                  <a:cxn ang="0">
                    <a:pos x="667" y="72"/>
                  </a:cxn>
                  <a:cxn ang="0">
                    <a:pos x="720" y="105"/>
                  </a:cxn>
                  <a:cxn ang="0">
                    <a:pos x="759" y="165"/>
                  </a:cxn>
                  <a:cxn ang="0">
                    <a:pos x="842" y="163"/>
                  </a:cxn>
                  <a:cxn ang="0">
                    <a:pos x="896" y="199"/>
                  </a:cxn>
                  <a:cxn ang="0">
                    <a:pos x="958" y="223"/>
                  </a:cxn>
                  <a:cxn ang="0">
                    <a:pos x="987" y="282"/>
                  </a:cxn>
                  <a:cxn ang="0">
                    <a:pos x="968" y="320"/>
                  </a:cxn>
                  <a:cxn ang="0">
                    <a:pos x="963" y="389"/>
                  </a:cxn>
                  <a:cxn ang="0">
                    <a:pos x="888" y="419"/>
                  </a:cxn>
                  <a:cxn ang="0">
                    <a:pos x="817" y="465"/>
                  </a:cxn>
                  <a:cxn ang="0">
                    <a:pos x="757" y="485"/>
                  </a:cxn>
                  <a:cxn ang="0">
                    <a:pos x="725" y="517"/>
                  </a:cxn>
                  <a:cxn ang="0">
                    <a:pos x="709" y="545"/>
                  </a:cxn>
                  <a:cxn ang="0">
                    <a:pos x="687" y="534"/>
                  </a:cxn>
                  <a:cxn ang="0">
                    <a:pos x="666" y="507"/>
                  </a:cxn>
                  <a:cxn ang="0">
                    <a:pos x="660" y="527"/>
                  </a:cxn>
                  <a:cxn ang="0">
                    <a:pos x="684" y="539"/>
                  </a:cxn>
                  <a:cxn ang="0">
                    <a:pos x="708" y="559"/>
                  </a:cxn>
                  <a:cxn ang="0">
                    <a:pos x="750" y="590"/>
                  </a:cxn>
                  <a:cxn ang="0">
                    <a:pos x="799" y="584"/>
                  </a:cxn>
                  <a:cxn ang="0">
                    <a:pos x="723" y="619"/>
                  </a:cxn>
                  <a:cxn ang="0">
                    <a:pos x="680" y="646"/>
                  </a:cxn>
                  <a:cxn ang="0">
                    <a:pos x="632" y="638"/>
                  </a:cxn>
                  <a:cxn ang="0">
                    <a:pos x="607" y="590"/>
                  </a:cxn>
                  <a:cxn ang="0">
                    <a:pos x="613" y="550"/>
                  </a:cxn>
                  <a:cxn ang="0">
                    <a:pos x="618" y="524"/>
                  </a:cxn>
                  <a:cxn ang="0">
                    <a:pos x="557" y="518"/>
                  </a:cxn>
                  <a:cxn ang="0">
                    <a:pos x="528" y="496"/>
                  </a:cxn>
                  <a:cxn ang="0">
                    <a:pos x="543" y="471"/>
                  </a:cxn>
                  <a:cxn ang="0">
                    <a:pos x="492" y="489"/>
                  </a:cxn>
                  <a:cxn ang="0">
                    <a:pos x="450" y="509"/>
                  </a:cxn>
                  <a:cxn ang="0">
                    <a:pos x="434" y="547"/>
                  </a:cxn>
                  <a:cxn ang="0">
                    <a:pos x="418" y="566"/>
                  </a:cxn>
                  <a:cxn ang="0">
                    <a:pos x="368" y="592"/>
                  </a:cxn>
                  <a:cxn ang="0">
                    <a:pos x="352" y="560"/>
                  </a:cxn>
                  <a:cxn ang="0">
                    <a:pos x="382" y="498"/>
                  </a:cxn>
                  <a:cxn ang="0">
                    <a:pos x="431" y="484"/>
                  </a:cxn>
                  <a:cxn ang="0">
                    <a:pos x="406" y="423"/>
                  </a:cxn>
                  <a:cxn ang="0">
                    <a:pos x="387" y="369"/>
                  </a:cxn>
                  <a:cxn ang="0">
                    <a:pos x="310" y="339"/>
                  </a:cxn>
                </a:cxnLst>
                <a:rect l="0" t="0" r="r" b="b"/>
                <a:pathLst>
                  <a:path w="995" h="658">
                    <a:moveTo>
                      <a:pt x="248" y="353"/>
                    </a:moveTo>
                    <a:lnTo>
                      <a:pt x="242" y="352"/>
                    </a:lnTo>
                    <a:lnTo>
                      <a:pt x="208" y="373"/>
                    </a:lnTo>
                    <a:lnTo>
                      <a:pt x="189" y="374"/>
                    </a:lnTo>
                    <a:lnTo>
                      <a:pt x="173" y="378"/>
                    </a:lnTo>
                    <a:lnTo>
                      <a:pt x="157" y="389"/>
                    </a:lnTo>
                    <a:lnTo>
                      <a:pt x="148" y="384"/>
                    </a:lnTo>
                    <a:lnTo>
                      <a:pt x="137" y="374"/>
                    </a:lnTo>
                    <a:lnTo>
                      <a:pt x="121" y="376"/>
                    </a:lnTo>
                    <a:lnTo>
                      <a:pt x="106" y="379"/>
                    </a:lnTo>
                    <a:lnTo>
                      <a:pt x="83" y="377"/>
                    </a:lnTo>
                    <a:lnTo>
                      <a:pt x="64" y="374"/>
                    </a:lnTo>
                    <a:lnTo>
                      <a:pt x="47" y="374"/>
                    </a:lnTo>
                    <a:lnTo>
                      <a:pt x="40" y="377"/>
                    </a:lnTo>
                    <a:lnTo>
                      <a:pt x="36" y="367"/>
                    </a:lnTo>
                    <a:lnTo>
                      <a:pt x="27" y="358"/>
                    </a:lnTo>
                    <a:lnTo>
                      <a:pt x="15" y="348"/>
                    </a:lnTo>
                    <a:lnTo>
                      <a:pt x="0" y="341"/>
                    </a:lnTo>
                    <a:lnTo>
                      <a:pt x="6" y="318"/>
                    </a:lnTo>
                    <a:lnTo>
                      <a:pt x="17" y="288"/>
                    </a:lnTo>
                    <a:lnTo>
                      <a:pt x="19" y="282"/>
                    </a:lnTo>
                    <a:lnTo>
                      <a:pt x="24" y="283"/>
                    </a:lnTo>
                    <a:lnTo>
                      <a:pt x="33" y="281"/>
                    </a:lnTo>
                    <a:lnTo>
                      <a:pt x="31" y="269"/>
                    </a:lnTo>
                    <a:lnTo>
                      <a:pt x="33" y="254"/>
                    </a:lnTo>
                    <a:lnTo>
                      <a:pt x="51" y="216"/>
                    </a:lnTo>
                    <a:lnTo>
                      <a:pt x="65" y="197"/>
                    </a:lnTo>
                    <a:lnTo>
                      <a:pt x="85" y="184"/>
                    </a:lnTo>
                    <a:lnTo>
                      <a:pt x="103" y="169"/>
                    </a:lnTo>
                    <a:lnTo>
                      <a:pt x="108" y="156"/>
                    </a:lnTo>
                    <a:lnTo>
                      <a:pt x="102" y="140"/>
                    </a:lnTo>
                    <a:lnTo>
                      <a:pt x="103" y="129"/>
                    </a:lnTo>
                    <a:lnTo>
                      <a:pt x="92" y="118"/>
                    </a:lnTo>
                    <a:lnTo>
                      <a:pt x="91" y="114"/>
                    </a:lnTo>
                    <a:lnTo>
                      <a:pt x="84" y="95"/>
                    </a:lnTo>
                    <a:lnTo>
                      <a:pt x="83" y="83"/>
                    </a:lnTo>
                    <a:lnTo>
                      <a:pt x="76" y="71"/>
                    </a:lnTo>
                    <a:lnTo>
                      <a:pt x="83" y="65"/>
                    </a:lnTo>
                    <a:lnTo>
                      <a:pt x="91" y="64"/>
                    </a:lnTo>
                    <a:lnTo>
                      <a:pt x="100" y="65"/>
                    </a:lnTo>
                    <a:lnTo>
                      <a:pt x="114" y="57"/>
                    </a:lnTo>
                    <a:lnTo>
                      <a:pt x="121" y="51"/>
                    </a:lnTo>
                    <a:lnTo>
                      <a:pt x="123" y="44"/>
                    </a:lnTo>
                    <a:lnTo>
                      <a:pt x="130" y="40"/>
                    </a:lnTo>
                    <a:lnTo>
                      <a:pt x="172" y="34"/>
                    </a:lnTo>
                    <a:lnTo>
                      <a:pt x="180" y="37"/>
                    </a:lnTo>
                    <a:lnTo>
                      <a:pt x="197" y="38"/>
                    </a:lnTo>
                    <a:lnTo>
                      <a:pt x="205" y="35"/>
                    </a:lnTo>
                    <a:lnTo>
                      <a:pt x="219" y="44"/>
                    </a:lnTo>
                    <a:lnTo>
                      <a:pt x="235" y="49"/>
                    </a:lnTo>
                    <a:lnTo>
                      <a:pt x="243" y="50"/>
                    </a:lnTo>
                    <a:lnTo>
                      <a:pt x="252" y="49"/>
                    </a:lnTo>
                    <a:lnTo>
                      <a:pt x="258" y="52"/>
                    </a:lnTo>
                    <a:lnTo>
                      <a:pt x="267" y="55"/>
                    </a:lnTo>
                    <a:lnTo>
                      <a:pt x="274" y="59"/>
                    </a:lnTo>
                    <a:lnTo>
                      <a:pt x="275" y="67"/>
                    </a:lnTo>
                    <a:lnTo>
                      <a:pt x="282" y="72"/>
                    </a:lnTo>
                    <a:lnTo>
                      <a:pt x="297" y="71"/>
                    </a:lnTo>
                    <a:lnTo>
                      <a:pt x="299" y="79"/>
                    </a:lnTo>
                    <a:lnTo>
                      <a:pt x="306" y="86"/>
                    </a:lnTo>
                    <a:lnTo>
                      <a:pt x="312" y="79"/>
                    </a:lnTo>
                    <a:lnTo>
                      <a:pt x="320" y="77"/>
                    </a:lnTo>
                    <a:lnTo>
                      <a:pt x="328" y="77"/>
                    </a:lnTo>
                    <a:lnTo>
                      <a:pt x="334" y="71"/>
                    </a:lnTo>
                    <a:lnTo>
                      <a:pt x="340" y="76"/>
                    </a:lnTo>
                    <a:lnTo>
                      <a:pt x="349" y="78"/>
                    </a:lnTo>
                    <a:lnTo>
                      <a:pt x="356" y="76"/>
                    </a:lnTo>
                    <a:lnTo>
                      <a:pt x="361" y="83"/>
                    </a:lnTo>
                    <a:lnTo>
                      <a:pt x="369" y="88"/>
                    </a:lnTo>
                    <a:lnTo>
                      <a:pt x="386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8" y="93"/>
                    </a:lnTo>
                    <a:lnTo>
                      <a:pt x="415" y="88"/>
                    </a:lnTo>
                    <a:lnTo>
                      <a:pt x="424" y="88"/>
                    </a:lnTo>
                    <a:lnTo>
                      <a:pt x="440" y="86"/>
                    </a:lnTo>
                    <a:lnTo>
                      <a:pt x="449" y="86"/>
                    </a:lnTo>
                    <a:lnTo>
                      <a:pt x="456" y="89"/>
                    </a:lnTo>
                    <a:lnTo>
                      <a:pt x="461" y="95"/>
                    </a:lnTo>
                    <a:lnTo>
                      <a:pt x="469" y="93"/>
                    </a:lnTo>
                    <a:lnTo>
                      <a:pt x="473" y="86"/>
                    </a:lnTo>
                    <a:lnTo>
                      <a:pt x="471" y="70"/>
                    </a:lnTo>
                    <a:lnTo>
                      <a:pt x="473" y="61"/>
                    </a:lnTo>
                    <a:lnTo>
                      <a:pt x="473" y="52"/>
                    </a:lnTo>
                    <a:lnTo>
                      <a:pt x="476" y="44"/>
                    </a:lnTo>
                    <a:lnTo>
                      <a:pt x="494" y="27"/>
                    </a:lnTo>
                    <a:lnTo>
                      <a:pt x="501" y="23"/>
                    </a:lnTo>
                    <a:lnTo>
                      <a:pt x="510" y="23"/>
                    </a:lnTo>
                    <a:lnTo>
                      <a:pt x="517" y="18"/>
                    </a:lnTo>
                    <a:lnTo>
                      <a:pt x="537" y="18"/>
                    </a:lnTo>
                    <a:lnTo>
                      <a:pt x="537" y="18"/>
                    </a:lnTo>
                    <a:lnTo>
                      <a:pt x="543" y="23"/>
                    </a:lnTo>
                    <a:lnTo>
                      <a:pt x="551" y="25"/>
                    </a:lnTo>
                    <a:lnTo>
                      <a:pt x="558" y="22"/>
                    </a:lnTo>
                    <a:lnTo>
                      <a:pt x="563" y="16"/>
                    </a:lnTo>
                    <a:lnTo>
                      <a:pt x="565" y="7"/>
                    </a:lnTo>
                    <a:lnTo>
                      <a:pt x="573" y="2"/>
                    </a:lnTo>
                    <a:lnTo>
                      <a:pt x="589" y="6"/>
                    </a:lnTo>
                    <a:lnTo>
                      <a:pt x="597" y="6"/>
                    </a:lnTo>
                    <a:lnTo>
                      <a:pt x="613" y="1"/>
                    </a:lnTo>
                    <a:lnTo>
                      <a:pt x="629" y="3"/>
                    </a:lnTo>
                    <a:lnTo>
                      <a:pt x="645" y="0"/>
                    </a:lnTo>
                    <a:lnTo>
                      <a:pt x="657" y="9"/>
                    </a:lnTo>
                    <a:lnTo>
                      <a:pt x="662" y="17"/>
                    </a:lnTo>
                    <a:lnTo>
                      <a:pt x="662" y="25"/>
                    </a:lnTo>
                    <a:lnTo>
                      <a:pt x="675" y="37"/>
                    </a:lnTo>
                    <a:lnTo>
                      <a:pt x="680" y="43"/>
                    </a:lnTo>
                    <a:lnTo>
                      <a:pt x="680" y="52"/>
                    </a:lnTo>
                    <a:lnTo>
                      <a:pt x="671" y="56"/>
                    </a:lnTo>
                    <a:lnTo>
                      <a:pt x="664" y="57"/>
                    </a:lnTo>
                    <a:lnTo>
                      <a:pt x="667" y="65"/>
                    </a:lnTo>
                    <a:lnTo>
                      <a:pt x="667" y="72"/>
                    </a:lnTo>
                    <a:lnTo>
                      <a:pt x="671" y="88"/>
                    </a:lnTo>
                    <a:lnTo>
                      <a:pt x="678" y="93"/>
                    </a:lnTo>
                    <a:lnTo>
                      <a:pt x="686" y="97"/>
                    </a:lnTo>
                    <a:lnTo>
                      <a:pt x="702" y="100"/>
                    </a:lnTo>
                    <a:lnTo>
                      <a:pt x="709" y="97"/>
                    </a:lnTo>
                    <a:lnTo>
                      <a:pt x="718" y="97"/>
                    </a:lnTo>
                    <a:lnTo>
                      <a:pt x="720" y="105"/>
                    </a:lnTo>
                    <a:lnTo>
                      <a:pt x="731" y="116"/>
                    </a:lnTo>
                    <a:lnTo>
                      <a:pt x="738" y="145"/>
                    </a:lnTo>
                    <a:lnTo>
                      <a:pt x="736" y="152"/>
                    </a:lnTo>
                    <a:lnTo>
                      <a:pt x="738" y="159"/>
                    </a:lnTo>
                    <a:lnTo>
                      <a:pt x="745" y="165"/>
                    </a:lnTo>
                    <a:lnTo>
                      <a:pt x="752" y="169"/>
                    </a:lnTo>
                    <a:lnTo>
                      <a:pt x="759" y="165"/>
                    </a:lnTo>
                    <a:lnTo>
                      <a:pt x="767" y="164"/>
                    </a:lnTo>
                    <a:lnTo>
                      <a:pt x="775" y="165"/>
                    </a:lnTo>
                    <a:lnTo>
                      <a:pt x="786" y="177"/>
                    </a:lnTo>
                    <a:lnTo>
                      <a:pt x="795" y="174"/>
                    </a:lnTo>
                    <a:lnTo>
                      <a:pt x="801" y="178"/>
                    </a:lnTo>
                    <a:lnTo>
                      <a:pt x="827" y="170"/>
                    </a:lnTo>
                    <a:lnTo>
                      <a:pt x="842" y="163"/>
                    </a:lnTo>
                    <a:lnTo>
                      <a:pt x="849" y="165"/>
                    </a:lnTo>
                    <a:lnTo>
                      <a:pt x="854" y="173"/>
                    </a:lnTo>
                    <a:lnTo>
                      <a:pt x="865" y="195"/>
                    </a:lnTo>
                    <a:lnTo>
                      <a:pt x="876" y="206"/>
                    </a:lnTo>
                    <a:lnTo>
                      <a:pt x="883" y="206"/>
                    </a:lnTo>
                    <a:lnTo>
                      <a:pt x="887" y="199"/>
                    </a:lnTo>
                    <a:lnTo>
                      <a:pt x="896" y="199"/>
                    </a:lnTo>
                    <a:lnTo>
                      <a:pt x="901" y="205"/>
                    </a:lnTo>
                    <a:lnTo>
                      <a:pt x="908" y="206"/>
                    </a:lnTo>
                    <a:lnTo>
                      <a:pt x="915" y="210"/>
                    </a:lnTo>
                    <a:lnTo>
                      <a:pt x="922" y="216"/>
                    </a:lnTo>
                    <a:lnTo>
                      <a:pt x="938" y="215"/>
                    </a:lnTo>
                    <a:lnTo>
                      <a:pt x="951" y="224"/>
                    </a:lnTo>
                    <a:lnTo>
                      <a:pt x="958" y="223"/>
                    </a:lnTo>
                    <a:lnTo>
                      <a:pt x="971" y="234"/>
                    </a:lnTo>
                    <a:lnTo>
                      <a:pt x="979" y="235"/>
                    </a:lnTo>
                    <a:lnTo>
                      <a:pt x="988" y="235"/>
                    </a:lnTo>
                    <a:lnTo>
                      <a:pt x="994" y="240"/>
                    </a:lnTo>
                    <a:lnTo>
                      <a:pt x="987" y="244"/>
                    </a:lnTo>
                    <a:lnTo>
                      <a:pt x="995" y="267"/>
                    </a:lnTo>
                    <a:lnTo>
                      <a:pt x="987" y="282"/>
                    </a:lnTo>
                    <a:lnTo>
                      <a:pt x="971" y="286"/>
                    </a:lnTo>
                    <a:lnTo>
                      <a:pt x="976" y="292"/>
                    </a:lnTo>
                    <a:lnTo>
                      <a:pt x="984" y="294"/>
                    </a:lnTo>
                    <a:lnTo>
                      <a:pt x="988" y="301"/>
                    </a:lnTo>
                    <a:lnTo>
                      <a:pt x="972" y="306"/>
                    </a:lnTo>
                    <a:lnTo>
                      <a:pt x="969" y="313"/>
                    </a:lnTo>
                    <a:lnTo>
                      <a:pt x="968" y="320"/>
                    </a:lnTo>
                    <a:lnTo>
                      <a:pt x="973" y="326"/>
                    </a:lnTo>
                    <a:lnTo>
                      <a:pt x="976" y="335"/>
                    </a:lnTo>
                    <a:lnTo>
                      <a:pt x="974" y="342"/>
                    </a:lnTo>
                    <a:lnTo>
                      <a:pt x="980" y="346"/>
                    </a:lnTo>
                    <a:lnTo>
                      <a:pt x="978" y="362"/>
                    </a:lnTo>
                    <a:lnTo>
                      <a:pt x="971" y="385"/>
                    </a:lnTo>
                    <a:lnTo>
                      <a:pt x="963" y="389"/>
                    </a:lnTo>
                    <a:lnTo>
                      <a:pt x="947" y="385"/>
                    </a:lnTo>
                    <a:lnTo>
                      <a:pt x="940" y="387"/>
                    </a:lnTo>
                    <a:lnTo>
                      <a:pt x="925" y="379"/>
                    </a:lnTo>
                    <a:lnTo>
                      <a:pt x="919" y="384"/>
                    </a:lnTo>
                    <a:lnTo>
                      <a:pt x="910" y="398"/>
                    </a:lnTo>
                    <a:lnTo>
                      <a:pt x="896" y="404"/>
                    </a:lnTo>
                    <a:lnTo>
                      <a:pt x="888" y="419"/>
                    </a:lnTo>
                    <a:lnTo>
                      <a:pt x="890" y="427"/>
                    </a:lnTo>
                    <a:lnTo>
                      <a:pt x="890" y="442"/>
                    </a:lnTo>
                    <a:lnTo>
                      <a:pt x="866" y="446"/>
                    </a:lnTo>
                    <a:lnTo>
                      <a:pt x="853" y="448"/>
                    </a:lnTo>
                    <a:lnTo>
                      <a:pt x="843" y="459"/>
                    </a:lnTo>
                    <a:lnTo>
                      <a:pt x="836" y="458"/>
                    </a:lnTo>
                    <a:lnTo>
                      <a:pt x="817" y="465"/>
                    </a:lnTo>
                    <a:lnTo>
                      <a:pt x="813" y="477"/>
                    </a:lnTo>
                    <a:lnTo>
                      <a:pt x="801" y="470"/>
                    </a:lnTo>
                    <a:lnTo>
                      <a:pt x="779" y="481"/>
                    </a:lnTo>
                    <a:lnTo>
                      <a:pt x="777" y="486"/>
                    </a:lnTo>
                    <a:lnTo>
                      <a:pt x="775" y="481"/>
                    </a:lnTo>
                    <a:lnTo>
                      <a:pt x="764" y="485"/>
                    </a:lnTo>
                    <a:lnTo>
                      <a:pt x="757" y="485"/>
                    </a:lnTo>
                    <a:lnTo>
                      <a:pt x="741" y="500"/>
                    </a:lnTo>
                    <a:lnTo>
                      <a:pt x="737" y="501"/>
                    </a:lnTo>
                    <a:lnTo>
                      <a:pt x="731" y="511"/>
                    </a:lnTo>
                    <a:lnTo>
                      <a:pt x="724" y="522"/>
                    </a:lnTo>
                    <a:lnTo>
                      <a:pt x="716" y="525"/>
                    </a:lnTo>
                    <a:lnTo>
                      <a:pt x="719" y="520"/>
                    </a:lnTo>
                    <a:lnTo>
                      <a:pt x="725" y="517"/>
                    </a:lnTo>
                    <a:lnTo>
                      <a:pt x="730" y="512"/>
                    </a:lnTo>
                    <a:lnTo>
                      <a:pt x="725" y="497"/>
                    </a:lnTo>
                    <a:lnTo>
                      <a:pt x="721" y="497"/>
                    </a:lnTo>
                    <a:lnTo>
                      <a:pt x="716" y="512"/>
                    </a:lnTo>
                    <a:lnTo>
                      <a:pt x="707" y="522"/>
                    </a:lnTo>
                    <a:lnTo>
                      <a:pt x="709" y="536"/>
                    </a:lnTo>
                    <a:lnTo>
                      <a:pt x="709" y="545"/>
                    </a:lnTo>
                    <a:lnTo>
                      <a:pt x="704" y="545"/>
                    </a:lnTo>
                    <a:lnTo>
                      <a:pt x="704" y="541"/>
                    </a:lnTo>
                    <a:lnTo>
                      <a:pt x="698" y="530"/>
                    </a:lnTo>
                    <a:lnTo>
                      <a:pt x="699" y="527"/>
                    </a:lnTo>
                    <a:lnTo>
                      <a:pt x="697" y="523"/>
                    </a:lnTo>
                    <a:lnTo>
                      <a:pt x="691" y="528"/>
                    </a:lnTo>
                    <a:lnTo>
                      <a:pt x="687" y="534"/>
                    </a:lnTo>
                    <a:lnTo>
                      <a:pt x="684" y="533"/>
                    </a:lnTo>
                    <a:lnTo>
                      <a:pt x="687" y="525"/>
                    </a:lnTo>
                    <a:lnTo>
                      <a:pt x="684" y="523"/>
                    </a:lnTo>
                    <a:lnTo>
                      <a:pt x="671" y="523"/>
                    </a:lnTo>
                    <a:lnTo>
                      <a:pt x="670" y="520"/>
                    </a:lnTo>
                    <a:lnTo>
                      <a:pt x="670" y="512"/>
                    </a:lnTo>
                    <a:lnTo>
                      <a:pt x="666" y="507"/>
                    </a:lnTo>
                    <a:lnTo>
                      <a:pt x="664" y="520"/>
                    </a:lnTo>
                    <a:lnTo>
                      <a:pt x="661" y="522"/>
                    </a:lnTo>
                    <a:lnTo>
                      <a:pt x="644" y="517"/>
                    </a:lnTo>
                    <a:lnTo>
                      <a:pt x="649" y="520"/>
                    </a:lnTo>
                    <a:lnTo>
                      <a:pt x="653" y="525"/>
                    </a:lnTo>
                    <a:lnTo>
                      <a:pt x="657" y="525"/>
                    </a:lnTo>
                    <a:lnTo>
                      <a:pt x="660" y="527"/>
                    </a:lnTo>
                    <a:lnTo>
                      <a:pt x="662" y="533"/>
                    </a:lnTo>
                    <a:lnTo>
                      <a:pt x="664" y="538"/>
                    </a:lnTo>
                    <a:lnTo>
                      <a:pt x="667" y="543"/>
                    </a:lnTo>
                    <a:lnTo>
                      <a:pt x="670" y="540"/>
                    </a:lnTo>
                    <a:lnTo>
                      <a:pt x="670" y="533"/>
                    </a:lnTo>
                    <a:lnTo>
                      <a:pt x="680" y="535"/>
                    </a:lnTo>
                    <a:lnTo>
                      <a:pt x="684" y="539"/>
                    </a:lnTo>
                    <a:lnTo>
                      <a:pt x="689" y="539"/>
                    </a:lnTo>
                    <a:lnTo>
                      <a:pt x="686" y="551"/>
                    </a:lnTo>
                    <a:lnTo>
                      <a:pt x="688" y="552"/>
                    </a:lnTo>
                    <a:lnTo>
                      <a:pt x="694" y="550"/>
                    </a:lnTo>
                    <a:lnTo>
                      <a:pt x="697" y="551"/>
                    </a:lnTo>
                    <a:lnTo>
                      <a:pt x="694" y="560"/>
                    </a:lnTo>
                    <a:lnTo>
                      <a:pt x="708" y="559"/>
                    </a:lnTo>
                    <a:lnTo>
                      <a:pt x="714" y="567"/>
                    </a:lnTo>
                    <a:lnTo>
                      <a:pt x="714" y="578"/>
                    </a:lnTo>
                    <a:lnTo>
                      <a:pt x="716" y="588"/>
                    </a:lnTo>
                    <a:lnTo>
                      <a:pt x="720" y="583"/>
                    </a:lnTo>
                    <a:lnTo>
                      <a:pt x="737" y="588"/>
                    </a:lnTo>
                    <a:lnTo>
                      <a:pt x="738" y="582"/>
                    </a:lnTo>
                    <a:lnTo>
                      <a:pt x="750" y="590"/>
                    </a:lnTo>
                    <a:lnTo>
                      <a:pt x="762" y="577"/>
                    </a:lnTo>
                    <a:lnTo>
                      <a:pt x="766" y="577"/>
                    </a:lnTo>
                    <a:lnTo>
                      <a:pt x="768" y="582"/>
                    </a:lnTo>
                    <a:lnTo>
                      <a:pt x="775" y="578"/>
                    </a:lnTo>
                    <a:lnTo>
                      <a:pt x="789" y="575"/>
                    </a:lnTo>
                    <a:lnTo>
                      <a:pt x="800" y="576"/>
                    </a:lnTo>
                    <a:lnTo>
                      <a:pt x="799" y="584"/>
                    </a:lnTo>
                    <a:lnTo>
                      <a:pt x="795" y="588"/>
                    </a:lnTo>
                    <a:lnTo>
                      <a:pt x="794" y="597"/>
                    </a:lnTo>
                    <a:lnTo>
                      <a:pt x="794" y="608"/>
                    </a:lnTo>
                    <a:lnTo>
                      <a:pt x="775" y="608"/>
                    </a:lnTo>
                    <a:lnTo>
                      <a:pt x="772" y="611"/>
                    </a:lnTo>
                    <a:lnTo>
                      <a:pt x="740" y="602"/>
                    </a:lnTo>
                    <a:lnTo>
                      <a:pt x="723" y="619"/>
                    </a:lnTo>
                    <a:lnTo>
                      <a:pt x="714" y="629"/>
                    </a:lnTo>
                    <a:lnTo>
                      <a:pt x="702" y="626"/>
                    </a:lnTo>
                    <a:lnTo>
                      <a:pt x="687" y="630"/>
                    </a:lnTo>
                    <a:lnTo>
                      <a:pt x="692" y="633"/>
                    </a:lnTo>
                    <a:lnTo>
                      <a:pt x="686" y="635"/>
                    </a:lnTo>
                    <a:lnTo>
                      <a:pt x="681" y="641"/>
                    </a:lnTo>
                    <a:lnTo>
                      <a:pt x="680" y="646"/>
                    </a:lnTo>
                    <a:lnTo>
                      <a:pt x="677" y="649"/>
                    </a:lnTo>
                    <a:lnTo>
                      <a:pt x="670" y="651"/>
                    </a:lnTo>
                    <a:lnTo>
                      <a:pt x="659" y="658"/>
                    </a:lnTo>
                    <a:lnTo>
                      <a:pt x="643" y="657"/>
                    </a:lnTo>
                    <a:lnTo>
                      <a:pt x="639" y="656"/>
                    </a:lnTo>
                    <a:lnTo>
                      <a:pt x="628" y="646"/>
                    </a:lnTo>
                    <a:lnTo>
                      <a:pt x="632" y="638"/>
                    </a:lnTo>
                    <a:lnTo>
                      <a:pt x="632" y="629"/>
                    </a:lnTo>
                    <a:lnTo>
                      <a:pt x="634" y="620"/>
                    </a:lnTo>
                    <a:lnTo>
                      <a:pt x="633" y="610"/>
                    </a:lnTo>
                    <a:lnTo>
                      <a:pt x="628" y="599"/>
                    </a:lnTo>
                    <a:lnTo>
                      <a:pt x="621" y="598"/>
                    </a:lnTo>
                    <a:lnTo>
                      <a:pt x="614" y="598"/>
                    </a:lnTo>
                    <a:lnTo>
                      <a:pt x="607" y="590"/>
                    </a:lnTo>
                    <a:lnTo>
                      <a:pt x="595" y="583"/>
                    </a:lnTo>
                    <a:lnTo>
                      <a:pt x="579" y="583"/>
                    </a:lnTo>
                    <a:lnTo>
                      <a:pt x="579" y="581"/>
                    </a:lnTo>
                    <a:lnTo>
                      <a:pt x="581" y="575"/>
                    </a:lnTo>
                    <a:lnTo>
                      <a:pt x="591" y="570"/>
                    </a:lnTo>
                    <a:lnTo>
                      <a:pt x="605" y="556"/>
                    </a:lnTo>
                    <a:lnTo>
                      <a:pt x="613" y="550"/>
                    </a:lnTo>
                    <a:lnTo>
                      <a:pt x="641" y="541"/>
                    </a:lnTo>
                    <a:lnTo>
                      <a:pt x="645" y="539"/>
                    </a:lnTo>
                    <a:lnTo>
                      <a:pt x="641" y="536"/>
                    </a:lnTo>
                    <a:lnTo>
                      <a:pt x="640" y="529"/>
                    </a:lnTo>
                    <a:lnTo>
                      <a:pt x="634" y="523"/>
                    </a:lnTo>
                    <a:lnTo>
                      <a:pt x="628" y="529"/>
                    </a:lnTo>
                    <a:lnTo>
                      <a:pt x="618" y="524"/>
                    </a:lnTo>
                    <a:lnTo>
                      <a:pt x="618" y="519"/>
                    </a:lnTo>
                    <a:lnTo>
                      <a:pt x="610" y="522"/>
                    </a:lnTo>
                    <a:lnTo>
                      <a:pt x="608" y="525"/>
                    </a:lnTo>
                    <a:lnTo>
                      <a:pt x="601" y="525"/>
                    </a:lnTo>
                    <a:lnTo>
                      <a:pt x="579" y="530"/>
                    </a:lnTo>
                    <a:lnTo>
                      <a:pt x="563" y="524"/>
                    </a:lnTo>
                    <a:lnTo>
                      <a:pt x="557" y="518"/>
                    </a:lnTo>
                    <a:lnTo>
                      <a:pt x="551" y="516"/>
                    </a:lnTo>
                    <a:lnTo>
                      <a:pt x="539" y="517"/>
                    </a:lnTo>
                    <a:lnTo>
                      <a:pt x="538" y="513"/>
                    </a:lnTo>
                    <a:lnTo>
                      <a:pt x="551" y="503"/>
                    </a:lnTo>
                    <a:lnTo>
                      <a:pt x="549" y="501"/>
                    </a:lnTo>
                    <a:lnTo>
                      <a:pt x="533" y="498"/>
                    </a:lnTo>
                    <a:lnTo>
                      <a:pt x="528" y="496"/>
                    </a:lnTo>
                    <a:lnTo>
                      <a:pt x="536" y="492"/>
                    </a:lnTo>
                    <a:lnTo>
                      <a:pt x="560" y="496"/>
                    </a:lnTo>
                    <a:lnTo>
                      <a:pt x="563" y="495"/>
                    </a:lnTo>
                    <a:lnTo>
                      <a:pt x="560" y="491"/>
                    </a:lnTo>
                    <a:lnTo>
                      <a:pt x="554" y="490"/>
                    </a:lnTo>
                    <a:lnTo>
                      <a:pt x="548" y="481"/>
                    </a:lnTo>
                    <a:lnTo>
                      <a:pt x="543" y="471"/>
                    </a:lnTo>
                    <a:lnTo>
                      <a:pt x="541" y="479"/>
                    </a:lnTo>
                    <a:lnTo>
                      <a:pt x="533" y="482"/>
                    </a:lnTo>
                    <a:lnTo>
                      <a:pt x="524" y="485"/>
                    </a:lnTo>
                    <a:lnTo>
                      <a:pt x="526" y="475"/>
                    </a:lnTo>
                    <a:lnTo>
                      <a:pt x="520" y="480"/>
                    </a:lnTo>
                    <a:lnTo>
                      <a:pt x="508" y="486"/>
                    </a:lnTo>
                    <a:lnTo>
                      <a:pt x="492" y="489"/>
                    </a:lnTo>
                    <a:lnTo>
                      <a:pt x="485" y="492"/>
                    </a:lnTo>
                    <a:lnTo>
                      <a:pt x="478" y="495"/>
                    </a:lnTo>
                    <a:lnTo>
                      <a:pt x="477" y="502"/>
                    </a:lnTo>
                    <a:lnTo>
                      <a:pt x="466" y="520"/>
                    </a:lnTo>
                    <a:lnTo>
                      <a:pt x="461" y="519"/>
                    </a:lnTo>
                    <a:lnTo>
                      <a:pt x="457" y="511"/>
                    </a:lnTo>
                    <a:lnTo>
                      <a:pt x="450" y="509"/>
                    </a:lnTo>
                    <a:lnTo>
                      <a:pt x="446" y="504"/>
                    </a:lnTo>
                    <a:lnTo>
                      <a:pt x="449" y="512"/>
                    </a:lnTo>
                    <a:lnTo>
                      <a:pt x="457" y="519"/>
                    </a:lnTo>
                    <a:lnTo>
                      <a:pt x="458" y="530"/>
                    </a:lnTo>
                    <a:lnTo>
                      <a:pt x="453" y="541"/>
                    </a:lnTo>
                    <a:lnTo>
                      <a:pt x="449" y="546"/>
                    </a:lnTo>
                    <a:lnTo>
                      <a:pt x="434" y="547"/>
                    </a:lnTo>
                    <a:lnTo>
                      <a:pt x="431" y="552"/>
                    </a:lnTo>
                    <a:lnTo>
                      <a:pt x="426" y="555"/>
                    </a:lnTo>
                    <a:lnTo>
                      <a:pt x="425" y="562"/>
                    </a:lnTo>
                    <a:lnTo>
                      <a:pt x="420" y="560"/>
                    </a:lnTo>
                    <a:lnTo>
                      <a:pt x="419" y="550"/>
                    </a:lnTo>
                    <a:lnTo>
                      <a:pt x="418" y="546"/>
                    </a:lnTo>
                    <a:lnTo>
                      <a:pt x="418" y="566"/>
                    </a:lnTo>
                    <a:lnTo>
                      <a:pt x="419" y="581"/>
                    </a:lnTo>
                    <a:lnTo>
                      <a:pt x="417" y="582"/>
                    </a:lnTo>
                    <a:lnTo>
                      <a:pt x="411" y="578"/>
                    </a:lnTo>
                    <a:lnTo>
                      <a:pt x="402" y="578"/>
                    </a:lnTo>
                    <a:lnTo>
                      <a:pt x="393" y="582"/>
                    </a:lnTo>
                    <a:lnTo>
                      <a:pt x="379" y="584"/>
                    </a:lnTo>
                    <a:lnTo>
                      <a:pt x="368" y="592"/>
                    </a:lnTo>
                    <a:lnTo>
                      <a:pt x="356" y="593"/>
                    </a:lnTo>
                    <a:lnTo>
                      <a:pt x="344" y="576"/>
                    </a:lnTo>
                    <a:lnTo>
                      <a:pt x="336" y="577"/>
                    </a:lnTo>
                    <a:lnTo>
                      <a:pt x="336" y="573"/>
                    </a:lnTo>
                    <a:lnTo>
                      <a:pt x="345" y="573"/>
                    </a:lnTo>
                    <a:lnTo>
                      <a:pt x="350" y="567"/>
                    </a:lnTo>
                    <a:lnTo>
                      <a:pt x="352" y="560"/>
                    </a:lnTo>
                    <a:lnTo>
                      <a:pt x="354" y="552"/>
                    </a:lnTo>
                    <a:lnTo>
                      <a:pt x="363" y="547"/>
                    </a:lnTo>
                    <a:lnTo>
                      <a:pt x="364" y="539"/>
                    </a:lnTo>
                    <a:lnTo>
                      <a:pt x="369" y="534"/>
                    </a:lnTo>
                    <a:lnTo>
                      <a:pt x="376" y="530"/>
                    </a:lnTo>
                    <a:lnTo>
                      <a:pt x="379" y="506"/>
                    </a:lnTo>
                    <a:lnTo>
                      <a:pt x="382" y="498"/>
                    </a:lnTo>
                    <a:lnTo>
                      <a:pt x="391" y="495"/>
                    </a:lnTo>
                    <a:lnTo>
                      <a:pt x="395" y="501"/>
                    </a:lnTo>
                    <a:lnTo>
                      <a:pt x="402" y="497"/>
                    </a:lnTo>
                    <a:lnTo>
                      <a:pt x="425" y="503"/>
                    </a:lnTo>
                    <a:lnTo>
                      <a:pt x="431" y="498"/>
                    </a:lnTo>
                    <a:lnTo>
                      <a:pt x="435" y="491"/>
                    </a:lnTo>
                    <a:lnTo>
                      <a:pt x="431" y="484"/>
                    </a:lnTo>
                    <a:lnTo>
                      <a:pt x="434" y="476"/>
                    </a:lnTo>
                    <a:lnTo>
                      <a:pt x="433" y="468"/>
                    </a:lnTo>
                    <a:lnTo>
                      <a:pt x="428" y="460"/>
                    </a:lnTo>
                    <a:lnTo>
                      <a:pt x="413" y="453"/>
                    </a:lnTo>
                    <a:lnTo>
                      <a:pt x="407" y="439"/>
                    </a:lnTo>
                    <a:lnTo>
                      <a:pt x="408" y="431"/>
                    </a:lnTo>
                    <a:lnTo>
                      <a:pt x="406" y="423"/>
                    </a:lnTo>
                    <a:lnTo>
                      <a:pt x="398" y="422"/>
                    </a:lnTo>
                    <a:lnTo>
                      <a:pt x="395" y="415"/>
                    </a:lnTo>
                    <a:lnTo>
                      <a:pt x="387" y="409"/>
                    </a:lnTo>
                    <a:lnTo>
                      <a:pt x="391" y="393"/>
                    </a:lnTo>
                    <a:lnTo>
                      <a:pt x="391" y="385"/>
                    </a:lnTo>
                    <a:lnTo>
                      <a:pt x="391" y="377"/>
                    </a:lnTo>
                    <a:lnTo>
                      <a:pt x="387" y="369"/>
                    </a:lnTo>
                    <a:lnTo>
                      <a:pt x="379" y="372"/>
                    </a:lnTo>
                    <a:lnTo>
                      <a:pt x="368" y="360"/>
                    </a:lnTo>
                    <a:lnTo>
                      <a:pt x="359" y="358"/>
                    </a:lnTo>
                    <a:lnTo>
                      <a:pt x="343" y="361"/>
                    </a:lnTo>
                    <a:lnTo>
                      <a:pt x="336" y="358"/>
                    </a:lnTo>
                    <a:lnTo>
                      <a:pt x="317" y="342"/>
                    </a:lnTo>
                    <a:lnTo>
                      <a:pt x="310" y="339"/>
                    </a:lnTo>
                    <a:lnTo>
                      <a:pt x="294" y="334"/>
                    </a:lnTo>
                    <a:lnTo>
                      <a:pt x="278" y="339"/>
                    </a:lnTo>
                    <a:lnTo>
                      <a:pt x="269" y="340"/>
                    </a:lnTo>
                    <a:lnTo>
                      <a:pt x="261" y="339"/>
                    </a:lnTo>
                    <a:lnTo>
                      <a:pt x="254" y="342"/>
                    </a:lnTo>
                    <a:lnTo>
                      <a:pt x="248" y="353"/>
                    </a:lnTo>
                    <a:close/>
                  </a:path>
                </a:pathLst>
              </a:custGeom>
              <a:solidFill>
                <a:schemeClr val="accent6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0" name="Freeform 197"/>
              <p:cNvSpPr>
                <a:spLocks noChangeAspect="1"/>
              </p:cNvSpPr>
              <p:nvPr/>
            </p:nvSpPr>
            <p:spPr bwMode="gray">
              <a:xfrm>
                <a:off x="2807" y="1880"/>
                <a:ext cx="38" cy="48"/>
              </a:xfrm>
              <a:custGeom>
                <a:avLst/>
                <a:gdLst/>
                <a:ahLst/>
                <a:cxnLst>
                  <a:cxn ang="0">
                    <a:pos x="88" y="239"/>
                  </a:cxn>
                  <a:cxn ang="0">
                    <a:pos x="88" y="225"/>
                  </a:cxn>
                  <a:cxn ang="0">
                    <a:pos x="86" y="212"/>
                  </a:cxn>
                  <a:cxn ang="0">
                    <a:pos x="84" y="200"/>
                  </a:cxn>
                  <a:cxn ang="0">
                    <a:pos x="86" y="184"/>
                  </a:cxn>
                  <a:cxn ang="0">
                    <a:pos x="86" y="164"/>
                  </a:cxn>
                  <a:cxn ang="0">
                    <a:pos x="81" y="135"/>
                  </a:cxn>
                  <a:cxn ang="0">
                    <a:pos x="70" y="115"/>
                  </a:cxn>
                  <a:cxn ang="0">
                    <a:pos x="57" y="94"/>
                  </a:cxn>
                  <a:cxn ang="0">
                    <a:pos x="45" y="73"/>
                  </a:cxn>
                  <a:cxn ang="0">
                    <a:pos x="42" y="56"/>
                  </a:cxn>
                  <a:cxn ang="0">
                    <a:pos x="34" y="43"/>
                  </a:cxn>
                  <a:cxn ang="0">
                    <a:pos x="20" y="29"/>
                  </a:cxn>
                  <a:cxn ang="0">
                    <a:pos x="8" y="19"/>
                  </a:cxn>
                  <a:cxn ang="0">
                    <a:pos x="0" y="19"/>
                  </a:cxn>
                  <a:cxn ang="0">
                    <a:pos x="6" y="8"/>
                  </a:cxn>
                  <a:cxn ang="0">
                    <a:pos x="13" y="3"/>
                  </a:cxn>
                  <a:cxn ang="0">
                    <a:pos x="21" y="6"/>
                  </a:cxn>
                  <a:cxn ang="0">
                    <a:pos x="30" y="5"/>
                  </a:cxn>
                  <a:cxn ang="0">
                    <a:pos x="46" y="0"/>
                  </a:cxn>
                  <a:cxn ang="0">
                    <a:pos x="62" y="5"/>
                  </a:cxn>
                  <a:cxn ang="0">
                    <a:pos x="69" y="8"/>
                  </a:cxn>
                  <a:cxn ang="0">
                    <a:pos x="88" y="24"/>
                  </a:cxn>
                  <a:cxn ang="0">
                    <a:pos x="95" y="27"/>
                  </a:cxn>
                  <a:cxn ang="0">
                    <a:pos x="111" y="24"/>
                  </a:cxn>
                  <a:cxn ang="0">
                    <a:pos x="120" y="26"/>
                  </a:cxn>
                  <a:cxn ang="0">
                    <a:pos x="131" y="38"/>
                  </a:cxn>
                  <a:cxn ang="0">
                    <a:pos x="139" y="35"/>
                  </a:cxn>
                  <a:cxn ang="0">
                    <a:pos x="143" y="43"/>
                  </a:cxn>
                  <a:cxn ang="0">
                    <a:pos x="143" y="51"/>
                  </a:cxn>
                  <a:cxn ang="0">
                    <a:pos x="143" y="59"/>
                  </a:cxn>
                  <a:cxn ang="0">
                    <a:pos x="139" y="75"/>
                  </a:cxn>
                  <a:cxn ang="0">
                    <a:pos x="147" y="81"/>
                  </a:cxn>
                  <a:cxn ang="0">
                    <a:pos x="150" y="87"/>
                  </a:cxn>
                  <a:cxn ang="0">
                    <a:pos x="158" y="89"/>
                  </a:cxn>
                  <a:cxn ang="0">
                    <a:pos x="160" y="97"/>
                  </a:cxn>
                  <a:cxn ang="0">
                    <a:pos x="159" y="104"/>
                  </a:cxn>
                  <a:cxn ang="0">
                    <a:pos x="165" y="119"/>
                  </a:cxn>
                  <a:cxn ang="0">
                    <a:pos x="180" y="126"/>
                  </a:cxn>
                  <a:cxn ang="0">
                    <a:pos x="185" y="134"/>
                  </a:cxn>
                  <a:cxn ang="0">
                    <a:pos x="186" y="141"/>
                  </a:cxn>
                  <a:cxn ang="0">
                    <a:pos x="183" y="150"/>
                  </a:cxn>
                  <a:cxn ang="0">
                    <a:pos x="187" y="157"/>
                  </a:cxn>
                  <a:cxn ang="0">
                    <a:pos x="183" y="164"/>
                  </a:cxn>
                  <a:cxn ang="0">
                    <a:pos x="177" y="169"/>
                  </a:cxn>
                  <a:cxn ang="0">
                    <a:pos x="154" y="163"/>
                  </a:cxn>
                  <a:cxn ang="0">
                    <a:pos x="147" y="167"/>
                  </a:cxn>
                  <a:cxn ang="0">
                    <a:pos x="143" y="161"/>
                  </a:cxn>
                  <a:cxn ang="0">
                    <a:pos x="134" y="164"/>
                  </a:cxn>
                  <a:cxn ang="0">
                    <a:pos x="131" y="172"/>
                  </a:cxn>
                  <a:cxn ang="0">
                    <a:pos x="128" y="196"/>
                  </a:cxn>
                  <a:cxn ang="0">
                    <a:pos x="121" y="200"/>
                  </a:cxn>
                  <a:cxn ang="0">
                    <a:pos x="116" y="205"/>
                  </a:cxn>
                  <a:cxn ang="0">
                    <a:pos x="115" y="213"/>
                  </a:cxn>
                  <a:cxn ang="0">
                    <a:pos x="107" y="218"/>
                  </a:cxn>
                  <a:cxn ang="0">
                    <a:pos x="104" y="226"/>
                  </a:cxn>
                  <a:cxn ang="0">
                    <a:pos x="104" y="233"/>
                  </a:cxn>
                  <a:cxn ang="0">
                    <a:pos x="97" y="239"/>
                  </a:cxn>
                  <a:cxn ang="0">
                    <a:pos x="88" y="239"/>
                  </a:cxn>
                </a:cxnLst>
                <a:rect l="0" t="0" r="r" b="b"/>
                <a:pathLst>
                  <a:path w="187" h="239">
                    <a:moveTo>
                      <a:pt x="88" y="239"/>
                    </a:moveTo>
                    <a:lnTo>
                      <a:pt x="88" y="225"/>
                    </a:lnTo>
                    <a:lnTo>
                      <a:pt x="86" y="212"/>
                    </a:lnTo>
                    <a:lnTo>
                      <a:pt x="84" y="200"/>
                    </a:lnTo>
                    <a:lnTo>
                      <a:pt x="86" y="184"/>
                    </a:lnTo>
                    <a:lnTo>
                      <a:pt x="86" y="164"/>
                    </a:lnTo>
                    <a:lnTo>
                      <a:pt x="81" y="135"/>
                    </a:lnTo>
                    <a:lnTo>
                      <a:pt x="70" y="115"/>
                    </a:lnTo>
                    <a:lnTo>
                      <a:pt x="57" y="94"/>
                    </a:lnTo>
                    <a:lnTo>
                      <a:pt x="45" y="73"/>
                    </a:lnTo>
                    <a:lnTo>
                      <a:pt x="42" y="56"/>
                    </a:lnTo>
                    <a:lnTo>
                      <a:pt x="34" y="43"/>
                    </a:lnTo>
                    <a:lnTo>
                      <a:pt x="20" y="29"/>
                    </a:lnTo>
                    <a:lnTo>
                      <a:pt x="8" y="19"/>
                    </a:lnTo>
                    <a:lnTo>
                      <a:pt x="0" y="19"/>
                    </a:lnTo>
                    <a:lnTo>
                      <a:pt x="6" y="8"/>
                    </a:lnTo>
                    <a:lnTo>
                      <a:pt x="13" y="3"/>
                    </a:lnTo>
                    <a:lnTo>
                      <a:pt x="21" y="6"/>
                    </a:lnTo>
                    <a:lnTo>
                      <a:pt x="30" y="5"/>
                    </a:lnTo>
                    <a:lnTo>
                      <a:pt x="46" y="0"/>
                    </a:lnTo>
                    <a:lnTo>
                      <a:pt x="62" y="5"/>
                    </a:lnTo>
                    <a:lnTo>
                      <a:pt x="69" y="8"/>
                    </a:lnTo>
                    <a:lnTo>
                      <a:pt x="88" y="24"/>
                    </a:lnTo>
                    <a:lnTo>
                      <a:pt x="95" y="27"/>
                    </a:lnTo>
                    <a:lnTo>
                      <a:pt x="111" y="24"/>
                    </a:lnTo>
                    <a:lnTo>
                      <a:pt x="120" y="26"/>
                    </a:lnTo>
                    <a:lnTo>
                      <a:pt x="131" y="38"/>
                    </a:lnTo>
                    <a:lnTo>
                      <a:pt x="139" y="35"/>
                    </a:lnTo>
                    <a:lnTo>
                      <a:pt x="143" y="43"/>
                    </a:lnTo>
                    <a:lnTo>
                      <a:pt x="143" y="51"/>
                    </a:lnTo>
                    <a:lnTo>
                      <a:pt x="143" y="59"/>
                    </a:lnTo>
                    <a:lnTo>
                      <a:pt x="139" y="75"/>
                    </a:lnTo>
                    <a:lnTo>
                      <a:pt x="147" y="81"/>
                    </a:lnTo>
                    <a:lnTo>
                      <a:pt x="150" y="87"/>
                    </a:lnTo>
                    <a:lnTo>
                      <a:pt x="158" y="89"/>
                    </a:lnTo>
                    <a:lnTo>
                      <a:pt x="160" y="97"/>
                    </a:lnTo>
                    <a:lnTo>
                      <a:pt x="159" y="104"/>
                    </a:lnTo>
                    <a:lnTo>
                      <a:pt x="165" y="119"/>
                    </a:lnTo>
                    <a:lnTo>
                      <a:pt x="180" y="126"/>
                    </a:lnTo>
                    <a:lnTo>
                      <a:pt x="185" y="134"/>
                    </a:lnTo>
                    <a:lnTo>
                      <a:pt x="186" y="141"/>
                    </a:lnTo>
                    <a:lnTo>
                      <a:pt x="183" y="150"/>
                    </a:lnTo>
                    <a:lnTo>
                      <a:pt x="187" y="157"/>
                    </a:lnTo>
                    <a:lnTo>
                      <a:pt x="183" y="164"/>
                    </a:lnTo>
                    <a:lnTo>
                      <a:pt x="177" y="169"/>
                    </a:lnTo>
                    <a:lnTo>
                      <a:pt x="154" y="163"/>
                    </a:lnTo>
                    <a:lnTo>
                      <a:pt x="147" y="167"/>
                    </a:lnTo>
                    <a:lnTo>
                      <a:pt x="143" y="161"/>
                    </a:lnTo>
                    <a:lnTo>
                      <a:pt x="134" y="164"/>
                    </a:lnTo>
                    <a:lnTo>
                      <a:pt x="131" y="172"/>
                    </a:lnTo>
                    <a:lnTo>
                      <a:pt x="128" y="196"/>
                    </a:lnTo>
                    <a:lnTo>
                      <a:pt x="121" y="200"/>
                    </a:lnTo>
                    <a:lnTo>
                      <a:pt x="116" y="205"/>
                    </a:lnTo>
                    <a:lnTo>
                      <a:pt x="115" y="213"/>
                    </a:lnTo>
                    <a:lnTo>
                      <a:pt x="107" y="218"/>
                    </a:lnTo>
                    <a:lnTo>
                      <a:pt x="104" y="226"/>
                    </a:lnTo>
                    <a:lnTo>
                      <a:pt x="104" y="233"/>
                    </a:lnTo>
                    <a:lnTo>
                      <a:pt x="97" y="239"/>
                    </a:lnTo>
                    <a:lnTo>
                      <a:pt x="88" y="23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1" name="Freeform 198"/>
              <p:cNvSpPr>
                <a:spLocks noChangeAspect="1"/>
              </p:cNvSpPr>
              <p:nvPr/>
            </p:nvSpPr>
            <p:spPr bwMode="gray">
              <a:xfrm>
                <a:off x="2769" y="1742"/>
                <a:ext cx="107" cy="90"/>
              </a:xfrm>
              <a:custGeom>
                <a:avLst/>
                <a:gdLst/>
                <a:ahLst/>
                <a:cxnLst>
                  <a:cxn ang="0">
                    <a:pos x="6" y="374"/>
                  </a:cxn>
                  <a:cxn ang="0">
                    <a:pos x="26" y="342"/>
                  </a:cxn>
                  <a:cxn ang="0">
                    <a:pos x="38" y="292"/>
                  </a:cxn>
                  <a:cxn ang="0">
                    <a:pos x="33" y="214"/>
                  </a:cxn>
                  <a:cxn ang="0">
                    <a:pos x="73" y="210"/>
                  </a:cxn>
                  <a:cxn ang="0">
                    <a:pos x="94" y="207"/>
                  </a:cxn>
                  <a:cxn ang="0">
                    <a:pos x="106" y="190"/>
                  </a:cxn>
                  <a:cxn ang="0">
                    <a:pos x="125" y="182"/>
                  </a:cxn>
                  <a:cxn ang="0">
                    <a:pos x="145" y="190"/>
                  </a:cxn>
                  <a:cxn ang="0">
                    <a:pos x="135" y="167"/>
                  </a:cxn>
                  <a:cxn ang="0">
                    <a:pos x="145" y="138"/>
                  </a:cxn>
                  <a:cxn ang="0">
                    <a:pos x="149" y="113"/>
                  </a:cxn>
                  <a:cxn ang="0">
                    <a:pos x="170" y="102"/>
                  </a:cxn>
                  <a:cxn ang="0">
                    <a:pos x="199" y="80"/>
                  </a:cxn>
                  <a:cxn ang="0">
                    <a:pos x="183" y="69"/>
                  </a:cxn>
                  <a:cxn ang="0">
                    <a:pos x="197" y="51"/>
                  </a:cxn>
                  <a:cxn ang="0">
                    <a:pos x="204" y="50"/>
                  </a:cxn>
                  <a:cxn ang="0">
                    <a:pos x="219" y="32"/>
                  </a:cxn>
                  <a:cxn ang="0">
                    <a:pos x="253" y="25"/>
                  </a:cxn>
                  <a:cxn ang="0">
                    <a:pos x="273" y="0"/>
                  </a:cxn>
                  <a:cxn ang="0">
                    <a:pos x="302" y="5"/>
                  </a:cxn>
                  <a:cxn ang="0">
                    <a:pos x="329" y="13"/>
                  </a:cxn>
                  <a:cxn ang="0">
                    <a:pos x="348" y="43"/>
                  </a:cxn>
                  <a:cxn ang="0">
                    <a:pos x="376" y="29"/>
                  </a:cxn>
                  <a:cxn ang="0">
                    <a:pos x="407" y="34"/>
                  </a:cxn>
                  <a:cxn ang="0">
                    <a:pos x="430" y="53"/>
                  </a:cxn>
                  <a:cxn ang="0">
                    <a:pos x="429" y="80"/>
                  </a:cxn>
                  <a:cxn ang="0">
                    <a:pos x="435" y="102"/>
                  </a:cxn>
                  <a:cxn ang="0">
                    <a:pos x="424" y="123"/>
                  </a:cxn>
                  <a:cxn ang="0">
                    <a:pos x="442" y="158"/>
                  </a:cxn>
                  <a:cxn ang="0">
                    <a:pos x="473" y="195"/>
                  </a:cxn>
                  <a:cxn ang="0">
                    <a:pos x="478" y="217"/>
                  </a:cxn>
                  <a:cxn ang="0">
                    <a:pos x="511" y="226"/>
                  </a:cxn>
                  <a:cxn ang="0">
                    <a:pos x="521" y="242"/>
                  </a:cxn>
                  <a:cxn ang="0">
                    <a:pos x="525" y="263"/>
                  </a:cxn>
                  <a:cxn ang="0">
                    <a:pos x="501" y="284"/>
                  </a:cxn>
                  <a:cxn ang="0">
                    <a:pos x="465" y="271"/>
                  </a:cxn>
                  <a:cxn ang="0">
                    <a:pos x="449" y="285"/>
                  </a:cxn>
                  <a:cxn ang="0">
                    <a:pos x="463" y="311"/>
                  </a:cxn>
                  <a:cxn ang="0">
                    <a:pos x="465" y="333"/>
                  </a:cxn>
                  <a:cxn ang="0">
                    <a:pos x="473" y="353"/>
                  </a:cxn>
                  <a:cxn ang="0">
                    <a:pos x="451" y="380"/>
                  </a:cxn>
                  <a:cxn ang="0">
                    <a:pos x="417" y="401"/>
                  </a:cxn>
                  <a:cxn ang="0">
                    <a:pos x="412" y="427"/>
                  </a:cxn>
                  <a:cxn ang="0">
                    <a:pos x="402" y="452"/>
                  </a:cxn>
                  <a:cxn ang="0">
                    <a:pos x="381" y="443"/>
                  </a:cxn>
                  <a:cxn ang="0">
                    <a:pos x="349" y="450"/>
                  </a:cxn>
                  <a:cxn ang="0">
                    <a:pos x="327" y="427"/>
                  </a:cxn>
                  <a:cxn ang="0">
                    <a:pos x="297" y="433"/>
                  </a:cxn>
                  <a:cxn ang="0">
                    <a:pos x="275" y="428"/>
                  </a:cxn>
                  <a:cxn ang="0">
                    <a:pos x="253" y="436"/>
                  </a:cxn>
                  <a:cxn ang="0">
                    <a:pos x="238" y="428"/>
                  </a:cxn>
                  <a:cxn ang="0">
                    <a:pos x="215" y="416"/>
                  </a:cxn>
                  <a:cxn ang="0">
                    <a:pos x="193" y="406"/>
                  </a:cxn>
                  <a:cxn ang="0">
                    <a:pos x="160" y="401"/>
                  </a:cxn>
                  <a:cxn ang="0">
                    <a:pos x="121" y="394"/>
                  </a:cxn>
                  <a:cxn ang="0">
                    <a:pos x="64" y="401"/>
                  </a:cxn>
                  <a:cxn ang="0">
                    <a:pos x="41" y="422"/>
                  </a:cxn>
                  <a:cxn ang="0">
                    <a:pos x="17" y="428"/>
                  </a:cxn>
                </a:cxnLst>
                <a:rect l="0" t="0" r="r" b="b"/>
                <a:pathLst>
                  <a:path w="532" h="452">
                    <a:moveTo>
                      <a:pt x="17" y="428"/>
                    </a:moveTo>
                    <a:lnTo>
                      <a:pt x="21" y="387"/>
                    </a:lnTo>
                    <a:lnTo>
                      <a:pt x="6" y="374"/>
                    </a:lnTo>
                    <a:lnTo>
                      <a:pt x="0" y="363"/>
                    </a:lnTo>
                    <a:lnTo>
                      <a:pt x="11" y="351"/>
                    </a:lnTo>
                    <a:lnTo>
                      <a:pt x="26" y="342"/>
                    </a:lnTo>
                    <a:lnTo>
                      <a:pt x="37" y="325"/>
                    </a:lnTo>
                    <a:lnTo>
                      <a:pt x="38" y="308"/>
                    </a:lnTo>
                    <a:lnTo>
                      <a:pt x="38" y="292"/>
                    </a:lnTo>
                    <a:lnTo>
                      <a:pt x="20" y="220"/>
                    </a:lnTo>
                    <a:lnTo>
                      <a:pt x="19" y="210"/>
                    </a:lnTo>
                    <a:lnTo>
                      <a:pt x="33" y="214"/>
                    </a:lnTo>
                    <a:lnTo>
                      <a:pt x="49" y="210"/>
                    </a:lnTo>
                    <a:lnTo>
                      <a:pt x="65" y="213"/>
                    </a:lnTo>
                    <a:lnTo>
                      <a:pt x="73" y="210"/>
                    </a:lnTo>
                    <a:lnTo>
                      <a:pt x="79" y="204"/>
                    </a:lnTo>
                    <a:lnTo>
                      <a:pt x="86" y="208"/>
                    </a:lnTo>
                    <a:lnTo>
                      <a:pt x="94" y="207"/>
                    </a:lnTo>
                    <a:lnTo>
                      <a:pt x="91" y="193"/>
                    </a:lnTo>
                    <a:lnTo>
                      <a:pt x="97" y="190"/>
                    </a:lnTo>
                    <a:lnTo>
                      <a:pt x="106" y="190"/>
                    </a:lnTo>
                    <a:lnTo>
                      <a:pt x="111" y="183"/>
                    </a:lnTo>
                    <a:lnTo>
                      <a:pt x="118" y="179"/>
                    </a:lnTo>
                    <a:lnTo>
                      <a:pt x="125" y="182"/>
                    </a:lnTo>
                    <a:lnTo>
                      <a:pt x="130" y="188"/>
                    </a:lnTo>
                    <a:lnTo>
                      <a:pt x="138" y="192"/>
                    </a:lnTo>
                    <a:lnTo>
                      <a:pt x="145" y="190"/>
                    </a:lnTo>
                    <a:lnTo>
                      <a:pt x="144" y="181"/>
                    </a:lnTo>
                    <a:lnTo>
                      <a:pt x="139" y="175"/>
                    </a:lnTo>
                    <a:lnTo>
                      <a:pt x="135" y="167"/>
                    </a:lnTo>
                    <a:lnTo>
                      <a:pt x="137" y="160"/>
                    </a:lnTo>
                    <a:lnTo>
                      <a:pt x="145" y="147"/>
                    </a:lnTo>
                    <a:lnTo>
                      <a:pt x="145" y="138"/>
                    </a:lnTo>
                    <a:lnTo>
                      <a:pt x="148" y="129"/>
                    </a:lnTo>
                    <a:lnTo>
                      <a:pt x="148" y="122"/>
                    </a:lnTo>
                    <a:lnTo>
                      <a:pt x="149" y="113"/>
                    </a:lnTo>
                    <a:lnTo>
                      <a:pt x="156" y="110"/>
                    </a:lnTo>
                    <a:lnTo>
                      <a:pt x="165" y="107"/>
                    </a:lnTo>
                    <a:lnTo>
                      <a:pt x="170" y="102"/>
                    </a:lnTo>
                    <a:lnTo>
                      <a:pt x="177" y="99"/>
                    </a:lnTo>
                    <a:lnTo>
                      <a:pt x="191" y="99"/>
                    </a:lnTo>
                    <a:lnTo>
                      <a:pt x="199" y="80"/>
                    </a:lnTo>
                    <a:lnTo>
                      <a:pt x="192" y="77"/>
                    </a:lnTo>
                    <a:lnTo>
                      <a:pt x="183" y="77"/>
                    </a:lnTo>
                    <a:lnTo>
                      <a:pt x="183" y="69"/>
                    </a:lnTo>
                    <a:lnTo>
                      <a:pt x="183" y="61"/>
                    </a:lnTo>
                    <a:lnTo>
                      <a:pt x="191" y="57"/>
                    </a:lnTo>
                    <a:lnTo>
                      <a:pt x="197" y="51"/>
                    </a:lnTo>
                    <a:lnTo>
                      <a:pt x="195" y="50"/>
                    </a:lnTo>
                    <a:lnTo>
                      <a:pt x="195" y="48"/>
                    </a:lnTo>
                    <a:lnTo>
                      <a:pt x="204" y="50"/>
                    </a:lnTo>
                    <a:lnTo>
                      <a:pt x="210" y="46"/>
                    </a:lnTo>
                    <a:lnTo>
                      <a:pt x="213" y="37"/>
                    </a:lnTo>
                    <a:lnTo>
                      <a:pt x="219" y="32"/>
                    </a:lnTo>
                    <a:lnTo>
                      <a:pt x="235" y="39"/>
                    </a:lnTo>
                    <a:lnTo>
                      <a:pt x="242" y="37"/>
                    </a:lnTo>
                    <a:lnTo>
                      <a:pt x="253" y="25"/>
                    </a:lnTo>
                    <a:lnTo>
                      <a:pt x="254" y="16"/>
                    </a:lnTo>
                    <a:lnTo>
                      <a:pt x="267" y="5"/>
                    </a:lnTo>
                    <a:lnTo>
                      <a:pt x="273" y="0"/>
                    </a:lnTo>
                    <a:lnTo>
                      <a:pt x="284" y="0"/>
                    </a:lnTo>
                    <a:lnTo>
                      <a:pt x="286" y="8"/>
                    </a:lnTo>
                    <a:lnTo>
                      <a:pt x="302" y="5"/>
                    </a:lnTo>
                    <a:lnTo>
                      <a:pt x="310" y="8"/>
                    </a:lnTo>
                    <a:lnTo>
                      <a:pt x="313" y="15"/>
                    </a:lnTo>
                    <a:lnTo>
                      <a:pt x="329" y="13"/>
                    </a:lnTo>
                    <a:lnTo>
                      <a:pt x="338" y="14"/>
                    </a:lnTo>
                    <a:lnTo>
                      <a:pt x="350" y="24"/>
                    </a:lnTo>
                    <a:lnTo>
                      <a:pt x="348" y="43"/>
                    </a:lnTo>
                    <a:lnTo>
                      <a:pt x="363" y="35"/>
                    </a:lnTo>
                    <a:lnTo>
                      <a:pt x="370" y="34"/>
                    </a:lnTo>
                    <a:lnTo>
                      <a:pt x="376" y="29"/>
                    </a:lnTo>
                    <a:lnTo>
                      <a:pt x="392" y="27"/>
                    </a:lnTo>
                    <a:lnTo>
                      <a:pt x="399" y="29"/>
                    </a:lnTo>
                    <a:lnTo>
                      <a:pt x="407" y="34"/>
                    </a:lnTo>
                    <a:lnTo>
                      <a:pt x="413" y="39"/>
                    </a:lnTo>
                    <a:lnTo>
                      <a:pt x="422" y="52"/>
                    </a:lnTo>
                    <a:lnTo>
                      <a:pt x="430" y="53"/>
                    </a:lnTo>
                    <a:lnTo>
                      <a:pt x="431" y="64"/>
                    </a:lnTo>
                    <a:lnTo>
                      <a:pt x="429" y="73"/>
                    </a:lnTo>
                    <a:lnTo>
                      <a:pt x="429" y="80"/>
                    </a:lnTo>
                    <a:lnTo>
                      <a:pt x="434" y="88"/>
                    </a:lnTo>
                    <a:lnTo>
                      <a:pt x="436" y="95"/>
                    </a:lnTo>
                    <a:lnTo>
                      <a:pt x="435" y="102"/>
                    </a:lnTo>
                    <a:lnTo>
                      <a:pt x="433" y="110"/>
                    </a:lnTo>
                    <a:lnTo>
                      <a:pt x="426" y="116"/>
                    </a:lnTo>
                    <a:lnTo>
                      <a:pt x="424" y="123"/>
                    </a:lnTo>
                    <a:lnTo>
                      <a:pt x="426" y="131"/>
                    </a:lnTo>
                    <a:lnTo>
                      <a:pt x="437" y="143"/>
                    </a:lnTo>
                    <a:lnTo>
                      <a:pt x="442" y="158"/>
                    </a:lnTo>
                    <a:lnTo>
                      <a:pt x="453" y="180"/>
                    </a:lnTo>
                    <a:lnTo>
                      <a:pt x="458" y="186"/>
                    </a:lnTo>
                    <a:lnTo>
                      <a:pt x="473" y="195"/>
                    </a:lnTo>
                    <a:lnTo>
                      <a:pt x="478" y="201"/>
                    </a:lnTo>
                    <a:lnTo>
                      <a:pt x="479" y="209"/>
                    </a:lnTo>
                    <a:lnTo>
                      <a:pt x="478" y="217"/>
                    </a:lnTo>
                    <a:lnTo>
                      <a:pt x="482" y="224"/>
                    </a:lnTo>
                    <a:lnTo>
                      <a:pt x="505" y="222"/>
                    </a:lnTo>
                    <a:lnTo>
                      <a:pt x="511" y="226"/>
                    </a:lnTo>
                    <a:lnTo>
                      <a:pt x="519" y="229"/>
                    </a:lnTo>
                    <a:lnTo>
                      <a:pt x="516" y="236"/>
                    </a:lnTo>
                    <a:lnTo>
                      <a:pt x="521" y="242"/>
                    </a:lnTo>
                    <a:lnTo>
                      <a:pt x="531" y="244"/>
                    </a:lnTo>
                    <a:lnTo>
                      <a:pt x="532" y="257"/>
                    </a:lnTo>
                    <a:lnTo>
                      <a:pt x="525" y="263"/>
                    </a:lnTo>
                    <a:lnTo>
                      <a:pt x="521" y="269"/>
                    </a:lnTo>
                    <a:lnTo>
                      <a:pt x="509" y="279"/>
                    </a:lnTo>
                    <a:lnTo>
                      <a:pt x="501" y="284"/>
                    </a:lnTo>
                    <a:lnTo>
                      <a:pt x="484" y="282"/>
                    </a:lnTo>
                    <a:lnTo>
                      <a:pt x="472" y="272"/>
                    </a:lnTo>
                    <a:lnTo>
                      <a:pt x="465" y="271"/>
                    </a:lnTo>
                    <a:lnTo>
                      <a:pt x="457" y="274"/>
                    </a:lnTo>
                    <a:lnTo>
                      <a:pt x="456" y="282"/>
                    </a:lnTo>
                    <a:lnTo>
                      <a:pt x="449" y="285"/>
                    </a:lnTo>
                    <a:lnTo>
                      <a:pt x="450" y="294"/>
                    </a:lnTo>
                    <a:lnTo>
                      <a:pt x="461" y="304"/>
                    </a:lnTo>
                    <a:lnTo>
                      <a:pt x="463" y="311"/>
                    </a:lnTo>
                    <a:lnTo>
                      <a:pt x="461" y="320"/>
                    </a:lnTo>
                    <a:lnTo>
                      <a:pt x="466" y="325"/>
                    </a:lnTo>
                    <a:lnTo>
                      <a:pt x="465" y="333"/>
                    </a:lnTo>
                    <a:lnTo>
                      <a:pt x="472" y="337"/>
                    </a:lnTo>
                    <a:lnTo>
                      <a:pt x="474" y="344"/>
                    </a:lnTo>
                    <a:lnTo>
                      <a:pt x="473" y="353"/>
                    </a:lnTo>
                    <a:lnTo>
                      <a:pt x="478" y="375"/>
                    </a:lnTo>
                    <a:lnTo>
                      <a:pt x="458" y="375"/>
                    </a:lnTo>
                    <a:lnTo>
                      <a:pt x="451" y="380"/>
                    </a:lnTo>
                    <a:lnTo>
                      <a:pt x="442" y="380"/>
                    </a:lnTo>
                    <a:lnTo>
                      <a:pt x="435" y="384"/>
                    </a:lnTo>
                    <a:lnTo>
                      <a:pt x="417" y="401"/>
                    </a:lnTo>
                    <a:lnTo>
                      <a:pt x="414" y="409"/>
                    </a:lnTo>
                    <a:lnTo>
                      <a:pt x="414" y="418"/>
                    </a:lnTo>
                    <a:lnTo>
                      <a:pt x="412" y="427"/>
                    </a:lnTo>
                    <a:lnTo>
                      <a:pt x="414" y="443"/>
                    </a:lnTo>
                    <a:lnTo>
                      <a:pt x="410" y="450"/>
                    </a:lnTo>
                    <a:lnTo>
                      <a:pt x="402" y="452"/>
                    </a:lnTo>
                    <a:lnTo>
                      <a:pt x="397" y="446"/>
                    </a:lnTo>
                    <a:lnTo>
                      <a:pt x="390" y="443"/>
                    </a:lnTo>
                    <a:lnTo>
                      <a:pt x="381" y="443"/>
                    </a:lnTo>
                    <a:lnTo>
                      <a:pt x="365" y="445"/>
                    </a:lnTo>
                    <a:lnTo>
                      <a:pt x="356" y="445"/>
                    </a:lnTo>
                    <a:lnTo>
                      <a:pt x="349" y="450"/>
                    </a:lnTo>
                    <a:lnTo>
                      <a:pt x="343" y="444"/>
                    </a:lnTo>
                    <a:lnTo>
                      <a:pt x="339" y="436"/>
                    </a:lnTo>
                    <a:lnTo>
                      <a:pt x="327" y="427"/>
                    </a:lnTo>
                    <a:lnTo>
                      <a:pt x="310" y="445"/>
                    </a:lnTo>
                    <a:lnTo>
                      <a:pt x="302" y="440"/>
                    </a:lnTo>
                    <a:lnTo>
                      <a:pt x="297" y="433"/>
                    </a:lnTo>
                    <a:lnTo>
                      <a:pt x="290" y="435"/>
                    </a:lnTo>
                    <a:lnTo>
                      <a:pt x="281" y="433"/>
                    </a:lnTo>
                    <a:lnTo>
                      <a:pt x="275" y="428"/>
                    </a:lnTo>
                    <a:lnTo>
                      <a:pt x="269" y="434"/>
                    </a:lnTo>
                    <a:lnTo>
                      <a:pt x="261" y="434"/>
                    </a:lnTo>
                    <a:lnTo>
                      <a:pt x="253" y="436"/>
                    </a:lnTo>
                    <a:lnTo>
                      <a:pt x="247" y="443"/>
                    </a:lnTo>
                    <a:lnTo>
                      <a:pt x="240" y="436"/>
                    </a:lnTo>
                    <a:lnTo>
                      <a:pt x="238" y="428"/>
                    </a:lnTo>
                    <a:lnTo>
                      <a:pt x="223" y="429"/>
                    </a:lnTo>
                    <a:lnTo>
                      <a:pt x="216" y="424"/>
                    </a:lnTo>
                    <a:lnTo>
                      <a:pt x="215" y="416"/>
                    </a:lnTo>
                    <a:lnTo>
                      <a:pt x="208" y="412"/>
                    </a:lnTo>
                    <a:lnTo>
                      <a:pt x="199" y="409"/>
                    </a:lnTo>
                    <a:lnTo>
                      <a:pt x="193" y="406"/>
                    </a:lnTo>
                    <a:lnTo>
                      <a:pt x="184" y="407"/>
                    </a:lnTo>
                    <a:lnTo>
                      <a:pt x="176" y="406"/>
                    </a:lnTo>
                    <a:lnTo>
                      <a:pt x="160" y="401"/>
                    </a:lnTo>
                    <a:lnTo>
                      <a:pt x="146" y="392"/>
                    </a:lnTo>
                    <a:lnTo>
                      <a:pt x="138" y="395"/>
                    </a:lnTo>
                    <a:lnTo>
                      <a:pt x="121" y="394"/>
                    </a:lnTo>
                    <a:lnTo>
                      <a:pt x="113" y="391"/>
                    </a:lnTo>
                    <a:lnTo>
                      <a:pt x="71" y="397"/>
                    </a:lnTo>
                    <a:lnTo>
                      <a:pt x="64" y="401"/>
                    </a:lnTo>
                    <a:lnTo>
                      <a:pt x="62" y="408"/>
                    </a:lnTo>
                    <a:lnTo>
                      <a:pt x="55" y="414"/>
                    </a:lnTo>
                    <a:lnTo>
                      <a:pt x="41" y="422"/>
                    </a:lnTo>
                    <a:lnTo>
                      <a:pt x="32" y="421"/>
                    </a:lnTo>
                    <a:lnTo>
                      <a:pt x="24" y="422"/>
                    </a:lnTo>
                    <a:lnTo>
                      <a:pt x="17" y="42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grpSp>
            <p:nvGrpSpPr>
              <p:cNvPr id="272" name="Group 199"/>
              <p:cNvGrpSpPr>
                <a:grpSpLocks noChangeAspect="1"/>
              </p:cNvGrpSpPr>
              <p:nvPr/>
            </p:nvGrpSpPr>
            <p:grpSpPr bwMode="gray">
              <a:xfrm>
                <a:off x="2688" y="1930"/>
                <a:ext cx="43" cy="43"/>
                <a:chOff x="2688" y="1930"/>
                <a:chExt cx="43" cy="43"/>
              </a:xfrm>
              <a:grpFill/>
            </p:grpSpPr>
            <p:sp>
              <p:nvSpPr>
                <p:cNvPr id="293" name="Freeform 200"/>
                <p:cNvSpPr>
                  <a:spLocks noChangeAspect="1"/>
                </p:cNvSpPr>
                <p:nvPr/>
              </p:nvSpPr>
              <p:spPr bwMode="gray">
                <a:xfrm>
                  <a:off x="2688" y="1930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145" y="208"/>
                    </a:cxn>
                    <a:cxn ang="0">
                      <a:pos x="129" y="192"/>
                    </a:cxn>
                    <a:cxn ang="0">
                      <a:pos x="114" y="180"/>
                    </a:cxn>
                    <a:cxn ang="0">
                      <a:pos x="98" y="179"/>
                    </a:cxn>
                    <a:cxn ang="0">
                      <a:pos x="82" y="140"/>
                    </a:cxn>
                    <a:cxn ang="0">
                      <a:pos x="52" y="114"/>
                    </a:cxn>
                    <a:cxn ang="0">
                      <a:pos x="35" y="93"/>
                    </a:cxn>
                    <a:cxn ang="0">
                      <a:pos x="23" y="73"/>
                    </a:cxn>
                    <a:cxn ang="0">
                      <a:pos x="22" y="60"/>
                    </a:cxn>
                    <a:cxn ang="0">
                      <a:pos x="7" y="40"/>
                    </a:cxn>
                    <a:cxn ang="0">
                      <a:pos x="3" y="29"/>
                    </a:cxn>
                    <a:cxn ang="0">
                      <a:pos x="8" y="0"/>
                    </a:cxn>
                    <a:cxn ang="0">
                      <a:pos x="30" y="19"/>
                    </a:cxn>
                    <a:cxn ang="0">
                      <a:pos x="61" y="4"/>
                    </a:cxn>
                    <a:cxn ang="0">
                      <a:pos x="79" y="8"/>
                    </a:cxn>
                    <a:cxn ang="0">
                      <a:pos x="89" y="9"/>
                    </a:cxn>
                    <a:cxn ang="0">
                      <a:pos x="108" y="9"/>
                    </a:cxn>
                    <a:cxn ang="0">
                      <a:pos x="125" y="9"/>
                    </a:cxn>
                    <a:cxn ang="0">
                      <a:pos x="135" y="16"/>
                    </a:cxn>
                    <a:cxn ang="0">
                      <a:pos x="152" y="18"/>
                    </a:cxn>
                    <a:cxn ang="0">
                      <a:pos x="162" y="14"/>
                    </a:cxn>
                    <a:cxn ang="0">
                      <a:pos x="167" y="28"/>
                    </a:cxn>
                    <a:cxn ang="0">
                      <a:pos x="186" y="28"/>
                    </a:cxn>
                    <a:cxn ang="0">
                      <a:pos x="200" y="35"/>
                    </a:cxn>
                    <a:cxn ang="0">
                      <a:pos x="190" y="57"/>
                    </a:cxn>
                    <a:cxn ang="0">
                      <a:pos x="189" y="63"/>
                    </a:cxn>
                    <a:cxn ang="0">
                      <a:pos x="191" y="76"/>
                    </a:cxn>
                    <a:cxn ang="0">
                      <a:pos x="199" y="79"/>
                    </a:cxn>
                    <a:cxn ang="0">
                      <a:pos x="207" y="87"/>
                    </a:cxn>
                    <a:cxn ang="0">
                      <a:pos x="212" y="93"/>
                    </a:cxn>
                    <a:cxn ang="0">
                      <a:pos x="211" y="102"/>
                    </a:cxn>
                    <a:cxn ang="0">
                      <a:pos x="195" y="98"/>
                    </a:cxn>
                    <a:cxn ang="0">
                      <a:pos x="201" y="109"/>
                    </a:cxn>
                    <a:cxn ang="0">
                      <a:pos x="208" y="126"/>
                    </a:cxn>
                    <a:cxn ang="0">
                      <a:pos x="202" y="129"/>
                    </a:cxn>
                    <a:cxn ang="0">
                      <a:pos x="192" y="135"/>
                    </a:cxn>
                    <a:cxn ang="0">
                      <a:pos x="184" y="136"/>
                    </a:cxn>
                    <a:cxn ang="0">
                      <a:pos x="176" y="137"/>
                    </a:cxn>
                    <a:cxn ang="0">
                      <a:pos x="183" y="146"/>
                    </a:cxn>
                    <a:cxn ang="0">
                      <a:pos x="183" y="157"/>
                    </a:cxn>
                    <a:cxn ang="0">
                      <a:pos x="178" y="149"/>
                    </a:cxn>
                    <a:cxn ang="0">
                      <a:pos x="163" y="156"/>
                    </a:cxn>
                    <a:cxn ang="0">
                      <a:pos x="160" y="170"/>
                    </a:cxn>
                    <a:cxn ang="0">
                      <a:pos x="151" y="175"/>
                    </a:cxn>
                    <a:cxn ang="0">
                      <a:pos x="149" y="189"/>
                    </a:cxn>
                    <a:cxn ang="0">
                      <a:pos x="154" y="201"/>
                    </a:cxn>
                  </a:cxnLst>
                  <a:rect l="0" t="0" r="r" b="b"/>
                  <a:pathLst>
                    <a:path w="215" h="216">
                      <a:moveTo>
                        <a:pt x="149" y="216"/>
                      </a:moveTo>
                      <a:lnTo>
                        <a:pt x="149" y="208"/>
                      </a:lnTo>
                      <a:lnTo>
                        <a:pt x="145" y="208"/>
                      </a:lnTo>
                      <a:lnTo>
                        <a:pt x="146" y="203"/>
                      </a:lnTo>
                      <a:lnTo>
                        <a:pt x="137" y="202"/>
                      </a:lnTo>
                      <a:lnTo>
                        <a:pt x="129" y="192"/>
                      </a:lnTo>
                      <a:lnTo>
                        <a:pt x="122" y="191"/>
                      </a:lnTo>
                      <a:lnTo>
                        <a:pt x="114" y="185"/>
                      </a:lnTo>
                      <a:lnTo>
                        <a:pt x="114" y="180"/>
                      </a:lnTo>
                      <a:lnTo>
                        <a:pt x="106" y="179"/>
                      </a:lnTo>
                      <a:lnTo>
                        <a:pt x="99" y="184"/>
                      </a:lnTo>
                      <a:lnTo>
                        <a:pt x="98" y="179"/>
                      </a:lnTo>
                      <a:lnTo>
                        <a:pt x="105" y="175"/>
                      </a:lnTo>
                      <a:lnTo>
                        <a:pt x="83" y="151"/>
                      </a:lnTo>
                      <a:lnTo>
                        <a:pt x="82" y="140"/>
                      </a:lnTo>
                      <a:lnTo>
                        <a:pt x="77" y="136"/>
                      </a:lnTo>
                      <a:lnTo>
                        <a:pt x="72" y="133"/>
                      </a:lnTo>
                      <a:lnTo>
                        <a:pt x="52" y="114"/>
                      </a:lnTo>
                      <a:lnTo>
                        <a:pt x="51" y="109"/>
                      </a:lnTo>
                      <a:lnTo>
                        <a:pt x="41" y="95"/>
                      </a:lnTo>
                      <a:lnTo>
                        <a:pt x="35" y="93"/>
                      </a:lnTo>
                      <a:lnTo>
                        <a:pt x="27" y="81"/>
                      </a:lnTo>
                      <a:lnTo>
                        <a:pt x="22" y="79"/>
                      </a:lnTo>
                      <a:lnTo>
                        <a:pt x="23" y="73"/>
                      </a:lnTo>
                      <a:lnTo>
                        <a:pt x="25" y="71"/>
                      </a:lnTo>
                      <a:lnTo>
                        <a:pt x="22" y="65"/>
                      </a:lnTo>
                      <a:lnTo>
                        <a:pt x="22" y="60"/>
                      </a:lnTo>
                      <a:lnTo>
                        <a:pt x="16" y="54"/>
                      </a:lnTo>
                      <a:lnTo>
                        <a:pt x="12" y="41"/>
                      </a:lnTo>
                      <a:lnTo>
                        <a:pt x="7" y="40"/>
                      </a:lnTo>
                      <a:lnTo>
                        <a:pt x="0" y="34"/>
                      </a:lnTo>
                      <a:lnTo>
                        <a:pt x="0" y="31"/>
                      </a:lnTo>
                      <a:lnTo>
                        <a:pt x="3" y="29"/>
                      </a:lnTo>
                      <a:lnTo>
                        <a:pt x="2" y="25"/>
                      </a:lnTo>
                      <a:lnTo>
                        <a:pt x="2" y="6"/>
                      </a:lnTo>
                      <a:lnTo>
                        <a:pt x="8" y="0"/>
                      </a:lnTo>
                      <a:lnTo>
                        <a:pt x="17" y="2"/>
                      </a:lnTo>
                      <a:lnTo>
                        <a:pt x="17" y="4"/>
                      </a:lnTo>
                      <a:lnTo>
                        <a:pt x="30" y="19"/>
                      </a:lnTo>
                      <a:lnTo>
                        <a:pt x="34" y="19"/>
                      </a:lnTo>
                      <a:lnTo>
                        <a:pt x="43" y="2"/>
                      </a:lnTo>
                      <a:lnTo>
                        <a:pt x="61" y="4"/>
                      </a:lnTo>
                      <a:lnTo>
                        <a:pt x="65" y="0"/>
                      </a:lnTo>
                      <a:lnTo>
                        <a:pt x="67" y="0"/>
                      </a:lnTo>
                      <a:lnTo>
                        <a:pt x="79" y="8"/>
                      </a:lnTo>
                      <a:lnTo>
                        <a:pt x="83" y="8"/>
                      </a:lnTo>
                      <a:lnTo>
                        <a:pt x="86" y="6"/>
                      </a:lnTo>
                      <a:lnTo>
                        <a:pt x="89" y="9"/>
                      </a:lnTo>
                      <a:lnTo>
                        <a:pt x="104" y="12"/>
                      </a:lnTo>
                      <a:lnTo>
                        <a:pt x="105" y="9"/>
                      </a:lnTo>
                      <a:lnTo>
                        <a:pt x="108" y="9"/>
                      </a:lnTo>
                      <a:lnTo>
                        <a:pt x="116" y="17"/>
                      </a:lnTo>
                      <a:lnTo>
                        <a:pt x="119" y="17"/>
                      </a:lnTo>
                      <a:lnTo>
                        <a:pt x="125" y="9"/>
                      </a:lnTo>
                      <a:lnTo>
                        <a:pt x="129" y="9"/>
                      </a:lnTo>
                      <a:lnTo>
                        <a:pt x="132" y="14"/>
                      </a:lnTo>
                      <a:lnTo>
                        <a:pt x="135" y="16"/>
                      </a:lnTo>
                      <a:lnTo>
                        <a:pt x="137" y="11"/>
                      </a:lnTo>
                      <a:lnTo>
                        <a:pt x="148" y="12"/>
                      </a:lnTo>
                      <a:lnTo>
                        <a:pt x="152" y="18"/>
                      </a:lnTo>
                      <a:lnTo>
                        <a:pt x="154" y="17"/>
                      </a:lnTo>
                      <a:lnTo>
                        <a:pt x="154" y="14"/>
                      </a:lnTo>
                      <a:lnTo>
                        <a:pt x="162" y="14"/>
                      </a:lnTo>
                      <a:lnTo>
                        <a:pt x="168" y="22"/>
                      </a:lnTo>
                      <a:lnTo>
                        <a:pt x="167" y="27"/>
                      </a:lnTo>
                      <a:lnTo>
                        <a:pt x="167" y="28"/>
                      </a:lnTo>
                      <a:lnTo>
                        <a:pt x="173" y="33"/>
                      </a:lnTo>
                      <a:lnTo>
                        <a:pt x="180" y="33"/>
                      </a:lnTo>
                      <a:lnTo>
                        <a:pt x="186" y="28"/>
                      </a:lnTo>
                      <a:lnTo>
                        <a:pt x="199" y="28"/>
                      </a:lnTo>
                      <a:lnTo>
                        <a:pt x="201" y="31"/>
                      </a:lnTo>
                      <a:lnTo>
                        <a:pt x="200" y="35"/>
                      </a:lnTo>
                      <a:lnTo>
                        <a:pt x="200" y="39"/>
                      </a:lnTo>
                      <a:lnTo>
                        <a:pt x="195" y="46"/>
                      </a:lnTo>
                      <a:lnTo>
                        <a:pt x="190" y="57"/>
                      </a:lnTo>
                      <a:lnTo>
                        <a:pt x="188" y="59"/>
                      </a:lnTo>
                      <a:lnTo>
                        <a:pt x="188" y="61"/>
                      </a:lnTo>
                      <a:lnTo>
                        <a:pt x="189" y="63"/>
                      </a:lnTo>
                      <a:lnTo>
                        <a:pt x="185" y="68"/>
                      </a:lnTo>
                      <a:lnTo>
                        <a:pt x="188" y="76"/>
                      </a:lnTo>
                      <a:lnTo>
                        <a:pt x="191" y="76"/>
                      </a:lnTo>
                      <a:lnTo>
                        <a:pt x="194" y="78"/>
                      </a:lnTo>
                      <a:lnTo>
                        <a:pt x="197" y="77"/>
                      </a:lnTo>
                      <a:lnTo>
                        <a:pt x="199" y="79"/>
                      </a:lnTo>
                      <a:lnTo>
                        <a:pt x="200" y="83"/>
                      </a:lnTo>
                      <a:lnTo>
                        <a:pt x="203" y="87"/>
                      </a:lnTo>
                      <a:lnTo>
                        <a:pt x="207" y="87"/>
                      </a:lnTo>
                      <a:lnTo>
                        <a:pt x="207" y="88"/>
                      </a:lnTo>
                      <a:lnTo>
                        <a:pt x="207" y="90"/>
                      </a:lnTo>
                      <a:lnTo>
                        <a:pt x="212" y="93"/>
                      </a:lnTo>
                      <a:lnTo>
                        <a:pt x="215" y="94"/>
                      </a:lnTo>
                      <a:lnTo>
                        <a:pt x="215" y="97"/>
                      </a:lnTo>
                      <a:lnTo>
                        <a:pt x="211" y="102"/>
                      </a:lnTo>
                      <a:lnTo>
                        <a:pt x="202" y="102"/>
                      </a:lnTo>
                      <a:lnTo>
                        <a:pt x="197" y="98"/>
                      </a:lnTo>
                      <a:lnTo>
                        <a:pt x="195" y="98"/>
                      </a:lnTo>
                      <a:lnTo>
                        <a:pt x="194" y="100"/>
                      </a:lnTo>
                      <a:lnTo>
                        <a:pt x="195" y="102"/>
                      </a:lnTo>
                      <a:lnTo>
                        <a:pt x="201" y="109"/>
                      </a:lnTo>
                      <a:lnTo>
                        <a:pt x="207" y="117"/>
                      </a:lnTo>
                      <a:lnTo>
                        <a:pt x="210" y="119"/>
                      </a:lnTo>
                      <a:lnTo>
                        <a:pt x="208" y="126"/>
                      </a:lnTo>
                      <a:lnTo>
                        <a:pt x="207" y="129"/>
                      </a:lnTo>
                      <a:lnTo>
                        <a:pt x="205" y="130"/>
                      </a:lnTo>
                      <a:lnTo>
                        <a:pt x="202" y="129"/>
                      </a:lnTo>
                      <a:lnTo>
                        <a:pt x="200" y="129"/>
                      </a:lnTo>
                      <a:lnTo>
                        <a:pt x="197" y="132"/>
                      </a:lnTo>
                      <a:lnTo>
                        <a:pt x="192" y="135"/>
                      </a:lnTo>
                      <a:lnTo>
                        <a:pt x="189" y="135"/>
                      </a:lnTo>
                      <a:lnTo>
                        <a:pt x="186" y="136"/>
                      </a:lnTo>
                      <a:lnTo>
                        <a:pt x="184" y="136"/>
                      </a:lnTo>
                      <a:lnTo>
                        <a:pt x="183" y="133"/>
                      </a:lnTo>
                      <a:lnTo>
                        <a:pt x="180" y="133"/>
                      </a:lnTo>
                      <a:lnTo>
                        <a:pt x="176" y="137"/>
                      </a:lnTo>
                      <a:lnTo>
                        <a:pt x="178" y="140"/>
                      </a:lnTo>
                      <a:lnTo>
                        <a:pt x="181" y="141"/>
                      </a:lnTo>
                      <a:lnTo>
                        <a:pt x="183" y="146"/>
                      </a:lnTo>
                      <a:lnTo>
                        <a:pt x="184" y="149"/>
                      </a:lnTo>
                      <a:lnTo>
                        <a:pt x="184" y="154"/>
                      </a:lnTo>
                      <a:lnTo>
                        <a:pt x="183" y="157"/>
                      </a:lnTo>
                      <a:lnTo>
                        <a:pt x="180" y="157"/>
                      </a:lnTo>
                      <a:lnTo>
                        <a:pt x="179" y="154"/>
                      </a:lnTo>
                      <a:lnTo>
                        <a:pt x="178" y="149"/>
                      </a:lnTo>
                      <a:lnTo>
                        <a:pt x="175" y="148"/>
                      </a:lnTo>
                      <a:lnTo>
                        <a:pt x="172" y="148"/>
                      </a:lnTo>
                      <a:lnTo>
                        <a:pt x="163" y="156"/>
                      </a:lnTo>
                      <a:lnTo>
                        <a:pt x="162" y="160"/>
                      </a:lnTo>
                      <a:lnTo>
                        <a:pt x="160" y="163"/>
                      </a:lnTo>
                      <a:lnTo>
                        <a:pt x="160" y="170"/>
                      </a:lnTo>
                      <a:lnTo>
                        <a:pt x="158" y="173"/>
                      </a:lnTo>
                      <a:lnTo>
                        <a:pt x="153" y="173"/>
                      </a:lnTo>
                      <a:lnTo>
                        <a:pt x="151" y="175"/>
                      </a:lnTo>
                      <a:lnTo>
                        <a:pt x="151" y="184"/>
                      </a:lnTo>
                      <a:lnTo>
                        <a:pt x="149" y="185"/>
                      </a:lnTo>
                      <a:lnTo>
                        <a:pt x="149" y="189"/>
                      </a:lnTo>
                      <a:lnTo>
                        <a:pt x="152" y="194"/>
                      </a:lnTo>
                      <a:lnTo>
                        <a:pt x="154" y="196"/>
                      </a:lnTo>
                      <a:lnTo>
                        <a:pt x="154" y="201"/>
                      </a:lnTo>
                      <a:lnTo>
                        <a:pt x="149" y="208"/>
                      </a:lnTo>
                      <a:lnTo>
                        <a:pt x="149" y="216"/>
                      </a:lnTo>
                      <a:close/>
                    </a:path>
                  </a:pathLst>
                </a:custGeom>
                <a:solidFill>
                  <a:srgbClr val="C9C7C3"/>
                </a:solidFill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94" name="Freeform 201"/>
                <p:cNvSpPr>
                  <a:spLocks noChangeAspect="1"/>
                </p:cNvSpPr>
                <p:nvPr/>
              </p:nvSpPr>
              <p:spPr bwMode="gray">
                <a:xfrm>
                  <a:off x="2703" y="1965"/>
                  <a:ext cx="15" cy="8"/>
                </a:xfrm>
                <a:custGeom>
                  <a:avLst/>
                  <a:gdLst/>
                  <a:ahLst/>
                  <a:cxnLst>
                    <a:cxn ang="0">
                      <a:pos x="75" y="42"/>
                    </a:cxn>
                    <a:cxn ang="0">
                      <a:pos x="45" y="20"/>
                    </a:cxn>
                    <a:cxn ang="0">
                      <a:pos x="29" y="17"/>
                    </a:cxn>
                    <a:cxn ang="0">
                      <a:pos x="13" y="7"/>
                    </a:cxn>
                    <a:cxn ang="0">
                      <a:pos x="0" y="5"/>
                    </a:cxn>
                    <a:cxn ang="0">
                      <a:pos x="4" y="0"/>
                    </a:cxn>
                    <a:cxn ang="0">
                      <a:pos x="15" y="2"/>
                    </a:cxn>
                    <a:cxn ang="0">
                      <a:pos x="20" y="10"/>
                    </a:cxn>
                    <a:cxn ang="0">
                      <a:pos x="25" y="10"/>
                    </a:cxn>
                    <a:cxn ang="0">
                      <a:pos x="32" y="5"/>
                    </a:cxn>
                    <a:cxn ang="0">
                      <a:pos x="40" y="6"/>
                    </a:cxn>
                    <a:cxn ang="0">
                      <a:pos x="40" y="11"/>
                    </a:cxn>
                    <a:cxn ang="0">
                      <a:pos x="48" y="17"/>
                    </a:cxn>
                    <a:cxn ang="0">
                      <a:pos x="55" y="18"/>
                    </a:cxn>
                    <a:cxn ang="0">
                      <a:pos x="63" y="28"/>
                    </a:cxn>
                    <a:cxn ang="0">
                      <a:pos x="72" y="29"/>
                    </a:cxn>
                    <a:cxn ang="0">
                      <a:pos x="71" y="34"/>
                    </a:cxn>
                    <a:cxn ang="0">
                      <a:pos x="75" y="34"/>
                    </a:cxn>
                    <a:cxn ang="0">
                      <a:pos x="75" y="42"/>
                    </a:cxn>
                  </a:cxnLst>
                  <a:rect l="0" t="0" r="r" b="b"/>
                  <a:pathLst>
                    <a:path w="75" h="42">
                      <a:moveTo>
                        <a:pt x="75" y="42"/>
                      </a:moveTo>
                      <a:lnTo>
                        <a:pt x="45" y="20"/>
                      </a:lnTo>
                      <a:lnTo>
                        <a:pt x="29" y="17"/>
                      </a:lnTo>
                      <a:lnTo>
                        <a:pt x="13" y="7"/>
                      </a:lnTo>
                      <a:lnTo>
                        <a:pt x="0" y="5"/>
                      </a:lnTo>
                      <a:lnTo>
                        <a:pt x="4" y="0"/>
                      </a:lnTo>
                      <a:lnTo>
                        <a:pt x="15" y="2"/>
                      </a:lnTo>
                      <a:lnTo>
                        <a:pt x="20" y="10"/>
                      </a:lnTo>
                      <a:lnTo>
                        <a:pt x="25" y="10"/>
                      </a:lnTo>
                      <a:lnTo>
                        <a:pt x="32" y="5"/>
                      </a:lnTo>
                      <a:lnTo>
                        <a:pt x="40" y="6"/>
                      </a:lnTo>
                      <a:lnTo>
                        <a:pt x="40" y="11"/>
                      </a:lnTo>
                      <a:lnTo>
                        <a:pt x="48" y="17"/>
                      </a:lnTo>
                      <a:lnTo>
                        <a:pt x="55" y="18"/>
                      </a:lnTo>
                      <a:lnTo>
                        <a:pt x="63" y="28"/>
                      </a:lnTo>
                      <a:lnTo>
                        <a:pt x="72" y="29"/>
                      </a:lnTo>
                      <a:lnTo>
                        <a:pt x="71" y="34"/>
                      </a:lnTo>
                      <a:lnTo>
                        <a:pt x="75" y="34"/>
                      </a:lnTo>
                      <a:lnTo>
                        <a:pt x="75" y="4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sp>
            <p:nvSpPr>
              <p:cNvPr id="273" name="Freeform 202"/>
              <p:cNvSpPr>
                <a:spLocks noChangeAspect="1"/>
              </p:cNvSpPr>
              <p:nvPr/>
            </p:nvSpPr>
            <p:spPr bwMode="gray">
              <a:xfrm>
                <a:off x="2748" y="2034"/>
                <a:ext cx="25" cy="26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35" y="2"/>
                  </a:cxn>
                  <a:cxn ang="0">
                    <a:pos x="21" y="12"/>
                  </a:cxn>
                  <a:cxn ang="0">
                    <a:pos x="13" y="8"/>
                  </a:cxn>
                  <a:cxn ang="0">
                    <a:pos x="2" y="28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21" y="58"/>
                  </a:cxn>
                  <a:cxn ang="0">
                    <a:pos x="28" y="70"/>
                  </a:cxn>
                  <a:cxn ang="0">
                    <a:pos x="23" y="86"/>
                  </a:cxn>
                  <a:cxn ang="0">
                    <a:pos x="26" y="99"/>
                  </a:cxn>
                  <a:cxn ang="0">
                    <a:pos x="32" y="106"/>
                  </a:cxn>
                  <a:cxn ang="0">
                    <a:pos x="39" y="108"/>
                  </a:cxn>
                  <a:cxn ang="0">
                    <a:pos x="42" y="98"/>
                  </a:cxn>
                  <a:cxn ang="0">
                    <a:pos x="49" y="90"/>
                  </a:cxn>
                  <a:cxn ang="0">
                    <a:pos x="53" y="96"/>
                  </a:cxn>
                  <a:cxn ang="0">
                    <a:pos x="60" y="103"/>
                  </a:cxn>
                  <a:cxn ang="0">
                    <a:pos x="65" y="119"/>
                  </a:cxn>
                  <a:cxn ang="0">
                    <a:pos x="66" y="130"/>
                  </a:cxn>
                  <a:cxn ang="0">
                    <a:pos x="71" y="131"/>
                  </a:cxn>
                  <a:cxn ang="0">
                    <a:pos x="76" y="110"/>
                  </a:cxn>
                  <a:cxn ang="0">
                    <a:pos x="85" y="107"/>
                  </a:cxn>
                  <a:cxn ang="0">
                    <a:pos x="91" y="117"/>
                  </a:cxn>
                  <a:cxn ang="0">
                    <a:pos x="98" y="124"/>
                  </a:cxn>
                  <a:cxn ang="0">
                    <a:pos x="107" y="129"/>
                  </a:cxn>
                  <a:cxn ang="0">
                    <a:pos x="105" y="107"/>
                  </a:cxn>
                  <a:cxn ang="0">
                    <a:pos x="98" y="77"/>
                  </a:cxn>
                  <a:cxn ang="0">
                    <a:pos x="91" y="66"/>
                  </a:cxn>
                  <a:cxn ang="0">
                    <a:pos x="88" y="54"/>
                  </a:cxn>
                  <a:cxn ang="0">
                    <a:pos x="105" y="66"/>
                  </a:cxn>
                  <a:cxn ang="0">
                    <a:pos x="108" y="71"/>
                  </a:cxn>
                  <a:cxn ang="0">
                    <a:pos x="113" y="71"/>
                  </a:cxn>
                  <a:cxn ang="0">
                    <a:pos x="119" y="65"/>
                  </a:cxn>
                  <a:cxn ang="0">
                    <a:pos x="128" y="64"/>
                  </a:cxn>
                  <a:cxn ang="0">
                    <a:pos x="126" y="56"/>
                  </a:cxn>
                  <a:cxn ang="0">
                    <a:pos x="114" y="48"/>
                  </a:cxn>
                  <a:cxn ang="0">
                    <a:pos x="107" y="33"/>
                  </a:cxn>
                  <a:cxn ang="0">
                    <a:pos x="107" y="26"/>
                  </a:cxn>
                  <a:cxn ang="0">
                    <a:pos x="98" y="21"/>
                  </a:cxn>
                  <a:cxn ang="0">
                    <a:pos x="74" y="12"/>
                  </a:cxn>
                  <a:cxn ang="0">
                    <a:pos x="61" y="8"/>
                  </a:cxn>
                  <a:cxn ang="0">
                    <a:pos x="55" y="8"/>
                  </a:cxn>
                  <a:cxn ang="0">
                    <a:pos x="49" y="0"/>
                  </a:cxn>
                </a:cxnLst>
                <a:rect l="0" t="0" r="r" b="b"/>
                <a:pathLst>
                  <a:path w="128" h="131">
                    <a:moveTo>
                      <a:pt x="49" y="0"/>
                    </a:moveTo>
                    <a:lnTo>
                      <a:pt x="35" y="2"/>
                    </a:lnTo>
                    <a:lnTo>
                      <a:pt x="21" y="12"/>
                    </a:lnTo>
                    <a:lnTo>
                      <a:pt x="13" y="8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6" y="50"/>
                    </a:lnTo>
                    <a:lnTo>
                      <a:pt x="21" y="58"/>
                    </a:lnTo>
                    <a:lnTo>
                      <a:pt x="28" y="70"/>
                    </a:lnTo>
                    <a:lnTo>
                      <a:pt x="23" y="86"/>
                    </a:lnTo>
                    <a:lnTo>
                      <a:pt x="26" y="99"/>
                    </a:lnTo>
                    <a:lnTo>
                      <a:pt x="32" y="106"/>
                    </a:lnTo>
                    <a:lnTo>
                      <a:pt x="39" y="108"/>
                    </a:lnTo>
                    <a:lnTo>
                      <a:pt x="42" y="98"/>
                    </a:lnTo>
                    <a:lnTo>
                      <a:pt x="49" y="90"/>
                    </a:lnTo>
                    <a:lnTo>
                      <a:pt x="53" y="96"/>
                    </a:lnTo>
                    <a:lnTo>
                      <a:pt x="60" y="103"/>
                    </a:lnTo>
                    <a:lnTo>
                      <a:pt x="65" y="119"/>
                    </a:lnTo>
                    <a:lnTo>
                      <a:pt x="66" y="130"/>
                    </a:lnTo>
                    <a:lnTo>
                      <a:pt x="71" y="131"/>
                    </a:lnTo>
                    <a:lnTo>
                      <a:pt x="76" y="110"/>
                    </a:lnTo>
                    <a:lnTo>
                      <a:pt x="85" y="107"/>
                    </a:lnTo>
                    <a:lnTo>
                      <a:pt x="91" y="117"/>
                    </a:lnTo>
                    <a:lnTo>
                      <a:pt x="98" y="124"/>
                    </a:lnTo>
                    <a:lnTo>
                      <a:pt x="107" y="129"/>
                    </a:lnTo>
                    <a:lnTo>
                      <a:pt x="105" y="107"/>
                    </a:lnTo>
                    <a:lnTo>
                      <a:pt x="98" y="77"/>
                    </a:lnTo>
                    <a:lnTo>
                      <a:pt x="91" y="66"/>
                    </a:lnTo>
                    <a:lnTo>
                      <a:pt x="88" y="54"/>
                    </a:lnTo>
                    <a:lnTo>
                      <a:pt x="105" y="66"/>
                    </a:lnTo>
                    <a:lnTo>
                      <a:pt x="108" y="71"/>
                    </a:lnTo>
                    <a:lnTo>
                      <a:pt x="113" y="71"/>
                    </a:lnTo>
                    <a:lnTo>
                      <a:pt x="119" y="65"/>
                    </a:lnTo>
                    <a:lnTo>
                      <a:pt x="128" y="64"/>
                    </a:lnTo>
                    <a:lnTo>
                      <a:pt x="126" y="56"/>
                    </a:lnTo>
                    <a:lnTo>
                      <a:pt x="114" y="48"/>
                    </a:lnTo>
                    <a:lnTo>
                      <a:pt x="107" y="33"/>
                    </a:lnTo>
                    <a:lnTo>
                      <a:pt x="107" y="26"/>
                    </a:lnTo>
                    <a:lnTo>
                      <a:pt x="98" y="21"/>
                    </a:lnTo>
                    <a:lnTo>
                      <a:pt x="74" y="12"/>
                    </a:lnTo>
                    <a:lnTo>
                      <a:pt x="61" y="8"/>
                    </a:lnTo>
                    <a:lnTo>
                      <a:pt x="55" y="8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4" name="Freeform 203"/>
              <p:cNvSpPr>
                <a:spLocks noChangeAspect="1"/>
              </p:cNvSpPr>
              <p:nvPr/>
            </p:nvSpPr>
            <p:spPr bwMode="gray">
              <a:xfrm>
                <a:off x="2737" y="1984"/>
                <a:ext cx="70" cy="59"/>
              </a:xfrm>
              <a:custGeom>
                <a:avLst/>
                <a:gdLst/>
                <a:ahLst/>
                <a:cxnLst>
                  <a:cxn ang="0">
                    <a:pos x="314" y="70"/>
                  </a:cxn>
                  <a:cxn ang="0">
                    <a:pos x="258" y="65"/>
                  </a:cxn>
                  <a:cxn ang="0">
                    <a:pos x="245" y="66"/>
                  </a:cxn>
                  <a:cxn ang="0">
                    <a:pos x="223" y="73"/>
                  </a:cxn>
                  <a:cxn ang="0">
                    <a:pos x="193" y="86"/>
                  </a:cxn>
                  <a:cxn ang="0">
                    <a:pos x="216" y="100"/>
                  </a:cxn>
                  <a:cxn ang="0">
                    <a:pos x="227" y="116"/>
                  </a:cxn>
                  <a:cxn ang="0">
                    <a:pos x="201" y="103"/>
                  </a:cxn>
                  <a:cxn ang="0">
                    <a:pos x="207" y="120"/>
                  </a:cxn>
                  <a:cxn ang="0">
                    <a:pos x="201" y="125"/>
                  </a:cxn>
                  <a:cxn ang="0">
                    <a:pos x="185" y="111"/>
                  </a:cxn>
                  <a:cxn ang="0">
                    <a:pos x="184" y="124"/>
                  </a:cxn>
                  <a:cxn ang="0">
                    <a:pos x="188" y="135"/>
                  </a:cxn>
                  <a:cxn ang="0">
                    <a:pos x="172" y="111"/>
                  </a:cxn>
                  <a:cxn ang="0">
                    <a:pos x="148" y="93"/>
                  </a:cxn>
                  <a:cxn ang="0">
                    <a:pos x="137" y="90"/>
                  </a:cxn>
                  <a:cxn ang="0">
                    <a:pos x="135" y="120"/>
                  </a:cxn>
                  <a:cxn ang="0">
                    <a:pos x="144" y="140"/>
                  </a:cxn>
                  <a:cxn ang="0">
                    <a:pos x="164" y="172"/>
                  </a:cxn>
                  <a:cxn ang="0">
                    <a:pos x="172" y="190"/>
                  </a:cxn>
                  <a:cxn ang="0">
                    <a:pos x="163" y="191"/>
                  </a:cxn>
                  <a:cxn ang="0">
                    <a:pos x="161" y="179"/>
                  </a:cxn>
                  <a:cxn ang="0">
                    <a:pos x="150" y="186"/>
                  </a:cxn>
                  <a:cxn ang="0">
                    <a:pos x="151" y="203"/>
                  </a:cxn>
                  <a:cxn ang="0">
                    <a:pos x="141" y="203"/>
                  </a:cxn>
                  <a:cxn ang="0">
                    <a:pos x="135" y="212"/>
                  </a:cxn>
                  <a:cxn ang="0">
                    <a:pos x="156" y="219"/>
                  </a:cxn>
                  <a:cxn ang="0">
                    <a:pos x="172" y="224"/>
                  </a:cxn>
                  <a:cxn ang="0">
                    <a:pos x="184" y="237"/>
                  </a:cxn>
                  <a:cxn ang="0">
                    <a:pos x="199" y="250"/>
                  </a:cxn>
                  <a:cxn ang="0">
                    <a:pos x="211" y="255"/>
                  </a:cxn>
                  <a:cxn ang="0">
                    <a:pos x="199" y="285"/>
                  </a:cxn>
                  <a:cxn ang="0">
                    <a:pos x="175" y="275"/>
                  </a:cxn>
                  <a:cxn ang="0">
                    <a:pos x="152" y="270"/>
                  </a:cxn>
                  <a:cxn ang="0">
                    <a:pos x="164" y="259"/>
                  </a:cxn>
                  <a:cxn ang="0">
                    <a:pos x="139" y="243"/>
                  </a:cxn>
                  <a:cxn ang="0">
                    <a:pos x="123" y="245"/>
                  </a:cxn>
                  <a:cxn ang="0">
                    <a:pos x="98" y="245"/>
                  </a:cxn>
                  <a:cxn ang="0">
                    <a:pos x="67" y="242"/>
                  </a:cxn>
                  <a:cxn ang="0">
                    <a:pos x="61" y="245"/>
                  </a:cxn>
                  <a:cxn ang="0">
                    <a:pos x="51" y="240"/>
                  </a:cxn>
                  <a:cxn ang="0">
                    <a:pos x="33" y="208"/>
                  </a:cxn>
                  <a:cxn ang="0">
                    <a:pos x="53" y="208"/>
                  </a:cxn>
                  <a:cxn ang="0">
                    <a:pos x="35" y="194"/>
                  </a:cxn>
                  <a:cxn ang="0">
                    <a:pos x="17" y="178"/>
                  </a:cxn>
                  <a:cxn ang="0">
                    <a:pos x="3" y="154"/>
                  </a:cxn>
                  <a:cxn ang="0">
                    <a:pos x="0" y="152"/>
                  </a:cxn>
                  <a:cxn ang="0">
                    <a:pos x="10" y="146"/>
                  </a:cxn>
                  <a:cxn ang="0">
                    <a:pos x="17" y="127"/>
                  </a:cxn>
                  <a:cxn ang="0">
                    <a:pos x="35" y="103"/>
                  </a:cxn>
                  <a:cxn ang="0">
                    <a:pos x="49" y="77"/>
                  </a:cxn>
                  <a:cxn ang="0">
                    <a:pos x="82" y="62"/>
                  </a:cxn>
                  <a:cxn ang="0">
                    <a:pos x="112" y="45"/>
                  </a:cxn>
                  <a:cxn ang="0">
                    <a:pos x="147" y="31"/>
                  </a:cxn>
                  <a:cxn ang="0">
                    <a:pos x="166" y="29"/>
                  </a:cxn>
                  <a:cxn ang="0">
                    <a:pos x="205" y="25"/>
                  </a:cxn>
                  <a:cxn ang="0">
                    <a:pos x="248" y="16"/>
                  </a:cxn>
                  <a:cxn ang="0">
                    <a:pos x="293" y="36"/>
                  </a:cxn>
                  <a:cxn ang="0">
                    <a:pos x="327" y="20"/>
                  </a:cxn>
                  <a:cxn ang="0">
                    <a:pos x="340" y="0"/>
                  </a:cxn>
                  <a:cxn ang="0">
                    <a:pos x="352" y="13"/>
                  </a:cxn>
                  <a:cxn ang="0">
                    <a:pos x="340" y="33"/>
                  </a:cxn>
                  <a:cxn ang="0">
                    <a:pos x="334" y="63"/>
                  </a:cxn>
                </a:cxnLst>
                <a:rect l="0" t="0" r="r" b="b"/>
                <a:pathLst>
                  <a:path w="352" h="293">
                    <a:moveTo>
                      <a:pt x="324" y="78"/>
                    </a:moveTo>
                    <a:lnTo>
                      <a:pt x="314" y="70"/>
                    </a:lnTo>
                    <a:lnTo>
                      <a:pt x="268" y="57"/>
                    </a:lnTo>
                    <a:lnTo>
                      <a:pt x="258" y="65"/>
                    </a:lnTo>
                    <a:lnTo>
                      <a:pt x="253" y="66"/>
                    </a:lnTo>
                    <a:lnTo>
                      <a:pt x="245" y="66"/>
                    </a:lnTo>
                    <a:lnTo>
                      <a:pt x="234" y="62"/>
                    </a:lnTo>
                    <a:lnTo>
                      <a:pt x="223" y="73"/>
                    </a:lnTo>
                    <a:lnTo>
                      <a:pt x="207" y="76"/>
                    </a:lnTo>
                    <a:lnTo>
                      <a:pt x="193" y="86"/>
                    </a:lnTo>
                    <a:lnTo>
                      <a:pt x="201" y="94"/>
                    </a:lnTo>
                    <a:lnTo>
                      <a:pt x="216" y="100"/>
                    </a:lnTo>
                    <a:lnTo>
                      <a:pt x="225" y="110"/>
                    </a:lnTo>
                    <a:lnTo>
                      <a:pt x="227" y="116"/>
                    </a:lnTo>
                    <a:lnTo>
                      <a:pt x="217" y="106"/>
                    </a:lnTo>
                    <a:lnTo>
                      <a:pt x="201" y="103"/>
                    </a:lnTo>
                    <a:lnTo>
                      <a:pt x="196" y="113"/>
                    </a:lnTo>
                    <a:lnTo>
                      <a:pt x="207" y="120"/>
                    </a:lnTo>
                    <a:lnTo>
                      <a:pt x="209" y="133"/>
                    </a:lnTo>
                    <a:lnTo>
                      <a:pt x="201" y="125"/>
                    </a:lnTo>
                    <a:lnTo>
                      <a:pt x="195" y="115"/>
                    </a:lnTo>
                    <a:lnTo>
                      <a:pt x="185" y="111"/>
                    </a:lnTo>
                    <a:lnTo>
                      <a:pt x="182" y="113"/>
                    </a:lnTo>
                    <a:lnTo>
                      <a:pt x="184" y="124"/>
                    </a:lnTo>
                    <a:lnTo>
                      <a:pt x="193" y="131"/>
                    </a:lnTo>
                    <a:lnTo>
                      <a:pt x="188" y="135"/>
                    </a:lnTo>
                    <a:lnTo>
                      <a:pt x="177" y="125"/>
                    </a:lnTo>
                    <a:lnTo>
                      <a:pt x="172" y="111"/>
                    </a:lnTo>
                    <a:lnTo>
                      <a:pt x="148" y="97"/>
                    </a:lnTo>
                    <a:lnTo>
                      <a:pt x="148" y="93"/>
                    </a:lnTo>
                    <a:lnTo>
                      <a:pt x="151" y="86"/>
                    </a:lnTo>
                    <a:lnTo>
                      <a:pt x="137" y="90"/>
                    </a:lnTo>
                    <a:lnTo>
                      <a:pt x="135" y="105"/>
                    </a:lnTo>
                    <a:lnTo>
                      <a:pt x="135" y="120"/>
                    </a:lnTo>
                    <a:lnTo>
                      <a:pt x="136" y="132"/>
                    </a:lnTo>
                    <a:lnTo>
                      <a:pt x="144" y="140"/>
                    </a:lnTo>
                    <a:lnTo>
                      <a:pt x="147" y="154"/>
                    </a:lnTo>
                    <a:lnTo>
                      <a:pt x="164" y="172"/>
                    </a:lnTo>
                    <a:lnTo>
                      <a:pt x="169" y="181"/>
                    </a:lnTo>
                    <a:lnTo>
                      <a:pt x="172" y="190"/>
                    </a:lnTo>
                    <a:lnTo>
                      <a:pt x="167" y="192"/>
                    </a:lnTo>
                    <a:lnTo>
                      <a:pt x="163" y="191"/>
                    </a:lnTo>
                    <a:lnTo>
                      <a:pt x="164" y="185"/>
                    </a:lnTo>
                    <a:lnTo>
                      <a:pt x="161" y="179"/>
                    </a:lnTo>
                    <a:lnTo>
                      <a:pt x="151" y="178"/>
                    </a:lnTo>
                    <a:lnTo>
                      <a:pt x="150" y="186"/>
                    </a:lnTo>
                    <a:lnTo>
                      <a:pt x="155" y="200"/>
                    </a:lnTo>
                    <a:lnTo>
                      <a:pt x="151" y="203"/>
                    </a:lnTo>
                    <a:lnTo>
                      <a:pt x="147" y="203"/>
                    </a:lnTo>
                    <a:lnTo>
                      <a:pt x="141" y="203"/>
                    </a:lnTo>
                    <a:lnTo>
                      <a:pt x="131" y="206"/>
                    </a:lnTo>
                    <a:lnTo>
                      <a:pt x="135" y="212"/>
                    </a:lnTo>
                    <a:lnTo>
                      <a:pt x="147" y="217"/>
                    </a:lnTo>
                    <a:lnTo>
                      <a:pt x="156" y="219"/>
                    </a:lnTo>
                    <a:lnTo>
                      <a:pt x="163" y="224"/>
                    </a:lnTo>
                    <a:lnTo>
                      <a:pt x="172" y="224"/>
                    </a:lnTo>
                    <a:lnTo>
                      <a:pt x="177" y="237"/>
                    </a:lnTo>
                    <a:lnTo>
                      <a:pt x="184" y="237"/>
                    </a:lnTo>
                    <a:lnTo>
                      <a:pt x="190" y="244"/>
                    </a:lnTo>
                    <a:lnTo>
                      <a:pt x="199" y="250"/>
                    </a:lnTo>
                    <a:lnTo>
                      <a:pt x="204" y="250"/>
                    </a:lnTo>
                    <a:lnTo>
                      <a:pt x="211" y="255"/>
                    </a:lnTo>
                    <a:lnTo>
                      <a:pt x="212" y="293"/>
                    </a:lnTo>
                    <a:lnTo>
                      <a:pt x="199" y="285"/>
                    </a:lnTo>
                    <a:lnTo>
                      <a:pt x="189" y="272"/>
                    </a:lnTo>
                    <a:lnTo>
                      <a:pt x="175" y="275"/>
                    </a:lnTo>
                    <a:lnTo>
                      <a:pt x="161" y="275"/>
                    </a:lnTo>
                    <a:lnTo>
                      <a:pt x="152" y="270"/>
                    </a:lnTo>
                    <a:lnTo>
                      <a:pt x="162" y="266"/>
                    </a:lnTo>
                    <a:lnTo>
                      <a:pt x="164" y="259"/>
                    </a:lnTo>
                    <a:lnTo>
                      <a:pt x="152" y="256"/>
                    </a:lnTo>
                    <a:lnTo>
                      <a:pt x="139" y="243"/>
                    </a:lnTo>
                    <a:lnTo>
                      <a:pt x="132" y="249"/>
                    </a:lnTo>
                    <a:lnTo>
                      <a:pt x="123" y="245"/>
                    </a:lnTo>
                    <a:lnTo>
                      <a:pt x="110" y="248"/>
                    </a:lnTo>
                    <a:lnTo>
                      <a:pt x="98" y="245"/>
                    </a:lnTo>
                    <a:lnTo>
                      <a:pt x="81" y="248"/>
                    </a:lnTo>
                    <a:lnTo>
                      <a:pt x="67" y="242"/>
                    </a:lnTo>
                    <a:lnTo>
                      <a:pt x="64" y="242"/>
                    </a:lnTo>
                    <a:lnTo>
                      <a:pt x="61" y="245"/>
                    </a:lnTo>
                    <a:lnTo>
                      <a:pt x="55" y="248"/>
                    </a:lnTo>
                    <a:lnTo>
                      <a:pt x="51" y="240"/>
                    </a:lnTo>
                    <a:lnTo>
                      <a:pt x="45" y="228"/>
                    </a:lnTo>
                    <a:lnTo>
                      <a:pt x="33" y="208"/>
                    </a:lnTo>
                    <a:lnTo>
                      <a:pt x="43" y="210"/>
                    </a:lnTo>
                    <a:lnTo>
                      <a:pt x="53" y="208"/>
                    </a:lnTo>
                    <a:lnTo>
                      <a:pt x="49" y="200"/>
                    </a:lnTo>
                    <a:lnTo>
                      <a:pt x="35" y="194"/>
                    </a:lnTo>
                    <a:lnTo>
                      <a:pt x="33" y="203"/>
                    </a:lnTo>
                    <a:lnTo>
                      <a:pt x="17" y="178"/>
                    </a:lnTo>
                    <a:lnTo>
                      <a:pt x="7" y="170"/>
                    </a:lnTo>
                    <a:lnTo>
                      <a:pt x="3" y="154"/>
                    </a:lnTo>
                    <a:lnTo>
                      <a:pt x="1" y="152"/>
                    </a:lnTo>
                    <a:lnTo>
                      <a:pt x="0" y="152"/>
                    </a:lnTo>
                    <a:lnTo>
                      <a:pt x="1" y="152"/>
                    </a:lnTo>
                    <a:lnTo>
                      <a:pt x="10" y="146"/>
                    </a:lnTo>
                    <a:lnTo>
                      <a:pt x="15" y="140"/>
                    </a:lnTo>
                    <a:lnTo>
                      <a:pt x="17" y="127"/>
                    </a:lnTo>
                    <a:lnTo>
                      <a:pt x="27" y="120"/>
                    </a:lnTo>
                    <a:lnTo>
                      <a:pt x="35" y="103"/>
                    </a:lnTo>
                    <a:lnTo>
                      <a:pt x="49" y="92"/>
                    </a:lnTo>
                    <a:lnTo>
                      <a:pt x="49" y="77"/>
                    </a:lnTo>
                    <a:lnTo>
                      <a:pt x="46" y="67"/>
                    </a:lnTo>
                    <a:lnTo>
                      <a:pt x="82" y="62"/>
                    </a:lnTo>
                    <a:lnTo>
                      <a:pt x="93" y="52"/>
                    </a:lnTo>
                    <a:lnTo>
                      <a:pt x="112" y="45"/>
                    </a:lnTo>
                    <a:lnTo>
                      <a:pt x="132" y="45"/>
                    </a:lnTo>
                    <a:lnTo>
                      <a:pt x="147" y="31"/>
                    </a:lnTo>
                    <a:lnTo>
                      <a:pt x="153" y="29"/>
                    </a:lnTo>
                    <a:lnTo>
                      <a:pt x="166" y="29"/>
                    </a:lnTo>
                    <a:lnTo>
                      <a:pt x="183" y="25"/>
                    </a:lnTo>
                    <a:lnTo>
                      <a:pt x="205" y="25"/>
                    </a:lnTo>
                    <a:lnTo>
                      <a:pt x="236" y="16"/>
                    </a:lnTo>
                    <a:lnTo>
                      <a:pt x="248" y="16"/>
                    </a:lnTo>
                    <a:lnTo>
                      <a:pt x="258" y="24"/>
                    </a:lnTo>
                    <a:lnTo>
                      <a:pt x="293" y="36"/>
                    </a:lnTo>
                    <a:lnTo>
                      <a:pt x="313" y="33"/>
                    </a:lnTo>
                    <a:lnTo>
                      <a:pt x="327" y="20"/>
                    </a:lnTo>
                    <a:lnTo>
                      <a:pt x="329" y="1"/>
                    </a:lnTo>
                    <a:lnTo>
                      <a:pt x="340" y="0"/>
                    </a:lnTo>
                    <a:lnTo>
                      <a:pt x="343" y="6"/>
                    </a:lnTo>
                    <a:lnTo>
                      <a:pt x="352" y="13"/>
                    </a:lnTo>
                    <a:lnTo>
                      <a:pt x="351" y="24"/>
                    </a:lnTo>
                    <a:lnTo>
                      <a:pt x="340" y="33"/>
                    </a:lnTo>
                    <a:lnTo>
                      <a:pt x="338" y="49"/>
                    </a:lnTo>
                    <a:lnTo>
                      <a:pt x="334" y="63"/>
                    </a:lnTo>
                    <a:lnTo>
                      <a:pt x="324" y="7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5" name="Freeform 204"/>
              <p:cNvSpPr>
                <a:spLocks noChangeAspect="1"/>
              </p:cNvSpPr>
              <p:nvPr/>
            </p:nvSpPr>
            <p:spPr bwMode="gray">
              <a:xfrm>
                <a:off x="2692" y="1879"/>
                <a:ext cx="74" cy="44"/>
              </a:xfrm>
              <a:custGeom>
                <a:avLst/>
                <a:gdLst/>
                <a:ahLst/>
                <a:cxnLst>
                  <a:cxn ang="0">
                    <a:pos x="71" y="47"/>
                  </a:cxn>
                  <a:cxn ang="0">
                    <a:pos x="128" y="64"/>
                  </a:cxn>
                  <a:cxn ang="0">
                    <a:pos x="147" y="44"/>
                  </a:cxn>
                  <a:cxn ang="0">
                    <a:pos x="194" y="26"/>
                  </a:cxn>
                  <a:cxn ang="0">
                    <a:pos x="225" y="24"/>
                  </a:cxn>
                  <a:cxn ang="0">
                    <a:pos x="240" y="10"/>
                  </a:cxn>
                  <a:cxn ang="0">
                    <a:pos x="273" y="2"/>
                  </a:cxn>
                  <a:cxn ang="0">
                    <a:pos x="300" y="5"/>
                  </a:cxn>
                  <a:cxn ang="0">
                    <a:pos x="329" y="12"/>
                  </a:cxn>
                  <a:cxn ang="0">
                    <a:pos x="356" y="29"/>
                  </a:cxn>
                  <a:cxn ang="0">
                    <a:pos x="369" y="48"/>
                  </a:cxn>
                  <a:cxn ang="0">
                    <a:pos x="357" y="62"/>
                  </a:cxn>
                  <a:cxn ang="0">
                    <a:pos x="335" y="69"/>
                  </a:cxn>
                  <a:cxn ang="0">
                    <a:pos x="324" y="86"/>
                  </a:cxn>
                  <a:cxn ang="0">
                    <a:pos x="316" y="108"/>
                  </a:cxn>
                  <a:cxn ang="0">
                    <a:pos x="298" y="135"/>
                  </a:cxn>
                  <a:cxn ang="0">
                    <a:pos x="284" y="161"/>
                  </a:cxn>
                  <a:cxn ang="0">
                    <a:pos x="260" y="185"/>
                  </a:cxn>
                  <a:cxn ang="0">
                    <a:pos x="225" y="195"/>
                  </a:cxn>
                  <a:cxn ang="0">
                    <a:pos x="209" y="193"/>
                  </a:cxn>
                  <a:cxn ang="0">
                    <a:pos x="181" y="204"/>
                  </a:cxn>
                  <a:cxn ang="0">
                    <a:pos x="160" y="209"/>
                  </a:cxn>
                  <a:cxn ang="0">
                    <a:pos x="133" y="218"/>
                  </a:cxn>
                  <a:cxn ang="0">
                    <a:pos x="102" y="223"/>
                  </a:cxn>
                  <a:cxn ang="0">
                    <a:pos x="76" y="210"/>
                  </a:cxn>
                  <a:cxn ang="0">
                    <a:pos x="50" y="188"/>
                  </a:cxn>
                  <a:cxn ang="0">
                    <a:pos x="28" y="167"/>
                  </a:cxn>
                  <a:cxn ang="0">
                    <a:pos x="15" y="140"/>
                  </a:cxn>
                  <a:cxn ang="0">
                    <a:pos x="0" y="136"/>
                  </a:cxn>
                  <a:cxn ang="0">
                    <a:pos x="21" y="123"/>
                  </a:cxn>
                  <a:cxn ang="0">
                    <a:pos x="20" y="102"/>
                  </a:cxn>
                  <a:cxn ang="0">
                    <a:pos x="22" y="75"/>
                  </a:cxn>
                  <a:cxn ang="0">
                    <a:pos x="53" y="67"/>
                  </a:cxn>
                  <a:cxn ang="0">
                    <a:pos x="58" y="39"/>
                  </a:cxn>
                </a:cxnLst>
                <a:rect l="0" t="0" r="r" b="b"/>
                <a:pathLst>
                  <a:path w="369" h="223">
                    <a:moveTo>
                      <a:pt x="58" y="39"/>
                    </a:moveTo>
                    <a:lnTo>
                      <a:pt x="71" y="47"/>
                    </a:lnTo>
                    <a:lnTo>
                      <a:pt x="95" y="65"/>
                    </a:lnTo>
                    <a:lnTo>
                      <a:pt x="128" y="64"/>
                    </a:lnTo>
                    <a:lnTo>
                      <a:pt x="134" y="64"/>
                    </a:lnTo>
                    <a:lnTo>
                      <a:pt x="147" y="44"/>
                    </a:lnTo>
                    <a:lnTo>
                      <a:pt x="178" y="35"/>
                    </a:lnTo>
                    <a:lnTo>
                      <a:pt x="194" y="26"/>
                    </a:lnTo>
                    <a:lnTo>
                      <a:pt x="211" y="32"/>
                    </a:lnTo>
                    <a:lnTo>
                      <a:pt x="225" y="24"/>
                    </a:lnTo>
                    <a:lnTo>
                      <a:pt x="235" y="22"/>
                    </a:lnTo>
                    <a:lnTo>
                      <a:pt x="240" y="10"/>
                    </a:lnTo>
                    <a:lnTo>
                      <a:pt x="255" y="1"/>
                    </a:lnTo>
                    <a:lnTo>
                      <a:pt x="273" y="2"/>
                    </a:lnTo>
                    <a:lnTo>
                      <a:pt x="285" y="0"/>
                    </a:lnTo>
                    <a:lnTo>
                      <a:pt x="300" y="5"/>
                    </a:lnTo>
                    <a:lnTo>
                      <a:pt x="317" y="15"/>
                    </a:lnTo>
                    <a:lnTo>
                      <a:pt x="329" y="12"/>
                    </a:lnTo>
                    <a:lnTo>
                      <a:pt x="344" y="19"/>
                    </a:lnTo>
                    <a:lnTo>
                      <a:pt x="356" y="29"/>
                    </a:lnTo>
                    <a:lnTo>
                      <a:pt x="365" y="38"/>
                    </a:lnTo>
                    <a:lnTo>
                      <a:pt x="369" y="48"/>
                    </a:lnTo>
                    <a:lnTo>
                      <a:pt x="365" y="55"/>
                    </a:lnTo>
                    <a:lnTo>
                      <a:pt x="357" y="62"/>
                    </a:lnTo>
                    <a:lnTo>
                      <a:pt x="350" y="62"/>
                    </a:lnTo>
                    <a:lnTo>
                      <a:pt x="335" y="69"/>
                    </a:lnTo>
                    <a:lnTo>
                      <a:pt x="326" y="78"/>
                    </a:lnTo>
                    <a:lnTo>
                      <a:pt x="324" y="86"/>
                    </a:lnTo>
                    <a:lnTo>
                      <a:pt x="318" y="97"/>
                    </a:lnTo>
                    <a:lnTo>
                      <a:pt x="316" y="108"/>
                    </a:lnTo>
                    <a:lnTo>
                      <a:pt x="303" y="121"/>
                    </a:lnTo>
                    <a:lnTo>
                      <a:pt x="298" y="135"/>
                    </a:lnTo>
                    <a:lnTo>
                      <a:pt x="291" y="151"/>
                    </a:lnTo>
                    <a:lnTo>
                      <a:pt x="284" y="161"/>
                    </a:lnTo>
                    <a:lnTo>
                      <a:pt x="276" y="178"/>
                    </a:lnTo>
                    <a:lnTo>
                      <a:pt x="260" y="185"/>
                    </a:lnTo>
                    <a:lnTo>
                      <a:pt x="228" y="195"/>
                    </a:lnTo>
                    <a:lnTo>
                      <a:pt x="225" y="195"/>
                    </a:lnTo>
                    <a:lnTo>
                      <a:pt x="221" y="188"/>
                    </a:lnTo>
                    <a:lnTo>
                      <a:pt x="209" y="193"/>
                    </a:lnTo>
                    <a:lnTo>
                      <a:pt x="197" y="193"/>
                    </a:lnTo>
                    <a:lnTo>
                      <a:pt x="181" y="204"/>
                    </a:lnTo>
                    <a:lnTo>
                      <a:pt x="166" y="204"/>
                    </a:lnTo>
                    <a:lnTo>
                      <a:pt x="160" y="209"/>
                    </a:lnTo>
                    <a:lnTo>
                      <a:pt x="145" y="210"/>
                    </a:lnTo>
                    <a:lnTo>
                      <a:pt x="133" y="218"/>
                    </a:lnTo>
                    <a:lnTo>
                      <a:pt x="119" y="222"/>
                    </a:lnTo>
                    <a:lnTo>
                      <a:pt x="102" y="223"/>
                    </a:lnTo>
                    <a:lnTo>
                      <a:pt x="87" y="214"/>
                    </a:lnTo>
                    <a:lnTo>
                      <a:pt x="76" y="210"/>
                    </a:lnTo>
                    <a:lnTo>
                      <a:pt x="65" y="195"/>
                    </a:lnTo>
                    <a:lnTo>
                      <a:pt x="50" y="188"/>
                    </a:lnTo>
                    <a:lnTo>
                      <a:pt x="41" y="172"/>
                    </a:lnTo>
                    <a:lnTo>
                      <a:pt x="28" y="167"/>
                    </a:lnTo>
                    <a:lnTo>
                      <a:pt x="20" y="153"/>
                    </a:lnTo>
                    <a:lnTo>
                      <a:pt x="15" y="140"/>
                    </a:lnTo>
                    <a:lnTo>
                      <a:pt x="7" y="136"/>
                    </a:lnTo>
                    <a:lnTo>
                      <a:pt x="0" y="136"/>
                    </a:lnTo>
                    <a:lnTo>
                      <a:pt x="10" y="125"/>
                    </a:lnTo>
                    <a:lnTo>
                      <a:pt x="21" y="123"/>
                    </a:lnTo>
                    <a:lnTo>
                      <a:pt x="20" y="112"/>
                    </a:lnTo>
                    <a:lnTo>
                      <a:pt x="20" y="102"/>
                    </a:lnTo>
                    <a:lnTo>
                      <a:pt x="28" y="83"/>
                    </a:lnTo>
                    <a:lnTo>
                      <a:pt x="22" y="75"/>
                    </a:lnTo>
                    <a:lnTo>
                      <a:pt x="26" y="67"/>
                    </a:lnTo>
                    <a:lnTo>
                      <a:pt x="53" y="67"/>
                    </a:lnTo>
                    <a:lnTo>
                      <a:pt x="58" y="59"/>
                    </a:lnTo>
                    <a:lnTo>
                      <a:pt x="58" y="39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6" name="Freeform 205"/>
              <p:cNvSpPr>
                <a:spLocks noChangeAspect="1"/>
              </p:cNvSpPr>
              <p:nvPr/>
            </p:nvSpPr>
            <p:spPr bwMode="gray">
              <a:xfrm>
                <a:off x="2670" y="1767"/>
                <a:ext cx="109" cy="103"/>
              </a:xfrm>
              <a:custGeom>
                <a:avLst/>
                <a:gdLst/>
                <a:ahLst/>
                <a:cxnLst>
                  <a:cxn ang="0">
                    <a:pos x="521" y="323"/>
                  </a:cxn>
                  <a:cxn ang="0">
                    <a:pos x="540" y="357"/>
                  </a:cxn>
                  <a:cxn ang="0">
                    <a:pos x="540" y="397"/>
                  </a:cxn>
                  <a:cxn ang="0">
                    <a:pos x="488" y="444"/>
                  </a:cxn>
                  <a:cxn ang="0">
                    <a:pos x="470" y="509"/>
                  </a:cxn>
                  <a:cxn ang="0">
                    <a:pos x="446" y="506"/>
                  </a:cxn>
                  <a:cxn ang="0">
                    <a:pos x="416" y="483"/>
                  </a:cxn>
                  <a:cxn ang="0">
                    <a:pos x="379" y="488"/>
                  </a:cxn>
                  <a:cxn ang="0">
                    <a:pos x="343" y="487"/>
                  </a:cxn>
                  <a:cxn ang="0">
                    <a:pos x="317" y="498"/>
                  </a:cxn>
                  <a:cxn ang="0">
                    <a:pos x="291" y="473"/>
                  </a:cxn>
                  <a:cxn ang="0">
                    <a:pos x="259" y="475"/>
                  </a:cxn>
                  <a:cxn ang="0">
                    <a:pos x="212" y="433"/>
                  </a:cxn>
                  <a:cxn ang="0">
                    <a:pos x="198" y="412"/>
                  </a:cxn>
                  <a:cxn ang="0">
                    <a:pos x="152" y="407"/>
                  </a:cxn>
                  <a:cxn ang="0">
                    <a:pos x="136" y="418"/>
                  </a:cxn>
                  <a:cxn ang="0">
                    <a:pos x="121" y="386"/>
                  </a:cxn>
                  <a:cxn ang="0">
                    <a:pos x="99" y="370"/>
                  </a:cxn>
                  <a:cxn ang="0">
                    <a:pos x="65" y="357"/>
                  </a:cxn>
                  <a:cxn ang="0">
                    <a:pos x="34" y="363"/>
                  </a:cxn>
                  <a:cxn ang="0">
                    <a:pos x="43" y="316"/>
                  </a:cxn>
                  <a:cxn ang="0">
                    <a:pos x="23" y="269"/>
                  </a:cxn>
                  <a:cxn ang="0">
                    <a:pos x="20" y="233"/>
                  </a:cxn>
                  <a:cxn ang="0">
                    <a:pos x="1" y="190"/>
                  </a:cxn>
                  <a:cxn ang="0">
                    <a:pos x="11" y="158"/>
                  </a:cxn>
                  <a:cxn ang="0">
                    <a:pos x="4" y="111"/>
                  </a:cxn>
                  <a:cxn ang="0">
                    <a:pos x="21" y="105"/>
                  </a:cxn>
                  <a:cxn ang="0">
                    <a:pos x="16" y="86"/>
                  </a:cxn>
                  <a:cxn ang="0">
                    <a:pos x="38" y="74"/>
                  </a:cxn>
                  <a:cxn ang="0">
                    <a:pos x="102" y="53"/>
                  </a:cxn>
                  <a:cxn ang="0">
                    <a:pos x="172" y="9"/>
                  </a:cxn>
                  <a:cxn ang="0">
                    <a:pos x="239" y="3"/>
                  </a:cxn>
                  <a:cxn ang="0">
                    <a:pos x="254" y="21"/>
                  </a:cxn>
                  <a:cxn ang="0">
                    <a:pos x="250" y="50"/>
                  </a:cxn>
                  <a:cxn ang="0">
                    <a:pos x="262" y="45"/>
                  </a:cxn>
                  <a:cxn ang="0">
                    <a:pos x="290" y="42"/>
                  </a:cxn>
                  <a:cxn ang="0">
                    <a:pos x="378" y="52"/>
                  </a:cxn>
                  <a:cxn ang="0">
                    <a:pos x="477" y="42"/>
                  </a:cxn>
                  <a:cxn ang="0">
                    <a:pos x="515" y="74"/>
                  </a:cxn>
                  <a:cxn ang="0">
                    <a:pos x="534" y="163"/>
                  </a:cxn>
                  <a:cxn ang="0">
                    <a:pos x="522" y="212"/>
                  </a:cxn>
                  <a:cxn ang="0">
                    <a:pos x="502" y="245"/>
                  </a:cxn>
                </a:cxnLst>
                <a:rect l="0" t="0" r="r" b="b"/>
                <a:pathLst>
                  <a:path w="545" h="511">
                    <a:moveTo>
                      <a:pt x="513" y="298"/>
                    </a:moveTo>
                    <a:lnTo>
                      <a:pt x="520" y="311"/>
                    </a:lnTo>
                    <a:lnTo>
                      <a:pt x="521" y="323"/>
                    </a:lnTo>
                    <a:lnTo>
                      <a:pt x="528" y="342"/>
                    </a:lnTo>
                    <a:lnTo>
                      <a:pt x="529" y="346"/>
                    </a:lnTo>
                    <a:lnTo>
                      <a:pt x="540" y="357"/>
                    </a:lnTo>
                    <a:lnTo>
                      <a:pt x="539" y="368"/>
                    </a:lnTo>
                    <a:lnTo>
                      <a:pt x="545" y="382"/>
                    </a:lnTo>
                    <a:lnTo>
                      <a:pt x="540" y="397"/>
                    </a:lnTo>
                    <a:lnTo>
                      <a:pt x="522" y="412"/>
                    </a:lnTo>
                    <a:lnTo>
                      <a:pt x="502" y="425"/>
                    </a:lnTo>
                    <a:lnTo>
                      <a:pt x="488" y="444"/>
                    </a:lnTo>
                    <a:lnTo>
                      <a:pt x="470" y="482"/>
                    </a:lnTo>
                    <a:lnTo>
                      <a:pt x="468" y="497"/>
                    </a:lnTo>
                    <a:lnTo>
                      <a:pt x="470" y="509"/>
                    </a:lnTo>
                    <a:lnTo>
                      <a:pt x="461" y="511"/>
                    </a:lnTo>
                    <a:lnTo>
                      <a:pt x="456" y="510"/>
                    </a:lnTo>
                    <a:lnTo>
                      <a:pt x="446" y="506"/>
                    </a:lnTo>
                    <a:lnTo>
                      <a:pt x="435" y="498"/>
                    </a:lnTo>
                    <a:lnTo>
                      <a:pt x="426" y="491"/>
                    </a:lnTo>
                    <a:lnTo>
                      <a:pt x="416" y="483"/>
                    </a:lnTo>
                    <a:lnTo>
                      <a:pt x="403" y="482"/>
                    </a:lnTo>
                    <a:lnTo>
                      <a:pt x="391" y="483"/>
                    </a:lnTo>
                    <a:lnTo>
                      <a:pt x="379" y="488"/>
                    </a:lnTo>
                    <a:lnTo>
                      <a:pt x="372" y="494"/>
                    </a:lnTo>
                    <a:lnTo>
                      <a:pt x="362" y="487"/>
                    </a:lnTo>
                    <a:lnTo>
                      <a:pt x="343" y="487"/>
                    </a:lnTo>
                    <a:lnTo>
                      <a:pt x="334" y="495"/>
                    </a:lnTo>
                    <a:lnTo>
                      <a:pt x="324" y="500"/>
                    </a:lnTo>
                    <a:lnTo>
                      <a:pt x="317" y="498"/>
                    </a:lnTo>
                    <a:lnTo>
                      <a:pt x="309" y="489"/>
                    </a:lnTo>
                    <a:lnTo>
                      <a:pt x="300" y="479"/>
                    </a:lnTo>
                    <a:lnTo>
                      <a:pt x="291" y="473"/>
                    </a:lnTo>
                    <a:lnTo>
                      <a:pt x="281" y="478"/>
                    </a:lnTo>
                    <a:lnTo>
                      <a:pt x="270" y="481"/>
                    </a:lnTo>
                    <a:lnTo>
                      <a:pt x="259" y="475"/>
                    </a:lnTo>
                    <a:lnTo>
                      <a:pt x="241" y="466"/>
                    </a:lnTo>
                    <a:lnTo>
                      <a:pt x="221" y="438"/>
                    </a:lnTo>
                    <a:lnTo>
                      <a:pt x="212" y="433"/>
                    </a:lnTo>
                    <a:lnTo>
                      <a:pt x="207" y="435"/>
                    </a:lnTo>
                    <a:lnTo>
                      <a:pt x="198" y="428"/>
                    </a:lnTo>
                    <a:lnTo>
                      <a:pt x="198" y="412"/>
                    </a:lnTo>
                    <a:lnTo>
                      <a:pt x="178" y="409"/>
                    </a:lnTo>
                    <a:lnTo>
                      <a:pt x="153" y="401"/>
                    </a:lnTo>
                    <a:lnTo>
                      <a:pt x="152" y="407"/>
                    </a:lnTo>
                    <a:lnTo>
                      <a:pt x="155" y="413"/>
                    </a:lnTo>
                    <a:lnTo>
                      <a:pt x="144" y="421"/>
                    </a:lnTo>
                    <a:lnTo>
                      <a:pt x="136" y="418"/>
                    </a:lnTo>
                    <a:lnTo>
                      <a:pt x="117" y="400"/>
                    </a:lnTo>
                    <a:lnTo>
                      <a:pt x="121" y="389"/>
                    </a:lnTo>
                    <a:lnTo>
                      <a:pt x="121" y="386"/>
                    </a:lnTo>
                    <a:lnTo>
                      <a:pt x="120" y="384"/>
                    </a:lnTo>
                    <a:lnTo>
                      <a:pt x="109" y="382"/>
                    </a:lnTo>
                    <a:lnTo>
                      <a:pt x="99" y="370"/>
                    </a:lnTo>
                    <a:lnTo>
                      <a:pt x="79" y="365"/>
                    </a:lnTo>
                    <a:lnTo>
                      <a:pt x="71" y="366"/>
                    </a:lnTo>
                    <a:lnTo>
                      <a:pt x="65" y="357"/>
                    </a:lnTo>
                    <a:lnTo>
                      <a:pt x="55" y="352"/>
                    </a:lnTo>
                    <a:lnTo>
                      <a:pt x="40" y="366"/>
                    </a:lnTo>
                    <a:lnTo>
                      <a:pt x="34" y="363"/>
                    </a:lnTo>
                    <a:lnTo>
                      <a:pt x="38" y="354"/>
                    </a:lnTo>
                    <a:lnTo>
                      <a:pt x="42" y="337"/>
                    </a:lnTo>
                    <a:lnTo>
                      <a:pt x="43" y="316"/>
                    </a:lnTo>
                    <a:lnTo>
                      <a:pt x="42" y="312"/>
                    </a:lnTo>
                    <a:lnTo>
                      <a:pt x="26" y="293"/>
                    </a:lnTo>
                    <a:lnTo>
                      <a:pt x="23" y="269"/>
                    </a:lnTo>
                    <a:lnTo>
                      <a:pt x="23" y="258"/>
                    </a:lnTo>
                    <a:lnTo>
                      <a:pt x="22" y="242"/>
                    </a:lnTo>
                    <a:lnTo>
                      <a:pt x="20" y="233"/>
                    </a:lnTo>
                    <a:lnTo>
                      <a:pt x="17" y="209"/>
                    </a:lnTo>
                    <a:lnTo>
                      <a:pt x="16" y="201"/>
                    </a:lnTo>
                    <a:lnTo>
                      <a:pt x="1" y="190"/>
                    </a:lnTo>
                    <a:lnTo>
                      <a:pt x="0" y="182"/>
                    </a:lnTo>
                    <a:lnTo>
                      <a:pt x="5" y="170"/>
                    </a:lnTo>
                    <a:lnTo>
                      <a:pt x="11" y="158"/>
                    </a:lnTo>
                    <a:lnTo>
                      <a:pt x="12" y="145"/>
                    </a:lnTo>
                    <a:lnTo>
                      <a:pt x="12" y="128"/>
                    </a:lnTo>
                    <a:lnTo>
                      <a:pt x="4" y="111"/>
                    </a:lnTo>
                    <a:lnTo>
                      <a:pt x="1" y="102"/>
                    </a:lnTo>
                    <a:lnTo>
                      <a:pt x="18" y="110"/>
                    </a:lnTo>
                    <a:lnTo>
                      <a:pt x="21" y="105"/>
                    </a:lnTo>
                    <a:lnTo>
                      <a:pt x="21" y="96"/>
                    </a:lnTo>
                    <a:lnTo>
                      <a:pt x="7" y="93"/>
                    </a:lnTo>
                    <a:lnTo>
                      <a:pt x="16" y="86"/>
                    </a:lnTo>
                    <a:lnTo>
                      <a:pt x="26" y="83"/>
                    </a:lnTo>
                    <a:lnTo>
                      <a:pt x="27" y="86"/>
                    </a:lnTo>
                    <a:lnTo>
                      <a:pt x="38" y="74"/>
                    </a:lnTo>
                    <a:lnTo>
                      <a:pt x="51" y="67"/>
                    </a:lnTo>
                    <a:lnTo>
                      <a:pt x="70" y="63"/>
                    </a:lnTo>
                    <a:lnTo>
                      <a:pt x="102" y="53"/>
                    </a:lnTo>
                    <a:lnTo>
                      <a:pt x="134" y="26"/>
                    </a:lnTo>
                    <a:lnTo>
                      <a:pt x="149" y="21"/>
                    </a:lnTo>
                    <a:lnTo>
                      <a:pt x="172" y="9"/>
                    </a:lnTo>
                    <a:lnTo>
                      <a:pt x="215" y="0"/>
                    </a:lnTo>
                    <a:lnTo>
                      <a:pt x="228" y="0"/>
                    </a:lnTo>
                    <a:lnTo>
                      <a:pt x="239" y="3"/>
                    </a:lnTo>
                    <a:lnTo>
                      <a:pt x="248" y="7"/>
                    </a:lnTo>
                    <a:lnTo>
                      <a:pt x="255" y="15"/>
                    </a:lnTo>
                    <a:lnTo>
                      <a:pt x="254" y="21"/>
                    </a:lnTo>
                    <a:lnTo>
                      <a:pt x="236" y="10"/>
                    </a:lnTo>
                    <a:lnTo>
                      <a:pt x="237" y="16"/>
                    </a:lnTo>
                    <a:lnTo>
                      <a:pt x="250" y="50"/>
                    </a:lnTo>
                    <a:lnTo>
                      <a:pt x="257" y="52"/>
                    </a:lnTo>
                    <a:lnTo>
                      <a:pt x="258" y="48"/>
                    </a:lnTo>
                    <a:lnTo>
                      <a:pt x="262" y="45"/>
                    </a:lnTo>
                    <a:lnTo>
                      <a:pt x="266" y="48"/>
                    </a:lnTo>
                    <a:lnTo>
                      <a:pt x="276" y="45"/>
                    </a:lnTo>
                    <a:lnTo>
                      <a:pt x="290" y="42"/>
                    </a:lnTo>
                    <a:lnTo>
                      <a:pt x="300" y="36"/>
                    </a:lnTo>
                    <a:lnTo>
                      <a:pt x="314" y="41"/>
                    </a:lnTo>
                    <a:lnTo>
                      <a:pt x="378" y="52"/>
                    </a:lnTo>
                    <a:lnTo>
                      <a:pt x="426" y="51"/>
                    </a:lnTo>
                    <a:lnTo>
                      <a:pt x="453" y="45"/>
                    </a:lnTo>
                    <a:lnTo>
                      <a:pt x="477" y="42"/>
                    </a:lnTo>
                    <a:lnTo>
                      <a:pt x="491" y="50"/>
                    </a:lnTo>
                    <a:lnTo>
                      <a:pt x="510" y="63"/>
                    </a:lnTo>
                    <a:lnTo>
                      <a:pt x="515" y="74"/>
                    </a:lnTo>
                    <a:lnTo>
                      <a:pt x="515" y="81"/>
                    </a:lnTo>
                    <a:lnTo>
                      <a:pt x="516" y="91"/>
                    </a:lnTo>
                    <a:lnTo>
                      <a:pt x="534" y="163"/>
                    </a:lnTo>
                    <a:lnTo>
                      <a:pt x="534" y="179"/>
                    </a:lnTo>
                    <a:lnTo>
                      <a:pt x="533" y="196"/>
                    </a:lnTo>
                    <a:lnTo>
                      <a:pt x="522" y="212"/>
                    </a:lnTo>
                    <a:lnTo>
                      <a:pt x="507" y="220"/>
                    </a:lnTo>
                    <a:lnTo>
                      <a:pt x="496" y="234"/>
                    </a:lnTo>
                    <a:lnTo>
                      <a:pt x="502" y="245"/>
                    </a:lnTo>
                    <a:lnTo>
                      <a:pt x="517" y="257"/>
                    </a:lnTo>
                    <a:lnTo>
                      <a:pt x="513" y="298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7" name="Freeform 206"/>
              <p:cNvSpPr>
                <a:spLocks noChangeAspect="1"/>
              </p:cNvSpPr>
              <p:nvPr/>
            </p:nvSpPr>
            <p:spPr bwMode="gray">
              <a:xfrm>
                <a:off x="2745" y="1704"/>
                <a:ext cx="81" cy="48"/>
              </a:xfrm>
              <a:custGeom>
                <a:avLst/>
                <a:gdLst/>
                <a:ahLst/>
                <a:cxnLst>
                  <a:cxn ang="0">
                    <a:pos x="0" y="184"/>
                  </a:cxn>
                  <a:cxn ang="0">
                    <a:pos x="12" y="118"/>
                  </a:cxn>
                  <a:cxn ang="0">
                    <a:pos x="24" y="93"/>
                  </a:cxn>
                  <a:cxn ang="0">
                    <a:pos x="33" y="64"/>
                  </a:cxn>
                  <a:cxn ang="0">
                    <a:pos x="51" y="44"/>
                  </a:cxn>
                  <a:cxn ang="0">
                    <a:pos x="86" y="33"/>
                  </a:cxn>
                  <a:cxn ang="0">
                    <a:pos x="113" y="68"/>
                  </a:cxn>
                  <a:cxn ang="0">
                    <a:pos x="119" y="86"/>
                  </a:cxn>
                  <a:cxn ang="0">
                    <a:pos x="125" y="92"/>
                  </a:cxn>
                  <a:cxn ang="0">
                    <a:pos x="147" y="108"/>
                  </a:cxn>
                  <a:cxn ang="0">
                    <a:pos x="169" y="102"/>
                  </a:cxn>
                  <a:cxn ang="0">
                    <a:pos x="174" y="113"/>
                  </a:cxn>
                  <a:cxn ang="0">
                    <a:pos x="181" y="92"/>
                  </a:cxn>
                  <a:cxn ang="0">
                    <a:pos x="185" y="21"/>
                  </a:cxn>
                  <a:cxn ang="0">
                    <a:pos x="200" y="14"/>
                  </a:cxn>
                  <a:cxn ang="0">
                    <a:pos x="239" y="0"/>
                  </a:cxn>
                  <a:cxn ang="0">
                    <a:pos x="269" y="15"/>
                  </a:cxn>
                  <a:cxn ang="0">
                    <a:pos x="288" y="30"/>
                  </a:cxn>
                  <a:cxn ang="0">
                    <a:pos x="318" y="49"/>
                  </a:cxn>
                  <a:cxn ang="0">
                    <a:pos x="341" y="44"/>
                  </a:cxn>
                  <a:cxn ang="0">
                    <a:pos x="359" y="49"/>
                  </a:cxn>
                  <a:cxn ang="0">
                    <a:pos x="368" y="63"/>
                  </a:cxn>
                  <a:cxn ang="0">
                    <a:pos x="379" y="74"/>
                  </a:cxn>
                  <a:cxn ang="0">
                    <a:pos x="375" y="106"/>
                  </a:cxn>
                  <a:cxn ang="0">
                    <a:pos x="380" y="116"/>
                  </a:cxn>
                  <a:cxn ang="0">
                    <a:pos x="387" y="128"/>
                  </a:cxn>
                  <a:cxn ang="0">
                    <a:pos x="402" y="159"/>
                  </a:cxn>
                  <a:cxn ang="0">
                    <a:pos x="406" y="182"/>
                  </a:cxn>
                  <a:cxn ang="0">
                    <a:pos x="395" y="190"/>
                  </a:cxn>
                  <a:cxn ang="0">
                    <a:pos x="375" y="206"/>
                  </a:cxn>
                  <a:cxn ang="0">
                    <a:pos x="363" y="227"/>
                  </a:cxn>
                  <a:cxn ang="0">
                    <a:pos x="340" y="222"/>
                  </a:cxn>
                  <a:cxn ang="0">
                    <a:pos x="331" y="236"/>
                  </a:cxn>
                  <a:cxn ang="0">
                    <a:pos x="316" y="238"/>
                  </a:cxn>
                  <a:cxn ang="0">
                    <a:pos x="303" y="231"/>
                  </a:cxn>
                  <a:cxn ang="0">
                    <a:pos x="258" y="189"/>
                  </a:cxn>
                  <a:cxn ang="0">
                    <a:pos x="234" y="188"/>
                  </a:cxn>
                  <a:cxn ang="0">
                    <a:pos x="218" y="160"/>
                  </a:cxn>
                  <a:cxn ang="0">
                    <a:pos x="200" y="173"/>
                  </a:cxn>
                  <a:cxn ang="0">
                    <a:pos x="153" y="166"/>
                  </a:cxn>
                  <a:cxn ang="0">
                    <a:pos x="129" y="163"/>
                  </a:cxn>
                  <a:cxn ang="0">
                    <a:pos x="114" y="163"/>
                  </a:cxn>
                  <a:cxn ang="0">
                    <a:pos x="98" y="167"/>
                  </a:cxn>
                  <a:cxn ang="0">
                    <a:pos x="83" y="162"/>
                  </a:cxn>
                  <a:cxn ang="0">
                    <a:pos x="44" y="171"/>
                  </a:cxn>
                  <a:cxn ang="0">
                    <a:pos x="20" y="193"/>
                  </a:cxn>
                  <a:cxn ang="0">
                    <a:pos x="3" y="195"/>
                  </a:cxn>
                </a:cxnLst>
                <a:rect l="0" t="0" r="r" b="b"/>
                <a:pathLst>
                  <a:path w="406" h="240">
                    <a:moveTo>
                      <a:pt x="3" y="195"/>
                    </a:moveTo>
                    <a:lnTo>
                      <a:pt x="0" y="184"/>
                    </a:lnTo>
                    <a:lnTo>
                      <a:pt x="4" y="134"/>
                    </a:lnTo>
                    <a:lnTo>
                      <a:pt x="12" y="118"/>
                    </a:lnTo>
                    <a:lnTo>
                      <a:pt x="20" y="107"/>
                    </a:lnTo>
                    <a:lnTo>
                      <a:pt x="24" y="93"/>
                    </a:lnTo>
                    <a:lnTo>
                      <a:pt x="27" y="77"/>
                    </a:lnTo>
                    <a:lnTo>
                      <a:pt x="33" y="64"/>
                    </a:lnTo>
                    <a:lnTo>
                      <a:pt x="43" y="52"/>
                    </a:lnTo>
                    <a:lnTo>
                      <a:pt x="51" y="44"/>
                    </a:lnTo>
                    <a:lnTo>
                      <a:pt x="63" y="42"/>
                    </a:lnTo>
                    <a:lnTo>
                      <a:pt x="86" y="33"/>
                    </a:lnTo>
                    <a:lnTo>
                      <a:pt x="94" y="47"/>
                    </a:lnTo>
                    <a:lnTo>
                      <a:pt x="113" y="68"/>
                    </a:lnTo>
                    <a:lnTo>
                      <a:pt x="115" y="79"/>
                    </a:lnTo>
                    <a:lnTo>
                      <a:pt x="119" y="86"/>
                    </a:lnTo>
                    <a:lnTo>
                      <a:pt x="120" y="75"/>
                    </a:lnTo>
                    <a:lnTo>
                      <a:pt x="125" y="92"/>
                    </a:lnTo>
                    <a:lnTo>
                      <a:pt x="131" y="100"/>
                    </a:lnTo>
                    <a:lnTo>
                      <a:pt x="147" y="108"/>
                    </a:lnTo>
                    <a:lnTo>
                      <a:pt x="153" y="108"/>
                    </a:lnTo>
                    <a:lnTo>
                      <a:pt x="169" y="102"/>
                    </a:lnTo>
                    <a:lnTo>
                      <a:pt x="169" y="107"/>
                    </a:lnTo>
                    <a:lnTo>
                      <a:pt x="174" y="113"/>
                    </a:lnTo>
                    <a:lnTo>
                      <a:pt x="175" y="98"/>
                    </a:lnTo>
                    <a:lnTo>
                      <a:pt x="181" y="92"/>
                    </a:lnTo>
                    <a:lnTo>
                      <a:pt x="185" y="85"/>
                    </a:lnTo>
                    <a:lnTo>
                      <a:pt x="185" y="21"/>
                    </a:lnTo>
                    <a:lnTo>
                      <a:pt x="191" y="15"/>
                    </a:lnTo>
                    <a:lnTo>
                      <a:pt x="200" y="14"/>
                    </a:lnTo>
                    <a:lnTo>
                      <a:pt x="213" y="4"/>
                    </a:lnTo>
                    <a:lnTo>
                      <a:pt x="239" y="0"/>
                    </a:lnTo>
                    <a:lnTo>
                      <a:pt x="255" y="4"/>
                    </a:lnTo>
                    <a:lnTo>
                      <a:pt x="269" y="15"/>
                    </a:lnTo>
                    <a:lnTo>
                      <a:pt x="283" y="20"/>
                    </a:lnTo>
                    <a:lnTo>
                      <a:pt x="288" y="30"/>
                    </a:lnTo>
                    <a:lnTo>
                      <a:pt x="310" y="49"/>
                    </a:lnTo>
                    <a:lnTo>
                      <a:pt x="318" y="49"/>
                    </a:lnTo>
                    <a:lnTo>
                      <a:pt x="326" y="46"/>
                    </a:lnTo>
                    <a:lnTo>
                      <a:pt x="341" y="44"/>
                    </a:lnTo>
                    <a:lnTo>
                      <a:pt x="358" y="48"/>
                    </a:lnTo>
                    <a:lnTo>
                      <a:pt x="359" y="49"/>
                    </a:lnTo>
                    <a:lnTo>
                      <a:pt x="364" y="55"/>
                    </a:lnTo>
                    <a:lnTo>
                      <a:pt x="368" y="63"/>
                    </a:lnTo>
                    <a:lnTo>
                      <a:pt x="375" y="66"/>
                    </a:lnTo>
                    <a:lnTo>
                      <a:pt x="379" y="74"/>
                    </a:lnTo>
                    <a:lnTo>
                      <a:pt x="380" y="82"/>
                    </a:lnTo>
                    <a:lnTo>
                      <a:pt x="375" y="106"/>
                    </a:lnTo>
                    <a:lnTo>
                      <a:pt x="372" y="113"/>
                    </a:lnTo>
                    <a:lnTo>
                      <a:pt x="380" y="116"/>
                    </a:lnTo>
                    <a:lnTo>
                      <a:pt x="387" y="120"/>
                    </a:lnTo>
                    <a:lnTo>
                      <a:pt x="387" y="128"/>
                    </a:lnTo>
                    <a:lnTo>
                      <a:pt x="400" y="150"/>
                    </a:lnTo>
                    <a:lnTo>
                      <a:pt x="402" y="159"/>
                    </a:lnTo>
                    <a:lnTo>
                      <a:pt x="406" y="166"/>
                    </a:lnTo>
                    <a:lnTo>
                      <a:pt x="406" y="182"/>
                    </a:lnTo>
                    <a:lnTo>
                      <a:pt x="405" y="189"/>
                    </a:lnTo>
                    <a:lnTo>
                      <a:pt x="395" y="190"/>
                    </a:lnTo>
                    <a:lnTo>
                      <a:pt x="388" y="194"/>
                    </a:lnTo>
                    <a:lnTo>
                      <a:pt x="375" y="206"/>
                    </a:lnTo>
                    <a:lnTo>
                      <a:pt x="374" y="214"/>
                    </a:lnTo>
                    <a:lnTo>
                      <a:pt x="363" y="227"/>
                    </a:lnTo>
                    <a:lnTo>
                      <a:pt x="356" y="229"/>
                    </a:lnTo>
                    <a:lnTo>
                      <a:pt x="340" y="222"/>
                    </a:lnTo>
                    <a:lnTo>
                      <a:pt x="334" y="227"/>
                    </a:lnTo>
                    <a:lnTo>
                      <a:pt x="331" y="236"/>
                    </a:lnTo>
                    <a:lnTo>
                      <a:pt x="325" y="240"/>
                    </a:lnTo>
                    <a:lnTo>
                      <a:pt x="316" y="238"/>
                    </a:lnTo>
                    <a:lnTo>
                      <a:pt x="310" y="233"/>
                    </a:lnTo>
                    <a:lnTo>
                      <a:pt x="303" y="231"/>
                    </a:lnTo>
                    <a:lnTo>
                      <a:pt x="285" y="208"/>
                    </a:lnTo>
                    <a:lnTo>
                      <a:pt x="258" y="189"/>
                    </a:lnTo>
                    <a:lnTo>
                      <a:pt x="242" y="190"/>
                    </a:lnTo>
                    <a:lnTo>
                      <a:pt x="234" y="188"/>
                    </a:lnTo>
                    <a:lnTo>
                      <a:pt x="224" y="165"/>
                    </a:lnTo>
                    <a:lnTo>
                      <a:pt x="218" y="160"/>
                    </a:lnTo>
                    <a:lnTo>
                      <a:pt x="211" y="162"/>
                    </a:lnTo>
                    <a:lnTo>
                      <a:pt x="200" y="173"/>
                    </a:lnTo>
                    <a:lnTo>
                      <a:pt x="184" y="177"/>
                    </a:lnTo>
                    <a:lnTo>
                      <a:pt x="153" y="166"/>
                    </a:lnTo>
                    <a:lnTo>
                      <a:pt x="146" y="166"/>
                    </a:lnTo>
                    <a:lnTo>
                      <a:pt x="129" y="163"/>
                    </a:lnTo>
                    <a:lnTo>
                      <a:pt x="121" y="166"/>
                    </a:lnTo>
                    <a:lnTo>
                      <a:pt x="114" y="163"/>
                    </a:lnTo>
                    <a:lnTo>
                      <a:pt x="106" y="167"/>
                    </a:lnTo>
                    <a:lnTo>
                      <a:pt x="98" y="167"/>
                    </a:lnTo>
                    <a:lnTo>
                      <a:pt x="92" y="163"/>
                    </a:lnTo>
                    <a:lnTo>
                      <a:pt x="83" y="162"/>
                    </a:lnTo>
                    <a:lnTo>
                      <a:pt x="67" y="163"/>
                    </a:lnTo>
                    <a:lnTo>
                      <a:pt x="44" y="171"/>
                    </a:lnTo>
                    <a:lnTo>
                      <a:pt x="29" y="179"/>
                    </a:lnTo>
                    <a:lnTo>
                      <a:pt x="20" y="193"/>
                    </a:lnTo>
                    <a:lnTo>
                      <a:pt x="13" y="198"/>
                    </a:lnTo>
                    <a:lnTo>
                      <a:pt x="3" y="19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8" name="Freeform 207"/>
              <p:cNvSpPr>
                <a:spLocks noChangeAspect="1"/>
              </p:cNvSpPr>
              <p:nvPr/>
            </p:nvSpPr>
            <p:spPr bwMode="gray">
              <a:xfrm>
                <a:off x="2646" y="1835"/>
                <a:ext cx="76" cy="45"/>
              </a:xfrm>
              <a:custGeom>
                <a:avLst/>
                <a:gdLst/>
                <a:ahLst/>
                <a:cxnLst>
                  <a:cxn ang="0">
                    <a:pos x="371" y="143"/>
                  </a:cxn>
                  <a:cxn ang="0">
                    <a:pos x="355" y="149"/>
                  </a:cxn>
                  <a:cxn ang="0">
                    <a:pos x="341" y="159"/>
                  </a:cxn>
                  <a:cxn ang="0">
                    <a:pos x="338" y="176"/>
                  </a:cxn>
                  <a:cxn ang="0">
                    <a:pos x="324" y="187"/>
                  </a:cxn>
                  <a:cxn ang="0">
                    <a:pos x="311" y="203"/>
                  </a:cxn>
                  <a:cxn ang="0">
                    <a:pos x="291" y="201"/>
                  </a:cxn>
                  <a:cxn ang="0">
                    <a:pos x="276" y="210"/>
                  </a:cxn>
                  <a:cxn ang="0">
                    <a:pos x="271" y="208"/>
                  </a:cxn>
                  <a:cxn ang="0">
                    <a:pos x="227" y="201"/>
                  </a:cxn>
                  <a:cxn ang="0">
                    <a:pos x="205" y="183"/>
                  </a:cxn>
                  <a:cxn ang="0">
                    <a:pos x="166" y="192"/>
                  </a:cxn>
                  <a:cxn ang="0">
                    <a:pos x="152" y="209"/>
                  </a:cxn>
                  <a:cxn ang="0">
                    <a:pos x="132" y="214"/>
                  </a:cxn>
                  <a:cxn ang="0">
                    <a:pos x="114" y="207"/>
                  </a:cxn>
                  <a:cxn ang="0">
                    <a:pos x="97" y="196"/>
                  </a:cxn>
                  <a:cxn ang="0">
                    <a:pos x="61" y="164"/>
                  </a:cxn>
                  <a:cxn ang="0">
                    <a:pos x="23" y="127"/>
                  </a:cxn>
                  <a:cxn ang="0">
                    <a:pos x="21" y="97"/>
                  </a:cxn>
                  <a:cxn ang="0">
                    <a:pos x="0" y="82"/>
                  </a:cxn>
                  <a:cxn ang="0">
                    <a:pos x="1" y="68"/>
                  </a:cxn>
                  <a:cxn ang="0">
                    <a:pos x="19" y="83"/>
                  </a:cxn>
                  <a:cxn ang="0">
                    <a:pos x="40" y="62"/>
                  </a:cxn>
                  <a:cxn ang="0">
                    <a:pos x="75" y="48"/>
                  </a:cxn>
                  <a:cxn ang="0">
                    <a:pos x="119" y="23"/>
                  </a:cxn>
                  <a:cxn ang="0">
                    <a:pos x="132" y="3"/>
                  </a:cxn>
                  <a:cxn ang="0">
                    <a:pos x="146" y="24"/>
                  </a:cxn>
                  <a:cxn ang="0">
                    <a:pos x="159" y="27"/>
                  </a:cxn>
                  <a:cxn ang="0">
                    <a:pos x="184" y="18"/>
                  </a:cxn>
                  <a:cxn ang="0">
                    <a:pos x="198" y="27"/>
                  </a:cxn>
                  <a:cxn ang="0">
                    <a:pos x="228" y="43"/>
                  </a:cxn>
                  <a:cxn ang="0">
                    <a:pos x="240" y="47"/>
                  </a:cxn>
                  <a:cxn ang="0">
                    <a:pos x="236" y="61"/>
                  </a:cxn>
                  <a:cxn ang="0">
                    <a:pos x="263" y="82"/>
                  </a:cxn>
                  <a:cxn ang="0">
                    <a:pos x="271" y="68"/>
                  </a:cxn>
                  <a:cxn ang="0">
                    <a:pos x="297" y="70"/>
                  </a:cxn>
                  <a:cxn ang="0">
                    <a:pos x="317" y="89"/>
                  </a:cxn>
                  <a:cxn ang="0">
                    <a:pos x="331" y="94"/>
                  </a:cxn>
                  <a:cxn ang="0">
                    <a:pos x="360" y="127"/>
                  </a:cxn>
                </a:cxnLst>
                <a:rect l="0" t="0" r="r" b="b"/>
                <a:pathLst>
                  <a:path w="378" h="222">
                    <a:moveTo>
                      <a:pt x="378" y="136"/>
                    </a:moveTo>
                    <a:lnTo>
                      <a:pt x="371" y="143"/>
                    </a:lnTo>
                    <a:lnTo>
                      <a:pt x="360" y="142"/>
                    </a:lnTo>
                    <a:lnTo>
                      <a:pt x="355" y="149"/>
                    </a:lnTo>
                    <a:lnTo>
                      <a:pt x="350" y="156"/>
                    </a:lnTo>
                    <a:lnTo>
                      <a:pt x="341" y="159"/>
                    </a:lnTo>
                    <a:lnTo>
                      <a:pt x="339" y="164"/>
                    </a:lnTo>
                    <a:lnTo>
                      <a:pt x="338" y="176"/>
                    </a:lnTo>
                    <a:lnTo>
                      <a:pt x="333" y="185"/>
                    </a:lnTo>
                    <a:lnTo>
                      <a:pt x="324" y="187"/>
                    </a:lnTo>
                    <a:lnTo>
                      <a:pt x="324" y="193"/>
                    </a:lnTo>
                    <a:lnTo>
                      <a:pt x="311" y="203"/>
                    </a:lnTo>
                    <a:lnTo>
                      <a:pt x="296" y="206"/>
                    </a:lnTo>
                    <a:lnTo>
                      <a:pt x="291" y="201"/>
                    </a:lnTo>
                    <a:lnTo>
                      <a:pt x="283" y="201"/>
                    </a:lnTo>
                    <a:lnTo>
                      <a:pt x="276" y="210"/>
                    </a:lnTo>
                    <a:lnTo>
                      <a:pt x="271" y="222"/>
                    </a:lnTo>
                    <a:lnTo>
                      <a:pt x="271" y="208"/>
                    </a:lnTo>
                    <a:lnTo>
                      <a:pt x="263" y="197"/>
                    </a:lnTo>
                    <a:lnTo>
                      <a:pt x="227" y="201"/>
                    </a:lnTo>
                    <a:lnTo>
                      <a:pt x="213" y="188"/>
                    </a:lnTo>
                    <a:lnTo>
                      <a:pt x="205" y="183"/>
                    </a:lnTo>
                    <a:lnTo>
                      <a:pt x="172" y="182"/>
                    </a:lnTo>
                    <a:lnTo>
                      <a:pt x="166" y="192"/>
                    </a:lnTo>
                    <a:lnTo>
                      <a:pt x="162" y="201"/>
                    </a:lnTo>
                    <a:lnTo>
                      <a:pt x="152" y="209"/>
                    </a:lnTo>
                    <a:lnTo>
                      <a:pt x="143" y="213"/>
                    </a:lnTo>
                    <a:lnTo>
                      <a:pt x="132" y="214"/>
                    </a:lnTo>
                    <a:lnTo>
                      <a:pt x="121" y="213"/>
                    </a:lnTo>
                    <a:lnTo>
                      <a:pt x="114" y="207"/>
                    </a:lnTo>
                    <a:lnTo>
                      <a:pt x="100" y="202"/>
                    </a:lnTo>
                    <a:lnTo>
                      <a:pt x="97" y="196"/>
                    </a:lnTo>
                    <a:lnTo>
                      <a:pt x="71" y="176"/>
                    </a:lnTo>
                    <a:lnTo>
                      <a:pt x="61" y="164"/>
                    </a:lnTo>
                    <a:lnTo>
                      <a:pt x="33" y="140"/>
                    </a:lnTo>
                    <a:lnTo>
                      <a:pt x="23" y="127"/>
                    </a:lnTo>
                    <a:lnTo>
                      <a:pt x="23" y="110"/>
                    </a:lnTo>
                    <a:lnTo>
                      <a:pt x="21" y="97"/>
                    </a:lnTo>
                    <a:lnTo>
                      <a:pt x="8" y="91"/>
                    </a:lnTo>
                    <a:lnTo>
                      <a:pt x="0" y="82"/>
                    </a:lnTo>
                    <a:lnTo>
                      <a:pt x="0" y="73"/>
                    </a:lnTo>
                    <a:lnTo>
                      <a:pt x="1" y="68"/>
                    </a:lnTo>
                    <a:lnTo>
                      <a:pt x="17" y="83"/>
                    </a:lnTo>
                    <a:lnTo>
                      <a:pt x="19" y="83"/>
                    </a:lnTo>
                    <a:lnTo>
                      <a:pt x="24" y="69"/>
                    </a:lnTo>
                    <a:lnTo>
                      <a:pt x="40" y="62"/>
                    </a:lnTo>
                    <a:lnTo>
                      <a:pt x="57" y="57"/>
                    </a:lnTo>
                    <a:lnTo>
                      <a:pt x="75" y="48"/>
                    </a:lnTo>
                    <a:lnTo>
                      <a:pt x="81" y="36"/>
                    </a:lnTo>
                    <a:lnTo>
                      <a:pt x="119" y="23"/>
                    </a:lnTo>
                    <a:lnTo>
                      <a:pt x="123" y="0"/>
                    </a:lnTo>
                    <a:lnTo>
                      <a:pt x="132" y="3"/>
                    </a:lnTo>
                    <a:lnTo>
                      <a:pt x="140" y="15"/>
                    </a:lnTo>
                    <a:lnTo>
                      <a:pt x="146" y="24"/>
                    </a:lnTo>
                    <a:lnTo>
                      <a:pt x="153" y="24"/>
                    </a:lnTo>
                    <a:lnTo>
                      <a:pt x="159" y="27"/>
                    </a:lnTo>
                    <a:lnTo>
                      <a:pt x="174" y="13"/>
                    </a:lnTo>
                    <a:lnTo>
                      <a:pt x="184" y="18"/>
                    </a:lnTo>
                    <a:lnTo>
                      <a:pt x="190" y="27"/>
                    </a:lnTo>
                    <a:lnTo>
                      <a:pt x="198" y="27"/>
                    </a:lnTo>
                    <a:lnTo>
                      <a:pt x="218" y="31"/>
                    </a:lnTo>
                    <a:lnTo>
                      <a:pt x="228" y="43"/>
                    </a:lnTo>
                    <a:lnTo>
                      <a:pt x="239" y="45"/>
                    </a:lnTo>
                    <a:lnTo>
                      <a:pt x="240" y="47"/>
                    </a:lnTo>
                    <a:lnTo>
                      <a:pt x="240" y="50"/>
                    </a:lnTo>
                    <a:lnTo>
                      <a:pt x="236" y="61"/>
                    </a:lnTo>
                    <a:lnTo>
                      <a:pt x="255" y="79"/>
                    </a:lnTo>
                    <a:lnTo>
                      <a:pt x="263" y="82"/>
                    </a:lnTo>
                    <a:lnTo>
                      <a:pt x="274" y="74"/>
                    </a:lnTo>
                    <a:lnTo>
                      <a:pt x="271" y="68"/>
                    </a:lnTo>
                    <a:lnTo>
                      <a:pt x="272" y="62"/>
                    </a:lnTo>
                    <a:lnTo>
                      <a:pt x="297" y="70"/>
                    </a:lnTo>
                    <a:lnTo>
                      <a:pt x="317" y="73"/>
                    </a:lnTo>
                    <a:lnTo>
                      <a:pt x="317" y="89"/>
                    </a:lnTo>
                    <a:lnTo>
                      <a:pt x="326" y="96"/>
                    </a:lnTo>
                    <a:lnTo>
                      <a:pt x="331" y="94"/>
                    </a:lnTo>
                    <a:lnTo>
                      <a:pt x="340" y="99"/>
                    </a:lnTo>
                    <a:lnTo>
                      <a:pt x="360" y="127"/>
                    </a:lnTo>
                    <a:lnTo>
                      <a:pt x="378" y="136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79" name="Freeform 208"/>
              <p:cNvSpPr>
                <a:spLocks noChangeAspect="1"/>
              </p:cNvSpPr>
              <p:nvPr/>
            </p:nvSpPr>
            <p:spPr bwMode="gray">
              <a:xfrm>
                <a:off x="2761" y="1948"/>
                <a:ext cx="69" cy="43"/>
              </a:xfrm>
              <a:custGeom>
                <a:avLst/>
                <a:gdLst/>
                <a:ahLst/>
                <a:cxnLst>
                  <a:cxn ang="0">
                    <a:pos x="32" y="208"/>
                  </a:cxn>
                  <a:cxn ang="0">
                    <a:pos x="31" y="192"/>
                  </a:cxn>
                  <a:cxn ang="0">
                    <a:pos x="26" y="163"/>
                  </a:cxn>
                  <a:cxn ang="0">
                    <a:pos x="3" y="143"/>
                  </a:cxn>
                  <a:cxn ang="0">
                    <a:pos x="3" y="118"/>
                  </a:cxn>
                  <a:cxn ang="0">
                    <a:pos x="15" y="94"/>
                  </a:cxn>
                  <a:cxn ang="0">
                    <a:pos x="26" y="82"/>
                  </a:cxn>
                  <a:cxn ang="0">
                    <a:pos x="11" y="66"/>
                  </a:cxn>
                  <a:cxn ang="0">
                    <a:pos x="3" y="51"/>
                  </a:cxn>
                  <a:cxn ang="0">
                    <a:pos x="0" y="29"/>
                  </a:cxn>
                  <a:cxn ang="0">
                    <a:pos x="3" y="8"/>
                  </a:cxn>
                  <a:cxn ang="0">
                    <a:pos x="20" y="0"/>
                  </a:cxn>
                  <a:cxn ang="0">
                    <a:pos x="32" y="4"/>
                  </a:cxn>
                  <a:cxn ang="0">
                    <a:pos x="26" y="19"/>
                  </a:cxn>
                  <a:cxn ang="0">
                    <a:pos x="37" y="27"/>
                  </a:cxn>
                  <a:cxn ang="0">
                    <a:pos x="51" y="27"/>
                  </a:cxn>
                  <a:cxn ang="0">
                    <a:pos x="85" y="31"/>
                  </a:cxn>
                  <a:cxn ang="0">
                    <a:pos x="126" y="32"/>
                  </a:cxn>
                  <a:cxn ang="0">
                    <a:pos x="170" y="40"/>
                  </a:cxn>
                  <a:cxn ang="0">
                    <a:pos x="187" y="35"/>
                  </a:cxn>
                  <a:cxn ang="0">
                    <a:pos x="206" y="23"/>
                  </a:cxn>
                  <a:cxn ang="0">
                    <a:pos x="226" y="13"/>
                  </a:cxn>
                  <a:cxn ang="0">
                    <a:pos x="252" y="4"/>
                  </a:cxn>
                  <a:cxn ang="0">
                    <a:pos x="272" y="5"/>
                  </a:cxn>
                  <a:cxn ang="0">
                    <a:pos x="278" y="10"/>
                  </a:cxn>
                  <a:cxn ang="0">
                    <a:pos x="308" y="19"/>
                  </a:cxn>
                  <a:cxn ang="0">
                    <a:pos x="328" y="32"/>
                  </a:cxn>
                  <a:cxn ang="0">
                    <a:pos x="346" y="31"/>
                  </a:cxn>
                  <a:cxn ang="0">
                    <a:pos x="343" y="47"/>
                  </a:cxn>
                  <a:cxn ang="0">
                    <a:pos x="338" y="58"/>
                  </a:cxn>
                  <a:cxn ang="0">
                    <a:pos x="319" y="63"/>
                  </a:cxn>
                  <a:cxn ang="0">
                    <a:pos x="306" y="78"/>
                  </a:cxn>
                  <a:cxn ang="0">
                    <a:pos x="306" y="107"/>
                  </a:cxn>
                  <a:cxn ang="0">
                    <a:pos x="298" y="110"/>
                  </a:cxn>
                  <a:cxn ang="0">
                    <a:pos x="295" y="116"/>
                  </a:cxn>
                  <a:cxn ang="0">
                    <a:pos x="284" y="126"/>
                  </a:cxn>
                  <a:cxn ang="0">
                    <a:pos x="287" y="129"/>
                  </a:cxn>
                  <a:cxn ang="0">
                    <a:pos x="292" y="131"/>
                  </a:cxn>
                  <a:cxn ang="0">
                    <a:pos x="296" y="138"/>
                  </a:cxn>
                  <a:cxn ang="0">
                    <a:pos x="299" y="148"/>
                  </a:cxn>
                  <a:cxn ang="0">
                    <a:pos x="310" y="163"/>
                  </a:cxn>
                  <a:cxn ang="0">
                    <a:pos x="311" y="169"/>
                  </a:cxn>
                  <a:cxn ang="0">
                    <a:pos x="303" y="167"/>
                  </a:cxn>
                  <a:cxn ang="0">
                    <a:pos x="280" y="171"/>
                  </a:cxn>
                  <a:cxn ang="0">
                    <a:pos x="262" y="161"/>
                  </a:cxn>
                  <a:cxn ang="0">
                    <a:pos x="242" y="169"/>
                  </a:cxn>
                  <a:cxn ang="0">
                    <a:pos x="228" y="171"/>
                  </a:cxn>
                  <a:cxn ang="0">
                    <a:pos x="219" y="179"/>
                  </a:cxn>
                  <a:cxn ang="0">
                    <a:pos x="208" y="180"/>
                  </a:cxn>
                  <a:cxn ang="0">
                    <a:pos x="206" y="199"/>
                  </a:cxn>
                  <a:cxn ang="0">
                    <a:pos x="192" y="212"/>
                  </a:cxn>
                  <a:cxn ang="0">
                    <a:pos x="172" y="215"/>
                  </a:cxn>
                  <a:cxn ang="0">
                    <a:pos x="137" y="203"/>
                  </a:cxn>
                  <a:cxn ang="0">
                    <a:pos x="127" y="195"/>
                  </a:cxn>
                  <a:cxn ang="0">
                    <a:pos x="115" y="195"/>
                  </a:cxn>
                  <a:cxn ang="0">
                    <a:pos x="84" y="204"/>
                  </a:cxn>
                  <a:cxn ang="0">
                    <a:pos x="62" y="204"/>
                  </a:cxn>
                  <a:cxn ang="0">
                    <a:pos x="45" y="208"/>
                  </a:cxn>
                  <a:cxn ang="0">
                    <a:pos x="32" y="208"/>
                  </a:cxn>
                </a:cxnLst>
                <a:rect l="0" t="0" r="r" b="b"/>
                <a:pathLst>
                  <a:path w="346" h="215">
                    <a:moveTo>
                      <a:pt x="32" y="208"/>
                    </a:moveTo>
                    <a:lnTo>
                      <a:pt x="31" y="192"/>
                    </a:lnTo>
                    <a:lnTo>
                      <a:pt x="26" y="163"/>
                    </a:lnTo>
                    <a:lnTo>
                      <a:pt x="3" y="143"/>
                    </a:lnTo>
                    <a:lnTo>
                      <a:pt x="3" y="118"/>
                    </a:lnTo>
                    <a:lnTo>
                      <a:pt x="15" y="94"/>
                    </a:lnTo>
                    <a:lnTo>
                      <a:pt x="26" y="82"/>
                    </a:lnTo>
                    <a:lnTo>
                      <a:pt x="11" y="66"/>
                    </a:lnTo>
                    <a:lnTo>
                      <a:pt x="3" y="51"/>
                    </a:lnTo>
                    <a:lnTo>
                      <a:pt x="0" y="29"/>
                    </a:lnTo>
                    <a:lnTo>
                      <a:pt x="3" y="8"/>
                    </a:lnTo>
                    <a:lnTo>
                      <a:pt x="20" y="0"/>
                    </a:lnTo>
                    <a:lnTo>
                      <a:pt x="32" y="4"/>
                    </a:lnTo>
                    <a:lnTo>
                      <a:pt x="26" y="19"/>
                    </a:lnTo>
                    <a:lnTo>
                      <a:pt x="37" y="27"/>
                    </a:lnTo>
                    <a:lnTo>
                      <a:pt x="51" y="27"/>
                    </a:lnTo>
                    <a:lnTo>
                      <a:pt x="85" y="31"/>
                    </a:lnTo>
                    <a:lnTo>
                      <a:pt x="126" y="32"/>
                    </a:lnTo>
                    <a:lnTo>
                      <a:pt x="170" y="40"/>
                    </a:lnTo>
                    <a:lnTo>
                      <a:pt x="187" y="35"/>
                    </a:lnTo>
                    <a:lnTo>
                      <a:pt x="206" y="23"/>
                    </a:lnTo>
                    <a:lnTo>
                      <a:pt x="226" y="13"/>
                    </a:lnTo>
                    <a:lnTo>
                      <a:pt x="252" y="4"/>
                    </a:lnTo>
                    <a:lnTo>
                      <a:pt x="272" y="5"/>
                    </a:lnTo>
                    <a:lnTo>
                      <a:pt x="278" y="10"/>
                    </a:lnTo>
                    <a:lnTo>
                      <a:pt x="308" y="19"/>
                    </a:lnTo>
                    <a:lnTo>
                      <a:pt x="328" y="32"/>
                    </a:lnTo>
                    <a:lnTo>
                      <a:pt x="346" y="31"/>
                    </a:lnTo>
                    <a:lnTo>
                      <a:pt x="343" y="47"/>
                    </a:lnTo>
                    <a:lnTo>
                      <a:pt x="338" y="58"/>
                    </a:lnTo>
                    <a:lnTo>
                      <a:pt x="319" y="63"/>
                    </a:lnTo>
                    <a:lnTo>
                      <a:pt x="306" y="78"/>
                    </a:lnTo>
                    <a:lnTo>
                      <a:pt x="306" y="107"/>
                    </a:lnTo>
                    <a:lnTo>
                      <a:pt x="298" y="110"/>
                    </a:lnTo>
                    <a:lnTo>
                      <a:pt x="295" y="116"/>
                    </a:lnTo>
                    <a:lnTo>
                      <a:pt x="284" y="126"/>
                    </a:lnTo>
                    <a:lnTo>
                      <a:pt x="287" y="129"/>
                    </a:lnTo>
                    <a:lnTo>
                      <a:pt x="292" y="131"/>
                    </a:lnTo>
                    <a:lnTo>
                      <a:pt x="296" y="138"/>
                    </a:lnTo>
                    <a:lnTo>
                      <a:pt x="299" y="148"/>
                    </a:lnTo>
                    <a:lnTo>
                      <a:pt x="310" y="163"/>
                    </a:lnTo>
                    <a:lnTo>
                      <a:pt x="311" y="169"/>
                    </a:lnTo>
                    <a:lnTo>
                      <a:pt x="303" y="167"/>
                    </a:lnTo>
                    <a:lnTo>
                      <a:pt x="280" y="171"/>
                    </a:lnTo>
                    <a:lnTo>
                      <a:pt x="262" y="161"/>
                    </a:lnTo>
                    <a:lnTo>
                      <a:pt x="242" y="169"/>
                    </a:lnTo>
                    <a:lnTo>
                      <a:pt x="228" y="171"/>
                    </a:lnTo>
                    <a:lnTo>
                      <a:pt x="219" y="179"/>
                    </a:lnTo>
                    <a:lnTo>
                      <a:pt x="208" y="180"/>
                    </a:lnTo>
                    <a:lnTo>
                      <a:pt x="206" y="199"/>
                    </a:lnTo>
                    <a:lnTo>
                      <a:pt x="192" y="212"/>
                    </a:lnTo>
                    <a:lnTo>
                      <a:pt x="172" y="215"/>
                    </a:lnTo>
                    <a:lnTo>
                      <a:pt x="137" y="203"/>
                    </a:lnTo>
                    <a:lnTo>
                      <a:pt x="127" y="195"/>
                    </a:lnTo>
                    <a:lnTo>
                      <a:pt x="115" y="195"/>
                    </a:lnTo>
                    <a:lnTo>
                      <a:pt x="84" y="204"/>
                    </a:lnTo>
                    <a:lnTo>
                      <a:pt x="62" y="204"/>
                    </a:lnTo>
                    <a:lnTo>
                      <a:pt x="45" y="208"/>
                    </a:lnTo>
                    <a:lnTo>
                      <a:pt x="32" y="208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0" name="Freeform 209"/>
              <p:cNvSpPr>
                <a:spLocks noChangeAspect="1"/>
              </p:cNvSpPr>
              <p:nvPr/>
            </p:nvSpPr>
            <p:spPr bwMode="gray">
              <a:xfrm>
                <a:off x="2664" y="1911"/>
                <a:ext cx="64" cy="55"/>
              </a:xfrm>
              <a:custGeom>
                <a:avLst/>
                <a:gdLst/>
                <a:ahLst/>
                <a:cxnLst>
                  <a:cxn ang="0">
                    <a:pos x="258" y="62"/>
                  </a:cxn>
                  <a:cxn ang="0">
                    <a:pos x="215" y="50"/>
                  </a:cxn>
                  <a:cxn ang="0">
                    <a:pos x="180" y="12"/>
                  </a:cxn>
                  <a:cxn ang="0">
                    <a:pos x="164" y="7"/>
                  </a:cxn>
                  <a:cxn ang="0">
                    <a:pos x="148" y="3"/>
                  </a:cxn>
                  <a:cxn ang="0">
                    <a:pos x="149" y="15"/>
                  </a:cxn>
                  <a:cxn ang="0">
                    <a:pos x="138" y="19"/>
                  </a:cxn>
                  <a:cxn ang="0">
                    <a:pos x="111" y="34"/>
                  </a:cxn>
                  <a:cxn ang="0">
                    <a:pos x="118" y="56"/>
                  </a:cxn>
                  <a:cxn ang="0">
                    <a:pos x="94" y="73"/>
                  </a:cxn>
                  <a:cxn ang="0">
                    <a:pos x="95" y="95"/>
                  </a:cxn>
                  <a:cxn ang="0">
                    <a:pos x="81" y="93"/>
                  </a:cxn>
                  <a:cxn ang="0">
                    <a:pos x="73" y="90"/>
                  </a:cxn>
                  <a:cxn ang="0">
                    <a:pos x="57" y="76"/>
                  </a:cxn>
                  <a:cxn ang="0">
                    <a:pos x="30" y="92"/>
                  </a:cxn>
                  <a:cxn ang="0">
                    <a:pos x="8" y="93"/>
                  </a:cxn>
                  <a:cxn ang="0">
                    <a:pos x="16" y="135"/>
                  </a:cxn>
                  <a:cxn ang="0">
                    <a:pos x="38" y="116"/>
                  </a:cxn>
                  <a:cxn ang="0">
                    <a:pos x="65" y="113"/>
                  </a:cxn>
                  <a:cxn ang="0">
                    <a:pos x="75" y="128"/>
                  </a:cxn>
                  <a:cxn ang="0">
                    <a:pos x="103" y="175"/>
                  </a:cxn>
                  <a:cxn ang="0">
                    <a:pos x="91" y="187"/>
                  </a:cxn>
                  <a:cxn ang="0">
                    <a:pos x="119" y="216"/>
                  </a:cxn>
                  <a:cxn ang="0">
                    <a:pos x="135" y="238"/>
                  </a:cxn>
                  <a:cxn ang="0">
                    <a:pos x="183" y="245"/>
                  </a:cxn>
                  <a:cxn ang="0">
                    <a:pos x="219" y="276"/>
                  </a:cxn>
                  <a:cxn ang="0">
                    <a:pos x="203" y="237"/>
                  </a:cxn>
                  <a:cxn ang="0">
                    <a:pos x="173" y="211"/>
                  </a:cxn>
                  <a:cxn ang="0">
                    <a:pos x="156" y="190"/>
                  </a:cxn>
                  <a:cxn ang="0">
                    <a:pos x="144" y="170"/>
                  </a:cxn>
                  <a:cxn ang="0">
                    <a:pos x="143" y="157"/>
                  </a:cxn>
                  <a:cxn ang="0">
                    <a:pos x="128" y="137"/>
                  </a:cxn>
                  <a:cxn ang="0">
                    <a:pos x="124" y="126"/>
                  </a:cxn>
                  <a:cxn ang="0">
                    <a:pos x="129" y="97"/>
                  </a:cxn>
                  <a:cxn ang="0">
                    <a:pos x="151" y="116"/>
                  </a:cxn>
                  <a:cxn ang="0">
                    <a:pos x="182" y="101"/>
                  </a:cxn>
                  <a:cxn ang="0">
                    <a:pos x="200" y="105"/>
                  </a:cxn>
                  <a:cxn ang="0">
                    <a:pos x="210" y="106"/>
                  </a:cxn>
                  <a:cxn ang="0">
                    <a:pos x="229" y="106"/>
                  </a:cxn>
                  <a:cxn ang="0">
                    <a:pos x="246" y="106"/>
                  </a:cxn>
                  <a:cxn ang="0">
                    <a:pos x="256" y="113"/>
                  </a:cxn>
                  <a:cxn ang="0">
                    <a:pos x="273" y="115"/>
                  </a:cxn>
                  <a:cxn ang="0">
                    <a:pos x="283" y="111"/>
                  </a:cxn>
                  <a:cxn ang="0">
                    <a:pos x="288" y="125"/>
                  </a:cxn>
                  <a:cxn ang="0">
                    <a:pos x="307" y="125"/>
                  </a:cxn>
                  <a:cxn ang="0">
                    <a:pos x="305" y="109"/>
                  </a:cxn>
                  <a:cxn ang="0">
                    <a:pos x="311" y="100"/>
                  </a:cxn>
                  <a:cxn ang="0">
                    <a:pos x="322" y="100"/>
                  </a:cxn>
                  <a:cxn ang="0">
                    <a:pos x="316" y="98"/>
                  </a:cxn>
                  <a:cxn ang="0">
                    <a:pos x="304" y="93"/>
                  </a:cxn>
                  <a:cxn ang="0">
                    <a:pos x="297" y="89"/>
                  </a:cxn>
                  <a:cxn ang="0">
                    <a:pos x="297" y="83"/>
                  </a:cxn>
                  <a:cxn ang="0">
                    <a:pos x="302" y="79"/>
                  </a:cxn>
                  <a:cxn ang="0">
                    <a:pos x="297" y="74"/>
                  </a:cxn>
                  <a:cxn ang="0">
                    <a:pos x="291" y="73"/>
                  </a:cxn>
                  <a:cxn ang="0">
                    <a:pos x="291" y="63"/>
                  </a:cxn>
                  <a:cxn ang="0">
                    <a:pos x="284" y="50"/>
                  </a:cxn>
                </a:cxnLst>
                <a:rect l="0" t="0" r="r" b="b"/>
                <a:pathLst>
                  <a:path w="322" h="276">
                    <a:moveTo>
                      <a:pt x="284" y="50"/>
                    </a:moveTo>
                    <a:lnTo>
                      <a:pt x="272" y="58"/>
                    </a:lnTo>
                    <a:lnTo>
                      <a:pt x="258" y="62"/>
                    </a:lnTo>
                    <a:lnTo>
                      <a:pt x="241" y="63"/>
                    </a:lnTo>
                    <a:lnTo>
                      <a:pt x="226" y="54"/>
                    </a:lnTo>
                    <a:lnTo>
                      <a:pt x="215" y="50"/>
                    </a:lnTo>
                    <a:lnTo>
                      <a:pt x="204" y="35"/>
                    </a:lnTo>
                    <a:lnTo>
                      <a:pt x="189" y="28"/>
                    </a:lnTo>
                    <a:lnTo>
                      <a:pt x="180" y="12"/>
                    </a:lnTo>
                    <a:lnTo>
                      <a:pt x="167" y="7"/>
                    </a:lnTo>
                    <a:lnTo>
                      <a:pt x="167" y="4"/>
                    </a:lnTo>
                    <a:lnTo>
                      <a:pt x="164" y="7"/>
                    </a:lnTo>
                    <a:lnTo>
                      <a:pt x="155" y="1"/>
                    </a:lnTo>
                    <a:lnTo>
                      <a:pt x="151" y="0"/>
                    </a:lnTo>
                    <a:lnTo>
                      <a:pt x="148" y="3"/>
                    </a:lnTo>
                    <a:lnTo>
                      <a:pt x="148" y="8"/>
                    </a:lnTo>
                    <a:lnTo>
                      <a:pt x="149" y="14"/>
                    </a:lnTo>
                    <a:lnTo>
                      <a:pt x="149" y="15"/>
                    </a:lnTo>
                    <a:lnTo>
                      <a:pt x="145" y="14"/>
                    </a:lnTo>
                    <a:lnTo>
                      <a:pt x="138" y="14"/>
                    </a:lnTo>
                    <a:lnTo>
                      <a:pt x="138" y="19"/>
                    </a:lnTo>
                    <a:lnTo>
                      <a:pt x="134" y="22"/>
                    </a:lnTo>
                    <a:lnTo>
                      <a:pt x="114" y="29"/>
                    </a:lnTo>
                    <a:lnTo>
                      <a:pt x="111" y="34"/>
                    </a:lnTo>
                    <a:lnTo>
                      <a:pt x="112" y="38"/>
                    </a:lnTo>
                    <a:lnTo>
                      <a:pt x="118" y="45"/>
                    </a:lnTo>
                    <a:lnTo>
                      <a:pt x="118" y="56"/>
                    </a:lnTo>
                    <a:lnTo>
                      <a:pt x="113" y="63"/>
                    </a:lnTo>
                    <a:lnTo>
                      <a:pt x="105" y="65"/>
                    </a:lnTo>
                    <a:lnTo>
                      <a:pt x="94" y="73"/>
                    </a:lnTo>
                    <a:lnTo>
                      <a:pt x="97" y="78"/>
                    </a:lnTo>
                    <a:lnTo>
                      <a:pt x="94" y="83"/>
                    </a:lnTo>
                    <a:lnTo>
                      <a:pt x="95" y="95"/>
                    </a:lnTo>
                    <a:lnTo>
                      <a:pt x="90" y="99"/>
                    </a:lnTo>
                    <a:lnTo>
                      <a:pt x="86" y="99"/>
                    </a:lnTo>
                    <a:lnTo>
                      <a:pt x="81" y="93"/>
                    </a:lnTo>
                    <a:lnTo>
                      <a:pt x="78" y="93"/>
                    </a:lnTo>
                    <a:lnTo>
                      <a:pt x="75" y="90"/>
                    </a:lnTo>
                    <a:lnTo>
                      <a:pt x="73" y="90"/>
                    </a:lnTo>
                    <a:lnTo>
                      <a:pt x="73" y="94"/>
                    </a:lnTo>
                    <a:lnTo>
                      <a:pt x="68" y="95"/>
                    </a:lnTo>
                    <a:lnTo>
                      <a:pt x="57" y="76"/>
                    </a:lnTo>
                    <a:lnTo>
                      <a:pt x="54" y="76"/>
                    </a:lnTo>
                    <a:lnTo>
                      <a:pt x="47" y="92"/>
                    </a:lnTo>
                    <a:lnTo>
                      <a:pt x="30" y="92"/>
                    </a:lnTo>
                    <a:lnTo>
                      <a:pt x="24" y="87"/>
                    </a:lnTo>
                    <a:lnTo>
                      <a:pt x="21" y="92"/>
                    </a:lnTo>
                    <a:lnTo>
                      <a:pt x="8" y="93"/>
                    </a:lnTo>
                    <a:lnTo>
                      <a:pt x="0" y="87"/>
                    </a:lnTo>
                    <a:lnTo>
                      <a:pt x="4" y="108"/>
                    </a:lnTo>
                    <a:lnTo>
                      <a:pt x="16" y="135"/>
                    </a:lnTo>
                    <a:lnTo>
                      <a:pt x="21" y="138"/>
                    </a:lnTo>
                    <a:lnTo>
                      <a:pt x="27" y="137"/>
                    </a:lnTo>
                    <a:lnTo>
                      <a:pt x="38" y="116"/>
                    </a:lnTo>
                    <a:lnTo>
                      <a:pt x="44" y="99"/>
                    </a:lnTo>
                    <a:lnTo>
                      <a:pt x="57" y="103"/>
                    </a:lnTo>
                    <a:lnTo>
                      <a:pt x="65" y="113"/>
                    </a:lnTo>
                    <a:lnTo>
                      <a:pt x="68" y="113"/>
                    </a:lnTo>
                    <a:lnTo>
                      <a:pt x="73" y="119"/>
                    </a:lnTo>
                    <a:lnTo>
                      <a:pt x="75" y="128"/>
                    </a:lnTo>
                    <a:lnTo>
                      <a:pt x="75" y="143"/>
                    </a:lnTo>
                    <a:lnTo>
                      <a:pt x="84" y="159"/>
                    </a:lnTo>
                    <a:lnTo>
                      <a:pt x="103" y="175"/>
                    </a:lnTo>
                    <a:lnTo>
                      <a:pt x="94" y="178"/>
                    </a:lnTo>
                    <a:lnTo>
                      <a:pt x="90" y="183"/>
                    </a:lnTo>
                    <a:lnTo>
                      <a:pt x="91" y="187"/>
                    </a:lnTo>
                    <a:lnTo>
                      <a:pt x="102" y="202"/>
                    </a:lnTo>
                    <a:lnTo>
                      <a:pt x="112" y="210"/>
                    </a:lnTo>
                    <a:lnTo>
                      <a:pt x="119" y="216"/>
                    </a:lnTo>
                    <a:lnTo>
                      <a:pt x="129" y="221"/>
                    </a:lnTo>
                    <a:lnTo>
                      <a:pt x="134" y="230"/>
                    </a:lnTo>
                    <a:lnTo>
                      <a:pt x="135" y="238"/>
                    </a:lnTo>
                    <a:lnTo>
                      <a:pt x="154" y="237"/>
                    </a:lnTo>
                    <a:lnTo>
                      <a:pt x="166" y="238"/>
                    </a:lnTo>
                    <a:lnTo>
                      <a:pt x="183" y="245"/>
                    </a:lnTo>
                    <a:lnTo>
                      <a:pt x="198" y="256"/>
                    </a:lnTo>
                    <a:lnTo>
                      <a:pt x="211" y="270"/>
                    </a:lnTo>
                    <a:lnTo>
                      <a:pt x="219" y="276"/>
                    </a:lnTo>
                    <a:lnTo>
                      <a:pt x="226" y="272"/>
                    </a:lnTo>
                    <a:lnTo>
                      <a:pt x="204" y="248"/>
                    </a:lnTo>
                    <a:lnTo>
                      <a:pt x="203" y="237"/>
                    </a:lnTo>
                    <a:lnTo>
                      <a:pt x="198" y="233"/>
                    </a:lnTo>
                    <a:lnTo>
                      <a:pt x="193" y="230"/>
                    </a:lnTo>
                    <a:lnTo>
                      <a:pt x="173" y="211"/>
                    </a:lnTo>
                    <a:lnTo>
                      <a:pt x="172" y="206"/>
                    </a:lnTo>
                    <a:lnTo>
                      <a:pt x="162" y="192"/>
                    </a:lnTo>
                    <a:lnTo>
                      <a:pt x="156" y="190"/>
                    </a:lnTo>
                    <a:lnTo>
                      <a:pt x="148" y="178"/>
                    </a:lnTo>
                    <a:lnTo>
                      <a:pt x="143" y="176"/>
                    </a:lnTo>
                    <a:lnTo>
                      <a:pt x="144" y="170"/>
                    </a:lnTo>
                    <a:lnTo>
                      <a:pt x="146" y="168"/>
                    </a:lnTo>
                    <a:lnTo>
                      <a:pt x="143" y="162"/>
                    </a:lnTo>
                    <a:lnTo>
                      <a:pt x="143" y="157"/>
                    </a:lnTo>
                    <a:lnTo>
                      <a:pt x="137" y="151"/>
                    </a:lnTo>
                    <a:lnTo>
                      <a:pt x="133" y="138"/>
                    </a:lnTo>
                    <a:lnTo>
                      <a:pt x="128" y="137"/>
                    </a:lnTo>
                    <a:lnTo>
                      <a:pt x="121" y="131"/>
                    </a:lnTo>
                    <a:lnTo>
                      <a:pt x="121" y="128"/>
                    </a:lnTo>
                    <a:lnTo>
                      <a:pt x="124" y="126"/>
                    </a:lnTo>
                    <a:lnTo>
                      <a:pt x="123" y="122"/>
                    </a:lnTo>
                    <a:lnTo>
                      <a:pt x="123" y="103"/>
                    </a:lnTo>
                    <a:lnTo>
                      <a:pt x="129" y="97"/>
                    </a:lnTo>
                    <a:lnTo>
                      <a:pt x="138" y="99"/>
                    </a:lnTo>
                    <a:lnTo>
                      <a:pt x="138" y="101"/>
                    </a:lnTo>
                    <a:lnTo>
                      <a:pt x="151" y="116"/>
                    </a:lnTo>
                    <a:lnTo>
                      <a:pt x="155" y="116"/>
                    </a:lnTo>
                    <a:lnTo>
                      <a:pt x="164" y="99"/>
                    </a:lnTo>
                    <a:lnTo>
                      <a:pt x="182" y="101"/>
                    </a:lnTo>
                    <a:lnTo>
                      <a:pt x="186" y="97"/>
                    </a:lnTo>
                    <a:lnTo>
                      <a:pt x="188" y="97"/>
                    </a:lnTo>
                    <a:lnTo>
                      <a:pt x="200" y="105"/>
                    </a:lnTo>
                    <a:lnTo>
                      <a:pt x="204" y="105"/>
                    </a:lnTo>
                    <a:lnTo>
                      <a:pt x="207" y="103"/>
                    </a:lnTo>
                    <a:lnTo>
                      <a:pt x="210" y="106"/>
                    </a:lnTo>
                    <a:lnTo>
                      <a:pt x="225" y="109"/>
                    </a:lnTo>
                    <a:lnTo>
                      <a:pt x="226" y="106"/>
                    </a:lnTo>
                    <a:lnTo>
                      <a:pt x="229" y="106"/>
                    </a:lnTo>
                    <a:lnTo>
                      <a:pt x="237" y="114"/>
                    </a:lnTo>
                    <a:lnTo>
                      <a:pt x="240" y="114"/>
                    </a:lnTo>
                    <a:lnTo>
                      <a:pt x="246" y="106"/>
                    </a:lnTo>
                    <a:lnTo>
                      <a:pt x="250" y="106"/>
                    </a:lnTo>
                    <a:lnTo>
                      <a:pt x="253" y="111"/>
                    </a:lnTo>
                    <a:lnTo>
                      <a:pt x="256" y="113"/>
                    </a:lnTo>
                    <a:lnTo>
                      <a:pt x="258" y="108"/>
                    </a:lnTo>
                    <a:lnTo>
                      <a:pt x="269" y="109"/>
                    </a:lnTo>
                    <a:lnTo>
                      <a:pt x="273" y="115"/>
                    </a:lnTo>
                    <a:lnTo>
                      <a:pt x="275" y="114"/>
                    </a:lnTo>
                    <a:lnTo>
                      <a:pt x="275" y="111"/>
                    </a:lnTo>
                    <a:lnTo>
                      <a:pt x="283" y="111"/>
                    </a:lnTo>
                    <a:lnTo>
                      <a:pt x="289" y="119"/>
                    </a:lnTo>
                    <a:lnTo>
                      <a:pt x="288" y="124"/>
                    </a:lnTo>
                    <a:lnTo>
                      <a:pt x="288" y="125"/>
                    </a:lnTo>
                    <a:lnTo>
                      <a:pt x="294" y="130"/>
                    </a:lnTo>
                    <a:lnTo>
                      <a:pt x="301" y="130"/>
                    </a:lnTo>
                    <a:lnTo>
                      <a:pt x="307" y="125"/>
                    </a:lnTo>
                    <a:lnTo>
                      <a:pt x="309" y="120"/>
                    </a:lnTo>
                    <a:lnTo>
                      <a:pt x="307" y="119"/>
                    </a:lnTo>
                    <a:lnTo>
                      <a:pt x="305" y="109"/>
                    </a:lnTo>
                    <a:lnTo>
                      <a:pt x="307" y="106"/>
                    </a:lnTo>
                    <a:lnTo>
                      <a:pt x="309" y="101"/>
                    </a:lnTo>
                    <a:lnTo>
                      <a:pt x="311" y="100"/>
                    </a:lnTo>
                    <a:lnTo>
                      <a:pt x="315" y="101"/>
                    </a:lnTo>
                    <a:lnTo>
                      <a:pt x="318" y="103"/>
                    </a:lnTo>
                    <a:lnTo>
                      <a:pt x="322" y="100"/>
                    </a:lnTo>
                    <a:lnTo>
                      <a:pt x="322" y="98"/>
                    </a:lnTo>
                    <a:lnTo>
                      <a:pt x="320" y="97"/>
                    </a:lnTo>
                    <a:lnTo>
                      <a:pt x="316" y="98"/>
                    </a:lnTo>
                    <a:lnTo>
                      <a:pt x="312" y="95"/>
                    </a:lnTo>
                    <a:lnTo>
                      <a:pt x="307" y="95"/>
                    </a:lnTo>
                    <a:lnTo>
                      <a:pt x="304" y="93"/>
                    </a:lnTo>
                    <a:lnTo>
                      <a:pt x="302" y="92"/>
                    </a:lnTo>
                    <a:lnTo>
                      <a:pt x="299" y="92"/>
                    </a:lnTo>
                    <a:lnTo>
                      <a:pt x="297" y="89"/>
                    </a:lnTo>
                    <a:lnTo>
                      <a:pt x="297" y="88"/>
                    </a:lnTo>
                    <a:lnTo>
                      <a:pt x="299" y="84"/>
                    </a:lnTo>
                    <a:lnTo>
                      <a:pt x="297" y="83"/>
                    </a:lnTo>
                    <a:lnTo>
                      <a:pt x="299" y="81"/>
                    </a:lnTo>
                    <a:lnTo>
                      <a:pt x="300" y="81"/>
                    </a:lnTo>
                    <a:lnTo>
                      <a:pt x="302" y="79"/>
                    </a:lnTo>
                    <a:lnTo>
                      <a:pt x="302" y="77"/>
                    </a:lnTo>
                    <a:lnTo>
                      <a:pt x="299" y="74"/>
                    </a:lnTo>
                    <a:lnTo>
                      <a:pt x="297" y="74"/>
                    </a:lnTo>
                    <a:lnTo>
                      <a:pt x="295" y="77"/>
                    </a:lnTo>
                    <a:lnTo>
                      <a:pt x="291" y="76"/>
                    </a:lnTo>
                    <a:lnTo>
                      <a:pt x="291" y="73"/>
                    </a:lnTo>
                    <a:lnTo>
                      <a:pt x="294" y="70"/>
                    </a:lnTo>
                    <a:lnTo>
                      <a:pt x="294" y="66"/>
                    </a:lnTo>
                    <a:lnTo>
                      <a:pt x="291" y="63"/>
                    </a:lnTo>
                    <a:lnTo>
                      <a:pt x="293" y="61"/>
                    </a:lnTo>
                    <a:lnTo>
                      <a:pt x="293" y="57"/>
                    </a:lnTo>
                    <a:lnTo>
                      <a:pt x="284" y="5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1" name="Freeform 210"/>
              <p:cNvSpPr>
                <a:spLocks noChangeAspect="1"/>
              </p:cNvSpPr>
              <p:nvPr/>
            </p:nvSpPr>
            <p:spPr bwMode="gray">
              <a:xfrm>
                <a:off x="2727" y="1971"/>
                <a:ext cx="20" cy="43"/>
              </a:xfrm>
              <a:custGeom>
                <a:avLst/>
                <a:gdLst/>
                <a:ahLst/>
                <a:cxnLst>
                  <a:cxn ang="0">
                    <a:pos x="48" y="215"/>
                  </a:cxn>
                  <a:cxn ang="0">
                    <a:pos x="39" y="210"/>
                  </a:cxn>
                  <a:cxn ang="0">
                    <a:pos x="38" y="200"/>
                  </a:cxn>
                  <a:cxn ang="0">
                    <a:pos x="31" y="190"/>
                  </a:cxn>
                  <a:cxn ang="0">
                    <a:pos x="13" y="183"/>
                  </a:cxn>
                  <a:cxn ang="0">
                    <a:pos x="4" y="168"/>
                  </a:cxn>
                  <a:cxn ang="0">
                    <a:pos x="0" y="160"/>
                  </a:cxn>
                  <a:cxn ang="0">
                    <a:pos x="7" y="161"/>
                  </a:cxn>
                  <a:cxn ang="0">
                    <a:pos x="7" y="152"/>
                  </a:cxn>
                  <a:cxn ang="0">
                    <a:pos x="4" y="139"/>
                  </a:cxn>
                  <a:cxn ang="0">
                    <a:pos x="7" y="125"/>
                  </a:cxn>
                  <a:cxn ang="0">
                    <a:pos x="8" y="123"/>
                  </a:cxn>
                  <a:cxn ang="0">
                    <a:pos x="8" y="114"/>
                  </a:cxn>
                  <a:cxn ang="0">
                    <a:pos x="10" y="106"/>
                  </a:cxn>
                  <a:cxn ang="0">
                    <a:pos x="6" y="94"/>
                  </a:cxn>
                  <a:cxn ang="0">
                    <a:pos x="15" y="64"/>
                  </a:cxn>
                  <a:cxn ang="0">
                    <a:pos x="10" y="58"/>
                  </a:cxn>
                  <a:cxn ang="0">
                    <a:pos x="2" y="56"/>
                  </a:cxn>
                  <a:cxn ang="0">
                    <a:pos x="7" y="40"/>
                  </a:cxn>
                  <a:cxn ang="0">
                    <a:pos x="5" y="29"/>
                  </a:cxn>
                  <a:cxn ang="0">
                    <a:pos x="10" y="15"/>
                  </a:cxn>
                  <a:cxn ang="0">
                    <a:pos x="17" y="10"/>
                  </a:cxn>
                  <a:cxn ang="0">
                    <a:pos x="23" y="0"/>
                  </a:cxn>
                  <a:cxn ang="0">
                    <a:pos x="31" y="7"/>
                  </a:cxn>
                  <a:cxn ang="0">
                    <a:pos x="45" y="9"/>
                  </a:cxn>
                  <a:cxn ang="0">
                    <a:pos x="51" y="20"/>
                  </a:cxn>
                  <a:cxn ang="0">
                    <a:pos x="61" y="24"/>
                  </a:cxn>
                  <a:cxn ang="0">
                    <a:pos x="74" y="40"/>
                  </a:cxn>
                  <a:cxn ang="0">
                    <a:pos x="69" y="76"/>
                  </a:cxn>
                  <a:cxn ang="0">
                    <a:pos x="69" y="93"/>
                  </a:cxn>
                  <a:cxn ang="0">
                    <a:pos x="77" y="113"/>
                  </a:cxn>
                  <a:cxn ang="0">
                    <a:pos x="94" y="130"/>
                  </a:cxn>
                  <a:cxn ang="0">
                    <a:pos x="97" y="140"/>
                  </a:cxn>
                  <a:cxn ang="0">
                    <a:pos x="97" y="155"/>
                  </a:cxn>
                  <a:cxn ang="0">
                    <a:pos x="83" y="166"/>
                  </a:cxn>
                  <a:cxn ang="0">
                    <a:pos x="75" y="183"/>
                  </a:cxn>
                  <a:cxn ang="0">
                    <a:pos x="65" y="190"/>
                  </a:cxn>
                  <a:cxn ang="0">
                    <a:pos x="63" y="203"/>
                  </a:cxn>
                  <a:cxn ang="0">
                    <a:pos x="58" y="209"/>
                  </a:cxn>
                  <a:cxn ang="0">
                    <a:pos x="49" y="215"/>
                  </a:cxn>
                  <a:cxn ang="0">
                    <a:pos x="48" y="215"/>
                  </a:cxn>
                </a:cxnLst>
                <a:rect l="0" t="0" r="r" b="b"/>
                <a:pathLst>
                  <a:path w="97" h="215">
                    <a:moveTo>
                      <a:pt x="48" y="215"/>
                    </a:moveTo>
                    <a:lnTo>
                      <a:pt x="39" y="210"/>
                    </a:lnTo>
                    <a:lnTo>
                      <a:pt x="38" y="200"/>
                    </a:lnTo>
                    <a:lnTo>
                      <a:pt x="31" y="190"/>
                    </a:lnTo>
                    <a:lnTo>
                      <a:pt x="13" y="183"/>
                    </a:lnTo>
                    <a:lnTo>
                      <a:pt x="4" y="168"/>
                    </a:lnTo>
                    <a:lnTo>
                      <a:pt x="0" y="160"/>
                    </a:lnTo>
                    <a:lnTo>
                      <a:pt x="7" y="161"/>
                    </a:lnTo>
                    <a:lnTo>
                      <a:pt x="7" y="152"/>
                    </a:lnTo>
                    <a:lnTo>
                      <a:pt x="4" y="139"/>
                    </a:lnTo>
                    <a:lnTo>
                      <a:pt x="7" y="125"/>
                    </a:lnTo>
                    <a:lnTo>
                      <a:pt x="8" y="123"/>
                    </a:lnTo>
                    <a:lnTo>
                      <a:pt x="8" y="114"/>
                    </a:lnTo>
                    <a:lnTo>
                      <a:pt x="10" y="106"/>
                    </a:lnTo>
                    <a:lnTo>
                      <a:pt x="6" y="94"/>
                    </a:lnTo>
                    <a:lnTo>
                      <a:pt x="15" y="64"/>
                    </a:lnTo>
                    <a:lnTo>
                      <a:pt x="10" y="58"/>
                    </a:lnTo>
                    <a:lnTo>
                      <a:pt x="2" y="56"/>
                    </a:lnTo>
                    <a:lnTo>
                      <a:pt x="7" y="40"/>
                    </a:lnTo>
                    <a:lnTo>
                      <a:pt x="5" y="29"/>
                    </a:lnTo>
                    <a:lnTo>
                      <a:pt x="10" y="15"/>
                    </a:lnTo>
                    <a:lnTo>
                      <a:pt x="17" y="10"/>
                    </a:lnTo>
                    <a:lnTo>
                      <a:pt x="23" y="0"/>
                    </a:lnTo>
                    <a:lnTo>
                      <a:pt x="31" y="7"/>
                    </a:lnTo>
                    <a:lnTo>
                      <a:pt x="45" y="9"/>
                    </a:lnTo>
                    <a:lnTo>
                      <a:pt x="51" y="20"/>
                    </a:lnTo>
                    <a:lnTo>
                      <a:pt x="61" y="24"/>
                    </a:lnTo>
                    <a:lnTo>
                      <a:pt x="74" y="40"/>
                    </a:lnTo>
                    <a:lnTo>
                      <a:pt x="69" y="76"/>
                    </a:lnTo>
                    <a:lnTo>
                      <a:pt x="69" y="93"/>
                    </a:lnTo>
                    <a:lnTo>
                      <a:pt x="77" y="113"/>
                    </a:lnTo>
                    <a:lnTo>
                      <a:pt x="94" y="130"/>
                    </a:lnTo>
                    <a:lnTo>
                      <a:pt x="97" y="140"/>
                    </a:lnTo>
                    <a:lnTo>
                      <a:pt x="97" y="155"/>
                    </a:lnTo>
                    <a:lnTo>
                      <a:pt x="83" y="166"/>
                    </a:lnTo>
                    <a:lnTo>
                      <a:pt x="75" y="183"/>
                    </a:lnTo>
                    <a:lnTo>
                      <a:pt x="65" y="190"/>
                    </a:lnTo>
                    <a:lnTo>
                      <a:pt x="63" y="203"/>
                    </a:lnTo>
                    <a:lnTo>
                      <a:pt x="58" y="209"/>
                    </a:lnTo>
                    <a:lnTo>
                      <a:pt x="49" y="215"/>
                    </a:lnTo>
                    <a:lnTo>
                      <a:pt x="48" y="21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2" name="Freeform 211"/>
              <p:cNvSpPr>
                <a:spLocks noChangeAspect="1"/>
              </p:cNvSpPr>
              <p:nvPr/>
            </p:nvSpPr>
            <p:spPr bwMode="gray">
              <a:xfrm>
                <a:off x="2746" y="1736"/>
                <a:ext cx="63" cy="48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5" y="78"/>
                  </a:cxn>
                  <a:cxn ang="0">
                    <a:pos x="4" y="64"/>
                  </a:cxn>
                  <a:cxn ang="0">
                    <a:pos x="11" y="94"/>
                  </a:cxn>
                  <a:cxn ang="0">
                    <a:pos x="11" y="110"/>
                  </a:cxn>
                  <a:cxn ang="0">
                    <a:pos x="15" y="118"/>
                  </a:cxn>
                  <a:cxn ang="0">
                    <a:pos x="31" y="120"/>
                  </a:cxn>
                  <a:cxn ang="0">
                    <a:pos x="44" y="127"/>
                  </a:cxn>
                  <a:cxn ang="0">
                    <a:pos x="69" y="134"/>
                  </a:cxn>
                  <a:cxn ang="0">
                    <a:pos x="91" y="136"/>
                  </a:cxn>
                  <a:cxn ang="0">
                    <a:pos x="96" y="174"/>
                  </a:cxn>
                  <a:cxn ang="0">
                    <a:pos x="99" y="201"/>
                  </a:cxn>
                  <a:cxn ang="0">
                    <a:pos x="132" y="222"/>
                  </a:cxn>
                  <a:cxn ang="0">
                    <a:pos x="137" y="240"/>
                  </a:cxn>
                  <a:cxn ang="0">
                    <a:pos x="167" y="240"/>
                  </a:cxn>
                  <a:cxn ang="0">
                    <a:pos x="191" y="239"/>
                  </a:cxn>
                  <a:cxn ang="0">
                    <a:pos x="204" y="238"/>
                  </a:cxn>
                  <a:cxn ang="0">
                    <a:pos x="209" y="222"/>
                  </a:cxn>
                  <a:cxn ang="0">
                    <a:pos x="224" y="220"/>
                  </a:cxn>
                  <a:cxn ang="0">
                    <a:pos x="236" y="209"/>
                  </a:cxn>
                  <a:cxn ang="0">
                    <a:pos x="248" y="218"/>
                  </a:cxn>
                  <a:cxn ang="0">
                    <a:pos x="263" y="220"/>
                  </a:cxn>
                  <a:cxn ang="0">
                    <a:pos x="257" y="205"/>
                  </a:cxn>
                  <a:cxn ang="0">
                    <a:pos x="255" y="190"/>
                  </a:cxn>
                  <a:cxn ang="0">
                    <a:pos x="263" y="168"/>
                  </a:cxn>
                  <a:cxn ang="0">
                    <a:pos x="266" y="151"/>
                  </a:cxn>
                  <a:cxn ang="0">
                    <a:pos x="274" y="140"/>
                  </a:cxn>
                  <a:cxn ang="0">
                    <a:pos x="288" y="132"/>
                  </a:cxn>
                  <a:cxn ang="0">
                    <a:pos x="309" y="129"/>
                  </a:cxn>
                  <a:cxn ang="0">
                    <a:pos x="310" y="107"/>
                  </a:cxn>
                  <a:cxn ang="0">
                    <a:pos x="301" y="99"/>
                  </a:cxn>
                  <a:cxn ang="0">
                    <a:pos x="309" y="87"/>
                  </a:cxn>
                  <a:cxn ang="0">
                    <a:pos x="313" y="80"/>
                  </a:cxn>
                  <a:cxn ang="0">
                    <a:pos x="307" y="73"/>
                  </a:cxn>
                  <a:cxn ang="0">
                    <a:pos x="282" y="48"/>
                  </a:cxn>
                  <a:cxn ang="0">
                    <a:pos x="239" y="30"/>
                  </a:cxn>
                  <a:cxn ang="0">
                    <a:pos x="221" y="5"/>
                  </a:cxn>
                  <a:cxn ang="0">
                    <a:pos x="208" y="2"/>
                  </a:cxn>
                  <a:cxn ang="0">
                    <a:pos x="181" y="17"/>
                  </a:cxn>
                  <a:cxn ang="0">
                    <a:pos x="143" y="6"/>
                  </a:cxn>
                  <a:cxn ang="0">
                    <a:pos x="118" y="6"/>
                  </a:cxn>
                  <a:cxn ang="0">
                    <a:pos x="103" y="7"/>
                  </a:cxn>
                  <a:cxn ang="0">
                    <a:pos x="89" y="3"/>
                  </a:cxn>
                  <a:cxn ang="0">
                    <a:pos x="64" y="3"/>
                  </a:cxn>
                  <a:cxn ang="0">
                    <a:pos x="26" y="19"/>
                  </a:cxn>
                  <a:cxn ang="0">
                    <a:pos x="10" y="38"/>
                  </a:cxn>
                </a:cxnLst>
                <a:rect l="0" t="0" r="r" b="b"/>
                <a:pathLst>
                  <a:path w="317" h="244">
                    <a:moveTo>
                      <a:pt x="0" y="35"/>
                    </a:moveTo>
                    <a:lnTo>
                      <a:pt x="3" y="57"/>
                    </a:lnTo>
                    <a:lnTo>
                      <a:pt x="3" y="71"/>
                    </a:lnTo>
                    <a:lnTo>
                      <a:pt x="5" y="78"/>
                    </a:lnTo>
                    <a:lnTo>
                      <a:pt x="3" y="54"/>
                    </a:lnTo>
                    <a:lnTo>
                      <a:pt x="4" y="64"/>
                    </a:lnTo>
                    <a:lnTo>
                      <a:pt x="6" y="72"/>
                    </a:lnTo>
                    <a:lnTo>
                      <a:pt x="11" y="94"/>
                    </a:lnTo>
                    <a:lnTo>
                      <a:pt x="13" y="102"/>
                    </a:lnTo>
                    <a:lnTo>
                      <a:pt x="11" y="110"/>
                    </a:lnTo>
                    <a:lnTo>
                      <a:pt x="14" y="110"/>
                    </a:lnTo>
                    <a:lnTo>
                      <a:pt x="15" y="118"/>
                    </a:lnTo>
                    <a:lnTo>
                      <a:pt x="25" y="115"/>
                    </a:lnTo>
                    <a:lnTo>
                      <a:pt x="31" y="120"/>
                    </a:lnTo>
                    <a:lnTo>
                      <a:pt x="38" y="123"/>
                    </a:lnTo>
                    <a:lnTo>
                      <a:pt x="44" y="127"/>
                    </a:lnTo>
                    <a:lnTo>
                      <a:pt x="52" y="131"/>
                    </a:lnTo>
                    <a:lnTo>
                      <a:pt x="69" y="134"/>
                    </a:lnTo>
                    <a:lnTo>
                      <a:pt x="85" y="132"/>
                    </a:lnTo>
                    <a:lnTo>
                      <a:pt x="91" y="136"/>
                    </a:lnTo>
                    <a:lnTo>
                      <a:pt x="102" y="159"/>
                    </a:lnTo>
                    <a:lnTo>
                      <a:pt x="96" y="174"/>
                    </a:lnTo>
                    <a:lnTo>
                      <a:pt x="96" y="191"/>
                    </a:lnTo>
                    <a:lnTo>
                      <a:pt x="99" y="201"/>
                    </a:lnTo>
                    <a:lnTo>
                      <a:pt x="113" y="209"/>
                    </a:lnTo>
                    <a:lnTo>
                      <a:pt x="132" y="222"/>
                    </a:lnTo>
                    <a:lnTo>
                      <a:pt x="137" y="233"/>
                    </a:lnTo>
                    <a:lnTo>
                      <a:pt x="137" y="240"/>
                    </a:lnTo>
                    <a:lnTo>
                      <a:pt x="151" y="244"/>
                    </a:lnTo>
                    <a:lnTo>
                      <a:pt x="167" y="240"/>
                    </a:lnTo>
                    <a:lnTo>
                      <a:pt x="183" y="243"/>
                    </a:lnTo>
                    <a:lnTo>
                      <a:pt x="191" y="239"/>
                    </a:lnTo>
                    <a:lnTo>
                      <a:pt x="197" y="234"/>
                    </a:lnTo>
                    <a:lnTo>
                      <a:pt x="204" y="238"/>
                    </a:lnTo>
                    <a:lnTo>
                      <a:pt x="212" y="237"/>
                    </a:lnTo>
                    <a:lnTo>
                      <a:pt x="209" y="222"/>
                    </a:lnTo>
                    <a:lnTo>
                      <a:pt x="215" y="220"/>
                    </a:lnTo>
                    <a:lnTo>
                      <a:pt x="224" y="220"/>
                    </a:lnTo>
                    <a:lnTo>
                      <a:pt x="229" y="213"/>
                    </a:lnTo>
                    <a:lnTo>
                      <a:pt x="236" y="209"/>
                    </a:lnTo>
                    <a:lnTo>
                      <a:pt x="245" y="211"/>
                    </a:lnTo>
                    <a:lnTo>
                      <a:pt x="248" y="218"/>
                    </a:lnTo>
                    <a:lnTo>
                      <a:pt x="256" y="222"/>
                    </a:lnTo>
                    <a:lnTo>
                      <a:pt x="263" y="220"/>
                    </a:lnTo>
                    <a:lnTo>
                      <a:pt x="262" y="211"/>
                    </a:lnTo>
                    <a:lnTo>
                      <a:pt x="257" y="205"/>
                    </a:lnTo>
                    <a:lnTo>
                      <a:pt x="253" y="197"/>
                    </a:lnTo>
                    <a:lnTo>
                      <a:pt x="255" y="190"/>
                    </a:lnTo>
                    <a:lnTo>
                      <a:pt x="263" y="175"/>
                    </a:lnTo>
                    <a:lnTo>
                      <a:pt x="263" y="168"/>
                    </a:lnTo>
                    <a:lnTo>
                      <a:pt x="266" y="159"/>
                    </a:lnTo>
                    <a:lnTo>
                      <a:pt x="266" y="151"/>
                    </a:lnTo>
                    <a:lnTo>
                      <a:pt x="267" y="143"/>
                    </a:lnTo>
                    <a:lnTo>
                      <a:pt x="274" y="140"/>
                    </a:lnTo>
                    <a:lnTo>
                      <a:pt x="283" y="137"/>
                    </a:lnTo>
                    <a:lnTo>
                      <a:pt x="288" y="132"/>
                    </a:lnTo>
                    <a:lnTo>
                      <a:pt x="295" y="129"/>
                    </a:lnTo>
                    <a:lnTo>
                      <a:pt x="309" y="129"/>
                    </a:lnTo>
                    <a:lnTo>
                      <a:pt x="317" y="110"/>
                    </a:lnTo>
                    <a:lnTo>
                      <a:pt x="310" y="107"/>
                    </a:lnTo>
                    <a:lnTo>
                      <a:pt x="301" y="107"/>
                    </a:lnTo>
                    <a:lnTo>
                      <a:pt x="301" y="99"/>
                    </a:lnTo>
                    <a:lnTo>
                      <a:pt x="301" y="91"/>
                    </a:lnTo>
                    <a:lnTo>
                      <a:pt x="309" y="87"/>
                    </a:lnTo>
                    <a:lnTo>
                      <a:pt x="315" y="81"/>
                    </a:lnTo>
                    <a:lnTo>
                      <a:pt x="313" y="80"/>
                    </a:lnTo>
                    <a:lnTo>
                      <a:pt x="313" y="78"/>
                    </a:lnTo>
                    <a:lnTo>
                      <a:pt x="307" y="73"/>
                    </a:lnTo>
                    <a:lnTo>
                      <a:pt x="300" y="71"/>
                    </a:lnTo>
                    <a:lnTo>
                      <a:pt x="282" y="48"/>
                    </a:lnTo>
                    <a:lnTo>
                      <a:pt x="255" y="29"/>
                    </a:lnTo>
                    <a:lnTo>
                      <a:pt x="239" y="30"/>
                    </a:lnTo>
                    <a:lnTo>
                      <a:pt x="231" y="28"/>
                    </a:lnTo>
                    <a:lnTo>
                      <a:pt x="221" y="5"/>
                    </a:lnTo>
                    <a:lnTo>
                      <a:pt x="215" y="0"/>
                    </a:lnTo>
                    <a:lnTo>
                      <a:pt x="208" y="2"/>
                    </a:lnTo>
                    <a:lnTo>
                      <a:pt x="197" y="13"/>
                    </a:lnTo>
                    <a:lnTo>
                      <a:pt x="181" y="17"/>
                    </a:lnTo>
                    <a:lnTo>
                      <a:pt x="150" y="6"/>
                    </a:lnTo>
                    <a:lnTo>
                      <a:pt x="143" y="6"/>
                    </a:lnTo>
                    <a:lnTo>
                      <a:pt x="126" y="3"/>
                    </a:lnTo>
                    <a:lnTo>
                      <a:pt x="118" y="6"/>
                    </a:lnTo>
                    <a:lnTo>
                      <a:pt x="111" y="3"/>
                    </a:lnTo>
                    <a:lnTo>
                      <a:pt x="103" y="7"/>
                    </a:lnTo>
                    <a:lnTo>
                      <a:pt x="95" y="7"/>
                    </a:lnTo>
                    <a:lnTo>
                      <a:pt x="89" y="3"/>
                    </a:lnTo>
                    <a:lnTo>
                      <a:pt x="80" y="2"/>
                    </a:lnTo>
                    <a:lnTo>
                      <a:pt x="64" y="3"/>
                    </a:lnTo>
                    <a:lnTo>
                      <a:pt x="41" y="11"/>
                    </a:lnTo>
                    <a:lnTo>
                      <a:pt x="26" y="19"/>
                    </a:lnTo>
                    <a:lnTo>
                      <a:pt x="17" y="33"/>
                    </a:lnTo>
                    <a:lnTo>
                      <a:pt x="10" y="38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3" name="Freeform 212"/>
              <p:cNvSpPr>
                <a:spLocks noChangeAspect="1"/>
              </p:cNvSpPr>
              <p:nvPr/>
            </p:nvSpPr>
            <p:spPr bwMode="gray">
              <a:xfrm>
                <a:off x="2718" y="1916"/>
                <a:ext cx="48" cy="67"/>
              </a:xfrm>
              <a:custGeom>
                <a:avLst/>
                <a:gdLst/>
                <a:ahLst/>
                <a:cxnLst>
                  <a:cxn ang="0">
                    <a:pos x="23" y="33"/>
                  </a:cxn>
                  <a:cxn ang="0">
                    <a:pos x="24" y="42"/>
                  </a:cxn>
                  <a:cxn ang="0">
                    <a:pos x="25" y="49"/>
                  </a:cxn>
                  <a:cxn ang="0">
                    <a:pos x="32" y="49"/>
                  </a:cxn>
                  <a:cxn ang="0">
                    <a:pos x="29" y="53"/>
                  </a:cxn>
                  <a:cxn ang="0">
                    <a:pos x="27" y="60"/>
                  </a:cxn>
                  <a:cxn ang="0">
                    <a:pos x="32" y="64"/>
                  </a:cxn>
                  <a:cxn ang="0">
                    <a:pos x="42" y="67"/>
                  </a:cxn>
                  <a:cxn ang="0">
                    <a:pos x="52" y="70"/>
                  </a:cxn>
                  <a:cxn ang="0">
                    <a:pos x="45" y="73"/>
                  </a:cxn>
                  <a:cxn ang="0">
                    <a:pos x="37" y="78"/>
                  </a:cxn>
                  <a:cxn ang="0">
                    <a:pos x="39" y="92"/>
                  </a:cxn>
                  <a:cxn ang="0">
                    <a:pos x="52" y="100"/>
                  </a:cxn>
                  <a:cxn ang="0">
                    <a:pos x="46" y="115"/>
                  </a:cxn>
                  <a:cxn ang="0">
                    <a:pos x="39" y="130"/>
                  </a:cxn>
                  <a:cxn ang="0">
                    <a:pos x="39" y="145"/>
                  </a:cxn>
                  <a:cxn ang="0">
                    <a:pos x="48" y="146"/>
                  </a:cxn>
                  <a:cxn ang="0">
                    <a:pos x="54" y="156"/>
                  </a:cxn>
                  <a:cxn ang="0">
                    <a:pos x="58" y="159"/>
                  </a:cxn>
                  <a:cxn ang="0">
                    <a:pos x="66" y="166"/>
                  </a:cxn>
                  <a:cxn ang="0">
                    <a:pos x="48" y="167"/>
                  </a:cxn>
                  <a:cxn ang="0">
                    <a:pos x="46" y="171"/>
                  </a:cxn>
                  <a:cxn ang="0">
                    <a:pos x="61" y="188"/>
                  </a:cxn>
                  <a:cxn ang="0">
                    <a:pos x="56" y="199"/>
                  </a:cxn>
                  <a:cxn ang="0">
                    <a:pos x="48" y="201"/>
                  </a:cxn>
                  <a:cxn ang="0">
                    <a:pos x="37" y="205"/>
                  </a:cxn>
                  <a:cxn ang="0">
                    <a:pos x="31" y="202"/>
                  </a:cxn>
                  <a:cxn ang="0">
                    <a:pos x="32" y="210"/>
                  </a:cxn>
                  <a:cxn ang="0">
                    <a:pos x="35" y="223"/>
                  </a:cxn>
                  <a:cxn ang="0">
                    <a:pos x="30" y="223"/>
                  </a:cxn>
                  <a:cxn ang="0">
                    <a:pos x="23" y="217"/>
                  </a:cxn>
                  <a:cxn ang="0">
                    <a:pos x="11" y="232"/>
                  </a:cxn>
                  <a:cxn ang="0">
                    <a:pos x="4" y="242"/>
                  </a:cxn>
                  <a:cxn ang="0">
                    <a:pos x="0" y="254"/>
                  </a:cxn>
                  <a:cxn ang="0">
                    <a:pos x="5" y="265"/>
                  </a:cxn>
                  <a:cxn ang="0">
                    <a:pos x="0" y="285"/>
                  </a:cxn>
                  <a:cxn ang="0">
                    <a:pos x="36" y="314"/>
                  </a:cxn>
                  <a:cxn ang="0">
                    <a:pos x="53" y="315"/>
                  </a:cxn>
                  <a:cxn ang="0">
                    <a:pos x="63" y="285"/>
                  </a:cxn>
                  <a:cxn ang="0">
                    <a:pos x="91" y="284"/>
                  </a:cxn>
                  <a:cxn ang="0">
                    <a:pos x="120" y="315"/>
                  </a:cxn>
                  <a:cxn ang="0">
                    <a:pos x="129" y="314"/>
                  </a:cxn>
                  <a:cxn ang="0">
                    <a:pos x="150" y="301"/>
                  </a:cxn>
                  <a:cxn ang="0">
                    <a:pos x="159" y="303"/>
                  </a:cxn>
                  <a:cxn ang="0">
                    <a:pos x="186" y="298"/>
                  </a:cxn>
                  <a:cxn ang="0">
                    <a:pos x="218" y="302"/>
                  </a:cxn>
                  <a:cxn ang="0">
                    <a:pos x="241" y="241"/>
                  </a:cxn>
                  <a:cxn ang="0">
                    <a:pos x="215" y="188"/>
                  </a:cxn>
                  <a:cxn ang="0">
                    <a:pos x="225" y="157"/>
                  </a:cxn>
                  <a:cxn ang="0">
                    <a:pos x="220" y="119"/>
                  </a:cxn>
                  <a:cxn ang="0">
                    <a:pos x="166" y="105"/>
                  </a:cxn>
                  <a:cxn ang="0">
                    <a:pos x="154" y="76"/>
                  </a:cxn>
                  <a:cxn ang="0">
                    <a:pos x="129" y="42"/>
                  </a:cxn>
                  <a:cxn ang="0">
                    <a:pos x="99" y="11"/>
                  </a:cxn>
                  <a:cxn ang="0">
                    <a:pos x="78" y="5"/>
                  </a:cxn>
                  <a:cxn ang="0">
                    <a:pos x="35" y="16"/>
                  </a:cxn>
                </a:cxnLst>
                <a:rect l="0" t="0" r="r" b="b"/>
                <a:pathLst>
                  <a:path w="241" h="331">
                    <a:moveTo>
                      <a:pt x="14" y="22"/>
                    </a:moveTo>
                    <a:lnTo>
                      <a:pt x="23" y="29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1" y="45"/>
                    </a:lnTo>
                    <a:lnTo>
                      <a:pt x="21" y="48"/>
                    </a:lnTo>
                    <a:lnTo>
                      <a:pt x="25" y="49"/>
                    </a:lnTo>
                    <a:lnTo>
                      <a:pt x="27" y="46"/>
                    </a:lnTo>
                    <a:lnTo>
                      <a:pt x="29" y="46"/>
                    </a:lnTo>
                    <a:lnTo>
                      <a:pt x="32" y="49"/>
                    </a:lnTo>
                    <a:lnTo>
                      <a:pt x="32" y="51"/>
                    </a:lnTo>
                    <a:lnTo>
                      <a:pt x="30" y="53"/>
                    </a:lnTo>
                    <a:lnTo>
                      <a:pt x="29" y="53"/>
                    </a:lnTo>
                    <a:lnTo>
                      <a:pt x="27" y="55"/>
                    </a:lnTo>
                    <a:lnTo>
                      <a:pt x="29" y="56"/>
                    </a:lnTo>
                    <a:lnTo>
                      <a:pt x="27" y="60"/>
                    </a:lnTo>
                    <a:lnTo>
                      <a:pt x="27" y="61"/>
                    </a:lnTo>
                    <a:lnTo>
                      <a:pt x="29" y="64"/>
                    </a:lnTo>
                    <a:lnTo>
                      <a:pt x="32" y="64"/>
                    </a:lnTo>
                    <a:lnTo>
                      <a:pt x="34" y="65"/>
                    </a:lnTo>
                    <a:lnTo>
                      <a:pt x="37" y="67"/>
                    </a:lnTo>
                    <a:lnTo>
                      <a:pt x="42" y="67"/>
                    </a:lnTo>
                    <a:lnTo>
                      <a:pt x="46" y="70"/>
                    </a:lnTo>
                    <a:lnTo>
                      <a:pt x="50" y="69"/>
                    </a:lnTo>
                    <a:lnTo>
                      <a:pt x="52" y="70"/>
                    </a:lnTo>
                    <a:lnTo>
                      <a:pt x="52" y="72"/>
                    </a:lnTo>
                    <a:lnTo>
                      <a:pt x="48" y="75"/>
                    </a:lnTo>
                    <a:lnTo>
                      <a:pt x="45" y="73"/>
                    </a:lnTo>
                    <a:lnTo>
                      <a:pt x="41" y="72"/>
                    </a:lnTo>
                    <a:lnTo>
                      <a:pt x="39" y="73"/>
                    </a:lnTo>
                    <a:lnTo>
                      <a:pt x="37" y="78"/>
                    </a:lnTo>
                    <a:lnTo>
                      <a:pt x="35" y="81"/>
                    </a:lnTo>
                    <a:lnTo>
                      <a:pt x="37" y="91"/>
                    </a:lnTo>
                    <a:lnTo>
                      <a:pt x="39" y="92"/>
                    </a:lnTo>
                    <a:lnTo>
                      <a:pt x="37" y="97"/>
                    </a:lnTo>
                    <a:lnTo>
                      <a:pt x="50" y="97"/>
                    </a:lnTo>
                    <a:lnTo>
                      <a:pt x="52" y="100"/>
                    </a:lnTo>
                    <a:lnTo>
                      <a:pt x="51" y="104"/>
                    </a:lnTo>
                    <a:lnTo>
                      <a:pt x="51" y="108"/>
                    </a:lnTo>
                    <a:lnTo>
                      <a:pt x="46" y="115"/>
                    </a:lnTo>
                    <a:lnTo>
                      <a:pt x="41" y="126"/>
                    </a:lnTo>
                    <a:lnTo>
                      <a:pt x="39" y="128"/>
                    </a:lnTo>
                    <a:lnTo>
                      <a:pt x="39" y="130"/>
                    </a:lnTo>
                    <a:lnTo>
                      <a:pt x="40" y="132"/>
                    </a:lnTo>
                    <a:lnTo>
                      <a:pt x="36" y="137"/>
                    </a:lnTo>
                    <a:lnTo>
                      <a:pt x="39" y="145"/>
                    </a:lnTo>
                    <a:lnTo>
                      <a:pt x="42" y="145"/>
                    </a:lnTo>
                    <a:lnTo>
                      <a:pt x="45" y="147"/>
                    </a:lnTo>
                    <a:lnTo>
                      <a:pt x="48" y="146"/>
                    </a:lnTo>
                    <a:lnTo>
                      <a:pt x="50" y="148"/>
                    </a:lnTo>
                    <a:lnTo>
                      <a:pt x="51" y="152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58" y="157"/>
                    </a:lnTo>
                    <a:lnTo>
                      <a:pt x="58" y="159"/>
                    </a:lnTo>
                    <a:lnTo>
                      <a:pt x="63" y="162"/>
                    </a:lnTo>
                    <a:lnTo>
                      <a:pt x="66" y="163"/>
                    </a:lnTo>
                    <a:lnTo>
                      <a:pt x="66" y="166"/>
                    </a:lnTo>
                    <a:lnTo>
                      <a:pt x="62" y="171"/>
                    </a:lnTo>
                    <a:lnTo>
                      <a:pt x="53" y="171"/>
                    </a:lnTo>
                    <a:lnTo>
                      <a:pt x="48" y="167"/>
                    </a:lnTo>
                    <a:lnTo>
                      <a:pt x="46" y="167"/>
                    </a:lnTo>
                    <a:lnTo>
                      <a:pt x="45" y="169"/>
                    </a:lnTo>
                    <a:lnTo>
                      <a:pt x="46" y="171"/>
                    </a:lnTo>
                    <a:lnTo>
                      <a:pt x="52" y="178"/>
                    </a:lnTo>
                    <a:lnTo>
                      <a:pt x="58" y="186"/>
                    </a:lnTo>
                    <a:lnTo>
                      <a:pt x="61" y="188"/>
                    </a:lnTo>
                    <a:lnTo>
                      <a:pt x="59" y="195"/>
                    </a:lnTo>
                    <a:lnTo>
                      <a:pt x="58" y="198"/>
                    </a:lnTo>
                    <a:lnTo>
                      <a:pt x="56" y="199"/>
                    </a:lnTo>
                    <a:lnTo>
                      <a:pt x="53" y="198"/>
                    </a:lnTo>
                    <a:lnTo>
                      <a:pt x="51" y="198"/>
                    </a:lnTo>
                    <a:lnTo>
                      <a:pt x="48" y="201"/>
                    </a:lnTo>
                    <a:lnTo>
                      <a:pt x="43" y="204"/>
                    </a:lnTo>
                    <a:lnTo>
                      <a:pt x="40" y="204"/>
                    </a:lnTo>
                    <a:lnTo>
                      <a:pt x="37" y="205"/>
                    </a:lnTo>
                    <a:lnTo>
                      <a:pt x="35" y="205"/>
                    </a:lnTo>
                    <a:lnTo>
                      <a:pt x="34" y="202"/>
                    </a:lnTo>
                    <a:lnTo>
                      <a:pt x="31" y="202"/>
                    </a:lnTo>
                    <a:lnTo>
                      <a:pt x="27" y="206"/>
                    </a:lnTo>
                    <a:lnTo>
                      <a:pt x="29" y="209"/>
                    </a:lnTo>
                    <a:lnTo>
                      <a:pt x="32" y="210"/>
                    </a:lnTo>
                    <a:lnTo>
                      <a:pt x="34" y="215"/>
                    </a:lnTo>
                    <a:lnTo>
                      <a:pt x="35" y="218"/>
                    </a:lnTo>
                    <a:lnTo>
                      <a:pt x="35" y="223"/>
                    </a:lnTo>
                    <a:lnTo>
                      <a:pt x="34" y="226"/>
                    </a:lnTo>
                    <a:lnTo>
                      <a:pt x="31" y="226"/>
                    </a:lnTo>
                    <a:lnTo>
                      <a:pt x="30" y="223"/>
                    </a:lnTo>
                    <a:lnTo>
                      <a:pt x="29" y="218"/>
                    </a:lnTo>
                    <a:lnTo>
                      <a:pt x="26" y="217"/>
                    </a:lnTo>
                    <a:lnTo>
                      <a:pt x="23" y="217"/>
                    </a:lnTo>
                    <a:lnTo>
                      <a:pt x="14" y="225"/>
                    </a:lnTo>
                    <a:lnTo>
                      <a:pt x="13" y="229"/>
                    </a:lnTo>
                    <a:lnTo>
                      <a:pt x="11" y="232"/>
                    </a:lnTo>
                    <a:lnTo>
                      <a:pt x="11" y="239"/>
                    </a:lnTo>
                    <a:lnTo>
                      <a:pt x="9" y="242"/>
                    </a:lnTo>
                    <a:lnTo>
                      <a:pt x="4" y="242"/>
                    </a:lnTo>
                    <a:lnTo>
                      <a:pt x="2" y="244"/>
                    </a:lnTo>
                    <a:lnTo>
                      <a:pt x="2" y="253"/>
                    </a:lnTo>
                    <a:lnTo>
                      <a:pt x="0" y="254"/>
                    </a:lnTo>
                    <a:lnTo>
                      <a:pt x="0" y="258"/>
                    </a:lnTo>
                    <a:lnTo>
                      <a:pt x="3" y="263"/>
                    </a:lnTo>
                    <a:lnTo>
                      <a:pt x="5" y="265"/>
                    </a:lnTo>
                    <a:lnTo>
                      <a:pt x="5" y="270"/>
                    </a:lnTo>
                    <a:lnTo>
                      <a:pt x="0" y="277"/>
                    </a:lnTo>
                    <a:lnTo>
                      <a:pt x="0" y="285"/>
                    </a:lnTo>
                    <a:lnTo>
                      <a:pt x="16" y="297"/>
                    </a:lnTo>
                    <a:lnTo>
                      <a:pt x="27" y="308"/>
                    </a:lnTo>
                    <a:lnTo>
                      <a:pt x="36" y="314"/>
                    </a:lnTo>
                    <a:lnTo>
                      <a:pt x="42" y="326"/>
                    </a:lnTo>
                    <a:lnTo>
                      <a:pt x="48" y="331"/>
                    </a:lnTo>
                    <a:lnTo>
                      <a:pt x="53" y="315"/>
                    </a:lnTo>
                    <a:lnTo>
                      <a:pt x="51" y="304"/>
                    </a:lnTo>
                    <a:lnTo>
                      <a:pt x="56" y="290"/>
                    </a:lnTo>
                    <a:lnTo>
                      <a:pt x="63" y="285"/>
                    </a:lnTo>
                    <a:lnTo>
                      <a:pt x="69" y="275"/>
                    </a:lnTo>
                    <a:lnTo>
                      <a:pt x="77" y="282"/>
                    </a:lnTo>
                    <a:lnTo>
                      <a:pt x="91" y="284"/>
                    </a:lnTo>
                    <a:lnTo>
                      <a:pt x="97" y="295"/>
                    </a:lnTo>
                    <a:lnTo>
                      <a:pt x="107" y="299"/>
                    </a:lnTo>
                    <a:lnTo>
                      <a:pt x="120" y="315"/>
                    </a:lnTo>
                    <a:lnTo>
                      <a:pt x="121" y="317"/>
                    </a:lnTo>
                    <a:lnTo>
                      <a:pt x="126" y="317"/>
                    </a:lnTo>
                    <a:lnTo>
                      <a:pt x="129" y="314"/>
                    </a:lnTo>
                    <a:lnTo>
                      <a:pt x="129" y="306"/>
                    </a:lnTo>
                    <a:lnTo>
                      <a:pt x="147" y="299"/>
                    </a:lnTo>
                    <a:lnTo>
                      <a:pt x="150" y="301"/>
                    </a:lnTo>
                    <a:lnTo>
                      <a:pt x="156" y="308"/>
                    </a:lnTo>
                    <a:lnTo>
                      <a:pt x="159" y="308"/>
                    </a:lnTo>
                    <a:lnTo>
                      <a:pt x="159" y="303"/>
                    </a:lnTo>
                    <a:lnTo>
                      <a:pt x="166" y="298"/>
                    </a:lnTo>
                    <a:lnTo>
                      <a:pt x="182" y="302"/>
                    </a:lnTo>
                    <a:lnTo>
                      <a:pt x="186" y="298"/>
                    </a:lnTo>
                    <a:lnTo>
                      <a:pt x="201" y="301"/>
                    </a:lnTo>
                    <a:lnTo>
                      <a:pt x="212" y="299"/>
                    </a:lnTo>
                    <a:lnTo>
                      <a:pt x="218" y="302"/>
                    </a:lnTo>
                    <a:lnTo>
                      <a:pt x="218" y="277"/>
                    </a:lnTo>
                    <a:lnTo>
                      <a:pt x="230" y="253"/>
                    </a:lnTo>
                    <a:lnTo>
                      <a:pt x="241" y="241"/>
                    </a:lnTo>
                    <a:lnTo>
                      <a:pt x="226" y="225"/>
                    </a:lnTo>
                    <a:lnTo>
                      <a:pt x="218" y="210"/>
                    </a:lnTo>
                    <a:lnTo>
                      <a:pt x="215" y="188"/>
                    </a:lnTo>
                    <a:lnTo>
                      <a:pt x="218" y="167"/>
                    </a:lnTo>
                    <a:lnTo>
                      <a:pt x="235" y="159"/>
                    </a:lnTo>
                    <a:lnTo>
                      <a:pt x="225" y="157"/>
                    </a:lnTo>
                    <a:lnTo>
                      <a:pt x="218" y="141"/>
                    </a:lnTo>
                    <a:lnTo>
                      <a:pt x="228" y="130"/>
                    </a:lnTo>
                    <a:lnTo>
                      <a:pt x="220" y="119"/>
                    </a:lnTo>
                    <a:lnTo>
                      <a:pt x="209" y="128"/>
                    </a:lnTo>
                    <a:lnTo>
                      <a:pt x="181" y="118"/>
                    </a:lnTo>
                    <a:lnTo>
                      <a:pt x="166" y="105"/>
                    </a:lnTo>
                    <a:lnTo>
                      <a:pt x="165" y="91"/>
                    </a:lnTo>
                    <a:lnTo>
                      <a:pt x="163" y="81"/>
                    </a:lnTo>
                    <a:lnTo>
                      <a:pt x="154" y="76"/>
                    </a:lnTo>
                    <a:lnTo>
                      <a:pt x="143" y="73"/>
                    </a:lnTo>
                    <a:lnTo>
                      <a:pt x="134" y="60"/>
                    </a:lnTo>
                    <a:lnTo>
                      <a:pt x="129" y="42"/>
                    </a:lnTo>
                    <a:lnTo>
                      <a:pt x="124" y="29"/>
                    </a:lnTo>
                    <a:lnTo>
                      <a:pt x="113" y="17"/>
                    </a:lnTo>
                    <a:lnTo>
                      <a:pt x="99" y="11"/>
                    </a:lnTo>
                    <a:lnTo>
                      <a:pt x="94" y="7"/>
                    </a:lnTo>
                    <a:lnTo>
                      <a:pt x="90" y="0"/>
                    </a:lnTo>
                    <a:lnTo>
                      <a:pt x="78" y="5"/>
                    </a:lnTo>
                    <a:lnTo>
                      <a:pt x="66" y="5"/>
                    </a:lnTo>
                    <a:lnTo>
                      <a:pt x="50" y="16"/>
                    </a:lnTo>
                    <a:lnTo>
                      <a:pt x="35" y="16"/>
                    </a:lnTo>
                    <a:lnTo>
                      <a:pt x="29" y="21"/>
                    </a:lnTo>
                    <a:lnTo>
                      <a:pt x="14" y="2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4" name="Freeform 213"/>
              <p:cNvSpPr>
                <a:spLocks noChangeAspect="1"/>
              </p:cNvSpPr>
              <p:nvPr/>
            </p:nvSpPr>
            <p:spPr bwMode="gray">
              <a:xfrm>
                <a:off x="2701" y="1862"/>
                <a:ext cx="60" cy="30"/>
              </a:xfrm>
              <a:custGeom>
                <a:avLst/>
                <a:gdLst/>
                <a:ahLst/>
                <a:cxnLst>
                  <a:cxn ang="0">
                    <a:pos x="285" y="96"/>
                  </a:cxn>
                  <a:cxn ang="0">
                    <a:pos x="273" y="100"/>
                  </a:cxn>
                  <a:cxn ang="0">
                    <a:pos x="256" y="89"/>
                  </a:cxn>
                  <a:cxn ang="0">
                    <a:pos x="241" y="84"/>
                  </a:cxn>
                  <a:cxn ang="0">
                    <a:pos x="229" y="88"/>
                  </a:cxn>
                  <a:cxn ang="0">
                    <a:pos x="211" y="85"/>
                  </a:cxn>
                  <a:cxn ang="0">
                    <a:pos x="196" y="94"/>
                  </a:cxn>
                  <a:cxn ang="0">
                    <a:pos x="191" y="106"/>
                  </a:cxn>
                  <a:cxn ang="0">
                    <a:pos x="181" y="108"/>
                  </a:cxn>
                  <a:cxn ang="0">
                    <a:pos x="167" y="116"/>
                  </a:cxn>
                  <a:cxn ang="0">
                    <a:pos x="150" y="110"/>
                  </a:cxn>
                  <a:cxn ang="0">
                    <a:pos x="134" y="119"/>
                  </a:cxn>
                  <a:cxn ang="0">
                    <a:pos x="103" y="128"/>
                  </a:cxn>
                  <a:cxn ang="0">
                    <a:pos x="90" y="148"/>
                  </a:cxn>
                  <a:cxn ang="0">
                    <a:pos x="84" y="148"/>
                  </a:cxn>
                  <a:cxn ang="0">
                    <a:pos x="51" y="149"/>
                  </a:cxn>
                  <a:cxn ang="0">
                    <a:pos x="27" y="131"/>
                  </a:cxn>
                  <a:cxn ang="0">
                    <a:pos x="12" y="123"/>
                  </a:cxn>
                  <a:cxn ang="0">
                    <a:pos x="6" y="110"/>
                  </a:cxn>
                  <a:cxn ang="0">
                    <a:pos x="0" y="88"/>
                  </a:cxn>
                  <a:cxn ang="0">
                    <a:pos x="5" y="76"/>
                  </a:cxn>
                  <a:cxn ang="0">
                    <a:pos x="12" y="67"/>
                  </a:cxn>
                  <a:cxn ang="0">
                    <a:pos x="20" y="67"/>
                  </a:cxn>
                  <a:cxn ang="0">
                    <a:pos x="25" y="72"/>
                  </a:cxn>
                  <a:cxn ang="0">
                    <a:pos x="40" y="69"/>
                  </a:cxn>
                  <a:cxn ang="0">
                    <a:pos x="53" y="59"/>
                  </a:cxn>
                  <a:cxn ang="0">
                    <a:pos x="53" y="53"/>
                  </a:cxn>
                  <a:cxn ang="0">
                    <a:pos x="62" y="51"/>
                  </a:cxn>
                  <a:cxn ang="0">
                    <a:pos x="67" y="42"/>
                  </a:cxn>
                  <a:cxn ang="0">
                    <a:pos x="68" y="30"/>
                  </a:cxn>
                  <a:cxn ang="0">
                    <a:pos x="70" y="25"/>
                  </a:cxn>
                  <a:cxn ang="0">
                    <a:pos x="79" y="22"/>
                  </a:cxn>
                  <a:cxn ang="0">
                    <a:pos x="84" y="15"/>
                  </a:cxn>
                  <a:cxn ang="0">
                    <a:pos x="89" y="8"/>
                  </a:cxn>
                  <a:cxn ang="0">
                    <a:pos x="100" y="9"/>
                  </a:cxn>
                  <a:cxn ang="0">
                    <a:pos x="107" y="2"/>
                  </a:cxn>
                  <a:cxn ang="0">
                    <a:pos x="118" y="8"/>
                  </a:cxn>
                  <a:cxn ang="0">
                    <a:pos x="129" y="5"/>
                  </a:cxn>
                  <a:cxn ang="0">
                    <a:pos x="139" y="0"/>
                  </a:cxn>
                  <a:cxn ang="0">
                    <a:pos x="148" y="6"/>
                  </a:cxn>
                  <a:cxn ang="0">
                    <a:pos x="157" y="16"/>
                  </a:cxn>
                  <a:cxn ang="0">
                    <a:pos x="165" y="25"/>
                  </a:cxn>
                  <a:cxn ang="0">
                    <a:pos x="172" y="27"/>
                  </a:cxn>
                  <a:cxn ang="0">
                    <a:pos x="182" y="22"/>
                  </a:cxn>
                  <a:cxn ang="0">
                    <a:pos x="191" y="14"/>
                  </a:cxn>
                  <a:cxn ang="0">
                    <a:pos x="210" y="14"/>
                  </a:cxn>
                  <a:cxn ang="0">
                    <a:pos x="220" y="21"/>
                  </a:cxn>
                  <a:cxn ang="0">
                    <a:pos x="227" y="15"/>
                  </a:cxn>
                  <a:cxn ang="0">
                    <a:pos x="239" y="10"/>
                  </a:cxn>
                  <a:cxn ang="0">
                    <a:pos x="251" y="9"/>
                  </a:cxn>
                  <a:cxn ang="0">
                    <a:pos x="264" y="10"/>
                  </a:cxn>
                  <a:cxn ang="0">
                    <a:pos x="274" y="18"/>
                  </a:cxn>
                  <a:cxn ang="0">
                    <a:pos x="283" y="25"/>
                  </a:cxn>
                  <a:cxn ang="0">
                    <a:pos x="294" y="33"/>
                  </a:cxn>
                  <a:cxn ang="0">
                    <a:pos x="304" y="37"/>
                  </a:cxn>
                  <a:cxn ang="0">
                    <a:pos x="302" y="43"/>
                  </a:cxn>
                  <a:cxn ang="0">
                    <a:pos x="291" y="73"/>
                  </a:cxn>
                  <a:cxn ang="0">
                    <a:pos x="285" y="96"/>
                  </a:cxn>
                </a:cxnLst>
                <a:rect l="0" t="0" r="r" b="b"/>
                <a:pathLst>
                  <a:path w="304" h="149">
                    <a:moveTo>
                      <a:pt x="285" y="96"/>
                    </a:moveTo>
                    <a:lnTo>
                      <a:pt x="273" y="100"/>
                    </a:lnTo>
                    <a:lnTo>
                      <a:pt x="256" y="89"/>
                    </a:lnTo>
                    <a:lnTo>
                      <a:pt x="241" y="84"/>
                    </a:lnTo>
                    <a:lnTo>
                      <a:pt x="229" y="88"/>
                    </a:lnTo>
                    <a:lnTo>
                      <a:pt x="211" y="85"/>
                    </a:lnTo>
                    <a:lnTo>
                      <a:pt x="196" y="94"/>
                    </a:lnTo>
                    <a:lnTo>
                      <a:pt x="191" y="106"/>
                    </a:lnTo>
                    <a:lnTo>
                      <a:pt x="181" y="108"/>
                    </a:lnTo>
                    <a:lnTo>
                      <a:pt x="167" y="116"/>
                    </a:lnTo>
                    <a:lnTo>
                      <a:pt x="150" y="110"/>
                    </a:lnTo>
                    <a:lnTo>
                      <a:pt x="134" y="119"/>
                    </a:lnTo>
                    <a:lnTo>
                      <a:pt x="103" y="128"/>
                    </a:lnTo>
                    <a:lnTo>
                      <a:pt x="90" y="148"/>
                    </a:lnTo>
                    <a:lnTo>
                      <a:pt x="84" y="148"/>
                    </a:lnTo>
                    <a:lnTo>
                      <a:pt x="51" y="149"/>
                    </a:lnTo>
                    <a:lnTo>
                      <a:pt x="27" y="131"/>
                    </a:lnTo>
                    <a:lnTo>
                      <a:pt x="12" y="123"/>
                    </a:lnTo>
                    <a:lnTo>
                      <a:pt x="6" y="110"/>
                    </a:lnTo>
                    <a:lnTo>
                      <a:pt x="0" y="88"/>
                    </a:lnTo>
                    <a:lnTo>
                      <a:pt x="5" y="76"/>
                    </a:lnTo>
                    <a:lnTo>
                      <a:pt x="12" y="67"/>
                    </a:lnTo>
                    <a:lnTo>
                      <a:pt x="20" y="67"/>
                    </a:lnTo>
                    <a:lnTo>
                      <a:pt x="25" y="72"/>
                    </a:lnTo>
                    <a:lnTo>
                      <a:pt x="40" y="69"/>
                    </a:lnTo>
                    <a:lnTo>
                      <a:pt x="53" y="59"/>
                    </a:lnTo>
                    <a:lnTo>
                      <a:pt x="53" y="53"/>
                    </a:lnTo>
                    <a:lnTo>
                      <a:pt x="62" y="51"/>
                    </a:lnTo>
                    <a:lnTo>
                      <a:pt x="67" y="42"/>
                    </a:lnTo>
                    <a:lnTo>
                      <a:pt x="68" y="30"/>
                    </a:lnTo>
                    <a:lnTo>
                      <a:pt x="70" y="25"/>
                    </a:lnTo>
                    <a:lnTo>
                      <a:pt x="79" y="22"/>
                    </a:lnTo>
                    <a:lnTo>
                      <a:pt x="84" y="15"/>
                    </a:lnTo>
                    <a:lnTo>
                      <a:pt x="89" y="8"/>
                    </a:lnTo>
                    <a:lnTo>
                      <a:pt x="100" y="9"/>
                    </a:lnTo>
                    <a:lnTo>
                      <a:pt x="107" y="2"/>
                    </a:lnTo>
                    <a:lnTo>
                      <a:pt x="118" y="8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48" y="6"/>
                    </a:lnTo>
                    <a:lnTo>
                      <a:pt x="157" y="16"/>
                    </a:lnTo>
                    <a:lnTo>
                      <a:pt x="165" y="25"/>
                    </a:lnTo>
                    <a:lnTo>
                      <a:pt x="172" y="27"/>
                    </a:lnTo>
                    <a:lnTo>
                      <a:pt x="182" y="22"/>
                    </a:lnTo>
                    <a:lnTo>
                      <a:pt x="191" y="14"/>
                    </a:lnTo>
                    <a:lnTo>
                      <a:pt x="210" y="14"/>
                    </a:lnTo>
                    <a:lnTo>
                      <a:pt x="220" y="21"/>
                    </a:lnTo>
                    <a:lnTo>
                      <a:pt x="227" y="15"/>
                    </a:lnTo>
                    <a:lnTo>
                      <a:pt x="239" y="10"/>
                    </a:lnTo>
                    <a:lnTo>
                      <a:pt x="251" y="9"/>
                    </a:lnTo>
                    <a:lnTo>
                      <a:pt x="264" y="10"/>
                    </a:lnTo>
                    <a:lnTo>
                      <a:pt x="274" y="18"/>
                    </a:lnTo>
                    <a:lnTo>
                      <a:pt x="283" y="25"/>
                    </a:lnTo>
                    <a:lnTo>
                      <a:pt x="294" y="33"/>
                    </a:lnTo>
                    <a:lnTo>
                      <a:pt x="304" y="37"/>
                    </a:lnTo>
                    <a:lnTo>
                      <a:pt x="302" y="43"/>
                    </a:lnTo>
                    <a:lnTo>
                      <a:pt x="291" y="73"/>
                    </a:lnTo>
                    <a:lnTo>
                      <a:pt x="285" y="96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5" name="Freeform 214"/>
              <p:cNvSpPr>
                <a:spLocks noChangeAspect="1"/>
              </p:cNvSpPr>
              <p:nvPr/>
            </p:nvSpPr>
            <p:spPr bwMode="gray">
              <a:xfrm>
                <a:off x="2663" y="1906"/>
                <a:ext cx="34" cy="25"/>
              </a:xfrm>
              <a:custGeom>
                <a:avLst/>
                <a:gdLst/>
                <a:ahLst/>
                <a:cxnLst>
                  <a:cxn ang="0">
                    <a:pos x="136" y="4"/>
                  </a:cxn>
                  <a:cxn ang="0">
                    <a:pos x="117" y="10"/>
                  </a:cxn>
                  <a:cxn ang="0">
                    <a:pos x="108" y="19"/>
                  </a:cxn>
                  <a:cxn ang="0">
                    <a:pos x="75" y="17"/>
                  </a:cxn>
                  <a:cxn ang="0">
                    <a:pos x="58" y="33"/>
                  </a:cxn>
                  <a:cxn ang="0">
                    <a:pos x="14" y="31"/>
                  </a:cxn>
                  <a:cxn ang="0">
                    <a:pos x="0" y="48"/>
                  </a:cxn>
                  <a:cxn ang="0">
                    <a:pos x="2" y="54"/>
                  </a:cxn>
                  <a:cxn ang="0">
                    <a:pos x="5" y="60"/>
                  </a:cxn>
                  <a:cxn ang="0">
                    <a:pos x="9" y="74"/>
                  </a:cxn>
                  <a:cxn ang="0">
                    <a:pos x="11" y="85"/>
                  </a:cxn>
                  <a:cxn ang="0">
                    <a:pos x="21" y="94"/>
                  </a:cxn>
                  <a:cxn ang="0">
                    <a:pos x="27" y="98"/>
                  </a:cxn>
                  <a:cxn ang="0">
                    <a:pos x="22" y="106"/>
                  </a:cxn>
                  <a:cxn ang="0">
                    <a:pos x="12" y="106"/>
                  </a:cxn>
                  <a:cxn ang="0">
                    <a:pos x="14" y="117"/>
                  </a:cxn>
                  <a:cxn ang="0">
                    <a:pos x="30" y="111"/>
                  </a:cxn>
                  <a:cxn ang="0">
                    <a:pos x="53" y="116"/>
                  </a:cxn>
                  <a:cxn ang="0">
                    <a:pos x="63" y="100"/>
                  </a:cxn>
                  <a:cxn ang="0">
                    <a:pos x="79" y="118"/>
                  </a:cxn>
                  <a:cxn ang="0">
                    <a:pos x="81" y="114"/>
                  </a:cxn>
                  <a:cxn ang="0">
                    <a:pos x="87" y="117"/>
                  </a:cxn>
                  <a:cxn ang="0">
                    <a:pos x="96" y="123"/>
                  </a:cxn>
                  <a:cxn ang="0">
                    <a:pos x="100" y="107"/>
                  </a:cxn>
                  <a:cxn ang="0">
                    <a:pos x="100" y="97"/>
                  </a:cxn>
                  <a:cxn ang="0">
                    <a:pos x="119" y="87"/>
                  </a:cxn>
                  <a:cxn ang="0">
                    <a:pos x="124" y="69"/>
                  </a:cxn>
                  <a:cxn ang="0">
                    <a:pos x="117" y="58"/>
                  </a:cxn>
                  <a:cxn ang="0">
                    <a:pos x="140" y="46"/>
                  </a:cxn>
                  <a:cxn ang="0">
                    <a:pos x="144" y="38"/>
                  </a:cxn>
                  <a:cxn ang="0">
                    <a:pos x="155" y="39"/>
                  </a:cxn>
                  <a:cxn ang="0">
                    <a:pos x="154" y="32"/>
                  </a:cxn>
                  <a:cxn ang="0">
                    <a:pos x="157" y="24"/>
                  </a:cxn>
                  <a:cxn ang="0">
                    <a:pos x="170" y="31"/>
                  </a:cxn>
                  <a:cxn ang="0">
                    <a:pos x="173" y="31"/>
                  </a:cxn>
                  <a:cxn ang="0">
                    <a:pos x="160" y="4"/>
                  </a:cxn>
                  <a:cxn ang="0">
                    <a:pos x="145" y="0"/>
                  </a:cxn>
                </a:cxnLst>
                <a:rect l="0" t="0" r="r" b="b"/>
                <a:pathLst>
                  <a:path w="173" h="123">
                    <a:moveTo>
                      <a:pt x="145" y="0"/>
                    </a:moveTo>
                    <a:lnTo>
                      <a:pt x="136" y="4"/>
                    </a:lnTo>
                    <a:lnTo>
                      <a:pt x="134" y="12"/>
                    </a:lnTo>
                    <a:lnTo>
                      <a:pt x="117" y="10"/>
                    </a:lnTo>
                    <a:lnTo>
                      <a:pt x="113" y="10"/>
                    </a:lnTo>
                    <a:lnTo>
                      <a:pt x="108" y="19"/>
                    </a:lnTo>
                    <a:lnTo>
                      <a:pt x="88" y="15"/>
                    </a:lnTo>
                    <a:lnTo>
                      <a:pt x="75" y="17"/>
                    </a:lnTo>
                    <a:lnTo>
                      <a:pt x="66" y="28"/>
                    </a:lnTo>
                    <a:lnTo>
                      <a:pt x="58" y="33"/>
                    </a:lnTo>
                    <a:lnTo>
                      <a:pt x="30" y="31"/>
                    </a:lnTo>
                    <a:lnTo>
                      <a:pt x="14" y="31"/>
                    </a:lnTo>
                    <a:lnTo>
                      <a:pt x="2" y="41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2" y="54"/>
                    </a:lnTo>
                    <a:lnTo>
                      <a:pt x="7" y="53"/>
                    </a:lnTo>
                    <a:lnTo>
                      <a:pt x="5" y="60"/>
                    </a:lnTo>
                    <a:lnTo>
                      <a:pt x="4" y="68"/>
                    </a:lnTo>
                    <a:lnTo>
                      <a:pt x="9" y="74"/>
                    </a:lnTo>
                    <a:lnTo>
                      <a:pt x="9" y="82"/>
                    </a:lnTo>
                    <a:lnTo>
                      <a:pt x="11" y="85"/>
                    </a:lnTo>
                    <a:lnTo>
                      <a:pt x="18" y="89"/>
                    </a:lnTo>
                    <a:lnTo>
                      <a:pt x="21" y="94"/>
                    </a:lnTo>
                    <a:lnTo>
                      <a:pt x="25" y="95"/>
                    </a:lnTo>
                    <a:lnTo>
                      <a:pt x="27" y="98"/>
                    </a:lnTo>
                    <a:lnTo>
                      <a:pt x="26" y="103"/>
                    </a:lnTo>
                    <a:lnTo>
                      <a:pt x="22" y="106"/>
                    </a:lnTo>
                    <a:lnTo>
                      <a:pt x="17" y="107"/>
                    </a:lnTo>
                    <a:lnTo>
                      <a:pt x="12" y="106"/>
                    </a:lnTo>
                    <a:lnTo>
                      <a:pt x="6" y="111"/>
                    </a:lnTo>
                    <a:lnTo>
                      <a:pt x="14" y="117"/>
                    </a:lnTo>
                    <a:lnTo>
                      <a:pt x="27" y="116"/>
                    </a:lnTo>
                    <a:lnTo>
                      <a:pt x="30" y="111"/>
                    </a:lnTo>
                    <a:lnTo>
                      <a:pt x="36" y="116"/>
                    </a:lnTo>
                    <a:lnTo>
                      <a:pt x="53" y="116"/>
                    </a:lnTo>
                    <a:lnTo>
                      <a:pt x="60" y="100"/>
                    </a:lnTo>
                    <a:lnTo>
                      <a:pt x="63" y="100"/>
                    </a:lnTo>
                    <a:lnTo>
                      <a:pt x="74" y="119"/>
                    </a:lnTo>
                    <a:lnTo>
                      <a:pt x="79" y="118"/>
                    </a:lnTo>
                    <a:lnTo>
                      <a:pt x="79" y="114"/>
                    </a:lnTo>
                    <a:lnTo>
                      <a:pt x="81" y="114"/>
                    </a:lnTo>
                    <a:lnTo>
                      <a:pt x="84" y="117"/>
                    </a:lnTo>
                    <a:lnTo>
                      <a:pt x="87" y="117"/>
                    </a:lnTo>
                    <a:lnTo>
                      <a:pt x="92" y="123"/>
                    </a:lnTo>
                    <a:lnTo>
                      <a:pt x="96" y="123"/>
                    </a:lnTo>
                    <a:lnTo>
                      <a:pt x="101" y="119"/>
                    </a:lnTo>
                    <a:lnTo>
                      <a:pt x="100" y="107"/>
                    </a:lnTo>
                    <a:lnTo>
                      <a:pt x="103" y="102"/>
                    </a:lnTo>
                    <a:lnTo>
                      <a:pt x="100" y="97"/>
                    </a:lnTo>
                    <a:lnTo>
                      <a:pt x="111" y="89"/>
                    </a:lnTo>
                    <a:lnTo>
                      <a:pt x="119" y="87"/>
                    </a:lnTo>
                    <a:lnTo>
                      <a:pt x="124" y="80"/>
                    </a:lnTo>
                    <a:lnTo>
                      <a:pt x="124" y="69"/>
                    </a:lnTo>
                    <a:lnTo>
                      <a:pt x="118" y="62"/>
                    </a:lnTo>
                    <a:lnTo>
                      <a:pt x="117" y="58"/>
                    </a:lnTo>
                    <a:lnTo>
                      <a:pt x="120" y="53"/>
                    </a:lnTo>
                    <a:lnTo>
                      <a:pt x="140" y="46"/>
                    </a:lnTo>
                    <a:lnTo>
                      <a:pt x="144" y="43"/>
                    </a:lnTo>
                    <a:lnTo>
                      <a:pt x="144" y="38"/>
                    </a:lnTo>
                    <a:lnTo>
                      <a:pt x="151" y="38"/>
                    </a:lnTo>
                    <a:lnTo>
                      <a:pt x="155" y="39"/>
                    </a:lnTo>
                    <a:lnTo>
                      <a:pt x="155" y="38"/>
                    </a:lnTo>
                    <a:lnTo>
                      <a:pt x="154" y="32"/>
                    </a:lnTo>
                    <a:lnTo>
                      <a:pt x="154" y="27"/>
                    </a:lnTo>
                    <a:lnTo>
                      <a:pt x="157" y="24"/>
                    </a:lnTo>
                    <a:lnTo>
                      <a:pt x="161" y="25"/>
                    </a:lnTo>
                    <a:lnTo>
                      <a:pt x="170" y="31"/>
                    </a:lnTo>
                    <a:lnTo>
                      <a:pt x="173" y="28"/>
                    </a:lnTo>
                    <a:lnTo>
                      <a:pt x="173" y="31"/>
                    </a:lnTo>
                    <a:lnTo>
                      <a:pt x="165" y="17"/>
                    </a:lnTo>
                    <a:lnTo>
                      <a:pt x="160" y="4"/>
                    </a:lnTo>
                    <a:lnTo>
                      <a:pt x="152" y="0"/>
                    </a:lnTo>
                    <a:lnTo>
                      <a:pt x="145" y="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6" name="Freeform 215"/>
              <p:cNvSpPr>
                <a:spLocks noChangeAspect="1"/>
              </p:cNvSpPr>
              <p:nvPr/>
            </p:nvSpPr>
            <p:spPr bwMode="gray">
              <a:xfrm>
                <a:off x="2741" y="1976"/>
                <a:ext cx="26" cy="21"/>
              </a:xfrm>
              <a:custGeom>
                <a:avLst/>
                <a:gdLst/>
                <a:ahLst/>
                <a:cxnLst>
                  <a:cxn ang="0">
                    <a:pos x="25" y="107"/>
                  </a:cxn>
                  <a:cxn ang="0">
                    <a:pos x="8" y="90"/>
                  </a:cxn>
                  <a:cxn ang="0">
                    <a:pos x="0" y="70"/>
                  </a:cxn>
                  <a:cxn ang="0">
                    <a:pos x="0" y="53"/>
                  </a:cxn>
                  <a:cxn ang="0">
                    <a:pos x="5" y="17"/>
                  </a:cxn>
                  <a:cxn ang="0">
                    <a:pos x="6" y="19"/>
                  </a:cxn>
                  <a:cxn ang="0">
                    <a:pos x="11" y="19"/>
                  </a:cxn>
                  <a:cxn ang="0">
                    <a:pos x="14" y="16"/>
                  </a:cxn>
                  <a:cxn ang="0">
                    <a:pos x="14" y="8"/>
                  </a:cxn>
                  <a:cxn ang="0">
                    <a:pos x="32" y="1"/>
                  </a:cxn>
                  <a:cxn ang="0">
                    <a:pos x="35" y="3"/>
                  </a:cxn>
                  <a:cxn ang="0">
                    <a:pos x="41" y="10"/>
                  </a:cxn>
                  <a:cxn ang="0">
                    <a:pos x="44" y="10"/>
                  </a:cxn>
                  <a:cxn ang="0">
                    <a:pos x="44" y="5"/>
                  </a:cxn>
                  <a:cxn ang="0">
                    <a:pos x="51" y="0"/>
                  </a:cxn>
                  <a:cxn ang="0">
                    <a:pos x="67" y="4"/>
                  </a:cxn>
                  <a:cxn ang="0">
                    <a:pos x="71" y="0"/>
                  </a:cxn>
                  <a:cxn ang="0">
                    <a:pos x="86" y="3"/>
                  </a:cxn>
                  <a:cxn ang="0">
                    <a:pos x="97" y="1"/>
                  </a:cxn>
                  <a:cxn ang="0">
                    <a:pos x="103" y="4"/>
                  </a:cxn>
                  <a:cxn ang="0">
                    <a:pos x="126" y="24"/>
                  </a:cxn>
                  <a:cxn ang="0">
                    <a:pos x="131" y="53"/>
                  </a:cxn>
                  <a:cxn ang="0">
                    <a:pos x="132" y="69"/>
                  </a:cxn>
                  <a:cxn ang="0">
                    <a:pos x="126" y="71"/>
                  </a:cxn>
                  <a:cxn ang="0">
                    <a:pos x="111" y="85"/>
                  </a:cxn>
                  <a:cxn ang="0">
                    <a:pos x="91" y="85"/>
                  </a:cxn>
                  <a:cxn ang="0">
                    <a:pos x="72" y="92"/>
                  </a:cxn>
                  <a:cxn ang="0">
                    <a:pos x="61" y="102"/>
                  </a:cxn>
                  <a:cxn ang="0">
                    <a:pos x="25" y="107"/>
                  </a:cxn>
                </a:cxnLst>
                <a:rect l="0" t="0" r="r" b="b"/>
                <a:pathLst>
                  <a:path w="132" h="107">
                    <a:moveTo>
                      <a:pt x="25" y="107"/>
                    </a:moveTo>
                    <a:lnTo>
                      <a:pt x="8" y="90"/>
                    </a:lnTo>
                    <a:lnTo>
                      <a:pt x="0" y="70"/>
                    </a:lnTo>
                    <a:lnTo>
                      <a:pt x="0" y="53"/>
                    </a:lnTo>
                    <a:lnTo>
                      <a:pt x="5" y="17"/>
                    </a:lnTo>
                    <a:lnTo>
                      <a:pt x="6" y="19"/>
                    </a:lnTo>
                    <a:lnTo>
                      <a:pt x="11" y="19"/>
                    </a:lnTo>
                    <a:lnTo>
                      <a:pt x="14" y="16"/>
                    </a:lnTo>
                    <a:lnTo>
                      <a:pt x="14" y="8"/>
                    </a:lnTo>
                    <a:lnTo>
                      <a:pt x="32" y="1"/>
                    </a:lnTo>
                    <a:lnTo>
                      <a:pt x="35" y="3"/>
                    </a:lnTo>
                    <a:lnTo>
                      <a:pt x="41" y="10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51" y="0"/>
                    </a:lnTo>
                    <a:lnTo>
                      <a:pt x="67" y="4"/>
                    </a:lnTo>
                    <a:lnTo>
                      <a:pt x="71" y="0"/>
                    </a:lnTo>
                    <a:lnTo>
                      <a:pt x="86" y="3"/>
                    </a:lnTo>
                    <a:lnTo>
                      <a:pt x="97" y="1"/>
                    </a:lnTo>
                    <a:lnTo>
                      <a:pt x="103" y="4"/>
                    </a:lnTo>
                    <a:lnTo>
                      <a:pt x="126" y="24"/>
                    </a:lnTo>
                    <a:lnTo>
                      <a:pt x="131" y="53"/>
                    </a:lnTo>
                    <a:lnTo>
                      <a:pt x="132" y="69"/>
                    </a:lnTo>
                    <a:lnTo>
                      <a:pt x="126" y="71"/>
                    </a:lnTo>
                    <a:lnTo>
                      <a:pt x="111" y="85"/>
                    </a:lnTo>
                    <a:lnTo>
                      <a:pt x="91" y="85"/>
                    </a:lnTo>
                    <a:lnTo>
                      <a:pt x="72" y="92"/>
                    </a:lnTo>
                    <a:lnTo>
                      <a:pt x="61" y="102"/>
                    </a:lnTo>
                    <a:lnTo>
                      <a:pt x="25" y="107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7" name="Freeform 216"/>
              <p:cNvSpPr>
                <a:spLocks noChangeAspect="1"/>
              </p:cNvSpPr>
              <p:nvPr/>
            </p:nvSpPr>
            <p:spPr bwMode="gray">
              <a:xfrm>
                <a:off x="2737" y="1883"/>
                <a:ext cx="104" cy="73"/>
              </a:xfrm>
              <a:custGeom>
                <a:avLst/>
                <a:gdLst/>
                <a:ahLst/>
                <a:cxnLst>
                  <a:cxn ang="0">
                    <a:pos x="449" y="356"/>
                  </a:cxn>
                  <a:cxn ang="0">
                    <a:pos x="399" y="334"/>
                  </a:cxn>
                  <a:cxn ang="0">
                    <a:pos x="373" y="328"/>
                  </a:cxn>
                  <a:cxn ang="0">
                    <a:pos x="327" y="347"/>
                  </a:cxn>
                  <a:cxn ang="0">
                    <a:pos x="291" y="364"/>
                  </a:cxn>
                  <a:cxn ang="0">
                    <a:pos x="206" y="355"/>
                  </a:cxn>
                  <a:cxn ang="0">
                    <a:pos x="158" y="351"/>
                  </a:cxn>
                  <a:cxn ang="0">
                    <a:pos x="153" y="328"/>
                  </a:cxn>
                  <a:cxn ang="0">
                    <a:pos x="131" y="322"/>
                  </a:cxn>
                  <a:cxn ang="0">
                    <a:pos x="134" y="295"/>
                  </a:cxn>
                  <a:cxn ang="0">
                    <a:pos x="115" y="293"/>
                  </a:cxn>
                  <a:cxn ang="0">
                    <a:pos x="72" y="270"/>
                  </a:cxn>
                  <a:cxn ang="0">
                    <a:pos x="69" y="246"/>
                  </a:cxn>
                  <a:cxn ang="0">
                    <a:pos x="49" y="238"/>
                  </a:cxn>
                  <a:cxn ang="0">
                    <a:pos x="35" y="207"/>
                  </a:cxn>
                  <a:cxn ang="0">
                    <a:pos x="19" y="182"/>
                  </a:cxn>
                  <a:cxn ang="0">
                    <a:pos x="0" y="172"/>
                  </a:cxn>
                  <a:cxn ang="0">
                    <a:pos x="35" y="162"/>
                  </a:cxn>
                  <a:cxn ang="0">
                    <a:pos x="59" y="138"/>
                  </a:cxn>
                  <a:cxn ang="0">
                    <a:pos x="73" y="112"/>
                  </a:cxn>
                  <a:cxn ang="0">
                    <a:pos x="91" y="85"/>
                  </a:cxn>
                  <a:cxn ang="0">
                    <a:pos x="99" y="63"/>
                  </a:cxn>
                  <a:cxn ang="0">
                    <a:pos x="110" y="46"/>
                  </a:cxn>
                  <a:cxn ang="0">
                    <a:pos x="132" y="39"/>
                  </a:cxn>
                  <a:cxn ang="0">
                    <a:pos x="144" y="25"/>
                  </a:cxn>
                  <a:cxn ang="0">
                    <a:pos x="168" y="22"/>
                  </a:cxn>
                  <a:cxn ang="0">
                    <a:pos x="210" y="27"/>
                  </a:cxn>
                  <a:cxn ang="0">
                    <a:pos x="241" y="22"/>
                  </a:cxn>
                  <a:cxn ang="0">
                    <a:pos x="261" y="37"/>
                  </a:cxn>
                  <a:cxn ang="0">
                    <a:pos x="295" y="21"/>
                  </a:cxn>
                  <a:cxn ang="0">
                    <a:pos x="346" y="0"/>
                  </a:cxn>
                  <a:cxn ang="0">
                    <a:pos x="360" y="1"/>
                  </a:cxn>
                  <a:cxn ang="0">
                    <a:pos x="386" y="25"/>
                  </a:cxn>
                  <a:cxn ang="0">
                    <a:pos x="397" y="55"/>
                  </a:cxn>
                  <a:cxn ang="0">
                    <a:pos x="422" y="97"/>
                  </a:cxn>
                  <a:cxn ang="0">
                    <a:pos x="438" y="146"/>
                  </a:cxn>
                  <a:cxn ang="0">
                    <a:pos x="436" y="182"/>
                  </a:cxn>
                  <a:cxn ang="0">
                    <a:pos x="440" y="207"/>
                  </a:cxn>
                  <a:cxn ang="0">
                    <a:pos x="440" y="225"/>
                  </a:cxn>
                  <a:cxn ang="0">
                    <a:pos x="462" y="241"/>
                  </a:cxn>
                  <a:cxn ang="0">
                    <a:pos x="483" y="232"/>
                  </a:cxn>
                  <a:cxn ang="0">
                    <a:pos x="506" y="226"/>
                  </a:cxn>
                  <a:cxn ang="0">
                    <a:pos x="521" y="230"/>
                  </a:cxn>
                  <a:cxn ang="0">
                    <a:pos x="523" y="254"/>
                  </a:cxn>
                  <a:cxn ang="0">
                    <a:pos x="518" y="270"/>
                  </a:cxn>
                  <a:cxn ang="0">
                    <a:pos x="502" y="279"/>
                  </a:cxn>
                  <a:cxn ang="0">
                    <a:pos x="485" y="296"/>
                  </a:cxn>
                  <a:cxn ang="0">
                    <a:pos x="475" y="296"/>
                  </a:cxn>
                  <a:cxn ang="0">
                    <a:pos x="487" y="277"/>
                  </a:cxn>
                  <a:cxn ang="0">
                    <a:pos x="480" y="263"/>
                  </a:cxn>
                  <a:cxn ang="0">
                    <a:pos x="472" y="299"/>
                  </a:cxn>
                  <a:cxn ang="0">
                    <a:pos x="467" y="317"/>
                  </a:cxn>
                  <a:cxn ang="0">
                    <a:pos x="465" y="344"/>
                  </a:cxn>
                </a:cxnLst>
                <a:rect l="0" t="0" r="r" b="b"/>
                <a:pathLst>
                  <a:path w="523" h="364">
                    <a:moveTo>
                      <a:pt x="467" y="355"/>
                    </a:moveTo>
                    <a:lnTo>
                      <a:pt x="449" y="356"/>
                    </a:lnTo>
                    <a:lnTo>
                      <a:pt x="429" y="343"/>
                    </a:lnTo>
                    <a:lnTo>
                      <a:pt x="399" y="334"/>
                    </a:lnTo>
                    <a:lnTo>
                      <a:pt x="393" y="329"/>
                    </a:lnTo>
                    <a:lnTo>
                      <a:pt x="373" y="328"/>
                    </a:lnTo>
                    <a:lnTo>
                      <a:pt x="347" y="337"/>
                    </a:lnTo>
                    <a:lnTo>
                      <a:pt x="327" y="347"/>
                    </a:lnTo>
                    <a:lnTo>
                      <a:pt x="308" y="359"/>
                    </a:lnTo>
                    <a:lnTo>
                      <a:pt x="291" y="364"/>
                    </a:lnTo>
                    <a:lnTo>
                      <a:pt x="247" y="356"/>
                    </a:lnTo>
                    <a:lnTo>
                      <a:pt x="206" y="355"/>
                    </a:lnTo>
                    <a:lnTo>
                      <a:pt x="172" y="351"/>
                    </a:lnTo>
                    <a:lnTo>
                      <a:pt x="158" y="351"/>
                    </a:lnTo>
                    <a:lnTo>
                      <a:pt x="147" y="343"/>
                    </a:lnTo>
                    <a:lnTo>
                      <a:pt x="153" y="328"/>
                    </a:lnTo>
                    <a:lnTo>
                      <a:pt x="141" y="324"/>
                    </a:lnTo>
                    <a:lnTo>
                      <a:pt x="131" y="322"/>
                    </a:lnTo>
                    <a:lnTo>
                      <a:pt x="124" y="306"/>
                    </a:lnTo>
                    <a:lnTo>
                      <a:pt x="134" y="295"/>
                    </a:lnTo>
                    <a:lnTo>
                      <a:pt x="126" y="284"/>
                    </a:lnTo>
                    <a:lnTo>
                      <a:pt x="115" y="293"/>
                    </a:lnTo>
                    <a:lnTo>
                      <a:pt x="87" y="283"/>
                    </a:lnTo>
                    <a:lnTo>
                      <a:pt x="72" y="270"/>
                    </a:lnTo>
                    <a:lnTo>
                      <a:pt x="71" y="256"/>
                    </a:lnTo>
                    <a:lnTo>
                      <a:pt x="69" y="246"/>
                    </a:lnTo>
                    <a:lnTo>
                      <a:pt x="60" y="241"/>
                    </a:lnTo>
                    <a:lnTo>
                      <a:pt x="49" y="238"/>
                    </a:lnTo>
                    <a:lnTo>
                      <a:pt x="40" y="225"/>
                    </a:lnTo>
                    <a:lnTo>
                      <a:pt x="35" y="207"/>
                    </a:lnTo>
                    <a:lnTo>
                      <a:pt x="30" y="194"/>
                    </a:lnTo>
                    <a:lnTo>
                      <a:pt x="19" y="182"/>
                    </a:lnTo>
                    <a:lnTo>
                      <a:pt x="5" y="176"/>
                    </a:lnTo>
                    <a:lnTo>
                      <a:pt x="0" y="172"/>
                    </a:lnTo>
                    <a:lnTo>
                      <a:pt x="3" y="172"/>
                    </a:lnTo>
                    <a:lnTo>
                      <a:pt x="35" y="162"/>
                    </a:lnTo>
                    <a:lnTo>
                      <a:pt x="51" y="155"/>
                    </a:lnTo>
                    <a:lnTo>
                      <a:pt x="59" y="138"/>
                    </a:lnTo>
                    <a:lnTo>
                      <a:pt x="66" y="128"/>
                    </a:lnTo>
                    <a:lnTo>
                      <a:pt x="73" y="112"/>
                    </a:lnTo>
                    <a:lnTo>
                      <a:pt x="78" y="98"/>
                    </a:lnTo>
                    <a:lnTo>
                      <a:pt x="91" y="85"/>
                    </a:lnTo>
                    <a:lnTo>
                      <a:pt x="93" y="74"/>
                    </a:lnTo>
                    <a:lnTo>
                      <a:pt x="99" y="63"/>
                    </a:lnTo>
                    <a:lnTo>
                      <a:pt x="101" y="55"/>
                    </a:lnTo>
                    <a:lnTo>
                      <a:pt x="110" y="46"/>
                    </a:lnTo>
                    <a:lnTo>
                      <a:pt x="125" y="39"/>
                    </a:lnTo>
                    <a:lnTo>
                      <a:pt x="132" y="39"/>
                    </a:lnTo>
                    <a:lnTo>
                      <a:pt x="140" y="32"/>
                    </a:lnTo>
                    <a:lnTo>
                      <a:pt x="144" y="25"/>
                    </a:lnTo>
                    <a:lnTo>
                      <a:pt x="151" y="22"/>
                    </a:lnTo>
                    <a:lnTo>
                      <a:pt x="168" y="22"/>
                    </a:lnTo>
                    <a:lnTo>
                      <a:pt x="187" y="25"/>
                    </a:lnTo>
                    <a:lnTo>
                      <a:pt x="210" y="27"/>
                    </a:lnTo>
                    <a:lnTo>
                      <a:pt x="225" y="24"/>
                    </a:lnTo>
                    <a:lnTo>
                      <a:pt x="241" y="22"/>
                    </a:lnTo>
                    <a:lnTo>
                      <a:pt x="252" y="32"/>
                    </a:lnTo>
                    <a:lnTo>
                      <a:pt x="261" y="37"/>
                    </a:lnTo>
                    <a:lnTo>
                      <a:pt x="277" y="26"/>
                    </a:lnTo>
                    <a:lnTo>
                      <a:pt x="295" y="21"/>
                    </a:lnTo>
                    <a:lnTo>
                      <a:pt x="312" y="21"/>
                    </a:lnTo>
                    <a:lnTo>
                      <a:pt x="346" y="0"/>
                    </a:lnTo>
                    <a:lnTo>
                      <a:pt x="352" y="1"/>
                    </a:lnTo>
                    <a:lnTo>
                      <a:pt x="360" y="1"/>
                    </a:lnTo>
                    <a:lnTo>
                      <a:pt x="372" y="11"/>
                    </a:lnTo>
                    <a:lnTo>
                      <a:pt x="386" y="25"/>
                    </a:lnTo>
                    <a:lnTo>
                      <a:pt x="394" y="38"/>
                    </a:lnTo>
                    <a:lnTo>
                      <a:pt x="397" y="55"/>
                    </a:lnTo>
                    <a:lnTo>
                      <a:pt x="409" y="76"/>
                    </a:lnTo>
                    <a:lnTo>
                      <a:pt x="422" y="97"/>
                    </a:lnTo>
                    <a:lnTo>
                      <a:pt x="433" y="117"/>
                    </a:lnTo>
                    <a:lnTo>
                      <a:pt x="438" y="146"/>
                    </a:lnTo>
                    <a:lnTo>
                      <a:pt x="438" y="166"/>
                    </a:lnTo>
                    <a:lnTo>
                      <a:pt x="436" y="182"/>
                    </a:lnTo>
                    <a:lnTo>
                      <a:pt x="438" y="194"/>
                    </a:lnTo>
                    <a:lnTo>
                      <a:pt x="440" y="207"/>
                    </a:lnTo>
                    <a:lnTo>
                      <a:pt x="440" y="221"/>
                    </a:lnTo>
                    <a:lnTo>
                      <a:pt x="440" y="225"/>
                    </a:lnTo>
                    <a:lnTo>
                      <a:pt x="448" y="224"/>
                    </a:lnTo>
                    <a:lnTo>
                      <a:pt x="462" y="241"/>
                    </a:lnTo>
                    <a:lnTo>
                      <a:pt x="472" y="240"/>
                    </a:lnTo>
                    <a:lnTo>
                      <a:pt x="483" y="232"/>
                    </a:lnTo>
                    <a:lnTo>
                      <a:pt x="497" y="230"/>
                    </a:lnTo>
                    <a:lnTo>
                      <a:pt x="506" y="226"/>
                    </a:lnTo>
                    <a:lnTo>
                      <a:pt x="515" y="226"/>
                    </a:lnTo>
                    <a:lnTo>
                      <a:pt x="521" y="230"/>
                    </a:lnTo>
                    <a:lnTo>
                      <a:pt x="523" y="237"/>
                    </a:lnTo>
                    <a:lnTo>
                      <a:pt x="523" y="254"/>
                    </a:lnTo>
                    <a:lnTo>
                      <a:pt x="521" y="265"/>
                    </a:lnTo>
                    <a:lnTo>
                      <a:pt x="518" y="270"/>
                    </a:lnTo>
                    <a:lnTo>
                      <a:pt x="513" y="277"/>
                    </a:lnTo>
                    <a:lnTo>
                      <a:pt x="502" y="279"/>
                    </a:lnTo>
                    <a:lnTo>
                      <a:pt x="492" y="286"/>
                    </a:lnTo>
                    <a:lnTo>
                      <a:pt x="485" y="296"/>
                    </a:lnTo>
                    <a:lnTo>
                      <a:pt x="478" y="302"/>
                    </a:lnTo>
                    <a:lnTo>
                      <a:pt x="475" y="296"/>
                    </a:lnTo>
                    <a:lnTo>
                      <a:pt x="481" y="289"/>
                    </a:lnTo>
                    <a:lnTo>
                      <a:pt x="487" y="277"/>
                    </a:lnTo>
                    <a:lnTo>
                      <a:pt x="487" y="263"/>
                    </a:lnTo>
                    <a:lnTo>
                      <a:pt x="480" y="263"/>
                    </a:lnTo>
                    <a:lnTo>
                      <a:pt x="476" y="286"/>
                    </a:lnTo>
                    <a:lnTo>
                      <a:pt x="472" y="299"/>
                    </a:lnTo>
                    <a:lnTo>
                      <a:pt x="469" y="310"/>
                    </a:lnTo>
                    <a:lnTo>
                      <a:pt x="467" y="317"/>
                    </a:lnTo>
                    <a:lnTo>
                      <a:pt x="467" y="336"/>
                    </a:lnTo>
                    <a:lnTo>
                      <a:pt x="465" y="344"/>
                    </a:lnTo>
                    <a:lnTo>
                      <a:pt x="467" y="35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8" name="Freeform 217"/>
              <p:cNvSpPr>
                <a:spLocks noChangeAspect="1"/>
              </p:cNvSpPr>
              <p:nvPr/>
            </p:nvSpPr>
            <p:spPr bwMode="gray">
              <a:xfrm>
                <a:off x="2772" y="1671"/>
                <a:ext cx="54" cy="44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140" y="5"/>
                  </a:cxn>
                  <a:cxn ang="0">
                    <a:pos x="159" y="13"/>
                  </a:cxn>
                  <a:cxn ang="0">
                    <a:pos x="184" y="21"/>
                  </a:cxn>
                  <a:cxn ang="0">
                    <a:pos x="239" y="26"/>
                  </a:cxn>
                  <a:cxn ang="0">
                    <a:pos x="253" y="15"/>
                  </a:cxn>
                  <a:cxn ang="0">
                    <a:pos x="265" y="22"/>
                  </a:cxn>
                  <a:cxn ang="0">
                    <a:pos x="264" y="38"/>
                  </a:cxn>
                  <a:cxn ang="0">
                    <a:pos x="244" y="64"/>
                  </a:cxn>
                  <a:cxn ang="0">
                    <a:pos x="242" y="91"/>
                  </a:cxn>
                  <a:cxn ang="0">
                    <a:pos x="240" y="116"/>
                  </a:cxn>
                  <a:cxn ang="0">
                    <a:pos x="243" y="127"/>
                  </a:cxn>
                  <a:cxn ang="0">
                    <a:pos x="232" y="143"/>
                  </a:cxn>
                  <a:cxn ang="0">
                    <a:pos x="224" y="154"/>
                  </a:cxn>
                  <a:cxn ang="0">
                    <a:pos x="237" y="162"/>
                  </a:cxn>
                  <a:cxn ang="0">
                    <a:pos x="261" y="178"/>
                  </a:cxn>
                  <a:cxn ang="0">
                    <a:pos x="250" y="194"/>
                  </a:cxn>
                  <a:cxn ang="0">
                    <a:pos x="233" y="176"/>
                  </a:cxn>
                  <a:cxn ang="0">
                    <a:pos x="229" y="198"/>
                  </a:cxn>
                  <a:cxn ang="0">
                    <a:pos x="224" y="220"/>
                  </a:cxn>
                  <a:cxn ang="0">
                    <a:pos x="206" y="215"/>
                  </a:cxn>
                  <a:cxn ang="0">
                    <a:pos x="183" y="220"/>
                  </a:cxn>
                  <a:cxn ang="0">
                    <a:pos x="153" y="201"/>
                  </a:cxn>
                  <a:cxn ang="0">
                    <a:pos x="134" y="186"/>
                  </a:cxn>
                  <a:cxn ang="0">
                    <a:pos x="104" y="171"/>
                  </a:cxn>
                  <a:cxn ang="0">
                    <a:pos x="65" y="185"/>
                  </a:cxn>
                  <a:cxn ang="0">
                    <a:pos x="50" y="192"/>
                  </a:cxn>
                  <a:cxn ang="0">
                    <a:pos x="56" y="155"/>
                  </a:cxn>
                  <a:cxn ang="0">
                    <a:pos x="60" y="139"/>
                  </a:cxn>
                  <a:cxn ang="0">
                    <a:pos x="43" y="144"/>
                  </a:cxn>
                  <a:cxn ang="0">
                    <a:pos x="28" y="140"/>
                  </a:cxn>
                  <a:cxn ang="0">
                    <a:pos x="14" y="139"/>
                  </a:cxn>
                  <a:cxn ang="0">
                    <a:pos x="5" y="119"/>
                  </a:cxn>
                  <a:cxn ang="0">
                    <a:pos x="7" y="100"/>
                  </a:cxn>
                  <a:cxn ang="0">
                    <a:pos x="16" y="94"/>
                  </a:cxn>
                  <a:cxn ang="0">
                    <a:pos x="3" y="79"/>
                  </a:cxn>
                  <a:cxn ang="0">
                    <a:pos x="5" y="72"/>
                  </a:cxn>
                  <a:cxn ang="0">
                    <a:pos x="3" y="49"/>
                  </a:cxn>
                  <a:cxn ang="0">
                    <a:pos x="35" y="38"/>
                  </a:cxn>
                  <a:cxn ang="0">
                    <a:pos x="39" y="30"/>
                  </a:cxn>
                  <a:cxn ang="0">
                    <a:pos x="54" y="21"/>
                  </a:cxn>
                  <a:cxn ang="0">
                    <a:pos x="77" y="13"/>
                  </a:cxn>
                  <a:cxn ang="0">
                    <a:pos x="108" y="16"/>
                  </a:cxn>
                  <a:cxn ang="0">
                    <a:pos x="111" y="5"/>
                  </a:cxn>
                </a:cxnLst>
                <a:rect l="0" t="0" r="r" b="b"/>
                <a:pathLst>
                  <a:path w="267" h="220">
                    <a:moveTo>
                      <a:pt x="121" y="5"/>
                    </a:moveTo>
                    <a:lnTo>
                      <a:pt x="124" y="0"/>
                    </a:lnTo>
                    <a:lnTo>
                      <a:pt x="131" y="9"/>
                    </a:lnTo>
                    <a:lnTo>
                      <a:pt x="140" y="5"/>
                    </a:lnTo>
                    <a:lnTo>
                      <a:pt x="147" y="6"/>
                    </a:lnTo>
                    <a:lnTo>
                      <a:pt x="159" y="13"/>
                    </a:lnTo>
                    <a:lnTo>
                      <a:pt x="179" y="15"/>
                    </a:lnTo>
                    <a:lnTo>
                      <a:pt x="184" y="21"/>
                    </a:lnTo>
                    <a:lnTo>
                      <a:pt x="196" y="25"/>
                    </a:lnTo>
                    <a:lnTo>
                      <a:pt x="239" y="26"/>
                    </a:lnTo>
                    <a:lnTo>
                      <a:pt x="250" y="22"/>
                    </a:lnTo>
                    <a:lnTo>
                      <a:pt x="253" y="15"/>
                    </a:lnTo>
                    <a:lnTo>
                      <a:pt x="260" y="16"/>
                    </a:lnTo>
                    <a:lnTo>
                      <a:pt x="265" y="22"/>
                    </a:lnTo>
                    <a:lnTo>
                      <a:pt x="267" y="30"/>
                    </a:lnTo>
                    <a:lnTo>
                      <a:pt x="264" y="38"/>
                    </a:lnTo>
                    <a:lnTo>
                      <a:pt x="253" y="49"/>
                    </a:lnTo>
                    <a:lnTo>
                      <a:pt x="244" y="64"/>
                    </a:lnTo>
                    <a:lnTo>
                      <a:pt x="238" y="78"/>
                    </a:lnTo>
                    <a:lnTo>
                      <a:pt x="242" y="91"/>
                    </a:lnTo>
                    <a:lnTo>
                      <a:pt x="239" y="110"/>
                    </a:lnTo>
                    <a:lnTo>
                      <a:pt x="240" y="116"/>
                    </a:lnTo>
                    <a:lnTo>
                      <a:pt x="243" y="121"/>
                    </a:lnTo>
                    <a:lnTo>
                      <a:pt x="243" y="127"/>
                    </a:lnTo>
                    <a:lnTo>
                      <a:pt x="240" y="134"/>
                    </a:lnTo>
                    <a:lnTo>
                      <a:pt x="232" y="143"/>
                    </a:lnTo>
                    <a:lnTo>
                      <a:pt x="227" y="146"/>
                    </a:lnTo>
                    <a:lnTo>
                      <a:pt x="224" y="154"/>
                    </a:lnTo>
                    <a:lnTo>
                      <a:pt x="228" y="161"/>
                    </a:lnTo>
                    <a:lnTo>
                      <a:pt x="237" y="162"/>
                    </a:lnTo>
                    <a:lnTo>
                      <a:pt x="250" y="161"/>
                    </a:lnTo>
                    <a:lnTo>
                      <a:pt x="261" y="178"/>
                    </a:lnTo>
                    <a:lnTo>
                      <a:pt x="260" y="194"/>
                    </a:lnTo>
                    <a:lnTo>
                      <a:pt x="250" y="194"/>
                    </a:lnTo>
                    <a:lnTo>
                      <a:pt x="242" y="183"/>
                    </a:lnTo>
                    <a:lnTo>
                      <a:pt x="233" y="176"/>
                    </a:lnTo>
                    <a:lnTo>
                      <a:pt x="233" y="191"/>
                    </a:lnTo>
                    <a:lnTo>
                      <a:pt x="229" y="198"/>
                    </a:lnTo>
                    <a:lnTo>
                      <a:pt x="223" y="213"/>
                    </a:lnTo>
                    <a:lnTo>
                      <a:pt x="224" y="220"/>
                    </a:lnTo>
                    <a:lnTo>
                      <a:pt x="223" y="219"/>
                    </a:lnTo>
                    <a:lnTo>
                      <a:pt x="206" y="215"/>
                    </a:lnTo>
                    <a:lnTo>
                      <a:pt x="191" y="217"/>
                    </a:lnTo>
                    <a:lnTo>
                      <a:pt x="183" y="220"/>
                    </a:lnTo>
                    <a:lnTo>
                      <a:pt x="175" y="220"/>
                    </a:lnTo>
                    <a:lnTo>
                      <a:pt x="153" y="201"/>
                    </a:lnTo>
                    <a:lnTo>
                      <a:pt x="148" y="191"/>
                    </a:lnTo>
                    <a:lnTo>
                      <a:pt x="134" y="186"/>
                    </a:lnTo>
                    <a:lnTo>
                      <a:pt x="120" y="175"/>
                    </a:lnTo>
                    <a:lnTo>
                      <a:pt x="104" y="171"/>
                    </a:lnTo>
                    <a:lnTo>
                      <a:pt x="78" y="175"/>
                    </a:lnTo>
                    <a:lnTo>
                      <a:pt x="65" y="185"/>
                    </a:lnTo>
                    <a:lnTo>
                      <a:pt x="56" y="186"/>
                    </a:lnTo>
                    <a:lnTo>
                      <a:pt x="50" y="192"/>
                    </a:lnTo>
                    <a:lnTo>
                      <a:pt x="54" y="180"/>
                    </a:lnTo>
                    <a:lnTo>
                      <a:pt x="56" y="155"/>
                    </a:lnTo>
                    <a:lnTo>
                      <a:pt x="60" y="144"/>
                    </a:lnTo>
                    <a:lnTo>
                      <a:pt x="60" y="139"/>
                    </a:lnTo>
                    <a:lnTo>
                      <a:pt x="45" y="137"/>
                    </a:lnTo>
                    <a:lnTo>
                      <a:pt x="43" y="144"/>
                    </a:lnTo>
                    <a:lnTo>
                      <a:pt x="34" y="149"/>
                    </a:lnTo>
                    <a:lnTo>
                      <a:pt x="28" y="140"/>
                    </a:lnTo>
                    <a:lnTo>
                      <a:pt x="22" y="142"/>
                    </a:lnTo>
                    <a:lnTo>
                      <a:pt x="14" y="139"/>
                    </a:lnTo>
                    <a:lnTo>
                      <a:pt x="11" y="128"/>
                    </a:lnTo>
                    <a:lnTo>
                      <a:pt x="5" y="119"/>
                    </a:lnTo>
                    <a:lnTo>
                      <a:pt x="3" y="110"/>
                    </a:lnTo>
                    <a:lnTo>
                      <a:pt x="7" y="100"/>
                    </a:lnTo>
                    <a:lnTo>
                      <a:pt x="18" y="97"/>
                    </a:lnTo>
                    <a:lnTo>
                      <a:pt x="16" y="94"/>
                    </a:lnTo>
                    <a:lnTo>
                      <a:pt x="2" y="92"/>
                    </a:lnTo>
                    <a:lnTo>
                      <a:pt x="3" y="79"/>
                    </a:lnTo>
                    <a:lnTo>
                      <a:pt x="6" y="75"/>
                    </a:lnTo>
                    <a:lnTo>
                      <a:pt x="5" y="72"/>
                    </a:lnTo>
                    <a:lnTo>
                      <a:pt x="0" y="70"/>
                    </a:lnTo>
                    <a:lnTo>
                      <a:pt x="3" y="49"/>
                    </a:lnTo>
                    <a:lnTo>
                      <a:pt x="8" y="46"/>
                    </a:lnTo>
                    <a:lnTo>
                      <a:pt x="35" y="38"/>
                    </a:lnTo>
                    <a:lnTo>
                      <a:pt x="35" y="33"/>
                    </a:lnTo>
                    <a:lnTo>
                      <a:pt x="39" y="30"/>
                    </a:lnTo>
                    <a:lnTo>
                      <a:pt x="48" y="27"/>
                    </a:lnTo>
                    <a:lnTo>
                      <a:pt x="54" y="21"/>
                    </a:lnTo>
                    <a:lnTo>
                      <a:pt x="75" y="22"/>
                    </a:lnTo>
                    <a:lnTo>
                      <a:pt x="77" y="13"/>
                    </a:lnTo>
                    <a:lnTo>
                      <a:pt x="87" y="19"/>
                    </a:lnTo>
                    <a:lnTo>
                      <a:pt x="108" y="16"/>
                    </a:lnTo>
                    <a:lnTo>
                      <a:pt x="113" y="13"/>
                    </a:lnTo>
                    <a:lnTo>
                      <a:pt x="111" y="5"/>
                    </a:lnTo>
                    <a:lnTo>
                      <a:pt x="121" y="5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89" name="Freeform 218"/>
              <p:cNvSpPr>
                <a:spLocks noChangeAspect="1"/>
              </p:cNvSpPr>
              <p:nvPr/>
            </p:nvSpPr>
            <p:spPr bwMode="gray">
              <a:xfrm>
                <a:off x="2741" y="1398"/>
                <a:ext cx="119" cy="268"/>
              </a:xfrm>
              <a:custGeom>
                <a:avLst/>
                <a:gdLst/>
                <a:ahLst/>
                <a:cxnLst>
                  <a:cxn ang="0">
                    <a:pos x="46" y="207"/>
                  </a:cxn>
                  <a:cxn ang="0">
                    <a:pos x="162" y="322"/>
                  </a:cxn>
                  <a:cxn ang="0">
                    <a:pos x="159" y="379"/>
                  </a:cxn>
                  <a:cxn ang="0">
                    <a:pos x="161" y="435"/>
                  </a:cxn>
                  <a:cxn ang="0">
                    <a:pos x="183" y="520"/>
                  </a:cxn>
                  <a:cxn ang="0">
                    <a:pos x="189" y="605"/>
                  </a:cxn>
                  <a:cxn ang="0">
                    <a:pos x="211" y="625"/>
                  </a:cxn>
                  <a:cxn ang="0">
                    <a:pos x="240" y="648"/>
                  </a:cxn>
                  <a:cxn ang="0">
                    <a:pos x="270" y="734"/>
                  </a:cxn>
                  <a:cxn ang="0">
                    <a:pos x="251" y="743"/>
                  </a:cxn>
                  <a:cxn ang="0">
                    <a:pos x="200" y="801"/>
                  </a:cxn>
                  <a:cxn ang="0">
                    <a:pos x="118" y="918"/>
                  </a:cxn>
                  <a:cxn ang="0">
                    <a:pos x="90" y="949"/>
                  </a:cxn>
                  <a:cxn ang="0">
                    <a:pos x="63" y="972"/>
                  </a:cxn>
                  <a:cxn ang="0">
                    <a:pos x="39" y="990"/>
                  </a:cxn>
                  <a:cxn ang="0">
                    <a:pos x="21" y="1019"/>
                  </a:cxn>
                  <a:cxn ang="0">
                    <a:pos x="33" y="1065"/>
                  </a:cxn>
                  <a:cxn ang="0">
                    <a:pos x="43" y="1120"/>
                  </a:cxn>
                  <a:cxn ang="0">
                    <a:pos x="57" y="1152"/>
                  </a:cxn>
                  <a:cxn ang="0">
                    <a:pos x="44" y="1159"/>
                  </a:cxn>
                  <a:cxn ang="0">
                    <a:pos x="39" y="1202"/>
                  </a:cxn>
                  <a:cxn ang="0">
                    <a:pos x="37" y="1224"/>
                  </a:cxn>
                  <a:cxn ang="0">
                    <a:pos x="43" y="1241"/>
                  </a:cxn>
                  <a:cxn ang="0">
                    <a:pos x="64" y="1257"/>
                  </a:cxn>
                  <a:cxn ang="0">
                    <a:pos x="100" y="1278"/>
                  </a:cxn>
                  <a:cxn ang="0">
                    <a:pos x="122" y="1288"/>
                  </a:cxn>
                  <a:cxn ang="0">
                    <a:pos x="136" y="1324"/>
                  </a:cxn>
                  <a:cxn ang="0">
                    <a:pos x="139" y="1333"/>
                  </a:cxn>
                  <a:cxn ang="0">
                    <a:pos x="157" y="1327"/>
                  </a:cxn>
                  <a:cxn ang="0">
                    <a:pos x="200" y="1316"/>
                  </a:cxn>
                  <a:cxn ang="0">
                    <a:pos x="229" y="1299"/>
                  </a:cxn>
                  <a:cxn ang="0">
                    <a:pos x="268" y="1276"/>
                  </a:cxn>
                  <a:cxn ang="0">
                    <a:pos x="290" y="1272"/>
                  </a:cxn>
                  <a:cxn ang="0">
                    <a:pos x="329" y="1268"/>
                  </a:cxn>
                  <a:cxn ang="0">
                    <a:pos x="377" y="1265"/>
                  </a:cxn>
                  <a:cxn ang="0">
                    <a:pos x="423" y="1231"/>
                  </a:cxn>
                  <a:cxn ang="0">
                    <a:pos x="576" y="1050"/>
                  </a:cxn>
                  <a:cxn ang="0">
                    <a:pos x="579" y="962"/>
                  </a:cxn>
                  <a:cxn ang="0">
                    <a:pos x="530" y="891"/>
                  </a:cxn>
                  <a:cxn ang="0">
                    <a:pos x="549" y="822"/>
                  </a:cxn>
                  <a:cxn ang="0">
                    <a:pos x="520" y="753"/>
                  </a:cxn>
                  <a:cxn ang="0">
                    <a:pos x="507" y="699"/>
                  </a:cxn>
                  <a:cxn ang="0">
                    <a:pos x="525" y="639"/>
                  </a:cxn>
                  <a:cxn ang="0">
                    <a:pos x="495" y="546"/>
                  </a:cxn>
                  <a:cxn ang="0">
                    <a:pos x="474" y="469"/>
                  </a:cxn>
                  <a:cxn ang="0">
                    <a:pos x="514" y="354"/>
                  </a:cxn>
                  <a:cxn ang="0">
                    <a:pos x="456" y="291"/>
                  </a:cxn>
                  <a:cxn ang="0">
                    <a:pos x="434" y="232"/>
                  </a:cxn>
                  <a:cxn ang="0">
                    <a:pos x="436" y="185"/>
                  </a:cxn>
                  <a:cxn ang="0">
                    <a:pos x="460" y="126"/>
                  </a:cxn>
                  <a:cxn ang="0">
                    <a:pos x="453" y="41"/>
                  </a:cxn>
                  <a:cxn ang="0">
                    <a:pos x="409" y="0"/>
                  </a:cxn>
                  <a:cxn ang="0">
                    <a:pos x="310" y="32"/>
                  </a:cxn>
                  <a:cxn ang="0">
                    <a:pos x="283" y="132"/>
                  </a:cxn>
                  <a:cxn ang="0">
                    <a:pos x="248" y="201"/>
                  </a:cxn>
                  <a:cxn ang="0">
                    <a:pos x="207" y="205"/>
                  </a:cxn>
                  <a:cxn ang="0">
                    <a:pos x="156" y="214"/>
                  </a:cxn>
                  <a:cxn ang="0">
                    <a:pos x="98" y="196"/>
                  </a:cxn>
                  <a:cxn ang="0">
                    <a:pos x="37" y="116"/>
                  </a:cxn>
                  <a:cxn ang="0">
                    <a:pos x="20" y="150"/>
                  </a:cxn>
                </a:cxnLst>
                <a:rect l="0" t="0" r="r" b="b"/>
                <a:pathLst>
                  <a:path w="593" h="1339">
                    <a:moveTo>
                      <a:pt x="0" y="156"/>
                    </a:moveTo>
                    <a:lnTo>
                      <a:pt x="3" y="156"/>
                    </a:lnTo>
                    <a:lnTo>
                      <a:pt x="5" y="161"/>
                    </a:lnTo>
                    <a:lnTo>
                      <a:pt x="46" y="207"/>
                    </a:lnTo>
                    <a:lnTo>
                      <a:pt x="76" y="237"/>
                    </a:lnTo>
                    <a:lnTo>
                      <a:pt x="112" y="248"/>
                    </a:lnTo>
                    <a:lnTo>
                      <a:pt x="130" y="266"/>
                    </a:lnTo>
                    <a:lnTo>
                      <a:pt x="162" y="322"/>
                    </a:lnTo>
                    <a:lnTo>
                      <a:pt x="165" y="329"/>
                    </a:lnTo>
                    <a:lnTo>
                      <a:pt x="160" y="342"/>
                    </a:lnTo>
                    <a:lnTo>
                      <a:pt x="159" y="358"/>
                    </a:lnTo>
                    <a:lnTo>
                      <a:pt x="159" y="379"/>
                    </a:lnTo>
                    <a:lnTo>
                      <a:pt x="160" y="393"/>
                    </a:lnTo>
                    <a:lnTo>
                      <a:pt x="165" y="399"/>
                    </a:lnTo>
                    <a:lnTo>
                      <a:pt x="167" y="414"/>
                    </a:lnTo>
                    <a:lnTo>
                      <a:pt x="161" y="435"/>
                    </a:lnTo>
                    <a:lnTo>
                      <a:pt x="164" y="452"/>
                    </a:lnTo>
                    <a:lnTo>
                      <a:pt x="184" y="498"/>
                    </a:lnTo>
                    <a:lnTo>
                      <a:pt x="184" y="510"/>
                    </a:lnTo>
                    <a:lnTo>
                      <a:pt x="183" y="520"/>
                    </a:lnTo>
                    <a:lnTo>
                      <a:pt x="175" y="533"/>
                    </a:lnTo>
                    <a:lnTo>
                      <a:pt x="171" y="551"/>
                    </a:lnTo>
                    <a:lnTo>
                      <a:pt x="175" y="571"/>
                    </a:lnTo>
                    <a:lnTo>
                      <a:pt x="189" y="605"/>
                    </a:lnTo>
                    <a:lnTo>
                      <a:pt x="197" y="613"/>
                    </a:lnTo>
                    <a:lnTo>
                      <a:pt x="202" y="614"/>
                    </a:lnTo>
                    <a:lnTo>
                      <a:pt x="205" y="622"/>
                    </a:lnTo>
                    <a:lnTo>
                      <a:pt x="211" y="625"/>
                    </a:lnTo>
                    <a:lnTo>
                      <a:pt x="216" y="619"/>
                    </a:lnTo>
                    <a:lnTo>
                      <a:pt x="220" y="623"/>
                    </a:lnTo>
                    <a:lnTo>
                      <a:pt x="224" y="637"/>
                    </a:lnTo>
                    <a:lnTo>
                      <a:pt x="240" y="648"/>
                    </a:lnTo>
                    <a:lnTo>
                      <a:pt x="257" y="671"/>
                    </a:lnTo>
                    <a:lnTo>
                      <a:pt x="262" y="684"/>
                    </a:lnTo>
                    <a:lnTo>
                      <a:pt x="259" y="714"/>
                    </a:lnTo>
                    <a:lnTo>
                      <a:pt x="270" y="734"/>
                    </a:lnTo>
                    <a:lnTo>
                      <a:pt x="262" y="732"/>
                    </a:lnTo>
                    <a:lnTo>
                      <a:pt x="258" y="740"/>
                    </a:lnTo>
                    <a:lnTo>
                      <a:pt x="262" y="750"/>
                    </a:lnTo>
                    <a:lnTo>
                      <a:pt x="251" y="743"/>
                    </a:lnTo>
                    <a:lnTo>
                      <a:pt x="241" y="745"/>
                    </a:lnTo>
                    <a:lnTo>
                      <a:pt x="222" y="752"/>
                    </a:lnTo>
                    <a:lnTo>
                      <a:pt x="214" y="788"/>
                    </a:lnTo>
                    <a:lnTo>
                      <a:pt x="200" y="801"/>
                    </a:lnTo>
                    <a:lnTo>
                      <a:pt x="181" y="828"/>
                    </a:lnTo>
                    <a:lnTo>
                      <a:pt x="156" y="855"/>
                    </a:lnTo>
                    <a:lnTo>
                      <a:pt x="140" y="879"/>
                    </a:lnTo>
                    <a:lnTo>
                      <a:pt x="118" y="918"/>
                    </a:lnTo>
                    <a:lnTo>
                      <a:pt x="108" y="925"/>
                    </a:lnTo>
                    <a:lnTo>
                      <a:pt x="102" y="935"/>
                    </a:lnTo>
                    <a:lnTo>
                      <a:pt x="97" y="940"/>
                    </a:lnTo>
                    <a:lnTo>
                      <a:pt x="90" y="949"/>
                    </a:lnTo>
                    <a:lnTo>
                      <a:pt x="70" y="952"/>
                    </a:lnTo>
                    <a:lnTo>
                      <a:pt x="62" y="949"/>
                    </a:lnTo>
                    <a:lnTo>
                      <a:pt x="55" y="962"/>
                    </a:lnTo>
                    <a:lnTo>
                      <a:pt x="63" y="972"/>
                    </a:lnTo>
                    <a:lnTo>
                      <a:pt x="59" y="974"/>
                    </a:lnTo>
                    <a:lnTo>
                      <a:pt x="42" y="976"/>
                    </a:lnTo>
                    <a:lnTo>
                      <a:pt x="43" y="982"/>
                    </a:lnTo>
                    <a:lnTo>
                      <a:pt x="39" y="990"/>
                    </a:lnTo>
                    <a:lnTo>
                      <a:pt x="33" y="990"/>
                    </a:lnTo>
                    <a:lnTo>
                      <a:pt x="30" y="993"/>
                    </a:lnTo>
                    <a:lnTo>
                      <a:pt x="26" y="1000"/>
                    </a:lnTo>
                    <a:lnTo>
                      <a:pt x="21" y="1019"/>
                    </a:lnTo>
                    <a:lnTo>
                      <a:pt x="23" y="1039"/>
                    </a:lnTo>
                    <a:lnTo>
                      <a:pt x="26" y="1047"/>
                    </a:lnTo>
                    <a:lnTo>
                      <a:pt x="30" y="1053"/>
                    </a:lnTo>
                    <a:lnTo>
                      <a:pt x="33" y="1065"/>
                    </a:lnTo>
                    <a:lnTo>
                      <a:pt x="30" y="1091"/>
                    </a:lnTo>
                    <a:lnTo>
                      <a:pt x="35" y="1101"/>
                    </a:lnTo>
                    <a:lnTo>
                      <a:pt x="42" y="1109"/>
                    </a:lnTo>
                    <a:lnTo>
                      <a:pt x="43" y="1120"/>
                    </a:lnTo>
                    <a:lnTo>
                      <a:pt x="47" y="1135"/>
                    </a:lnTo>
                    <a:lnTo>
                      <a:pt x="50" y="1144"/>
                    </a:lnTo>
                    <a:lnTo>
                      <a:pt x="55" y="1150"/>
                    </a:lnTo>
                    <a:lnTo>
                      <a:pt x="57" y="1152"/>
                    </a:lnTo>
                    <a:lnTo>
                      <a:pt x="52" y="1148"/>
                    </a:lnTo>
                    <a:lnTo>
                      <a:pt x="47" y="1148"/>
                    </a:lnTo>
                    <a:lnTo>
                      <a:pt x="43" y="1152"/>
                    </a:lnTo>
                    <a:lnTo>
                      <a:pt x="44" y="1159"/>
                    </a:lnTo>
                    <a:lnTo>
                      <a:pt x="43" y="1165"/>
                    </a:lnTo>
                    <a:lnTo>
                      <a:pt x="44" y="1173"/>
                    </a:lnTo>
                    <a:lnTo>
                      <a:pt x="44" y="1188"/>
                    </a:lnTo>
                    <a:lnTo>
                      <a:pt x="39" y="1202"/>
                    </a:lnTo>
                    <a:lnTo>
                      <a:pt x="36" y="1202"/>
                    </a:lnTo>
                    <a:lnTo>
                      <a:pt x="33" y="1211"/>
                    </a:lnTo>
                    <a:lnTo>
                      <a:pt x="37" y="1218"/>
                    </a:lnTo>
                    <a:lnTo>
                      <a:pt x="37" y="1224"/>
                    </a:lnTo>
                    <a:lnTo>
                      <a:pt x="36" y="1229"/>
                    </a:lnTo>
                    <a:lnTo>
                      <a:pt x="37" y="1234"/>
                    </a:lnTo>
                    <a:lnTo>
                      <a:pt x="44" y="1237"/>
                    </a:lnTo>
                    <a:lnTo>
                      <a:pt x="43" y="1241"/>
                    </a:lnTo>
                    <a:lnTo>
                      <a:pt x="38" y="1242"/>
                    </a:lnTo>
                    <a:lnTo>
                      <a:pt x="39" y="1249"/>
                    </a:lnTo>
                    <a:lnTo>
                      <a:pt x="53" y="1249"/>
                    </a:lnTo>
                    <a:lnTo>
                      <a:pt x="64" y="1257"/>
                    </a:lnTo>
                    <a:lnTo>
                      <a:pt x="69" y="1264"/>
                    </a:lnTo>
                    <a:lnTo>
                      <a:pt x="80" y="1269"/>
                    </a:lnTo>
                    <a:lnTo>
                      <a:pt x="97" y="1274"/>
                    </a:lnTo>
                    <a:lnTo>
                      <a:pt x="100" y="1278"/>
                    </a:lnTo>
                    <a:lnTo>
                      <a:pt x="97" y="1285"/>
                    </a:lnTo>
                    <a:lnTo>
                      <a:pt x="106" y="1291"/>
                    </a:lnTo>
                    <a:lnTo>
                      <a:pt x="121" y="1283"/>
                    </a:lnTo>
                    <a:lnTo>
                      <a:pt x="122" y="1288"/>
                    </a:lnTo>
                    <a:lnTo>
                      <a:pt x="122" y="1300"/>
                    </a:lnTo>
                    <a:lnTo>
                      <a:pt x="130" y="1313"/>
                    </a:lnTo>
                    <a:lnTo>
                      <a:pt x="129" y="1321"/>
                    </a:lnTo>
                    <a:lnTo>
                      <a:pt x="136" y="1324"/>
                    </a:lnTo>
                    <a:lnTo>
                      <a:pt x="134" y="1331"/>
                    </a:lnTo>
                    <a:lnTo>
                      <a:pt x="124" y="1338"/>
                    </a:lnTo>
                    <a:lnTo>
                      <a:pt x="129" y="1339"/>
                    </a:lnTo>
                    <a:lnTo>
                      <a:pt x="139" y="1333"/>
                    </a:lnTo>
                    <a:lnTo>
                      <a:pt x="150" y="1313"/>
                    </a:lnTo>
                    <a:lnTo>
                      <a:pt x="152" y="1316"/>
                    </a:lnTo>
                    <a:lnTo>
                      <a:pt x="152" y="1326"/>
                    </a:lnTo>
                    <a:lnTo>
                      <a:pt x="157" y="1327"/>
                    </a:lnTo>
                    <a:lnTo>
                      <a:pt x="181" y="1315"/>
                    </a:lnTo>
                    <a:lnTo>
                      <a:pt x="189" y="1315"/>
                    </a:lnTo>
                    <a:lnTo>
                      <a:pt x="197" y="1311"/>
                    </a:lnTo>
                    <a:lnTo>
                      <a:pt x="200" y="1316"/>
                    </a:lnTo>
                    <a:lnTo>
                      <a:pt x="203" y="1316"/>
                    </a:lnTo>
                    <a:lnTo>
                      <a:pt x="213" y="1306"/>
                    </a:lnTo>
                    <a:lnTo>
                      <a:pt x="221" y="1300"/>
                    </a:lnTo>
                    <a:lnTo>
                      <a:pt x="229" y="1299"/>
                    </a:lnTo>
                    <a:lnTo>
                      <a:pt x="235" y="1301"/>
                    </a:lnTo>
                    <a:lnTo>
                      <a:pt x="251" y="1291"/>
                    </a:lnTo>
                    <a:lnTo>
                      <a:pt x="261" y="1290"/>
                    </a:lnTo>
                    <a:lnTo>
                      <a:pt x="268" y="1276"/>
                    </a:lnTo>
                    <a:lnTo>
                      <a:pt x="273" y="1286"/>
                    </a:lnTo>
                    <a:lnTo>
                      <a:pt x="291" y="1279"/>
                    </a:lnTo>
                    <a:lnTo>
                      <a:pt x="289" y="1269"/>
                    </a:lnTo>
                    <a:lnTo>
                      <a:pt x="290" y="1272"/>
                    </a:lnTo>
                    <a:lnTo>
                      <a:pt x="299" y="1275"/>
                    </a:lnTo>
                    <a:lnTo>
                      <a:pt x="305" y="1275"/>
                    </a:lnTo>
                    <a:lnTo>
                      <a:pt x="311" y="1269"/>
                    </a:lnTo>
                    <a:lnTo>
                      <a:pt x="329" y="1268"/>
                    </a:lnTo>
                    <a:lnTo>
                      <a:pt x="342" y="1263"/>
                    </a:lnTo>
                    <a:lnTo>
                      <a:pt x="351" y="1258"/>
                    </a:lnTo>
                    <a:lnTo>
                      <a:pt x="359" y="1263"/>
                    </a:lnTo>
                    <a:lnTo>
                      <a:pt x="377" y="1265"/>
                    </a:lnTo>
                    <a:lnTo>
                      <a:pt x="382" y="1262"/>
                    </a:lnTo>
                    <a:lnTo>
                      <a:pt x="386" y="1257"/>
                    </a:lnTo>
                    <a:lnTo>
                      <a:pt x="387" y="1258"/>
                    </a:lnTo>
                    <a:lnTo>
                      <a:pt x="423" y="1231"/>
                    </a:lnTo>
                    <a:lnTo>
                      <a:pt x="473" y="1182"/>
                    </a:lnTo>
                    <a:lnTo>
                      <a:pt x="511" y="1139"/>
                    </a:lnTo>
                    <a:lnTo>
                      <a:pt x="563" y="1070"/>
                    </a:lnTo>
                    <a:lnTo>
                      <a:pt x="576" y="1050"/>
                    </a:lnTo>
                    <a:lnTo>
                      <a:pt x="592" y="1012"/>
                    </a:lnTo>
                    <a:lnTo>
                      <a:pt x="593" y="973"/>
                    </a:lnTo>
                    <a:lnTo>
                      <a:pt x="589" y="979"/>
                    </a:lnTo>
                    <a:lnTo>
                      <a:pt x="579" y="962"/>
                    </a:lnTo>
                    <a:lnTo>
                      <a:pt x="574" y="945"/>
                    </a:lnTo>
                    <a:lnTo>
                      <a:pt x="544" y="922"/>
                    </a:lnTo>
                    <a:lnTo>
                      <a:pt x="536" y="909"/>
                    </a:lnTo>
                    <a:lnTo>
                      <a:pt x="530" y="891"/>
                    </a:lnTo>
                    <a:lnTo>
                      <a:pt x="534" y="875"/>
                    </a:lnTo>
                    <a:lnTo>
                      <a:pt x="544" y="860"/>
                    </a:lnTo>
                    <a:lnTo>
                      <a:pt x="550" y="842"/>
                    </a:lnTo>
                    <a:lnTo>
                      <a:pt x="549" y="822"/>
                    </a:lnTo>
                    <a:lnTo>
                      <a:pt x="533" y="807"/>
                    </a:lnTo>
                    <a:lnTo>
                      <a:pt x="526" y="791"/>
                    </a:lnTo>
                    <a:lnTo>
                      <a:pt x="528" y="770"/>
                    </a:lnTo>
                    <a:lnTo>
                      <a:pt x="520" y="753"/>
                    </a:lnTo>
                    <a:lnTo>
                      <a:pt x="504" y="750"/>
                    </a:lnTo>
                    <a:lnTo>
                      <a:pt x="503" y="729"/>
                    </a:lnTo>
                    <a:lnTo>
                      <a:pt x="509" y="718"/>
                    </a:lnTo>
                    <a:lnTo>
                      <a:pt x="507" y="699"/>
                    </a:lnTo>
                    <a:lnTo>
                      <a:pt x="504" y="689"/>
                    </a:lnTo>
                    <a:lnTo>
                      <a:pt x="509" y="673"/>
                    </a:lnTo>
                    <a:lnTo>
                      <a:pt x="511" y="651"/>
                    </a:lnTo>
                    <a:lnTo>
                      <a:pt x="525" y="639"/>
                    </a:lnTo>
                    <a:lnTo>
                      <a:pt x="523" y="624"/>
                    </a:lnTo>
                    <a:lnTo>
                      <a:pt x="521" y="607"/>
                    </a:lnTo>
                    <a:lnTo>
                      <a:pt x="510" y="573"/>
                    </a:lnTo>
                    <a:lnTo>
                      <a:pt x="495" y="546"/>
                    </a:lnTo>
                    <a:lnTo>
                      <a:pt x="493" y="527"/>
                    </a:lnTo>
                    <a:lnTo>
                      <a:pt x="485" y="510"/>
                    </a:lnTo>
                    <a:lnTo>
                      <a:pt x="476" y="490"/>
                    </a:lnTo>
                    <a:lnTo>
                      <a:pt x="474" y="469"/>
                    </a:lnTo>
                    <a:lnTo>
                      <a:pt x="480" y="456"/>
                    </a:lnTo>
                    <a:lnTo>
                      <a:pt x="499" y="413"/>
                    </a:lnTo>
                    <a:lnTo>
                      <a:pt x="517" y="376"/>
                    </a:lnTo>
                    <a:lnTo>
                      <a:pt x="514" y="354"/>
                    </a:lnTo>
                    <a:lnTo>
                      <a:pt x="504" y="339"/>
                    </a:lnTo>
                    <a:lnTo>
                      <a:pt x="484" y="301"/>
                    </a:lnTo>
                    <a:lnTo>
                      <a:pt x="469" y="294"/>
                    </a:lnTo>
                    <a:lnTo>
                      <a:pt x="456" y="291"/>
                    </a:lnTo>
                    <a:lnTo>
                      <a:pt x="446" y="285"/>
                    </a:lnTo>
                    <a:lnTo>
                      <a:pt x="441" y="278"/>
                    </a:lnTo>
                    <a:lnTo>
                      <a:pt x="436" y="258"/>
                    </a:lnTo>
                    <a:lnTo>
                      <a:pt x="434" y="232"/>
                    </a:lnTo>
                    <a:lnTo>
                      <a:pt x="435" y="223"/>
                    </a:lnTo>
                    <a:lnTo>
                      <a:pt x="446" y="194"/>
                    </a:lnTo>
                    <a:lnTo>
                      <a:pt x="446" y="189"/>
                    </a:lnTo>
                    <a:lnTo>
                      <a:pt x="436" y="185"/>
                    </a:lnTo>
                    <a:lnTo>
                      <a:pt x="467" y="158"/>
                    </a:lnTo>
                    <a:lnTo>
                      <a:pt x="457" y="150"/>
                    </a:lnTo>
                    <a:lnTo>
                      <a:pt x="456" y="139"/>
                    </a:lnTo>
                    <a:lnTo>
                      <a:pt x="460" y="126"/>
                    </a:lnTo>
                    <a:lnTo>
                      <a:pt x="479" y="102"/>
                    </a:lnTo>
                    <a:lnTo>
                      <a:pt x="478" y="86"/>
                    </a:lnTo>
                    <a:lnTo>
                      <a:pt x="471" y="58"/>
                    </a:lnTo>
                    <a:lnTo>
                      <a:pt x="453" y="41"/>
                    </a:lnTo>
                    <a:lnTo>
                      <a:pt x="435" y="35"/>
                    </a:lnTo>
                    <a:lnTo>
                      <a:pt x="425" y="26"/>
                    </a:lnTo>
                    <a:lnTo>
                      <a:pt x="415" y="5"/>
                    </a:lnTo>
                    <a:lnTo>
                      <a:pt x="409" y="0"/>
                    </a:lnTo>
                    <a:lnTo>
                      <a:pt x="386" y="5"/>
                    </a:lnTo>
                    <a:lnTo>
                      <a:pt x="348" y="22"/>
                    </a:lnTo>
                    <a:lnTo>
                      <a:pt x="323" y="25"/>
                    </a:lnTo>
                    <a:lnTo>
                      <a:pt x="310" y="32"/>
                    </a:lnTo>
                    <a:lnTo>
                      <a:pt x="300" y="45"/>
                    </a:lnTo>
                    <a:lnTo>
                      <a:pt x="286" y="76"/>
                    </a:lnTo>
                    <a:lnTo>
                      <a:pt x="283" y="118"/>
                    </a:lnTo>
                    <a:lnTo>
                      <a:pt x="283" y="132"/>
                    </a:lnTo>
                    <a:lnTo>
                      <a:pt x="285" y="155"/>
                    </a:lnTo>
                    <a:lnTo>
                      <a:pt x="283" y="167"/>
                    </a:lnTo>
                    <a:lnTo>
                      <a:pt x="257" y="187"/>
                    </a:lnTo>
                    <a:lnTo>
                      <a:pt x="248" y="201"/>
                    </a:lnTo>
                    <a:lnTo>
                      <a:pt x="236" y="210"/>
                    </a:lnTo>
                    <a:lnTo>
                      <a:pt x="220" y="218"/>
                    </a:lnTo>
                    <a:lnTo>
                      <a:pt x="210" y="214"/>
                    </a:lnTo>
                    <a:lnTo>
                      <a:pt x="207" y="205"/>
                    </a:lnTo>
                    <a:lnTo>
                      <a:pt x="198" y="193"/>
                    </a:lnTo>
                    <a:lnTo>
                      <a:pt x="188" y="186"/>
                    </a:lnTo>
                    <a:lnTo>
                      <a:pt x="171" y="205"/>
                    </a:lnTo>
                    <a:lnTo>
                      <a:pt x="156" y="214"/>
                    </a:lnTo>
                    <a:lnTo>
                      <a:pt x="144" y="215"/>
                    </a:lnTo>
                    <a:lnTo>
                      <a:pt x="129" y="208"/>
                    </a:lnTo>
                    <a:lnTo>
                      <a:pt x="103" y="204"/>
                    </a:lnTo>
                    <a:lnTo>
                      <a:pt x="98" y="196"/>
                    </a:lnTo>
                    <a:lnTo>
                      <a:pt x="93" y="177"/>
                    </a:lnTo>
                    <a:lnTo>
                      <a:pt x="63" y="133"/>
                    </a:lnTo>
                    <a:lnTo>
                      <a:pt x="52" y="122"/>
                    </a:lnTo>
                    <a:lnTo>
                      <a:pt x="37" y="116"/>
                    </a:lnTo>
                    <a:lnTo>
                      <a:pt x="25" y="122"/>
                    </a:lnTo>
                    <a:lnTo>
                      <a:pt x="26" y="134"/>
                    </a:lnTo>
                    <a:lnTo>
                      <a:pt x="28" y="146"/>
                    </a:lnTo>
                    <a:lnTo>
                      <a:pt x="20" y="150"/>
                    </a:lnTo>
                    <a:lnTo>
                      <a:pt x="11" y="145"/>
                    </a:lnTo>
                    <a:lnTo>
                      <a:pt x="3" y="149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90" name="Freeform 219"/>
              <p:cNvSpPr>
                <a:spLocks noChangeAspect="1"/>
              </p:cNvSpPr>
              <p:nvPr/>
            </p:nvSpPr>
            <p:spPr bwMode="gray">
              <a:xfrm>
                <a:off x="2604" y="1711"/>
                <a:ext cx="31" cy="57"/>
              </a:xfrm>
              <a:custGeom>
                <a:avLst/>
                <a:gdLst/>
                <a:ahLst/>
                <a:cxnLst>
                  <a:cxn ang="0">
                    <a:pos x="43" y="278"/>
                  </a:cxn>
                  <a:cxn ang="0">
                    <a:pos x="75" y="280"/>
                  </a:cxn>
                  <a:cxn ang="0">
                    <a:pos x="80" y="276"/>
                  </a:cxn>
                  <a:cxn ang="0">
                    <a:pos x="84" y="279"/>
                  </a:cxn>
                  <a:cxn ang="0">
                    <a:pos x="89" y="275"/>
                  </a:cxn>
                  <a:cxn ang="0">
                    <a:pos x="83" y="266"/>
                  </a:cxn>
                  <a:cxn ang="0">
                    <a:pos x="75" y="262"/>
                  </a:cxn>
                  <a:cxn ang="0">
                    <a:pos x="85" y="247"/>
                  </a:cxn>
                  <a:cxn ang="0">
                    <a:pos x="83" y="243"/>
                  </a:cxn>
                  <a:cxn ang="0">
                    <a:pos x="84" y="223"/>
                  </a:cxn>
                  <a:cxn ang="0">
                    <a:pos x="91" y="210"/>
                  </a:cxn>
                  <a:cxn ang="0">
                    <a:pos x="84" y="200"/>
                  </a:cxn>
                  <a:cxn ang="0">
                    <a:pos x="102" y="199"/>
                  </a:cxn>
                  <a:cxn ang="0">
                    <a:pos x="98" y="185"/>
                  </a:cxn>
                  <a:cxn ang="0">
                    <a:pos x="116" y="182"/>
                  </a:cxn>
                  <a:cxn ang="0">
                    <a:pos x="118" y="163"/>
                  </a:cxn>
                  <a:cxn ang="0">
                    <a:pos x="127" y="149"/>
                  </a:cxn>
                  <a:cxn ang="0">
                    <a:pos x="130" y="161"/>
                  </a:cxn>
                  <a:cxn ang="0">
                    <a:pos x="138" y="156"/>
                  </a:cxn>
                  <a:cxn ang="0">
                    <a:pos x="154" y="133"/>
                  </a:cxn>
                  <a:cxn ang="0">
                    <a:pos x="146" y="123"/>
                  </a:cxn>
                  <a:cxn ang="0">
                    <a:pos x="129" y="126"/>
                  </a:cxn>
                  <a:cxn ang="0">
                    <a:pos x="119" y="120"/>
                  </a:cxn>
                  <a:cxn ang="0">
                    <a:pos x="112" y="123"/>
                  </a:cxn>
                  <a:cxn ang="0">
                    <a:pos x="119" y="109"/>
                  </a:cxn>
                  <a:cxn ang="0">
                    <a:pos x="108" y="109"/>
                  </a:cxn>
                  <a:cxn ang="0">
                    <a:pos x="117" y="102"/>
                  </a:cxn>
                  <a:cxn ang="0">
                    <a:pos x="118" y="92"/>
                  </a:cxn>
                  <a:cxn ang="0">
                    <a:pos x="122" y="66"/>
                  </a:cxn>
                  <a:cxn ang="0">
                    <a:pos x="132" y="39"/>
                  </a:cxn>
                  <a:cxn ang="0">
                    <a:pos x="128" y="10"/>
                  </a:cxn>
                  <a:cxn ang="0">
                    <a:pos x="129" y="0"/>
                  </a:cxn>
                  <a:cxn ang="0">
                    <a:pos x="101" y="17"/>
                  </a:cxn>
                  <a:cxn ang="0">
                    <a:pos x="83" y="45"/>
                  </a:cxn>
                  <a:cxn ang="0">
                    <a:pos x="28" y="63"/>
                  </a:cxn>
                  <a:cxn ang="0">
                    <a:pos x="15" y="82"/>
                  </a:cxn>
                  <a:cxn ang="0">
                    <a:pos x="6" y="119"/>
                  </a:cxn>
                  <a:cxn ang="0">
                    <a:pos x="0" y="146"/>
                  </a:cxn>
                  <a:cxn ang="0">
                    <a:pos x="6" y="185"/>
                  </a:cxn>
                  <a:cxn ang="0">
                    <a:pos x="4" y="216"/>
                  </a:cxn>
                  <a:cxn ang="0">
                    <a:pos x="12" y="214"/>
                  </a:cxn>
                  <a:cxn ang="0">
                    <a:pos x="28" y="226"/>
                  </a:cxn>
                  <a:cxn ang="0">
                    <a:pos x="33" y="269"/>
                  </a:cxn>
                </a:cxnLst>
                <a:rect l="0" t="0" r="r" b="b"/>
                <a:pathLst>
                  <a:path w="154" h="284">
                    <a:moveTo>
                      <a:pt x="35" y="279"/>
                    </a:moveTo>
                    <a:lnTo>
                      <a:pt x="43" y="278"/>
                    </a:lnTo>
                    <a:lnTo>
                      <a:pt x="67" y="284"/>
                    </a:lnTo>
                    <a:lnTo>
                      <a:pt x="75" y="280"/>
                    </a:lnTo>
                    <a:lnTo>
                      <a:pt x="79" y="279"/>
                    </a:lnTo>
                    <a:lnTo>
                      <a:pt x="80" y="276"/>
                    </a:lnTo>
                    <a:lnTo>
                      <a:pt x="83" y="276"/>
                    </a:lnTo>
                    <a:lnTo>
                      <a:pt x="84" y="279"/>
                    </a:lnTo>
                    <a:lnTo>
                      <a:pt x="89" y="279"/>
                    </a:lnTo>
                    <a:lnTo>
                      <a:pt x="89" y="275"/>
                    </a:lnTo>
                    <a:lnTo>
                      <a:pt x="86" y="270"/>
                    </a:lnTo>
                    <a:lnTo>
                      <a:pt x="83" y="266"/>
                    </a:lnTo>
                    <a:lnTo>
                      <a:pt x="75" y="266"/>
                    </a:lnTo>
                    <a:lnTo>
                      <a:pt x="75" y="262"/>
                    </a:lnTo>
                    <a:lnTo>
                      <a:pt x="75" y="253"/>
                    </a:lnTo>
                    <a:lnTo>
                      <a:pt x="85" y="247"/>
                    </a:lnTo>
                    <a:lnTo>
                      <a:pt x="85" y="243"/>
                    </a:lnTo>
                    <a:lnTo>
                      <a:pt x="83" y="243"/>
                    </a:lnTo>
                    <a:lnTo>
                      <a:pt x="81" y="235"/>
                    </a:lnTo>
                    <a:lnTo>
                      <a:pt x="84" y="223"/>
                    </a:lnTo>
                    <a:lnTo>
                      <a:pt x="81" y="220"/>
                    </a:lnTo>
                    <a:lnTo>
                      <a:pt x="91" y="210"/>
                    </a:lnTo>
                    <a:lnTo>
                      <a:pt x="90" y="206"/>
                    </a:lnTo>
                    <a:lnTo>
                      <a:pt x="84" y="200"/>
                    </a:lnTo>
                    <a:lnTo>
                      <a:pt x="90" y="198"/>
                    </a:lnTo>
                    <a:lnTo>
                      <a:pt x="102" y="199"/>
                    </a:lnTo>
                    <a:lnTo>
                      <a:pt x="103" y="193"/>
                    </a:lnTo>
                    <a:lnTo>
                      <a:pt x="98" y="185"/>
                    </a:lnTo>
                    <a:lnTo>
                      <a:pt x="102" y="180"/>
                    </a:lnTo>
                    <a:lnTo>
                      <a:pt x="116" y="182"/>
                    </a:lnTo>
                    <a:lnTo>
                      <a:pt x="121" y="176"/>
                    </a:lnTo>
                    <a:lnTo>
                      <a:pt x="118" y="163"/>
                    </a:lnTo>
                    <a:lnTo>
                      <a:pt x="122" y="151"/>
                    </a:lnTo>
                    <a:lnTo>
                      <a:pt x="127" y="149"/>
                    </a:lnTo>
                    <a:lnTo>
                      <a:pt x="127" y="153"/>
                    </a:lnTo>
                    <a:lnTo>
                      <a:pt x="130" y="161"/>
                    </a:lnTo>
                    <a:lnTo>
                      <a:pt x="137" y="152"/>
                    </a:lnTo>
                    <a:lnTo>
                      <a:pt x="138" y="156"/>
                    </a:lnTo>
                    <a:lnTo>
                      <a:pt x="153" y="144"/>
                    </a:lnTo>
                    <a:lnTo>
                      <a:pt x="154" y="133"/>
                    </a:lnTo>
                    <a:lnTo>
                      <a:pt x="151" y="125"/>
                    </a:lnTo>
                    <a:lnTo>
                      <a:pt x="146" y="123"/>
                    </a:lnTo>
                    <a:lnTo>
                      <a:pt x="137" y="124"/>
                    </a:lnTo>
                    <a:lnTo>
                      <a:pt x="129" y="126"/>
                    </a:lnTo>
                    <a:lnTo>
                      <a:pt x="126" y="120"/>
                    </a:lnTo>
                    <a:lnTo>
                      <a:pt x="119" y="120"/>
                    </a:lnTo>
                    <a:lnTo>
                      <a:pt x="114" y="128"/>
                    </a:lnTo>
                    <a:lnTo>
                      <a:pt x="112" y="123"/>
                    </a:lnTo>
                    <a:lnTo>
                      <a:pt x="113" y="117"/>
                    </a:lnTo>
                    <a:lnTo>
                      <a:pt x="119" y="109"/>
                    </a:lnTo>
                    <a:lnTo>
                      <a:pt x="118" y="107"/>
                    </a:lnTo>
                    <a:lnTo>
                      <a:pt x="108" y="109"/>
                    </a:lnTo>
                    <a:lnTo>
                      <a:pt x="108" y="106"/>
                    </a:lnTo>
                    <a:lnTo>
                      <a:pt x="117" y="102"/>
                    </a:lnTo>
                    <a:lnTo>
                      <a:pt x="117" y="93"/>
                    </a:lnTo>
                    <a:lnTo>
                      <a:pt x="118" y="92"/>
                    </a:lnTo>
                    <a:lnTo>
                      <a:pt x="118" y="80"/>
                    </a:lnTo>
                    <a:lnTo>
                      <a:pt x="122" y="66"/>
                    </a:lnTo>
                    <a:lnTo>
                      <a:pt x="132" y="48"/>
                    </a:lnTo>
                    <a:lnTo>
                      <a:pt x="132" y="39"/>
                    </a:lnTo>
                    <a:lnTo>
                      <a:pt x="126" y="20"/>
                    </a:lnTo>
                    <a:lnTo>
                      <a:pt x="128" y="10"/>
                    </a:lnTo>
                    <a:lnTo>
                      <a:pt x="130" y="2"/>
                    </a:lnTo>
                    <a:lnTo>
                      <a:pt x="129" y="0"/>
                    </a:lnTo>
                    <a:lnTo>
                      <a:pt x="123" y="6"/>
                    </a:lnTo>
                    <a:lnTo>
                      <a:pt x="101" y="17"/>
                    </a:lnTo>
                    <a:lnTo>
                      <a:pt x="85" y="34"/>
                    </a:lnTo>
                    <a:lnTo>
                      <a:pt x="83" y="45"/>
                    </a:lnTo>
                    <a:lnTo>
                      <a:pt x="71" y="54"/>
                    </a:lnTo>
                    <a:lnTo>
                      <a:pt x="28" y="63"/>
                    </a:lnTo>
                    <a:lnTo>
                      <a:pt x="20" y="71"/>
                    </a:lnTo>
                    <a:lnTo>
                      <a:pt x="15" y="82"/>
                    </a:lnTo>
                    <a:lnTo>
                      <a:pt x="8" y="107"/>
                    </a:lnTo>
                    <a:lnTo>
                      <a:pt x="6" y="119"/>
                    </a:lnTo>
                    <a:lnTo>
                      <a:pt x="0" y="134"/>
                    </a:lnTo>
                    <a:lnTo>
                      <a:pt x="0" y="146"/>
                    </a:lnTo>
                    <a:lnTo>
                      <a:pt x="3" y="174"/>
                    </a:lnTo>
                    <a:lnTo>
                      <a:pt x="6" y="185"/>
                    </a:lnTo>
                    <a:lnTo>
                      <a:pt x="6" y="199"/>
                    </a:lnTo>
                    <a:lnTo>
                      <a:pt x="4" y="216"/>
                    </a:lnTo>
                    <a:lnTo>
                      <a:pt x="9" y="216"/>
                    </a:lnTo>
                    <a:lnTo>
                      <a:pt x="12" y="214"/>
                    </a:lnTo>
                    <a:lnTo>
                      <a:pt x="21" y="219"/>
                    </a:lnTo>
                    <a:lnTo>
                      <a:pt x="28" y="226"/>
                    </a:lnTo>
                    <a:lnTo>
                      <a:pt x="33" y="236"/>
                    </a:lnTo>
                    <a:lnTo>
                      <a:pt x="33" y="269"/>
                    </a:lnTo>
                    <a:lnTo>
                      <a:pt x="35" y="27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91" name="Freeform 220"/>
              <p:cNvSpPr>
                <a:spLocks noChangeAspect="1"/>
              </p:cNvSpPr>
              <p:nvPr/>
            </p:nvSpPr>
            <p:spPr bwMode="gray">
              <a:xfrm>
                <a:off x="2571" y="1365"/>
                <a:ext cx="285" cy="340"/>
              </a:xfrm>
              <a:custGeom>
                <a:avLst/>
                <a:gdLst/>
                <a:ahLst/>
                <a:cxnLst>
                  <a:cxn ang="0">
                    <a:pos x="1358" y="214"/>
                  </a:cxn>
                  <a:cxn ang="0">
                    <a:pos x="1321" y="157"/>
                  </a:cxn>
                  <a:cxn ang="0">
                    <a:pos x="1355" y="75"/>
                  </a:cxn>
                  <a:cxn ang="0">
                    <a:pos x="1290" y="70"/>
                  </a:cxn>
                  <a:cxn ang="0">
                    <a:pos x="1260" y="47"/>
                  </a:cxn>
                  <a:cxn ang="0">
                    <a:pos x="1218" y="67"/>
                  </a:cxn>
                  <a:cxn ang="0">
                    <a:pos x="1176" y="31"/>
                  </a:cxn>
                  <a:cxn ang="0">
                    <a:pos x="1106" y="112"/>
                  </a:cxn>
                  <a:cxn ang="0">
                    <a:pos x="1074" y="26"/>
                  </a:cxn>
                  <a:cxn ang="0">
                    <a:pos x="1003" y="159"/>
                  </a:cxn>
                  <a:cxn ang="0">
                    <a:pos x="944" y="150"/>
                  </a:cxn>
                  <a:cxn ang="0">
                    <a:pos x="930" y="178"/>
                  </a:cxn>
                  <a:cxn ang="0">
                    <a:pos x="874" y="202"/>
                  </a:cxn>
                  <a:cxn ang="0">
                    <a:pos x="841" y="212"/>
                  </a:cxn>
                  <a:cxn ang="0">
                    <a:pos x="795" y="291"/>
                  </a:cxn>
                  <a:cxn ang="0">
                    <a:pos x="726" y="285"/>
                  </a:cxn>
                  <a:cxn ang="0">
                    <a:pos x="704" y="355"/>
                  </a:cxn>
                  <a:cxn ang="0">
                    <a:pos x="632" y="407"/>
                  </a:cxn>
                  <a:cxn ang="0">
                    <a:pos x="633" y="422"/>
                  </a:cxn>
                  <a:cxn ang="0">
                    <a:pos x="586" y="471"/>
                  </a:cxn>
                  <a:cxn ang="0">
                    <a:pos x="561" y="542"/>
                  </a:cxn>
                  <a:cxn ang="0">
                    <a:pos x="520" y="591"/>
                  </a:cxn>
                  <a:cxn ang="0">
                    <a:pos x="459" y="673"/>
                  </a:cxn>
                  <a:cxn ang="0">
                    <a:pos x="436" y="734"/>
                  </a:cxn>
                  <a:cxn ang="0">
                    <a:pos x="420" y="796"/>
                  </a:cxn>
                  <a:cxn ang="0">
                    <a:pos x="387" y="856"/>
                  </a:cxn>
                  <a:cxn ang="0">
                    <a:pos x="360" y="902"/>
                  </a:cxn>
                  <a:cxn ang="0">
                    <a:pos x="305" y="969"/>
                  </a:cxn>
                  <a:cxn ang="0">
                    <a:pos x="320" y="1052"/>
                  </a:cxn>
                  <a:cxn ang="0">
                    <a:pos x="284" y="1096"/>
                  </a:cxn>
                  <a:cxn ang="0">
                    <a:pos x="228" y="1097"/>
                  </a:cxn>
                  <a:cxn ang="0">
                    <a:pos x="167" y="1122"/>
                  </a:cxn>
                  <a:cxn ang="0">
                    <a:pos x="137" y="1182"/>
                  </a:cxn>
                  <a:cxn ang="0">
                    <a:pos x="75" y="1214"/>
                  </a:cxn>
                  <a:cxn ang="0">
                    <a:pos x="53" y="1253"/>
                  </a:cxn>
                  <a:cxn ang="0">
                    <a:pos x="53" y="1279"/>
                  </a:cxn>
                  <a:cxn ang="0">
                    <a:pos x="16" y="1310"/>
                  </a:cxn>
                  <a:cxn ang="0">
                    <a:pos x="74" y="1349"/>
                  </a:cxn>
                  <a:cxn ang="0">
                    <a:pos x="127" y="1354"/>
                  </a:cxn>
                  <a:cxn ang="0">
                    <a:pos x="57" y="1370"/>
                  </a:cxn>
                  <a:cxn ang="0">
                    <a:pos x="0" y="1407"/>
                  </a:cxn>
                  <a:cxn ang="0">
                    <a:pos x="30" y="1461"/>
                  </a:cxn>
                  <a:cxn ang="0">
                    <a:pos x="88" y="1428"/>
                  </a:cxn>
                  <a:cxn ang="0">
                    <a:pos x="40" y="1506"/>
                  </a:cxn>
                  <a:cxn ang="0">
                    <a:pos x="16" y="1560"/>
                  </a:cxn>
                  <a:cxn ang="0">
                    <a:pos x="64" y="1571"/>
                  </a:cxn>
                  <a:cxn ang="0">
                    <a:pos x="85" y="1677"/>
                  </a:cxn>
                  <a:cxn ang="0">
                    <a:pos x="190" y="1671"/>
                  </a:cxn>
                  <a:cxn ang="0">
                    <a:pos x="293" y="1556"/>
                  </a:cxn>
                  <a:cxn ang="0">
                    <a:pos x="299" y="1506"/>
                  </a:cxn>
                  <a:cxn ang="0">
                    <a:pos x="339" y="1614"/>
                  </a:cxn>
                  <a:cxn ang="0">
                    <a:pos x="400" y="1394"/>
                  </a:cxn>
                  <a:cxn ang="0">
                    <a:pos x="386" y="1186"/>
                  </a:cxn>
                  <a:cxn ang="0">
                    <a:pos x="488" y="1020"/>
                  </a:cxn>
                  <a:cxn ang="0">
                    <a:pos x="542" y="750"/>
                  </a:cxn>
                  <a:cxn ang="0">
                    <a:pos x="633" y="532"/>
                  </a:cxn>
                  <a:cxn ang="0">
                    <a:pos x="729" y="404"/>
                  </a:cxn>
                  <a:cxn ang="0">
                    <a:pos x="826" y="326"/>
                  </a:cxn>
                  <a:cxn ang="0">
                    <a:pos x="957" y="371"/>
                  </a:cxn>
                  <a:cxn ang="0">
                    <a:pos x="1139" y="322"/>
                  </a:cxn>
                  <a:cxn ang="0">
                    <a:pos x="1325" y="225"/>
                  </a:cxn>
                  <a:cxn ang="0">
                    <a:pos x="1381" y="239"/>
                  </a:cxn>
                </a:cxnLst>
                <a:rect l="0" t="0" r="r" b="b"/>
                <a:pathLst>
                  <a:path w="1427" h="1701">
                    <a:moveTo>
                      <a:pt x="1419" y="216"/>
                    </a:moveTo>
                    <a:lnTo>
                      <a:pt x="1397" y="212"/>
                    </a:lnTo>
                    <a:lnTo>
                      <a:pt x="1395" y="232"/>
                    </a:lnTo>
                    <a:lnTo>
                      <a:pt x="1388" y="232"/>
                    </a:lnTo>
                    <a:lnTo>
                      <a:pt x="1390" y="229"/>
                    </a:lnTo>
                    <a:lnTo>
                      <a:pt x="1380" y="225"/>
                    </a:lnTo>
                    <a:lnTo>
                      <a:pt x="1376" y="219"/>
                    </a:lnTo>
                    <a:lnTo>
                      <a:pt x="1376" y="231"/>
                    </a:lnTo>
                    <a:lnTo>
                      <a:pt x="1375" y="234"/>
                    </a:lnTo>
                    <a:lnTo>
                      <a:pt x="1370" y="224"/>
                    </a:lnTo>
                    <a:lnTo>
                      <a:pt x="1357" y="226"/>
                    </a:lnTo>
                    <a:lnTo>
                      <a:pt x="1347" y="232"/>
                    </a:lnTo>
                    <a:lnTo>
                      <a:pt x="1350" y="220"/>
                    </a:lnTo>
                    <a:lnTo>
                      <a:pt x="1358" y="214"/>
                    </a:lnTo>
                    <a:lnTo>
                      <a:pt x="1365" y="212"/>
                    </a:lnTo>
                    <a:lnTo>
                      <a:pt x="1368" y="205"/>
                    </a:lnTo>
                    <a:lnTo>
                      <a:pt x="1366" y="200"/>
                    </a:lnTo>
                    <a:lnTo>
                      <a:pt x="1361" y="193"/>
                    </a:lnTo>
                    <a:lnTo>
                      <a:pt x="1341" y="196"/>
                    </a:lnTo>
                    <a:lnTo>
                      <a:pt x="1344" y="189"/>
                    </a:lnTo>
                    <a:lnTo>
                      <a:pt x="1338" y="183"/>
                    </a:lnTo>
                    <a:lnTo>
                      <a:pt x="1326" y="177"/>
                    </a:lnTo>
                    <a:lnTo>
                      <a:pt x="1315" y="166"/>
                    </a:lnTo>
                    <a:lnTo>
                      <a:pt x="1301" y="162"/>
                    </a:lnTo>
                    <a:lnTo>
                      <a:pt x="1296" y="156"/>
                    </a:lnTo>
                    <a:lnTo>
                      <a:pt x="1299" y="153"/>
                    </a:lnTo>
                    <a:lnTo>
                      <a:pt x="1299" y="149"/>
                    </a:lnTo>
                    <a:lnTo>
                      <a:pt x="1321" y="157"/>
                    </a:lnTo>
                    <a:lnTo>
                      <a:pt x="1371" y="166"/>
                    </a:lnTo>
                    <a:lnTo>
                      <a:pt x="1407" y="137"/>
                    </a:lnTo>
                    <a:lnTo>
                      <a:pt x="1419" y="132"/>
                    </a:lnTo>
                    <a:lnTo>
                      <a:pt x="1427" y="126"/>
                    </a:lnTo>
                    <a:lnTo>
                      <a:pt x="1424" y="112"/>
                    </a:lnTo>
                    <a:lnTo>
                      <a:pt x="1412" y="106"/>
                    </a:lnTo>
                    <a:lnTo>
                      <a:pt x="1404" y="92"/>
                    </a:lnTo>
                    <a:lnTo>
                      <a:pt x="1388" y="91"/>
                    </a:lnTo>
                    <a:lnTo>
                      <a:pt x="1380" y="87"/>
                    </a:lnTo>
                    <a:lnTo>
                      <a:pt x="1388" y="80"/>
                    </a:lnTo>
                    <a:lnTo>
                      <a:pt x="1374" y="73"/>
                    </a:lnTo>
                    <a:lnTo>
                      <a:pt x="1369" y="63"/>
                    </a:lnTo>
                    <a:lnTo>
                      <a:pt x="1361" y="71"/>
                    </a:lnTo>
                    <a:lnTo>
                      <a:pt x="1355" y="75"/>
                    </a:lnTo>
                    <a:lnTo>
                      <a:pt x="1355" y="68"/>
                    </a:lnTo>
                    <a:lnTo>
                      <a:pt x="1353" y="63"/>
                    </a:lnTo>
                    <a:lnTo>
                      <a:pt x="1333" y="70"/>
                    </a:lnTo>
                    <a:lnTo>
                      <a:pt x="1332" y="68"/>
                    </a:lnTo>
                    <a:lnTo>
                      <a:pt x="1331" y="63"/>
                    </a:lnTo>
                    <a:lnTo>
                      <a:pt x="1332" y="59"/>
                    </a:lnTo>
                    <a:lnTo>
                      <a:pt x="1332" y="49"/>
                    </a:lnTo>
                    <a:lnTo>
                      <a:pt x="1327" y="46"/>
                    </a:lnTo>
                    <a:lnTo>
                      <a:pt x="1325" y="38"/>
                    </a:lnTo>
                    <a:lnTo>
                      <a:pt x="1316" y="42"/>
                    </a:lnTo>
                    <a:lnTo>
                      <a:pt x="1310" y="38"/>
                    </a:lnTo>
                    <a:lnTo>
                      <a:pt x="1301" y="41"/>
                    </a:lnTo>
                    <a:lnTo>
                      <a:pt x="1293" y="56"/>
                    </a:lnTo>
                    <a:lnTo>
                      <a:pt x="1290" y="70"/>
                    </a:lnTo>
                    <a:lnTo>
                      <a:pt x="1290" y="89"/>
                    </a:lnTo>
                    <a:lnTo>
                      <a:pt x="1293" y="103"/>
                    </a:lnTo>
                    <a:lnTo>
                      <a:pt x="1280" y="110"/>
                    </a:lnTo>
                    <a:lnTo>
                      <a:pt x="1271" y="102"/>
                    </a:lnTo>
                    <a:lnTo>
                      <a:pt x="1260" y="105"/>
                    </a:lnTo>
                    <a:lnTo>
                      <a:pt x="1257" y="101"/>
                    </a:lnTo>
                    <a:lnTo>
                      <a:pt x="1267" y="91"/>
                    </a:lnTo>
                    <a:lnTo>
                      <a:pt x="1277" y="76"/>
                    </a:lnTo>
                    <a:lnTo>
                      <a:pt x="1272" y="67"/>
                    </a:lnTo>
                    <a:lnTo>
                      <a:pt x="1257" y="78"/>
                    </a:lnTo>
                    <a:lnTo>
                      <a:pt x="1247" y="78"/>
                    </a:lnTo>
                    <a:lnTo>
                      <a:pt x="1262" y="67"/>
                    </a:lnTo>
                    <a:lnTo>
                      <a:pt x="1253" y="56"/>
                    </a:lnTo>
                    <a:lnTo>
                      <a:pt x="1260" y="47"/>
                    </a:lnTo>
                    <a:lnTo>
                      <a:pt x="1277" y="49"/>
                    </a:lnTo>
                    <a:lnTo>
                      <a:pt x="1284" y="35"/>
                    </a:lnTo>
                    <a:lnTo>
                      <a:pt x="1285" y="19"/>
                    </a:lnTo>
                    <a:lnTo>
                      <a:pt x="1273" y="19"/>
                    </a:lnTo>
                    <a:lnTo>
                      <a:pt x="1275" y="9"/>
                    </a:lnTo>
                    <a:lnTo>
                      <a:pt x="1268" y="3"/>
                    </a:lnTo>
                    <a:lnTo>
                      <a:pt x="1262" y="3"/>
                    </a:lnTo>
                    <a:lnTo>
                      <a:pt x="1250" y="13"/>
                    </a:lnTo>
                    <a:lnTo>
                      <a:pt x="1239" y="0"/>
                    </a:lnTo>
                    <a:lnTo>
                      <a:pt x="1236" y="17"/>
                    </a:lnTo>
                    <a:lnTo>
                      <a:pt x="1231" y="37"/>
                    </a:lnTo>
                    <a:lnTo>
                      <a:pt x="1226" y="49"/>
                    </a:lnTo>
                    <a:lnTo>
                      <a:pt x="1220" y="59"/>
                    </a:lnTo>
                    <a:lnTo>
                      <a:pt x="1218" y="67"/>
                    </a:lnTo>
                    <a:lnTo>
                      <a:pt x="1219" y="78"/>
                    </a:lnTo>
                    <a:lnTo>
                      <a:pt x="1212" y="79"/>
                    </a:lnTo>
                    <a:lnTo>
                      <a:pt x="1208" y="89"/>
                    </a:lnTo>
                    <a:lnTo>
                      <a:pt x="1208" y="103"/>
                    </a:lnTo>
                    <a:lnTo>
                      <a:pt x="1197" y="103"/>
                    </a:lnTo>
                    <a:lnTo>
                      <a:pt x="1182" y="118"/>
                    </a:lnTo>
                    <a:lnTo>
                      <a:pt x="1183" y="102"/>
                    </a:lnTo>
                    <a:lnTo>
                      <a:pt x="1188" y="85"/>
                    </a:lnTo>
                    <a:lnTo>
                      <a:pt x="1178" y="70"/>
                    </a:lnTo>
                    <a:lnTo>
                      <a:pt x="1188" y="62"/>
                    </a:lnTo>
                    <a:lnTo>
                      <a:pt x="1188" y="41"/>
                    </a:lnTo>
                    <a:lnTo>
                      <a:pt x="1187" y="28"/>
                    </a:lnTo>
                    <a:lnTo>
                      <a:pt x="1182" y="27"/>
                    </a:lnTo>
                    <a:lnTo>
                      <a:pt x="1176" y="31"/>
                    </a:lnTo>
                    <a:lnTo>
                      <a:pt x="1142" y="90"/>
                    </a:lnTo>
                    <a:lnTo>
                      <a:pt x="1135" y="96"/>
                    </a:lnTo>
                    <a:lnTo>
                      <a:pt x="1129" y="111"/>
                    </a:lnTo>
                    <a:lnTo>
                      <a:pt x="1121" y="122"/>
                    </a:lnTo>
                    <a:lnTo>
                      <a:pt x="1115" y="140"/>
                    </a:lnTo>
                    <a:lnTo>
                      <a:pt x="1123" y="132"/>
                    </a:lnTo>
                    <a:lnTo>
                      <a:pt x="1101" y="167"/>
                    </a:lnTo>
                    <a:lnTo>
                      <a:pt x="1092" y="172"/>
                    </a:lnTo>
                    <a:lnTo>
                      <a:pt x="1091" y="160"/>
                    </a:lnTo>
                    <a:lnTo>
                      <a:pt x="1092" y="148"/>
                    </a:lnTo>
                    <a:lnTo>
                      <a:pt x="1099" y="139"/>
                    </a:lnTo>
                    <a:lnTo>
                      <a:pt x="1104" y="137"/>
                    </a:lnTo>
                    <a:lnTo>
                      <a:pt x="1104" y="129"/>
                    </a:lnTo>
                    <a:lnTo>
                      <a:pt x="1106" y="112"/>
                    </a:lnTo>
                    <a:lnTo>
                      <a:pt x="1105" y="105"/>
                    </a:lnTo>
                    <a:lnTo>
                      <a:pt x="1111" y="87"/>
                    </a:lnTo>
                    <a:lnTo>
                      <a:pt x="1133" y="58"/>
                    </a:lnTo>
                    <a:lnTo>
                      <a:pt x="1140" y="42"/>
                    </a:lnTo>
                    <a:lnTo>
                      <a:pt x="1131" y="37"/>
                    </a:lnTo>
                    <a:lnTo>
                      <a:pt x="1116" y="48"/>
                    </a:lnTo>
                    <a:lnTo>
                      <a:pt x="1107" y="51"/>
                    </a:lnTo>
                    <a:lnTo>
                      <a:pt x="1106" y="37"/>
                    </a:lnTo>
                    <a:lnTo>
                      <a:pt x="1100" y="33"/>
                    </a:lnTo>
                    <a:lnTo>
                      <a:pt x="1096" y="27"/>
                    </a:lnTo>
                    <a:lnTo>
                      <a:pt x="1095" y="20"/>
                    </a:lnTo>
                    <a:lnTo>
                      <a:pt x="1085" y="32"/>
                    </a:lnTo>
                    <a:lnTo>
                      <a:pt x="1081" y="26"/>
                    </a:lnTo>
                    <a:lnTo>
                      <a:pt x="1074" y="26"/>
                    </a:lnTo>
                    <a:lnTo>
                      <a:pt x="1073" y="51"/>
                    </a:lnTo>
                    <a:lnTo>
                      <a:pt x="1059" y="46"/>
                    </a:lnTo>
                    <a:lnTo>
                      <a:pt x="1065" y="59"/>
                    </a:lnTo>
                    <a:lnTo>
                      <a:pt x="1073" y="67"/>
                    </a:lnTo>
                    <a:lnTo>
                      <a:pt x="1074" y="71"/>
                    </a:lnTo>
                    <a:lnTo>
                      <a:pt x="1061" y="79"/>
                    </a:lnTo>
                    <a:lnTo>
                      <a:pt x="1053" y="91"/>
                    </a:lnTo>
                    <a:lnTo>
                      <a:pt x="1057" y="105"/>
                    </a:lnTo>
                    <a:lnTo>
                      <a:pt x="1032" y="105"/>
                    </a:lnTo>
                    <a:lnTo>
                      <a:pt x="1020" y="118"/>
                    </a:lnTo>
                    <a:lnTo>
                      <a:pt x="1015" y="129"/>
                    </a:lnTo>
                    <a:lnTo>
                      <a:pt x="1002" y="144"/>
                    </a:lnTo>
                    <a:lnTo>
                      <a:pt x="1000" y="150"/>
                    </a:lnTo>
                    <a:lnTo>
                      <a:pt x="1003" y="159"/>
                    </a:lnTo>
                    <a:lnTo>
                      <a:pt x="1000" y="169"/>
                    </a:lnTo>
                    <a:lnTo>
                      <a:pt x="1000" y="183"/>
                    </a:lnTo>
                    <a:lnTo>
                      <a:pt x="992" y="184"/>
                    </a:lnTo>
                    <a:lnTo>
                      <a:pt x="987" y="178"/>
                    </a:lnTo>
                    <a:lnTo>
                      <a:pt x="987" y="170"/>
                    </a:lnTo>
                    <a:lnTo>
                      <a:pt x="992" y="166"/>
                    </a:lnTo>
                    <a:lnTo>
                      <a:pt x="978" y="162"/>
                    </a:lnTo>
                    <a:lnTo>
                      <a:pt x="986" y="151"/>
                    </a:lnTo>
                    <a:lnTo>
                      <a:pt x="984" y="150"/>
                    </a:lnTo>
                    <a:lnTo>
                      <a:pt x="954" y="145"/>
                    </a:lnTo>
                    <a:lnTo>
                      <a:pt x="956" y="159"/>
                    </a:lnTo>
                    <a:lnTo>
                      <a:pt x="952" y="160"/>
                    </a:lnTo>
                    <a:lnTo>
                      <a:pt x="944" y="156"/>
                    </a:lnTo>
                    <a:lnTo>
                      <a:pt x="944" y="150"/>
                    </a:lnTo>
                    <a:lnTo>
                      <a:pt x="941" y="140"/>
                    </a:lnTo>
                    <a:lnTo>
                      <a:pt x="938" y="143"/>
                    </a:lnTo>
                    <a:lnTo>
                      <a:pt x="935" y="133"/>
                    </a:lnTo>
                    <a:lnTo>
                      <a:pt x="929" y="138"/>
                    </a:lnTo>
                    <a:lnTo>
                      <a:pt x="927" y="133"/>
                    </a:lnTo>
                    <a:lnTo>
                      <a:pt x="922" y="138"/>
                    </a:lnTo>
                    <a:lnTo>
                      <a:pt x="920" y="155"/>
                    </a:lnTo>
                    <a:lnTo>
                      <a:pt x="916" y="146"/>
                    </a:lnTo>
                    <a:lnTo>
                      <a:pt x="911" y="135"/>
                    </a:lnTo>
                    <a:lnTo>
                      <a:pt x="907" y="132"/>
                    </a:lnTo>
                    <a:lnTo>
                      <a:pt x="907" y="157"/>
                    </a:lnTo>
                    <a:lnTo>
                      <a:pt x="924" y="167"/>
                    </a:lnTo>
                    <a:lnTo>
                      <a:pt x="930" y="167"/>
                    </a:lnTo>
                    <a:lnTo>
                      <a:pt x="930" y="178"/>
                    </a:lnTo>
                    <a:lnTo>
                      <a:pt x="928" y="188"/>
                    </a:lnTo>
                    <a:lnTo>
                      <a:pt x="928" y="199"/>
                    </a:lnTo>
                    <a:lnTo>
                      <a:pt x="933" y="210"/>
                    </a:lnTo>
                    <a:lnTo>
                      <a:pt x="933" y="225"/>
                    </a:lnTo>
                    <a:lnTo>
                      <a:pt x="925" y="219"/>
                    </a:lnTo>
                    <a:lnTo>
                      <a:pt x="907" y="191"/>
                    </a:lnTo>
                    <a:lnTo>
                      <a:pt x="891" y="175"/>
                    </a:lnTo>
                    <a:lnTo>
                      <a:pt x="895" y="194"/>
                    </a:lnTo>
                    <a:lnTo>
                      <a:pt x="890" y="194"/>
                    </a:lnTo>
                    <a:lnTo>
                      <a:pt x="886" y="205"/>
                    </a:lnTo>
                    <a:lnTo>
                      <a:pt x="881" y="204"/>
                    </a:lnTo>
                    <a:lnTo>
                      <a:pt x="877" y="212"/>
                    </a:lnTo>
                    <a:lnTo>
                      <a:pt x="874" y="208"/>
                    </a:lnTo>
                    <a:lnTo>
                      <a:pt x="874" y="202"/>
                    </a:lnTo>
                    <a:lnTo>
                      <a:pt x="877" y="191"/>
                    </a:lnTo>
                    <a:lnTo>
                      <a:pt x="870" y="194"/>
                    </a:lnTo>
                    <a:lnTo>
                      <a:pt x="863" y="204"/>
                    </a:lnTo>
                    <a:lnTo>
                      <a:pt x="859" y="218"/>
                    </a:lnTo>
                    <a:lnTo>
                      <a:pt x="853" y="220"/>
                    </a:lnTo>
                    <a:lnTo>
                      <a:pt x="855" y="235"/>
                    </a:lnTo>
                    <a:lnTo>
                      <a:pt x="857" y="241"/>
                    </a:lnTo>
                    <a:lnTo>
                      <a:pt x="841" y="256"/>
                    </a:lnTo>
                    <a:lnTo>
                      <a:pt x="834" y="275"/>
                    </a:lnTo>
                    <a:lnTo>
                      <a:pt x="827" y="285"/>
                    </a:lnTo>
                    <a:lnTo>
                      <a:pt x="837" y="264"/>
                    </a:lnTo>
                    <a:lnTo>
                      <a:pt x="838" y="252"/>
                    </a:lnTo>
                    <a:lnTo>
                      <a:pt x="839" y="229"/>
                    </a:lnTo>
                    <a:lnTo>
                      <a:pt x="841" y="212"/>
                    </a:lnTo>
                    <a:lnTo>
                      <a:pt x="838" y="191"/>
                    </a:lnTo>
                    <a:lnTo>
                      <a:pt x="828" y="194"/>
                    </a:lnTo>
                    <a:lnTo>
                      <a:pt x="822" y="208"/>
                    </a:lnTo>
                    <a:lnTo>
                      <a:pt x="812" y="223"/>
                    </a:lnTo>
                    <a:lnTo>
                      <a:pt x="809" y="246"/>
                    </a:lnTo>
                    <a:lnTo>
                      <a:pt x="804" y="266"/>
                    </a:lnTo>
                    <a:lnTo>
                      <a:pt x="803" y="214"/>
                    </a:lnTo>
                    <a:lnTo>
                      <a:pt x="777" y="218"/>
                    </a:lnTo>
                    <a:lnTo>
                      <a:pt x="768" y="235"/>
                    </a:lnTo>
                    <a:lnTo>
                      <a:pt x="767" y="240"/>
                    </a:lnTo>
                    <a:lnTo>
                      <a:pt x="769" y="261"/>
                    </a:lnTo>
                    <a:lnTo>
                      <a:pt x="779" y="274"/>
                    </a:lnTo>
                    <a:lnTo>
                      <a:pt x="788" y="278"/>
                    </a:lnTo>
                    <a:lnTo>
                      <a:pt x="795" y="291"/>
                    </a:lnTo>
                    <a:lnTo>
                      <a:pt x="794" y="301"/>
                    </a:lnTo>
                    <a:lnTo>
                      <a:pt x="785" y="300"/>
                    </a:lnTo>
                    <a:lnTo>
                      <a:pt x="779" y="284"/>
                    </a:lnTo>
                    <a:lnTo>
                      <a:pt x="768" y="277"/>
                    </a:lnTo>
                    <a:lnTo>
                      <a:pt x="760" y="261"/>
                    </a:lnTo>
                    <a:lnTo>
                      <a:pt x="751" y="252"/>
                    </a:lnTo>
                    <a:lnTo>
                      <a:pt x="739" y="254"/>
                    </a:lnTo>
                    <a:lnTo>
                      <a:pt x="746" y="272"/>
                    </a:lnTo>
                    <a:lnTo>
                      <a:pt x="760" y="284"/>
                    </a:lnTo>
                    <a:lnTo>
                      <a:pt x="750" y="294"/>
                    </a:lnTo>
                    <a:lnTo>
                      <a:pt x="741" y="286"/>
                    </a:lnTo>
                    <a:lnTo>
                      <a:pt x="737" y="293"/>
                    </a:lnTo>
                    <a:lnTo>
                      <a:pt x="735" y="280"/>
                    </a:lnTo>
                    <a:lnTo>
                      <a:pt x="726" y="285"/>
                    </a:lnTo>
                    <a:lnTo>
                      <a:pt x="726" y="280"/>
                    </a:lnTo>
                    <a:lnTo>
                      <a:pt x="729" y="267"/>
                    </a:lnTo>
                    <a:lnTo>
                      <a:pt x="724" y="261"/>
                    </a:lnTo>
                    <a:lnTo>
                      <a:pt x="721" y="266"/>
                    </a:lnTo>
                    <a:lnTo>
                      <a:pt x="714" y="290"/>
                    </a:lnTo>
                    <a:lnTo>
                      <a:pt x="715" y="299"/>
                    </a:lnTo>
                    <a:lnTo>
                      <a:pt x="720" y="306"/>
                    </a:lnTo>
                    <a:lnTo>
                      <a:pt x="697" y="318"/>
                    </a:lnTo>
                    <a:lnTo>
                      <a:pt x="691" y="325"/>
                    </a:lnTo>
                    <a:lnTo>
                      <a:pt x="688" y="332"/>
                    </a:lnTo>
                    <a:lnTo>
                      <a:pt x="687" y="343"/>
                    </a:lnTo>
                    <a:lnTo>
                      <a:pt x="690" y="350"/>
                    </a:lnTo>
                    <a:lnTo>
                      <a:pt x="698" y="347"/>
                    </a:lnTo>
                    <a:lnTo>
                      <a:pt x="704" y="355"/>
                    </a:lnTo>
                    <a:lnTo>
                      <a:pt x="692" y="355"/>
                    </a:lnTo>
                    <a:lnTo>
                      <a:pt x="696" y="365"/>
                    </a:lnTo>
                    <a:lnTo>
                      <a:pt x="696" y="372"/>
                    </a:lnTo>
                    <a:lnTo>
                      <a:pt x="683" y="368"/>
                    </a:lnTo>
                    <a:lnTo>
                      <a:pt x="678" y="370"/>
                    </a:lnTo>
                    <a:lnTo>
                      <a:pt x="686" y="377"/>
                    </a:lnTo>
                    <a:lnTo>
                      <a:pt x="681" y="383"/>
                    </a:lnTo>
                    <a:lnTo>
                      <a:pt x="670" y="380"/>
                    </a:lnTo>
                    <a:lnTo>
                      <a:pt x="667" y="386"/>
                    </a:lnTo>
                    <a:lnTo>
                      <a:pt x="659" y="383"/>
                    </a:lnTo>
                    <a:lnTo>
                      <a:pt x="643" y="390"/>
                    </a:lnTo>
                    <a:lnTo>
                      <a:pt x="639" y="399"/>
                    </a:lnTo>
                    <a:lnTo>
                      <a:pt x="633" y="403"/>
                    </a:lnTo>
                    <a:lnTo>
                      <a:pt x="632" y="407"/>
                    </a:lnTo>
                    <a:lnTo>
                      <a:pt x="642" y="414"/>
                    </a:lnTo>
                    <a:lnTo>
                      <a:pt x="651" y="410"/>
                    </a:lnTo>
                    <a:lnTo>
                      <a:pt x="656" y="404"/>
                    </a:lnTo>
                    <a:lnTo>
                      <a:pt x="672" y="414"/>
                    </a:lnTo>
                    <a:lnTo>
                      <a:pt x="685" y="406"/>
                    </a:lnTo>
                    <a:lnTo>
                      <a:pt x="687" y="409"/>
                    </a:lnTo>
                    <a:lnTo>
                      <a:pt x="691" y="418"/>
                    </a:lnTo>
                    <a:lnTo>
                      <a:pt x="681" y="418"/>
                    </a:lnTo>
                    <a:lnTo>
                      <a:pt x="676" y="425"/>
                    </a:lnTo>
                    <a:lnTo>
                      <a:pt x="674" y="439"/>
                    </a:lnTo>
                    <a:lnTo>
                      <a:pt x="659" y="430"/>
                    </a:lnTo>
                    <a:lnTo>
                      <a:pt x="648" y="430"/>
                    </a:lnTo>
                    <a:lnTo>
                      <a:pt x="645" y="424"/>
                    </a:lnTo>
                    <a:lnTo>
                      <a:pt x="633" y="422"/>
                    </a:lnTo>
                    <a:lnTo>
                      <a:pt x="619" y="430"/>
                    </a:lnTo>
                    <a:lnTo>
                      <a:pt x="616" y="438"/>
                    </a:lnTo>
                    <a:lnTo>
                      <a:pt x="626" y="453"/>
                    </a:lnTo>
                    <a:lnTo>
                      <a:pt x="626" y="462"/>
                    </a:lnTo>
                    <a:lnTo>
                      <a:pt x="619" y="461"/>
                    </a:lnTo>
                    <a:lnTo>
                      <a:pt x="624" y="476"/>
                    </a:lnTo>
                    <a:lnTo>
                      <a:pt x="626" y="487"/>
                    </a:lnTo>
                    <a:lnTo>
                      <a:pt x="617" y="483"/>
                    </a:lnTo>
                    <a:lnTo>
                      <a:pt x="617" y="494"/>
                    </a:lnTo>
                    <a:lnTo>
                      <a:pt x="610" y="495"/>
                    </a:lnTo>
                    <a:lnTo>
                      <a:pt x="605" y="457"/>
                    </a:lnTo>
                    <a:lnTo>
                      <a:pt x="597" y="460"/>
                    </a:lnTo>
                    <a:lnTo>
                      <a:pt x="594" y="473"/>
                    </a:lnTo>
                    <a:lnTo>
                      <a:pt x="586" y="471"/>
                    </a:lnTo>
                    <a:lnTo>
                      <a:pt x="583" y="474"/>
                    </a:lnTo>
                    <a:lnTo>
                      <a:pt x="594" y="479"/>
                    </a:lnTo>
                    <a:lnTo>
                      <a:pt x="591" y="483"/>
                    </a:lnTo>
                    <a:lnTo>
                      <a:pt x="583" y="485"/>
                    </a:lnTo>
                    <a:lnTo>
                      <a:pt x="575" y="490"/>
                    </a:lnTo>
                    <a:lnTo>
                      <a:pt x="573" y="499"/>
                    </a:lnTo>
                    <a:lnTo>
                      <a:pt x="574" y="509"/>
                    </a:lnTo>
                    <a:lnTo>
                      <a:pt x="583" y="516"/>
                    </a:lnTo>
                    <a:lnTo>
                      <a:pt x="575" y="520"/>
                    </a:lnTo>
                    <a:lnTo>
                      <a:pt x="580" y="525"/>
                    </a:lnTo>
                    <a:lnTo>
                      <a:pt x="574" y="527"/>
                    </a:lnTo>
                    <a:lnTo>
                      <a:pt x="570" y="539"/>
                    </a:lnTo>
                    <a:lnTo>
                      <a:pt x="567" y="542"/>
                    </a:lnTo>
                    <a:lnTo>
                      <a:pt x="561" y="542"/>
                    </a:lnTo>
                    <a:lnTo>
                      <a:pt x="562" y="546"/>
                    </a:lnTo>
                    <a:lnTo>
                      <a:pt x="572" y="549"/>
                    </a:lnTo>
                    <a:lnTo>
                      <a:pt x="591" y="542"/>
                    </a:lnTo>
                    <a:lnTo>
                      <a:pt x="578" y="558"/>
                    </a:lnTo>
                    <a:lnTo>
                      <a:pt x="572" y="562"/>
                    </a:lnTo>
                    <a:lnTo>
                      <a:pt x="553" y="558"/>
                    </a:lnTo>
                    <a:lnTo>
                      <a:pt x="548" y="553"/>
                    </a:lnTo>
                    <a:lnTo>
                      <a:pt x="547" y="546"/>
                    </a:lnTo>
                    <a:lnTo>
                      <a:pt x="540" y="547"/>
                    </a:lnTo>
                    <a:lnTo>
                      <a:pt x="529" y="557"/>
                    </a:lnTo>
                    <a:lnTo>
                      <a:pt x="524" y="574"/>
                    </a:lnTo>
                    <a:lnTo>
                      <a:pt x="514" y="581"/>
                    </a:lnTo>
                    <a:lnTo>
                      <a:pt x="513" y="591"/>
                    </a:lnTo>
                    <a:lnTo>
                      <a:pt x="520" y="591"/>
                    </a:lnTo>
                    <a:lnTo>
                      <a:pt x="519" y="598"/>
                    </a:lnTo>
                    <a:lnTo>
                      <a:pt x="518" y="603"/>
                    </a:lnTo>
                    <a:lnTo>
                      <a:pt x="509" y="607"/>
                    </a:lnTo>
                    <a:lnTo>
                      <a:pt x="504" y="625"/>
                    </a:lnTo>
                    <a:lnTo>
                      <a:pt x="497" y="624"/>
                    </a:lnTo>
                    <a:lnTo>
                      <a:pt x="491" y="628"/>
                    </a:lnTo>
                    <a:lnTo>
                      <a:pt x="484" y="629"/>
                    </a:lnTo>
                    <a:lnTo>
                      <a:pt x="476" y="640"/>
                    </a:lnTo>
                    <a:lnTo>
                      <a:pt x="482" y="650"/>
                    </a:lnTo>
                    <a:lnTo>
                      <a:pt x="478" y="654"/>
                    </a:lnTo>
                    <a:lnTo>
                      <a:pt x="467" y="656"/>
                    </a:lnTo>
                    <a:lnTo>
                      <a:pt x="467" y="666"/>
                    </a:lnTo>
                    <a:lnTo>
                      <a:pt x="456" y="667"/>
                    </a:lnTo>
                    <a:lnTo>
                      <a:pt x="459" y="673"/>
                    </a:lnTo>
                    <a:lnTo>
                      <a:pt x="454" y="677"/>
                    </a:lnTo>
                    <a:lnTo>
                      <a:pt x="452" y="686"/>
                    </a:lnTo>
                    <a:lnTo>
                      <a:pt x="465" y="688"/>
                    </a:lnTo>
                    <a:lnTo>
                      <a:pt x="462" y="694"/>
                    </a:lnTo>
                    <a:lnTo>
                      <a:pt x="454" y="699"/>
                    </a:lnTo>
                    <a:lnTo>
                      <a:pt x="448" y="694"/>
                    </a:lnTo>
                    <a:lnTo>
                      <a:pt x="448" y="697"/>
                    </a:lnTo>
                    <a:lnTo>
                      <a:pt x="448" y="711"/>
                    </a:lnTo>
                    <a:lnTo>
                      <a:pt x="454" y="720"/>
                    </a:lnTo>
                    <a:lnTo>
                      <a:pt x="459" y="713"/>
                    </a:lnTo>
                    <a:lnTo>
                      <a:pt x="463" y="716"/>
                    </a:lnTo>
                    <a:lnTo>
                      <a:pt x="461" y="726"/>
                    </a:lnTo>
                    <a:lnTo>
                      <a:pt x="440" y="729"/>
                    </a:lnTo>
                    <a:lnTo>
                      <a:pt x="436" y="734"/>
                    </a:lnTo>
                    <a:lnTo>
                      <a:pt x="435" y="748"/>
                    </a:lnTo>
                    <a:lnTo>
                      <a:pt x="427" y="754"/>
                    </a:lnTo>
                    <a:lnTo>
                      <a:pt x="418" y="757"/>
                    </a:lnTo>
                    <a:lnTo>
                      <a:pt x="412" y="772"/>
                    </a:lnTo>
                    <a:lnTo>
                      <a:pt x="420" y="770"/>
                    </a:lnTo>
                    <a:lnTo>
                      <a:pt x="429" y="762"/>
                    </a:lnTo>
                    <a:lnTo>
                      <a:pt x="440" y="757"/>
                    </a:lnTo>
                    <a:lnTo>
                      <a:pt x="440" y="767"/>
                    </a:lnTo>
                    <a:lnTo>
                      <a:pt x="446" y="779"/>
                    </a:lnTo>
                    <a:lnTo>
                      <a:pt x="427" y="773"/>
                    </a:lnTo>
                    <a:lnTo>
                      <a:pt x="425" y="781"/>
                    </a:lnTo>
                    <a:lnTo>
                      <a:pt x="429" y="785"/>
                    </a:lnTo>
                    <a:lnTo>
                      <a:pt x="423" y="790"/>
                    </a:lnTo>
                    <a:lnTo>
                      <a:pt x="420" y="796"/>
                    </a:lnTo>
                    <a:lnTo>
                      <a:pt x="423" y="806"/>
                    </a:lnTo>
                    <a:lnTo>
                      <a:pt x="419" y="808"/>
                    </a:lnTo>
                    <a:lnTo>
                      <a:pt x="413" y="805"/>
                    </a:lnTo>
                    <a:lnTo>
                      <a:pt x="409" y="811"/>
                    </a:lnTo>
                    <a:lnTo>
                      <a:pt x="412" y="821"/>
                    </a:lnTo>
                    <a:lnTo>
                      <a:pt x="418" y="826"/>
                    </a:lnTo>
                    <a:lnTo>
                      <a:pt x="420" y="845"/>
                    </a:lnTo>
                    <a:lnTo>
                      <a:pt x="413" y="837"/>
                    </a:lnTo>
                    <a:lnTo>
                      <a:pt x="406" y="834"/>
                    </a:lnTo>
                    <a:lnTo>
                      <a:pt x="400" y="821"/>
                    </a:lnTo>
                    <a:lnTo>
                      <a:pt x="401" y="838"/>
                    </a:lnTo>
                    <a:lnTo>
                      <a:pt x="397" y="844"/>
                    </a:lnTo>
                    <a:lnTo>
                      <a:pt x="391" y="847"/>
                    </a:lnTo>
                    <a:lnTo>
                      <a:pt x="387" y="856"/>
                    </a:lnTo>
                    <a:lnTo>
                      <a:pt x="392" y="859"/>
                    </a:lnTo>
                    <a:lnTo>
                      <a:pt x="398" y="856"/>
                    </a:lnTo>
                    <a:lnTo>
                      <a:pt x="403" y="848"/>
                    </a:lnTo>
                    <a:lnTo>
                      <a:pt x="405" y="851"/>
                    </a:lnTo>
                    <a:lnTo>
                      <a:pt x="403" y="856"/>
                    </a:lnTo>
                    <a:lnTo>
                      <a:pt x="403" y="864"/>
                    </a:lnTo>
                    <a:lnTo>
                      <a:pt x="406" y="871"/>
                    </a:lnTo>
                    <a:lnTo>
                      <a:pt x="398" y="877"/>
                    </a:lnTo>
                    <a:lnTo>
                      <a:pt x="387" y="872"/>
                    </a:lnTo>
                    <a:lnTo>
                      <a:pt x="382" y="880"/>
                    </a:lnTo>
                    <a:lnTo>
                      <a:pt x="376" y="876"/>
                    </a:lnTo>
                    <a:lnTo>
                      <a:pt x="369" y="886"/>
                    </a:lnTo>
                    <a:lnTo>
                      <a:pt x="368" y="896"/>
                    </a:lnTo>
                    <a:lnTo>
                      <a:pt x="360" y="902"/>
                    </a:lnTo>
                    <a:lnTo>
                      <a:pt x="352" y="904"/>
                    </a:lnTo>
                    <a:lnTo>
                      <a:pt x="347" y="925"/>
                    </a:lnTo>
                    <a:lnTo>
                      <a:pt x="357" y="921"/>
                    </a:lnTo>
                    <a:lnTo>
                      <a:pt x="366" y="915"/>
                    </a:lnTo>
                    <a:lnTo>
                      <a:pt x="370" y="919"/>
                    </a:lnTo>
                    <a:lnTo>
                      <a:pt x="353" y="926"/>
                    </a:lnTo>
                    <a:lnTo>
                      <a:pt x="353" y="937"/>
                    </a:lnTo>
                    <a:lnTo>
                      <a:pt x="355" y="948"/>
                    </a:lnTo>
                    <a:lnTo>
                      <a:pt x="352" y="955"/>
                    </a:lnTo>
                    <a:lnTo>
                      <a:pt x="341" y="958"/>
                    </a:lnTo>
                    <a:lnTo>
                      <a:pt x="327" y="947"/>
                    </a:lnTo>
                    <a:lnTo>
                      <a:pt x="323" y="947"/>
                    </a:lnTo>
                    <a:lnTo>
                      <a:pt x="315" y="962"/>
                    </a:lnTo>
                    <a:lnTo>
                      <a:pt x="305" y="969"/>
                    </a:lnTo>
                    <a:lnTo>
                      <a:pt x="304" y="976"/>
                    </a:lnTo>
                    <a:lnTo>
                      <a:pt x="296" y="980"/>
                    </a:lnTo>
                    <a:lnTo>
                      <a:pt x="280" y="1006"/>
                    </a:lnTo>
                    <a:lnTo>
                      <a:pt x="277" y="1012"/>
                    </a:lnTo>
                    <a:lnTo>
                      <a:pt x="280" y="1022"/>
                    </a:lnTo>
                    <a:lnTo>
                      <a:pt x="280" y="1026"/>
                    </a:lnTo>
                    <a:lnTo>
                      <a:pt x="258" y="1038"/>
                    </a:lnTo>
                    <a:lnTo>
                      <a:pt x="258" y="1048"/>
                    </a:lnTo>
                    <a:lnTo>
                      <a:pt x="263" y="1053"/>
                    </a:lnTo>
                    <a:lnTo>
                      <a:pt x="274" y="1048"/>
                    </a:lnTo>
                    <a:lnTo>
                      <a:pt x="269" y="1064"/>
                    </a:lnTo>
                    <a:lnTo>
                      <a:pt x="277" y="1075"/>
                    </a:lnTo>
                    <a:lnTo>
                      <a:pt x="283" y="1079"/>
                    </a:lnTo>
                    <a:lnTo>
                      <a:pt x="320" y="1052"/>
                    </a:lnTo>
                    <a:lnTo>
                      <a:pt x="342" y="1042"/>
                    </a:lnTo>
                    <a:lnTo>
                      <a:pt x="347" y="1036"/>
                    </a:lnTo>
                    <a:lnTo>
                      <a:pt x="352" y="1038"/>
                    </a:lnTo>
                    <a:lnTo>
                      <a:pt x="348" y="1044"/>
                    </a:lnTo>
                    <a:lnTo>
                      <a:pt x="335" y="1052"/>
                    </a:lnTo>
                    <a:lnTo>
                      <a:pt x="327" y="1053"/>
                    </a:lnTo>
                    <a:lnTo>
                      <a:pt x="316" y="1060"/>
                    </a:lnTo>
                    <a:lnTo>
                      <a:pt x="307" y="1068"/>
                    </a:lnTo>
                    <a:lnTo>
                      <a:pt x="314" y="1075"/>
                    </a:lnTo>
                    <a:lnTo>
                      <a:pt x="312" y="1079"/>
                    </a:lnTo>
                    <a:lnTo>
                      <a:pt x="295" y="1086"/>
                    </a:lnTo>
                    <a:lnTo>
                      <a:pt x="285" y="1086"/>
                    </a:lnTo>
                    <a:lnTo>
                      <a:pt x="282" y="1090"/>
                    </a:lnTo>
                    <a:lnTo>
                      <a:pt x="284" y="1096"/>
                    </a:lnTo>
                    <a:lnTo>
                      <a:pt x="280" y="1097"/>
                    </a:lnTo>
                    <a:lnTo>
                      <a:pt x="271" y="1096"/>
                    </a:lnTo>
                    <a:lnTo>
                      <a:pt x="271" y="1086"/>
                    </a:lnTo>
                    <a:lnTo>
                      <a:pt x="263" y="1071"/>
                    </a:lnTo>
                    <a:lnTo>
                      <a:pt x="258" y="1066"/>
                    </a:lnTo>
                    <a:lnTo>
                      <a:pt x="253" y="1066"/>
                    </a:lnTo>
                    <a:lnTo>
                      <a:pt x="250" y="1073"/>
                    </a:lnTo>
                    <a:lnTo>
                      <a:pt x="242" y="1074"/>
                    </a:lnTo>
                    <a:lnTo>
                      <a:pt x="236" y="1080"/>
                    </a:lnTo>
                    <a:lnTo>
                      <a:pt x="235" y="1087"/>
                    </a:lnTo>
                    <a:lnTo>
                      <a:pt x="241" y="1092"/>
                    </a:lnTo>
                    <a:lnTo>
                      <a:pt x="242" y="1097"/>
                    </a:lnTo>
                    <a:lnTo>
                      <a:pt x="231" y="1103"/>
                    </a:lnTo>
                    <a:lnTo>
                      <a:pt x="228" y="1097"/>
                    </a:lnTo>
                    <a:lnTo>
                      <a:pt x="228" y="1089"/>
                    </a:lnTo>
                    <a:lnTo>
                      <a:pt x="225" y="1082"/>
                    </a:lnTo>
                    <a:lnTo>
                      <a:pt x="198" y="1093"/>
                    </a:lnTo>
                    <a:lnTo>
                      <a:pt x="194" y="1098"/>
                    </a:lnTo>
                    <a:lnTo>
                      <a:pt x="190" y="1109"/>
                    </a:lnTo>
                    <a:lnTo>
                      <a:pt x="183" y="1108"/>
                    </a:lnTo>
                    <a:lnTo>
                      <a:pt x="185" y="1116"/>
                    </a:lnTo>
                    <a:lnTo>
                      <a:pt x="183" y="1119"/>
                    </a:lnTo>
                    <a:lnTo>
                      <a:pt x="175" y="1120"/>
                    </a:lnTo>
                    <a:lnTo>
                      <a:pt x="175" y="1117"/>
                    </a:lnTo>
                    <a:lnTo>
                      <a:pt x="174" y="1112"/>
                    </a:lnTo>
                    <a:lnTo>
                      <a:pt x="169" y="1113"/>
                    </a:lnTo>
                    <a:lnTo>
                      <a:pt x="166" y="1117"/>
                    </a:lnTo>
                    <a:lnTo>
                      <a:pt x="167" y="1122"/>
                    </a:lnTo>
                    <a:lnTo>
                      <a:pt x="166" y="1124"/>
                    </a:lnTo>
                    <a:lnTo>
                      <a:pt x="156" y="1124"/>
                    </a:lnTo>
                    <a:lnTo>
                      <a:pt x="143" y="1132"/>
                    </a:lnTo>
                    <a:lnTo>
                      <a:pt x="140" y="1145"/>
                    </a:lnTo>
                    <a:lnTo>
                      <a:pt x="135" y="1156"/>
                    </a:lnTo>
                    <a:lnTo>
                      <a:pt x="128" y="1151"/>
                    </a:lnTo>
                    <a:lnTo>
                      <a:pt x="118" y="1150"/>
                    </a:lnTo>
                    <a:lnTo>
                      <a:pt x="110" y="1157"/>
                    </a:lnTo>
                    <a:lnTo>
                      <a:pt x="107" y="1163"/>
                    </a:lnTo>
                    <a:lnTo>
                      <a:pt x="117" y="1171"/>
                    </a:lnTo>
                    <a:lnTo>
                      <a:pt x="111" y="1177"/>
                    </a:lnTo>
                    <a:lnTo>
                      <a:pt x="121" y="1178"/>
                    </a:lnTo>
                    <a:lnTo>
                      <a:pt x="132" y="1176"/>
                    </a:lnTo>
                    <a:lnTo>
                      <a:pt x="137" y="1182"/>
                    </a:lnTo>
                    <a:lnTo>
                      <a:pt x="142" y="1184"/>
                    </a:lnTo>
                    <a:lnTo>
                      <a:pt x="135" y="1193"/>
                    </a:lnTo>
                    <a:lnTo>
                      <a:pt x="138" y="1199"/>
                    </a:lnTo>
                    <a:lnTo>
                      <a:pt x="131" y="1195"/>
                    </a:lnTo>
                    <a:lnTo>
                      <a:pt x="122" y="1195"/>
                    </a:lnTo>
                    <a:lnTo>
                      <a:pt x="99" y="1192"/>
                    </a:lnTo>
                    <a:lnTo>
                      <a:pt x="91" y="1193"/>
                    </a:lnTo>
                    <a:lnTo>
                      <a:pt x="86" y="1197"/>
                    </a:lnTo>
                    <a:lnTo>
                      <a:pt x="80" y="1195"/>
                    </a:lnTo>
                    <a:lnTo>
                      <a:pt x="74" y="1200"/>
                    </a:lnTo>
                    <a:lnTo>
                      <a:pt x="75" y="1203"/>
                    </a:lnTo>
                    <a:lnTo>
                      <a:pt x="81" y="1205"/>
                    </a:lnTo>
                    <a:lnTo>
                      <a:pt x="75" y="1208"/>
                    </a:lnTo>
                    <a:lnTo>
                      <a:pt x="75" y="1214"/>
                    </a:lnTo>
                    <a:lnTo>
                      <a:pt x="83" y="1213"/>
                    </a:lnTo>
                    <a:lnTo>
                      <a:pt x="89" y="1210"/>
                    </a:lnTo>
                    <a:lnTo>
                      <a:pt x="81" y="1220"/>
                    </a:lnTo>
                    <a:lnTo>
                      <a:pt x="81" y="1227"/>
                    </a:lnTo>
                    <a:lnTo>
                      <a:pt x="86" y="1243"/>
                    </a:lnTo>
                    <a:lnTo>
                      <a:pt x="83" y="1245"/>
                    </a:lnTo>
                    <a:lnTo>
                      <a:pt x="78" y="1230"/>
                    </a:lnTo>
                    <a:lnTo>
                      <a:pt x="74" y="1224"/>
                    </a:lnTo>
                    <a:lnTo>
                      <a:pt x="64" y="1230"/>
                    </a:lnTo>
                    <a:lnTo>
                      <a:pt x="59" y="1238"/>
                    </a:lnTo>
                    <a:lnTo>
                      <a:pt x="56" y="1248"/>
                    </a:lnTo>
                    <a:lnTo>
                      <a:pt x="61" y="1253"/>
                    </a:lnTo>
                    <a:lnTo>
                      <a:pt x="62" y="1259"/>
                    </a:lnTo>
                    <a:lnTo>
                      <a:pt x="53" y="1253"/>
                    </a:lnTo>
                    <a:lnTo>
                      <a:pt x="50" y="1246"/>
                    </a:lnTo>
                    <a:lnTo>
                      <a:pt x="41" y="1248"/>
                    </a:lnTo>
                    <a:lnTo>
                      <a:pt x="27" y="1248"/>
                    </a:lnTo>
                    <a:lnTo>
                      <a:pt x="27" y="1254"/>
                    </a:lnTo>
                    <a:lnTo>
                      <a:pt x="29" y="1259"/>
                    </a:lnTo>
                    <a:lnTo>
                      <a:pt x="13" y="1247"/>
                    </a:lnTo>
                    <a:lnTo>
                      <a:pt x="9" y="1251"/>
                    </a:lnTo>
                    <a:lnTo>
                      <a:pt x="15" y="1265"/>
                    </a:lnTo>
                    <a:lnTo>
                      <a:pt x="11" y="1272"/>
                    </a:lnTo>
                    <a:lnTo>
                      <a:pt x="13" y="1274"/>
                    </a:lnTo>
                    <a:lnTo>
                      <a:pt x="41" y="1274"/>
                    </a:lnTo>
                    <a:lnTo>
                      <a:pt x="67" y="1268"/>
                    </a:lnTo>
                    <a:lnTo>
                      <a:pt x="51" y="1275"/>
                    </a:lnTo>
                    <a:lnTo>
                      <a:pt x="53" y="1279"/>
                    </a:lnTo>
                    <a:lnTo>
                      <a:pt x="65" y="1279"/>
                    </a:lnTo>
                    <a:lnTo>
                      <a:pt x="74" y="1275"/>
                    </a:lnTo>
                    <a:lnTo>
                      <a:pt x="77" y="1278"/>
                    </a:lnTo>
                    <a:lnTo>
                      <a:pt x="67" y="1284"/>
                    </a:lnTo>
                    <a:lnTo>
                      <a:pt x="52" y="1286"/>
                    </a:lnTo>
                    <a:lnTo>
                      <a:pt x="36" y="1286"/>
                    </a:lnTo>
                    <a:lnTo>
                      <a:pt x="30" y="1281"/>
                    </a:lnTo>
                    <a:lnTo>
                      <a:pt x="24" y="1281"/>
                    </a:lnTo>
                    <a:lnTo>
                      <a:pt x="13" y="1291"/>
                    </a:lnTo>
                    <a:lnTo>
                      <a:pt x="11" y="1296"/>
                    </a:lnTo>
                    <a:lnTo>
                      <a:pt x="4" y="1295"/>
                    </a:lnTo>
                    <a:lnTo>
                      <a:pt x="2" y="1297"/>
                    </a:lnTo>
                    <a:lnTo>
                      <a:pt x="0" y="1305"/>
                    </a:lnTo>
                    <a:lnTo>
                      <a:pt x="16" y="1310"/>
                    </a:lnTo>
                    <a:lnTo>
                      <a:pt x="15" y="1316"/>
                    </a:lnTo>
                    <a:lnTo>
                      <a:pt x="15" y="1322"/>
                    </a:lnTo>
                    <a:lnTo>
                      <a:pt x="10" y="1327"/>
                    </a:lnTo>
                    <a:lnTo>
                      <a:pt x="3" y="1335"/>
                    </a:lnTo>
                    <a:lnTo>
                      <a:pt x="5" y="1343"/>
                    </a:lnTo>
                    <a:lnTo>
                      <a:pt x="3" y="1346"/>
                    </a:lnTo>
                    <a:lnTo>
                      <a:pt x="3" y="1354"/>
                    </a:lnTo>
                    <a:lnTo>
                      <a:pt x="7" y="1358"/>
                    </a:lnTo>
                    <a:lnTo>
                      <a:pt x="7" y="1365"/>
                    </a:lnTo>
                    <a:lnTo>
                      <a:pt x="22" y="1367"/>
                    </a:lnTo>
                    <a:lnTo>
                      <a:pt x="53" y="1356"/>
                    </a:lnTo>
                    <a:lnTo>
                      <a:pt x="59" y="1360"/>
                    </a:lnTo>
                    <a:lnTo>
                      <a:pt x="72" y="1360"/>
                    </a:lnTo>
                    <a:lnTo>
                      <a:pt x="74" y="1349"/>
                    </a:lnTo>
                    <a:lnTo>
                      <a:pt x="83" y="1333"/>
                    </a:lnTo>
                    <a:lnTo>
                      <a:pt x="85" y="1343"/>
                    </a:lnTo>
                    <a:lnTo>
                      <a:pt x="81" y="1356"/>
                    </a:lnTo>
                    <a:lnTo>
                      <a:pt x="88" y="1359"/>
                    </a:lnTo>
                    <a:lnTo>
                      <a:pt x="99" y="1359"/>
                    </a:lnTo>
                    <a:lnTo>
                      <a:pt x="106" y="1356"/>
                    </a:lnTo>
                    <a:lnTo>
                      <a:pt x="111" y="1360"/>
                    </a:lnTo>
                    <a:lnTo>
                      <a:pt x="122" y="1348"/>
                    </a:lnTo>
                    <a:lnTo>
                      <a:pt x="126" y="1324"/>
                    </a:lnTo>
                    <a:lnTo>
                      <a:pt x="138" y="1317"/>
                    </a:lnTo>
                    <a:lnTo>
                      <a:pt x="139" y="1322"/>
                    </a:lnTo>
                    <a:lnTo>
                      <a:pt x="131" y="1338"/>
                    </a:lnTo>
                    <a:lnTo>
                      <a:pt x="129" y="1349"/>
                    </a:lnTo>
                    <a:lnTo>
                      <a:pt x="127" y="1354"/>
                    </a:lnTo>
                    <a:lnTo>
                      <a:pt x="133" y="1353"/>
                    </a:lnTo>
                    <a:lnTo>
                      <a:pt x="140" y="1349"/>
                    </a:lnTo>
                    <a:lnTo>
                      <a:pt x="145" y="1351"/>
                    </a:lnTo>
                    <a:lnTo>
                      <a:pt x="131" y="1362"/>
                    </a:lnTo>
                    <a:lnTo>
                      <a:pt x="113" y="1369"/>
                    </a:lnTo>
                    <a:lnTo>
                      <a:pt x="111" y="1378"/>
                    </a:lnTo>
                    <a:lnTo>
                      <a:pt x="118" y="1385"/>
                    </a:lnTo>
                    <a:lnTo>
                      <a:pt x="105" y="1393"/>
                    </a:lnTo>
                    <a:lnTo>
                      <a:pt x="105" y="1383"/>
                    </a:lnTo>
                    <a:lnTo>
                      <a:pt x="101" y="1376"/>
                    </a:lnTo>
                    <a:lnTo>
                      <a:pt x="91" y="1369"/>
                    </a:lnTo>
                    <a:lnTo>
                      <a:pt x="81" y="1369"/>
                    </a:lnTo>
                    <a:lnTo>
                      <a:pt x="68" y="1372"/>
                    </a:lnTo>
                    <a:lnTo>
                      <a:pt x="57" y="1370"/>
                    </a:lnTo>
                    <a:lnTo>
                      <a:pt x="47" y="1371"/>
                    </a:lnTo>
                    <a:lnTo>
                      <a:pt x="37" y="1370"/>
                    </a:lnTo>
                    <a:lnTo>
                      <a:pt x="29" y="1378"/>
                    </a:lnTo>
                    <a:lnTo>
                      <a:pt x="10" y="1373"/>
                    </a:lnTo>
                    <a:lnTo>
                      <a:pt x="5" y="1386"/>
                    </a:lnTo>
                    <a:lnTo>
                      <a:pt x="4" y="1397"/>
                    </a:lnTo>
                    <a:lnTo>
                      <a:pt x="14" y="1397"/>
                    </a:lnTo>
                    <a:lnTo>
                      <a:pt x="18" y="1396"/>
                    </a:lnTo>
                    <a:lnTo>
                      <a:pt x="18" y="1410"/>
                    </a:lnTo>
                    <a:lnTo>
                      <a:pt x="9" y="1407"/>
                    </a:lnTo>
                    <a:lnTo>
                      <a:pt x="3" y="1401"/>
                    </a:lnTo>
                    <a:lnTo>
                      <a:pt x="2" y="1403"/>
                    </a:lnTo>
                    <a:lnTo>
                      <a:pt x="0" y="1403"/>
                    </a:lnTo>
                    <a:lnTo>
                      <a:pt x="0" y="1407"/>
                    </a:lnTo>
                    <a:lnTo>
                      <a:pt x="10" y="1425"/>
                    </a:lnTo>
                    <a:lnTo>
                      <a:pt x="16" y="1426"/>
                    </a:lnTo>
                    <a:lnTo>
                      <a:pt x="30" y="1418"/>
                    </a:lnTo>
                    <a:lnTo>
                      <a:pt x="38" y="1415"/>
                    </a:lnTo>
                    <a:lnTo>
                      <a:pt x="25" y="1429"/>
                    </a:lnTo>
                    <a:lnTo>
                      <a:pt x="20" y="1436"/>
                    </a:lnTo>
                    <a:lnTo>
                      <a:pt x="24" y="1440"/>
                    </a:lnTo>
                    <a:lnTo>
                      <a:pt x="14" y="1446"/>
                    </a:lnTo>
                    <a:lnTo>
                      <a:pt x="9" y="1452"/>
                    </a:lnTo>
                    <a:lnTo>
                      <a:pt x="10" y="1461"/>
                    </a:lnTo>
                    <a:lnTo>
                      <a:pt x="15" y="1466"/>
                    </a:lnTo>
                    <a:lnTo>
                      <a:pt x="18" y="1472"/>
                    </a:lnTo>
                    <a:lnTo>
                      <a:pt x="24" y="1467"/>
                    </a:lnTo>
                    <a:lnTo>
                      <a:pt x="30" y="1461"/>
                    </a:lnTo>
                    <a:lnTo>
                      <a:pt x="30" y="1469"/>
                    </a:lnTo>
                    <a:lnTo>
                      <a:pt x="38" y="1483"/>
                    </a:lnTo>
                    <a:lnTo>
                      <a:pt x="31" y="1484"/>
                    </a:lnTo>
                    <a:lnTo>
                      <a:pt x="22" y="1490"/>
                    </a:lnTo>
                    <a:lnTo>
                      <a:pt x="22" y="1495"/>
                    </a:lnTo>
                    <a:lnTo>
                      <a:pt x="27" y="1499"/>
                    </a:lnTo>
                    <a:lnTo>
                      <a:pt x="37" y="1493"/>
                    </a:lnTo>
                    <a:lnTo>
                      <a:pt x="43" y="1482"/>
                    </a:lnTo>
                    <a:lnTo>
                      <a:pt x="45" y="1469"/>
                    </a:lnTo>
                    <a:lnTo>
                      <a:pt x="53" y="1463"/>
                    </a:lnTo>
                    <a:lnTo>
                      <a:pt x="63" y="1451"/>
                    </a:lnTo>
                    <a:lnTo>
                      <a:pt x="73" y="1431"/>
                    </a:lnTo>
                    <a:lnTo>
                      <a:pt x="83" y="1423"/>
                    </a:lnTo>
                    <a:lnTo>
                      <a:pt x="88" y="1428"/>
                    </a:lnTo>
                    <a:lnTo>
                      <a:pt x="88" y="1431"/>
                    </a:lnTo>
                    <a:lnTo>
                      <a:pt x="100" y="1429"/>
                    </a:lnTo>
                    <a:lnTo>
                      <a:pt x="110" y="1430"/>
                    </a:lnTo>
                    <a:lnTo>
                      <a:pt x="94" y="1437"/>
                    </a:lnTo>
                    <a:lnTo>
                      <a:pt x="91" y="1448"/>
                    </a:lnTo>
                    <a:lnTo>
                      <a:pt x="89" y="1455"/>
                    </a:lnTo>
                    <a:lnTo>
                      <a:pt x="88" y="1443"/>
                    </a:lnTo>
                    <a:lnTo>
                      <a:pt x="83" y="1442"/>
                    </a:lnTo>
                    <a:lnTo>
                      <a:pt x="74" y="1456"/>
                    </a:lnTo>
                    <a:lnTo>
                      <a:pt x="64" y="1467"/>
                    </a:lnTo>
                    <a:lnTo>
                      <a:pt x="70" y="1472"/>
                    </a:lnTo>
                    <a:lnTo>
                      <a:pt x="70" y="1475"/>
                    </a:lnTo>
                    <a:lnTo>
                      <a:pt x="59" y="1482"/>
                    </a:lnTo>
                    <a:lnTo>
                      <a:pt x="40" y="1506"/>
                    </a:lnTo>
                    <a:lnTo>
                      <a:pt x="47" y="1511"/>
                    </a:lnTo>
                    <a:lnTo>
                      <a:pt x="67" y="1511"/>
                    </a:lnTo>
                    <a:lnTo>
                      <a:pt x="72" y="1506"/>
                    </a:lnTo>
                    <a:lnTo>
                      <a:pt x="74" y="1510"/>
                    </a:lnTo>
                    <a:lnTo>
                      <a:pt x="53" y="1518"/>
                    </a:lnTo>
                    <a:lnTo>
                      <a:pt x="48" y="1525"/>
                    </a:lnTo>
                    <a:lnTo>
                      <a:pt x="47" y="1528"/>
                    </a:lnTo>
                    <a:lnTo>
                      <a:pt x="37" y="1528"/>
                    </a:lnTo>
                    <a:lnTo>
                      <a:pt x="32" y="1531"/>
                    </a:lnTo>
                    <a:lnTo>
                      <a:pt x="26" y="1528"/>
                    </a:lnTo>
                    <a:lnTo>
                      <a:pt x="18" y="1539"/>
                    </a:lnTo>
                    <a:lnTo>
                      <a:pt x="13" y="1549"/>
                    </a:lnTo>
                    <a:lnTo>
                      <a:pt x="13" y="1558"/>
                    </a:lnTo>
                    <a:lnTo>
                      <a:pt x="16" y="1560"/>
                    </a:lnTo>
                    <a:lnTo>
                      <a:pt x="18" y="1564"/>
                    </a:lnTo>
                    <a:lnTo>
                      <a:pt x="26" y="1563"/>
                    </a:lnTo>
                    <a:lnTo>
                      <a:pt x="30" y="1554"/>
                    </a:lnTo>
                    <a:lnTo>
                      <a:pt x="32" y="1563"/>
                    </a:lnTo>
                    <a:lnTo>
                      <a:pt x="40" y="1563"/>
                    </a:lnTo>
                    <a:lnTo>
                      <a:pt x="42" y="1556"/>
                    </a:lnTo>
                    <a:lnTo>
                      <a:pt x="41" y="1550"/>
                    </a:lnTo>
                    <a:lnTo>
                      <a:pt x="48" y="1555"/>
                    </a:lnTo>
                    <a:lnTo>
                      <a:pt x="63" y="1547"/>
                    </a:lnTo>
                    <a:lnTo>
                      <a:pt x="68" y="1541"/>
                    </a:lnTo>
                    <a:lnTo>
                      <a:pt x="73" y="1544"/>
                    </a:lnTo>
                    <a:lnTo>
                      <a:pt x="58" y="1561"/>
                    </a:lnTo>
                    <a:lnTo>
                      <a:pt x="64" y="1561"/>
                    </a:lnTo>
                    <a:lnTo>
                      <a:pt x="64" y="1571"/>
                    </a:lnTo>
                    <a:lnTo>
                      <a:pt x="58" y="1580"/>
                    </a:lnTo>
                    <a:lnTo>
                      <a:pt x="56" y="1587"/>
                    </a:lnTo>
                    <a:lnTo>
                      <a:pt x="50" y="1593"/>
                    </a:lnTo>
                    <a:lnTo>
                      <a:pt x="51" y="1599"/>
                    </a:lnTo>
                    <a:lnTo>
                      <a:pt x="51" y="1604"/>
                    </a:lnTo>
                    <a:lnTo>
                      <a:pt x="45" y="1603"/>
                    </a:lnTo>
                    <a:lnTo>
                      <a:pt x="40" y="1606"/>
                    </a:lnTo>
                    <a:lnTo>
                      <a:pt x="36" y="1598"/>
                    </a:lnTo>
                    <a:lnTo>
                      <a:pt x="32" y="1598"/>
                    </a:lnTo>
                    <a:lnTo>
                      <a:pt x="25" y="1630"/>
                    </a:lnTo>
                    <a:lnTo>
                      <a:pt x="38" y="1647"/>
                    </a:lnTo>
                    <a:lnTo>
                      <a:pt x="59" y="1666"/>
                    </a:lnTo>
                    <a:lnTo>
                      <a:pt x="74" y="1674"/>
                    </a:lnTo>
                    <a:lnTo>
                      <a:pt x="85" y="1677"/>
                    </a:lnTo>
                    <a:lnTo>
                      <a:pt x="92" y="1665"/>
                    </a:lnTo>
                    <a:lnTo>
                      <a:pt x="92" y="1682"/>
                    </a:lnTo>
                    <a:lnTo>
                      <a:pt x="90" y="1694"/>
                    </a:lnTo>
                    <a:lnTo>
                      <a:pt x="96" y="1689"/>
                    </a:lnTo>
                    <a:lnTo>
                      <a:pt x="106" y="1695"/>
                    </a:lnTo>
                    <a:lnTo>
                      <a:pt x="110" y="1685"/>
                    </a:lnTo>
                    <a:lnTo>
                      <a:pt x="124" y="1687"/>
                    </a:lnTo>
                    <a:lnTo>
                      <a:pt x="117" y="1695"/>
                    </a:lnTo>
                    <a:lnTo>
                      <a:pt x="134" y="1701"/>
                    </a:lnTo>
                    <a:lnTo>
                      <a:pt x="145" y="1697"/>
                    </a:lnTo>
                    <a:lnTo>
                      <a:pt x="158" y="1687"/>
                    </a:lnTo>
                    <a:lnTo>
                      <a:pt x="163" y="1673"/>
                    </a:lnTo>
                    <a:lnTo>
                      <a:pt x="170" y="1684"/>
                    </a:lnTo>
                    <a:lnTo>
                      <a:pt x="190" y="1671"/>
                    </a:lnTo>
                    <a:lnTo>
                      <a:pt x="210" y="1644"/>
                    </a:lnTo>
                    <a:lnTo>
                      <a:pt x="221" y="1638"/>
                    </a:lnTo>
                    <a:lnTo>
                      <a:pt x="225" y="1627"/>
                    </a:lnTo>
                    <a:lnTo>
                      <a:pt x="231" y="1622"/>
                    </a:lnTo>
                    <a:lnTo>
                      <a:pt x="234" y="1615"/>
                    </a:lnTo>
                    <a:lnTo>
                      <a:pt x="251" y="1597"/>
                    </a:lnTo>
                    <a:lnTo>
                      <a:pt x="249" y="1590"/>
                    </a:lnTo>
                    <a:lnTo>
                      <a:pt x="261" y="1597"/>
                    </a:lnTo>
                    <a:lnTo>
                      <a:pt x="274" y="1597"/>
                    </a:lnTo>
                    <a:lnTo>
                      <a:pt x="282" y="1593"/>
                    </a:lnTo>
                    <a:lnTo>
                      <a:pt x="285" y="1581"/>
                    </a:lnTo>
                    <a:lnTo>
                      <a:pt x="287" y="1574"/>
                    </a:lnTo>
                    <a:lnTo>
                      <a:pt x="294" y="1566"/>
                    </a:lnTo>
                    <a:lnTo>
                      <a:pt x="293" y="1556"/>
                    </a:lnTo>
                    <a:lnTo>
                      <a:pt x="287" y="1549"/>
                    </a:lnTo>
                    <a:lnTo>
                      <a:pt x="283" y="1541"/>
                    </a:lnTo>
                    <a:lnTo>
                      <a:pt x="285" y="1538"/>
                    </a:lnTo>
                    <a:lnTo>
                      <a:pt x="287" y="1533"/>
                    </a:lnTo>
                    <a:lnTo>
                      <a:pt x="284" y="1522"/>
                    </a:lnTo>
                    <a:lnTo>
                      <a:pt x="289" y="1526"/>
                    </a:lnTo>
                    <a:lnTo>
                      <a:pt x="293" y="1533"/>
                    </a:lnTo>
                    <a:lnTo>
                      <a:pt x="293" y="1541"/>
                    </a:lnTo>
                    <a:lnTo>
                      <a:pt x="299" y="1539"/>
                    </a:lnTo>
                    <a:lnTo>
                      <a:pt x="300" y="1533"/>
                    </a:lnTo>
                    <a:lnTo>
                      <a:pt x="295" y="1525"/>
                    </a:lnTo>
                    <a:lnTo>
                      <a:pt x="294" y="1509"/>
                    </a:lnTo>
                    <a:lnTo>
                      <a:pt x="296" y="1505"/>
                    </a:lnTo>
                    <a:lnTo>
                      <a:pt x="299" y="1506"/>
                    </a:lnTo>
                    <a:lnTo>
                      <a:pt x="305" y="1502"/>
                    </a:lnTo>
                    <a:lnTo>
                      <a:pt x="310" y="1505"/>
                    </a:lnTo>
                    <a:lnTo>
                      <a:pt x="310" y="1512"/>
                    </a:lnTo>
                    <a:lnTo>
                      <a:pt x="303" y="1516"/>
                    </a:lnTo>
                    <a:lnTo>
                      <a:pt x="303" y="1522"/>
                    </a:lnTo>
                    <a:lnTo>
                      <a:pt x="305" y="1533"/>
                    </a:lnTo>
                    <a:lnTo>
                      <a:pt x="307" y="1563"/>
                    </a:lnTo>
                    <a:lnTo>
                      <a:pt x="310" y="1574"/>
                    </a:lnTo>
                    <a:lnTo>
                      <a:pt x="317" y="1572"/>
                    </a:lnTo>
                    <a:lnTo>
                      <a:pt x="327" y="1581"/>
                    </a:lnTo>
                    <a:lnTo>
                      <a:pt x="333" y="1580"/>
                    </a:lnTo>
                    <a:lnTo>
                      <a:pt x="337" y="1587"/>
                    </a:lnTo>
                    <a:lnTo>
                      <a:pt x="339" y="1592"/>
                    </a:lnTo>
                    <a:lnTo>
                      <a:pt x="339" y="1614"/>
                    </a:lnTo>
                    <a:lnTo>
                      <a:pt x="343" y="1601"/>
                    </a:lnTo>
                    <a:lnTo>
                      <a:pt x="347" y="1609"/>
                    </a:lnTo>
                    <a:lnTo>
                      <a:pt x="355" y="1603"/>
                    </a:lnTo>
                    <a:lnTo>
                      <a:pt x="363" y="1566"/>
                    </a:lnTo>
                    <a:lnTo>
                      <a:pt x="359" y="1554"/>
                    </a:lnTo>
                    <a:lnTo>
                      <a:pt x="358" y="1537"/>
                    </a:lnTo>
                    <a:lnTo>
                      <a:pt x="370" y="1516"/>
                    </a:lnTo>
                    <a:lnTo>
                      <a:pt x="370" y="1502"/>
                    </a:lnTo>
                    <a:lnTo>
                      <a:pt x="397" y="1491"/>
                    </a:lnTo>
                    <a:lnTo>
                      <a:pt x="403" y="1480"/>
                    </a:lnTo>
                    <a:lnTo>
                      <a:pt x="405" y="1466"/>
                    </a:lnTo>
                    <a:lnTo>
                      <a:pt x="401" y="1457"/>
                    </a:lnTo>
                    <a:lnTo>
                      <a:pt x="408" y="1428"/>
                    </a:lnTo>
                    <a:lnTo>
                      <a:pt x="400" y="1394"/>
                    </a:lnTo>
                    <a:lnTo>
                      <a:pt x="390" y="1382"/>
                    </a:lnTo>
                    <a:lnTo>
                      <a:pt x="392" y="1375"/>
                    </a:lnTo>
                    <a:lnTo>
                      <a:pt x="407" y="1369"/>
                    </a:lnTo>
                    <a:lnTo>
                      <a:pt x="417" y="1358"/>
                    </a:lnTo>
                    <a:lnTo>
                      <a:pt x="423" y="1339"/>
                    </a:lnTo>
                    <a:lnTo>
                      <a:pt x="420" y="1318"/>
                    </a:lnTo>
                    <a:lnTo>
                      <a:pt x="400" y="1303"/>
                    </a:lnTo>
                    <a:lnTo>
                      <a:pt x="391" y="1287"/>
                    </a:lnTo>
                    <a:lnTo>
                      <a:pt x="390" y="1267"/>
                    </a:lnTo>
                    <a:lnTo>
                      <a:pt x="391" y="1225"/>
                    </a:lnTo>
                    <a:lnTo>
                      <a:pt x="386" y="1210"/>
                    </a:lnTo>
                    <a:lnTo>
                      <a:pt x="384" y="1206"/>
                    </a:lnTo>
                    <a:lnTo>
                      <a:pt x="384" y="1194"/>
                    </a:lnTo>
                    <a:lnTo>
                      <a:pt x="386" y="1186"/>
                    </a:lnTo>
                    <a:lnTo>
                      <a:pt x="386" y="1166"/>
                    </a:lnTo>
                    <a:lnTo>
                      <a:pt x="390" y="1156"/>
                    </a:lnTo>
                    <a:lnTo>
                      <a:pt x="391" y="1144"/>
                    </a:lnTo>
                    <a:lnTo>
                      <a:pt x="397" y="1134"/>
                    </a:lnTo>
                    <a:lnTo>
                      <a:pt x="392" y="1129"/>
                    </a:lnTo>
                    <a:lnTo>
                      <a:pt x="386" y="1116"/>
                    </a:lnTo>
                    <a:lnTo>
                      <a:pt x="382" y="1097"/>
                    </a:lnTo>
                    <a:lnTo>
                      <a:pt x="387" y="1077"/>
                    </a:lnTo>
                    <a:lnTo>
                      <a:pt x="393" y="1063"/>
                    </a:lnTo>
                    <a:lnTo>
                      <a:pt x="418" y="1032"/>
                    </a:lnTo>
                    <a:lnTo>
                      <a:pt x="435" y="1021"/>
                    </a:lnTo>
                    <a:lnTo>
                      <a:pt x="456" y="1015"/>
                    </a:lnTo>
                    <a:lnTo>
                      <a:pt x="473" y="1018"/>
                    </a:lnTo>
                    <a:lnTo>
                      <a:pt x="488" y="1020"/>
                    </a:lnTo>
                    <a:lnTo>
                      <a:pt x="498" y="1007"/>
                    </a:lnTo>
                    <a:lnTo>
                      <a:pt x="500" y="995"/>
                    </a:lnTo>
                    <a:lnTo>
                      <a:pt x="500" y="976"/>
                    </a:lnTo>
                    <a:lnTo>
                      <a:pt x="494" y="964"/>
                    </a:lnTo>
                    <a:lnTo>
                      <a:pt x="479" y="948"/>
                    </a:lnTo>
                    <a:lnTo>
                      <a:pt x="478" y="939"/>
                    </a:lnTo>
                    <a:lnTo>
                      <a:pt x="498" y="907"/>
                    </a:lnTo>
                    <a:lnTo>
                      <a:pt x="515" y="870"/>
                    </a:lnTo>
                    <a:lnTo>
                      <a:pt x="524" y="820"/>
                    </a:lnTo>
                    <a:lnTo>
                      <a:pt x="525" y="790"/>
                    </a:lnTo>
                    <a:lnTo>
                      <a:pt x="525" y="769"/>
                    </a:lnTo>
                    <a:lnTo>
                      <a:pt x="524" y="754"/>
                    </a:lnTo>
                    <a:lnTo>
                      <a:pt x="531" y="750"/>
                    </a:lnTo>
                    <a:lnTo>
                      <a:pt x="542" y="750"/>
                    </a:lnTo>
                    <a:lnTo>
                      <a:pt x="559" y="736"/>
                    </a:lnTo>
                    <a:lnTo>
                      <a:pt x="564" y="724"/>
                    </a:lnTo>
                    <a:lnTo>
                      <a:pt x="567" y="704"/>
                    </a:lnTo>
                    <a:lnTo>
                      <a:pt x="573" y="688"/>
                    </a:lnTo>
                    <a:lnTo>
                      <a:pt x="596" y="657"/>
                    </a:lnTo>
                    <a:lnTo>
                      <a:pt x="604" y="644"/>
                    </a:lnTo>
                    <a:lnTo>
                      <a:pt x="616" y="629"/>
                    </a:lnTo>
                    <a:lnTo>
                      <a:pt x="622" y="618"/>
                    </a:lnTo>
                    <a:lnTo>
                      <a:pt x="624" y="609"/>
                    </a:lnTo>
                    <a:lnTo>
                      <a:pt x="623" y="596"/>
                    </a:lnTo>
                    <a:lnTo>
                      <a:pt x="610" y="574"/>
                    </a:lnTo>
                    <a:lnTo>
                      <a:pt x="613" y="560"/>
                    </a:lnTo>
                    <a:lnTo>
                      <a:pt x="627" y="543"/>
                    </a:lnTo>
                    <a:lnTo>
                      <a:pt x="633" y="532"/>
                    </a:lnTo>
                    <a:lnTo>
                      <a:pt x="635" y="520"/>
                    </a:lnTo>
                    <a:lnTo>
                      <a:pt x="639" y="503"/>
                    </a:lnTo>
                    <a:lnTo>
                      <a:pt x="648" y="492"/>
                    </a:lnTo>
                    <a:lnTo>
                      <a:pt x="666" y="472"/>
                    </a:lnTo>
                    <a:lnTo>
                      <a:pt x="678" y="469"/>
                    </a:lnTo>
                    <a:lnTo>
                      <a:pt x="691" y="476"/>
                    </a:lnTo>
                    <a:lnTo>
                      <a:pt x="701" y="488"/>
                    </a:lnTo>
                    <a:lnTo>
                      <a:pt x="704" y="490"/>
                    </a:lnTo>
                    <a:lnTo>
                      <a:pt x="714" y="473"/>
                    </a:lnTo>
                    <a:lnTo>
                      <a:pt x="719" y="452"/>
                    </a:lnTo>
                    <a:lnTo>
                      <a:pt x="721" y="442"/>
                    </a:lnTo>
                    <a:lnTo>
                      <a:pt x="719" y="419"/>
                    </a:lnTo>
                    <a:lnTo>
                      <a:pt x="724" y="409"/>
                    </a:lnTo>
                    <a:lnTo>
                      <a:pt x="729" y="404"/>
                    </a:lnTo>
                    <a:lnTo>
                      <a:pt x="739" y="403"/>
                    </a:lnTo>
                    <a:lnTo>
                      <a:pt x="769" y="407"/>
                    </a:lnTo>
                    <a:lnTo>
                      <a:pt x="812" y="423"/>
                    </a:lnTo>
                    <a:lnTo>
                      <a:pt x="821" y="420"/>
                    </a:lnTo>
                    <a:lnTo>
                      <a:pt x="828" y="412"/>
                    </a:lnTo>
                    <a:lnTo>
                      <a:pt x="819" y="403"/>
                    </a:lnTo>
                    <a:lnTo>
                      <a:pt x="817" y="392"/>
                    </a:lnTo>
                    <a:lnTo>
                      <a:pt x="823" y="382"/>
                    </a:lnTo>
                    <a:lnTo>
                      <a:pt x="827" y="366"/>
                    </a:lnTo>
                    <a:lnTo>
                      <a:pt x="831" y="361"/>
                    </a:lnTo>
                    <a:lnTo>
                      <a:pt x="833" y="352"/>
                    </a:lnTo>
                    <a:lnTo>
                      <a:pt x="832" y="342"/>
                    </a:lnTo>
                    <a:lnTo>
                      <a:pt x="827" y="336"/>
                    </a:lnTo>
                    <a:lnTo>
                      <a:pt x="826" y="326"/>
                    </a:lnTo>
                    <a:lnTo>
                      <a:pt x="831" y="323"/>
                    </a:lnTo>
                    <a:lnTo>
                      <a:pt x="854" y="323"/>
                    </a:lnTo>
                    <a:lnTo>
                      <a:pt x="857" y="316"/>
                    </a:lnTo>
                    <a:lnTo>
                      <a:pt x="865" y="313"/>
                    </a:lnTo>
                    <a:lnTo>
                      <a:pt x="874" y="317"/>
                    </a:lnTo>
                    <a:lnTo>
                      <a:pt x="882" y="313"/>
                    </a:lnTo>
                    <a:lnTo>
                      <a:pt x="880" y="302"/>
                    </a:lnTo>
                    <a:lnTo>
                      <a:pt x="879" y="290"/>
                    </a:lnTo>
                    <a:lnTo>
                      <a:pt x="891" y="283"/>
                    </a:lnTo>
                    <a:lnTo>
                      <a:pt x="906" y="289"/>
                    </a:lnTo>
                    <a:lnTo>
                      <a:pt x="917" y="300"/>
                    </a:lnTo>
                    <a:lnTo>
                      <a:pt x="947" y="344"/>
                    </a:lnTo>
                    <a:lnTo>
                      <a:pt x="952" y="363"/>
                    </a:lnTo>
                    <a:lnTo>
                      <a:pt x="957" y="371"/>
                    </a:lnTo>
                    <a:lnTo>
                      <a:pt x="983" y="375"/>
                    </a:lnTo>
                    <a:lnTo>
                      <a:pt x="998" y="383"/>
                    </a:lnTo>
                    <a:lnTo>
                      <a:pt x="1010" y="382"/>
                    </a:lnTo>
                    <a:lnTo>
                      <a:pt x="1025" y="374"/>
                    </a:lnTo>
                    <a:lnTo>
                      <a:pt x="1042" y="353"/>
                    </a:lnTo>
                    <a:lnTo>
                      <a:pt x="1052" y="360"/>
                    </a:lnTo>
                    <a:lnTo>
                      <a:pt x="1061" y="374"/>
                    </a:lnTo>
                    <a:lnTo>
                      <a:pt x="1064" y="382"/>
                    </a:lnTo>
                    <a:lnTo>
                      <a:pt x="1074" y="385"/>
                    </a:lnTo>
                    <a:lnTo>
                      <a:pt x="1090" y="377"/>
                    </a:lnTo>
                    <a:lnTo>
                      <a:pt x="1102" y="368"/>
                    </a:lnTo>
                    <a:lnTo>
                      <a:pt x="1111" y="354"/>
                    </a:lnTo>
                    <a:lnTo>
                      <a:pt x="1137" y="334"/>
                    </a:lnTo>
                    <a:lnTo>
                      <a:pt x="1139" y="322"/>
                    </a:lnTo>
                    <a:lnTo>
                      <a:pt x="1137" y="299"/>
                    </a:lnTo>
                    <a:lnTo>
                      <a:pt x="1137" y="285"/>
                    </a:lnTo>
                    <a:lnTo>
                      <a:pt x="1140" y="243"/>
                    </a:lnTo>
                    <a:lnTo>
                      <a:pt x="1154" y="212"/>
                    </a:lnTo>
                    <a:lnTo>
                      <a:pt x="1164" y="199"/>
                    </a:lnTo>
                    <a:lnTo>
                      <a:pt x="1177" y="192"/>
                    </a:lnTo>
                    <a:lnTo>
                      <a:pt x="1202" y="189"/>
                    </a:lnTo>
                    <a:lnTo>
                      <a:pt x="1240" y="172"/>
                    </a:lnTo>
                    <a:lnTo>
                      <a:pt x="1263" y="167"/>
                    </a:lnTo>
                    <a:lnTo>
                      <a:pt x="1268" y="172"/>
                    </a:lnTo>
                    <a:lnTo>
                      <a:pt x="1278" y="193"/>
                    </a:lnTo>
                    <a:lnTo>
                      <a:pt x="1289" y="202"/>
                    </a:lnTo>
                    <a:lnTo>
                      <a:pt x="1307" y="208"/>
                    </a:lnTo>
                    <a:lnTo>
                      <a:pt x="1325" y="225"/>
                    </a:lnTo>
                    <a:lnTo>
                      <a:pt x="1332" y="253"/>
                    </a:lnTo>
                    <a:lnTo>
                      <a:pt x="1333" y="269"/>
                    </a:lnTo>
                    <a:lnTo>
                      <a:pt x="1314" y="294"/>
                    </a:lnTo>
                    <a:lnTo>
                      <a:pt x="1310" y="306"/>
                    </a:lnTo>
                    <a:lnTo>
                      <a:pt x="1311" y="317"/>
                    </a:lnTo>
                    <a:lnTo>
                      <a:pt x="1321" y="325"/>
                    </a:lnTo>
                    <a:lnTo>
                      <a:pt x="1323" y="323"/>
                    </a:lnTo>
                    <a:lnTo>
                      <a:pt x="1332" y="315"/>
                    </a:lnTo>
                    <a:lnTo>
                      <a:pt x="1333" y="311"/>
                    </a:lnTo>
                    <a:lnTo>
                      <a:pt x="1334" y="300"/>
                    </a:lnTo>
                    <a:lnTo>
                      <a:pt x="1337" y="295"/>
                    </a:lnTo>
                    <a:lnTo>
                      <a:pt x="1369" y="275"/>
                    </a:lnTo>
                    <a:lnTo>
                      <a:pt x="1375" y="269"/>
                    </a:lnTo>
                    <a:lnTo>
                      <a:pt x="1381" y="239"/>
                    </a:lnTo>
                    <a:lnTo>
                      <a:pt x="1403" y="252"/>
                    </a:lnTo>
                    <a:lnTo>
                      <a:pt x="1416" y="250"/>
                    </a:lnTo>
                    <a:lnTo>
                      <a:pt x="1418" y="243"/>
                    </a:lnTo>
                    <a:lnTo>
                      <a:pt x="1422" y="231"/>
                    </a:lnTo>
                    <a:lnTo>
                      <a:pt x="1422" y="220"/>
                    </a:lnTo>
                    <a:lnTo>
                      <a:pt x="1419" y="216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92" name="Freeform 221"/>
              <p:cNvSpPr>
                <a:spLocks noChangeAspect="1"/>
              </p:cNvSpPr>
              <p:nvPr/>
            </p:nvSpPr>
            <p:spPr bwMode="gray">
              <a:xfrm>
                <a:off x="2637" y="1429"/>
                <a:ext cx="143" cy="328"/>
              </a:xfrm>
              <a:custGeom>
                <a:avLst/>
                <a:gdLst/>
                <a:ahLst/>
                <a:cxnLst>
                  <a:cxn ang="0">
                    <a:pos x="13" y="1339"/>
                  </a:cxn>
                  <a:cxn ang="0">
                    <a:pos x="27" y="1349"/>
                  </a:cxn>
                  <a:cxn ang="0">
                    <a:pos x="43" y="1396"/>
                  </a:cxn>
                  <a:cxn ang="0">
                    <a:pos x="56" y="1468"/>
                  </a:cxn>
                  <a:cxn ang="0">
                    <a:pos x="92" y="1538"/>
                  </a:cxn>
                  <a:cxn ang="0">
                    <a:pos x="91" y="1593"/>
                  </a:cxn>
                  <a:cxn ang="0">
                    <a:pos x="107" y="1636"/>
                  </a:cxn>
                  <a:cxn ang="0">
                    <a:pos x="169" y="1598"/>
                  </a:cxn>
                  <a:cxn ang="0">
                    <a:pos x="227" y="1564"/>
                  </a:cxn>
                  <a:cxn ang="0">
                    <a:pos x="286" y="1484"/>
                  </a:cxn>
                  <a:cxn ang="0">
                    <a:pos x="300" y="1407"/>
                  </a:cxn>
                  <a:cxn ang="0">
                    <a:pos x="301" y="1378"/>
                  </a:cxn>
                  <a:cxn ang="0">
                    <a:pos x="288" y="1329"/>
                  </a:cxn>
                  <a:cxn ang="0">
                    <a:pos x="276" y="1310"/>
                  </a:cxn>
                  <a:cxn ang="0">
                    <a:pos x="350" y="1279"/>
                  </a:cxn>
                  <a:cxn ang="0">
                    <a:pos x="389" y="1243"/>
                  </a:cxn>
                  <a:cxn ang="0">
                    <a:pos x="341" y="1241"/>
                  </a:cxn>
                  <a:cxn ang="0">
                    <a:pos x="290" y="1219"/>
                  </a:cxn>
                  <a:cxn ang="0">
                    <a:pos x="338" y="1218"/>
                  </a:cxn>
                  <a:cxn ang="0">
                    <a:pos x="371" y="1232"/>
                  </a:cxn>
                  <a:cxn ang="0">
                    <a:pos x="394" y="1138"/>
                  </a:cxn>
                  <a:cxn ang="0">
                    <a:pos x="352" y="1100"/>
                  </a:cxn>
                  <a:cxn ang="0">
                    <a:pos x="308" y="1148"/>
                  </a:cxn>
                  <a:cxn ang="0">
                    <a:pos x="319" y="1127"/>
                  </a:cxn>
                  <a:cxn ang="0">
                    <a:pos x="331" y="1060"/>
                  </a:cxn>
                  <a:cxn ang="0">
                    <a:pos x="344" y="979"/>
                  </a:cxn>
                  <a:cxn ang="0">
                    <a:pos x="340" y="879"/>
                  </a:cxn>
                  <a:cxn ang="0">
                    <a:pos x="370" y="850"/>
                  </a:cxn>
                  <a:cxn ang="0">
                    <a:pos x="393" y="840"/>
                  </a:cxn>
                  <a:cxn ang="0">
                    <a:pos x="410" y="809"/>
                  </a:cxn>
                  <a:cxn ang="0">
                    <a:pos x="449" y="764"/>
                  </a:cxn>
                  <a:cxn ang="0">
                    <a:pos x="503" y="735"/>
                  </a:cxn>
                  <a:cxn ang="0">
                    <a:pos x="555" y="664"/>
                  </a:cxn>
                  <a:cxn ang="0">
                    <a:pos x="572" y="639"/>
                  </a:cxn>
                  <a:cxn ang="0">
                    <a:pos x="551" y="594"/>
                  </a:cxn>
                  <a:cxn ang="0">
                    <a:pos x="569" y="527"/>
                  </a:cxn>
                  <a:cxn ang="0">
                    <a:pos x="593" y="503"/>
                  </a:cxn>
                  <a:cxn ang="0">
                    <a:pos x="614" y="493"/>
                  </a:cxn>
                  <a:cxn ang="0">
                    <a:pos x="628" y="460"/>
                  </a:cxn>
                  <a:cxn ang="0">
                    <a:pos x="661" y="473"/>
                  </a:cxn>
                  <a:cxn ang="0">
                    <a:pos x="712" y="449"/>
                  </a:cxn>
                  <a:cxn ang="0">
                    <a:pos x="687" y="296"/>
                  </a:cxn>
                  <a:cxn ang="0">
                    <a:pos x="683" y="186"/>
                  </a:cxn>
                  <a:cxn ang="0">
                    <a:pos x="528" y="5"/>
                  </a:cxn>
                  <a:cxn ang="0">
                    <a:pos x="502" y="29"/>
                  </a:cxn>
                  <a:cxn ang="0">
                    <a:pos x="490" y="97"/>
                  </a:cxn>
                  <a:cxn ang="0">
                    <a:pos x="390" y="119"/>
                  </a:cxn>
                  <a:cxn ang="0">
                    <a:pos x="335" y="149"/>
                  </a:cxn>
                  <a:cxn ang="0">
                    <a:pos x="279" y="251"/>
                  </a:cxn>
                  <a:cxn ang="0">
                    <a:pos x="242" y="364"/>
                  </a:cxn>
                  <a:cxn ang="0">
                    <a:pos x="194" y="446"/>
                  </a:cxn>
                  <a:cxn ang="0">
                    <a:pos x="163" y="641"/>
                  </a:cxn>
                  <a:cxn ang="0">
                    <a:pos x="104" y="697"/>
                  </a:cxn>
                  <a:cxn ang="0">
                    <a:pos x="66" y="811"/>
                  </a:cxn>
                  <a:cxn ang="0">
                    <a:pos x="55" y="886"/>
                  </a:cxn>
                  <a:cxn ang="0">
                    <a:pos x="86" y="1035"/>
                  </a:cxn>
                  <a:cxn ang="0">
                    <a:pos x="74" y="1143"/>
                  </a:cxn>
                  <a:cxn ang="0">
                    <a:pos x="32" y="1242"/>
                  </a:cxn>
                </a:cxnLst>
                <a:rect l="0" t="0" r="r" b="b"/>
                <a:pathLst>
                  <a:path w="715" h="1640">
                    <a:moveTo>
                      <a:pt x="6" y="1264"/>
                    </a:moveTo>
                    <a:lnTo>
                      <a:pt x="0" y="1276"/>
                    </a:lnTo>
                    <a:lnTo>
                      <a:pt x="0" y="1288"/>
                    </a:lnTo>
                    <a:lnTo>
                      <a:pt x="5" y="1328"/>
                    </a:lnTo>
                    <a:lnTo>
                      <a:pt x="7" y="1333"/>
                    </a:lnTo>
                    <a:lnTo>
                      <a:pt x="12" y="1335"/>
                    </a:lnTo>
                    <a:lnTo>
                      <a:pt x="13" y="1339"/>
                    </a:lnTo>
                    <a:lnTo>
                      <a:pt x="15" y="1346"/>
                    </a:lnTo>
                    <a:lnTo>
                      <a:pt x="13" y="1350"/>
                    </a:lnTo>
                    <a:lnTo>
                      <a:pt x="19" y="1343"/>
                    </a:lnTo>
                    <a:lnTo>
                      <a:pt x="21" y="1335"/>
                    </a:lnTo>
                    <a:lnTo>
                      <a:pt x="26" y="1340"/>
                    </a:lnTo>
                    <a:lnTo>
                      <a:pt x="22" y="1350"/>
                    </a:lnTo>
                    <a:lnTo>
                      <a:pt x="27" y="1349"/>
                    </a:lnTo>
                    <a:lnTo>
                      <a:pt x="29" y="1351"/>
                    </a:lnTo>
                    <a:lnTo>
                      <a:pt x="24" y="1355"/>
                    </a:lnTo>
                    <a:lnTo>
                      <a:pt x="17" y="1366"/>
                    </a:lnTo>
                    <a:lnTo>
                      <a:pt x="33" y="1371"/>
                    </a:lnTo>
                    <a:lnTo>
                      <a:pt x="35" y="1381"/>
                    </a:lnTo>
                    <a:lnTo>
                      <a:pt x="33" y="1398"/>
                    </a:lnTo>
                    <a:lnTo>
                      <a:pt x="43" y="1396"/>
                    </a:lnTo>
                    <a:lnTo>
                      <a:pt x="45" y="1407"/>
                    </a:lnTo>
                    <a:lnTo>
                      <a:pt x="39" y="1415"/>
                    </a:lnTo>
                    <a:lnTo>
                      <a:pt x="42" y="1431"/>
                    </a:lnTo>
                    <a:lnTo>
                      <a:pt x="40" y="1442"/>
                    </a:lnTo>
                    <a:lnTo>
                      <a:pt x="49" y="1442"/>
                    </a:lnTo>
                    <a:lnTo>
                      <a:pt x="54" y="1456"/>
                    </a:lnTo>
                    <a:lnTo>
                      <a:pt x="56" y="1468"/>
                    </a:lnTo>
                    <a:lnTo>
                      <a:pt x="62" y="1487"/>
                    </a:lnTo>
                    <a:lnTo>
                      <a:pt x="74" y="1496"/>
                    </a:lnTo>
                    <a:lnTo>
                      <a:pt x="78" y="1509"/>
                    </a:lnTo>
                    <a:lnTo>
                      <a:pt x="91" y="1516"/>
                    </a:lnTo>
                    <a:lnTo>
                      <a:pt x="98" y="1526"/>
                    </a:lnTo>
                    <a:lnTo>
                      <a:pt x="98" y="1534"/>
                    </a:lnTo>
                    <a:lnTo>
                      <a:pt x="92" y="1538"/>
                    </a:lnTo>
                    <a:lnTo>
                      <a:pt x="85" y="1537"/>
                    </a:lnTo>
                    <a:lnTo>
                      <a:pt x="82" y="1541"/>
                    </a:lnTo>
                    <a:lnTo>
                      <a:pt x="89" y="1557"/>
                    </a:lnTo>
                    <a:lnTo>
                      <a:pt x="82" y="1555"/>
                    </a:lnTo>
                    <a:lnTo>
                      <a:pt x="75" y="1553"/>
                    </a:lnTo>
                    <a:lnTo>
                      <a:pt x="75" y="1559"/>
                    </a:lnTo>
                    <a:lnTo>
                      <a:pt x="91" y="1593"/>
                    </a:lnTo>
                    <a:lnTo>
                      <a:pt x="98" y="1604"/>
                    </a:lnTo>
                    <a:lnTo>
                      <a:pt x="102" y="1614"/>
                    </a:lnTo>
                    <a:lnTo>
                      <a:pt x="99" y="1620"/>
                    </a:lnTo>
                    <a:lnTo>
                      <a:pt x="98" y="1631"/>
                    </a:lnTo>
                    <a:lnTo>
                      <a:pt x="94" y="1633"/>
                    </a:lnTo>
                    <a:lnTo>
                      <a:pt x="93" y="1638"/>
                    </a:lnTo>
                    <a:lnTo>
                      <a:pt x="107" y="1636"/>
                    </a:lnTo>
                    <a:lnTo>
                      <a:pt x="118" y="1640"/>
                    </a:lnTo>
                    <a:lnTo>
                      <a:pt x="136" y="1634"/>
                    </a:lnTo>
                    <a:lnTo>
                      <a:pt x="152" y="1633"/>
                    </a:lnTo>
                    <a:lnTo>
                      <a:pt x="163" y="1638"/>
                    </a:lnTo>
                    <a:lnTo>
                      <a:pt x="168" y="1634"/>
                    </a:lnTo>
                    <a:lnTo>
                      <a:pt x="172" y="1620"/>
                    </a:lnTo>
                    <a:lnTo>
                      <a:pt x="169" y="1598"/>
                    </a:lnTo>
                    <a:lnTo>
                      <a:pt x="174" y="1585"/>
                    </a:lnTo>
                    <a:lnTo>
                      <a:pt x="180" y="1574"/>
                    </a:lnTo>
                    <a:lnTo>
                      <a:pt x="189" y="1576"/>
                    </a:lnTo>
                    <a:lnTo>
                      <a:pt x="194" y="1566"/>
                    </a:lnTo>
                    <a:lnTo>
                      <a:pt x="204" y="1559"/>
                    </a:lnTo>
                    <a:lnTo>
                      <a:pt x="218" y="1560"/>
                    </a:lnTo>
                    <a:lnTo>
                      <a:pt x="227" y="1564"/>
                    </a:lnTo>
                    <a:lnTo>
                      <a:pt x="238" y="1560"/>
                    </a:lnTo>
                    <a:lnTo>
                      <a:pt x="250" y="1564"/>
                    </a:lnTo>
                    <a:lnTo>
                      <a:pt x="261" y="1564"/>
                    </a:lnTo>
                    <a:lnTo>
                      <a:pt x="266" y="1544"/>
                    </a:lnTo>
                    <a:lnTo>
                      <a:pt x="276" y="1522"/>
                    </a:lnTo>
                    <a:lnTo>
                      <a:pt x="285" y="1505"/>
                    </a:lnTo>
                    <a:lnTo>
                      <a:pt x="286" y="1484"/>
                    </a:lnTo>
                    <a:lnTo>
                      <a:pt x="291" y="1472"/>
                    </a:lnTo>
                    <a:lnTo>
                      <a:pt x="290" y="1457"/>
                    </a:lnTo>
                    <a:lnTo>
                      <a:pt x="293" y="1446"/>
                    </a:lnTo>
                    <a:lnTo>
                      <a:pt x="298" y="1435"/>
                    </a:lnTo>
                    <a:lnTo>
                      <a:pt x="298" y="1424"/>
                    </a:lnTo>
                    <a:lnTo>
                      <a:pt x="295" y="1418"/>
                    </a:lnTo>
                    <a:lnTo>
                      <a:pt x="300" y="1407"/>
                    </a:lnTo>
                    <a:lnTo>
                      <a:pt x="298" y="1398"/>
                    </a:lnTo>
                    <a:lnTo>
                      <a:pt x="293" y="1392"/>
                    </a:lnTo>
                    <a:lnTo>
                      <a:pt x="292" y="1386"/>
                    </a:lnTo>
                    <a:lnTo>
                      <a:pt x="293" y="1382"/>
                    </a:lnTo>
                    <a:lnTo>
                      <a:pt x="300" y="1385"/>
                    </a:lnTo>
                    <a:lnTo>
                      <a:pt x="304" y="1385"/>
                    </a:lnTo>
                    <a:lnTo>
                      <a:pt x="301" y="1378"/>
                    </a:lnTo>
                    <a:lnTo>
                      <a:pt x="302" y="1374"/>
                    </a:lnTo>
                    <a:lnTo>
                      <a:pt x="304" y="1367"/>
                    </a:lnTo>
                    <a:lnTo>
                      <a:pt x="304" y="1362"/>
                    </a:lnTo>
                    <a:lnTo>
                      <a:pt x="307" y="1345"/>
                    </a:lnTo>
                    <a:lnTo>
                      <a:pt x="306" y="1340"/>
                    </a:lnTo>
                    <a:lnTo>
                      <a:pt x="297" y="1334"/>
                    </a:lnTo>
                    <a:lnTo>
                      <a:pt x="288" y="1329"/>
                    </a:lnTo>
                    <a:lnTo>
                      <a:pt x="291" y="1328"/>
                    </a:lnTo>
                    <a:lnTo>
                      <a:pt x="300" y="1332"/>
                    </a:lnTo>
                    <a:lnTo>
                      <a:pt x="309" y="1329"/>
                    </a:lnTo>
                    <a:lnTo>
                      <a:pt x="312" y="1326"/>
                    </a:lnTo>
                    <a:lnTo>
                      <a:pt x="302" y="1317"/>
                    </a:lnTo>
                    <a:lnTo>
                      <a:pt x="274" y="1312"/>
                    </a:lnTo>
                    <a:lnTo>
                      <a:pt x="276" y="1310"/>
                    </a:lnTo>
                    <a:lnTo>
                      <a:pt x="298" y="1307"/>
                    </a:lnTo>
                    <a:lnTo>
                      <a:pt x="311" y="1311"/>
                    </a:lnTo>
                    <a:lnTo>
                      <a:pt x="318" y="1307"/>
                    </a:lnTo>
                    <a:lnTo>
                      <a:pt x="320" y="1299"/>
                    </a:lnTo>
                    <a:lnTo>
                      <a:pt x="334" y="1297"/>
                    </a:lnTo>
                    <a:lnTo>
                      <a:pt x="345" y="1286"/>
                    </a:lnTo>
                    <a:lnTo>
                      <a:pt x="350" y="1279"/>
                    </a:lnTo>
                    <a:lnTo>
                      <a:pt x="350" y="1268"/>
                    </a:lnTo>
                    <a:lnTo>
                      <a:pt x="359" y="1270"/>
                    </a:lnTo>
                    <a:lnTo>
                      <a:pt x="359" y="1281"/>
                    </a:lnTo>
                    <a:lnTo>
                      <a:pt x="371" y="1280"/>
                    </a:lnTo>
                    <a:lnTo>
                      <a:pt x="378" y="1268"/>
                    </a:lnTo>
                    <a:lnTo>
                      <a:pt x="392" y="1256"/>
                    </a:lnTo>
                    <a:lnTo>
                      <a:pt x="389" y="1243"/>
                    </a:lnTo>
                    <a:lnTo>
                      <a:pt x="394" y="1248"/>
                    </a:lnTo>
                    <a:lnTo>
                      <a:pt x="400" y="1248"/>
                    </a:lnTo>
                    <a:lnTo>
                      <a:pt x="400" y="1242"/>
                    </a:lnTo>
                    <a:lnTo>
                      <a:pt x="406" y="1237"/>
                    </a:lnTo>
                    <a:lnTo>
                      <a:pt x="405" y="1232"/>
                    </a:lnTo>
                    <a:lnTo>
                      <a:pt x="352" y="1243"/>
                    </a:lnTo>
                    <a:lnTo>
                      <a:pt x="341" y="1241"/>
                    </a:lnTo>
                    <a:lnTo>
                      <a:pt x="336" y="1245"/>
                    </a:lnTo>
                    <a:lnTo>
                      <a:pt x="334" y="1238"/>
                    </a:lnTo>
                    <a:lnTo>
                      <a:pt x="328" y="1232"/>
                    </a:lnTo>
                    <a:lnTo>
                      <a:pt x="303" y="1222"/>
                    </a:lnTo>
                    <a:lnTo>
                      <a:pt x="290" y="1225"/>
                    </a:lnTo>
                    <a:lnTo>
                      <a:pt x="284" y="1221"/>
                    </a:lnTo>
                    <a:lnTo>
                      <a:pt x="290" y="1219"/>
                    </a:lnTo>
                    <a:lnTo>
                      <a:pt x="293" y="1211"/>
                    </a:lnTo>
                    <a:lnTo>
                      <a:pt x="300" y="1214"/>
                    </a:lnTo>
                    <a:lnTo>
                      <a:pt x="308" y="1211"/>
                    </a:lnTo>
                    <a:lnTo>
                      <a:pt x="320" y="1213"/>
                    </a:lnTo>
                    <a:lnTo>
                      <a:pt x="322" y="1211"/>
                    </a:lnTo>
                    <a:lnTo>
                      <a:pt x="331" y="1221"/>
                    </a:lnTo>
                    <a:lnTo>
                      <a:pt x="338" y="1218"/>
                    </a:lnTo>
                    <a:lnTo>
                      <a:pt x="339" y="1214"/>
                    </a:lnTo>
                    <a:lnTo>
                      <a:pt x="345" y="1220"/>
                    </a:lnTo>
                    <a:lnTo>
                      <a:pt x="352" y="1222"/>
                    </a:lnTo>
                    <a:lnTo>
                      <a:pt x="356" y="1216"/>
                    </a:lnTo>
                    <a:lnTo>
                      <a:pt x="359" y="1220"/>
                    </a:lnTo>
                    <a:lnTo>
                      <a:pt x="363" y="1230"/>
                    </a:lnTo>
                    <a:lnTo>
                      <a:pt x="371" y="1232"/>
                    </a:lnTo>
                    <a:lnTo>
                      <a:pt x="403" y="1216"/>
                    </a:lnTo>
                    <a:lnTo>
                      <a:pt x="414" y="1198"/>
                    </a:lnTo>
                    <a:lnTo>
                      <a:pt x="419" y="1193"/>
                    </a:lnTo>
                    <a:lnTo>
                      <a:pt x="422" y="1176"/>
                    </a:lnTo>
                    <a:lnTo>
                      <a:pt x="416" y="1161"/>
                    </a:lnTo>
                    <a:lnTo>
                      <a:pt x="404" y="1152"/>
                    </a:lnTo>
                    <a:lnTo>
                      <a:pt x="394" y="1138"/>
                    </a:lnTo>
                    <a:lnTo>
                      <a:pt x="403" y="1136"/>
                    </a:lnTo>
                    <a:lnTo>
                      <a:pt x="402" y="1133"/>
                    </a:lnTo>
                    <a:lnTo>
                      <a:pt x="381" y="1123"/>
                    </a:lnTo>
                    <a:lnTo>
                      <a:pt x="379" y="1113"/>
                    </a:lnTo>
                    <a:lnTo>
                      <a:pt x="374" y="1103"/>
                    </a:lnTo>
                    <a:lnTo>
                      <a:pt x="357" y="1106"/>
                    </a:lnTo>
                    <a:lnTo>
                      <a:pt x="352" y="1100"/>
                    </a:lnTo>
                    <a:lnTo>
                      <a:pt x="351" y="1096"/>
                    </a:lnTo>
                    <a:lnTo>
                      <a:pt x="347" y="1095"/>
                    </a:lnTo>
                    <a:lnTo>
                      <a:pt x="347" y="1098"/>
                    </a:lnTo>
                    <a:lnTo>
                      <a:pt x="341" y="1118"/>
                    </a:lnTo>
                    <a:lnTo>
                      <a:pt x="333" y="1129"/>
                    </a:lnTo>
                    <a:lnTo>
                      <a:pt x="314" y="1143"/>
                    </a:lnTo>
                    <a:lnTo>
                      <a:pt x="308" y="1148"/>
                    </a:lnTo>
                    <a:lnTo>
                      <a:pt x="298" y="1148"/>
                    </a:lnTo>
                    <a:lnTo>
                      <a:pt x="287" y="1151"/>
                    </a:lnTo>
                    <a:lnTo>
                      <a:pt x="280" y="1149"/>
                    </a:lnTo>
                    <a:lnTo>
                      <a:pt x="288" y="1143"/>
                    </a:lnTo>
                    <a:lnTo>
                      <a:pt x="300" y="1140"/>
                    </a:lnTo>
                    <a:lnTo>
                      <a:pt x="309" y="1132"/>
                    </a:lnTo>
                    <a:lnTo>
                      <a:pt x="319" y="1127"/>
                    </a:lnTo>
                    <a:lnTo>
                      <a:pt x="336" y="1112"/>
                    </a:lnTo>
                    <a:lnTo>
                      <a:pt x="339" y="1102"/>
                    </a:lnTo>
                    <a:lnTo>
                      <a:pt x="339" y="1089"/>
                    </a:lnTo>
                    <a:lnTo>
                      <a:pt x="330" y="1087"/>
                    </a:lnTo>
                    <a:lnTo>
                      <a:pt x="334" y="1080"/>
                    </a:lnTo>
                    <a:lnTo>
                      <a:pt x="335" y="1069"/>
                    </a:lnTo>
                    <a:lnTo>
                      <a:pt x="331" y="1060"/>
                    </a:lnTo>
                    <a:lnTo>
                      <a:pt x="328" y="1032"/>
                    </a:lnTo>
                    <a:lnTo>
                      <a:pt x="329" y="1015"/>
                    </a:lnTo>
                    <a:lnTo>
                      <a:pt x="325" y="992"/>
                    </a:lnTo>
                    <a:lnTo>
                      <a:pt x="327" y="985"/>
                    </a:lnTo>
                    <a:lnTo>
                      <a:pt x="330" y="977"/>
                    </a:lnTo>
                    <a:lnTo>
                      <a:pt x="329" y="971"/>
                    </a:lnTo>
                    <a:lnTo>
                      <a:pt x="344" y="979"/>
                    </a:lnTo>
                    <a:lnTo>
                      <a:pt x="345" y="971"/>
                    </a:lnTo>
                    <a:lnTo>
                      <a:pt x="340" y="950"/>
                    </a:lnTo>
                    <a:lnTo>
                      <a:pt x="345" y="928"/>
                    </a:lnTo>
                    <a:lnTo>
                      <a:pt x="350" y="910"/>
                    </a:lnTo>
                    <a:lnTo>
                      <a:pt x="343" y="901"/>
                    </a:lnTo>
                    <a:lnTo>
                      <a:pt x="340" y="892"/>
                    </a:lnTo>
                    <a:lnTo>
                      <a:pt x="340" y="879"/>
                    </a:lnTo>
                    <a:lnTo>
                      <a:pt x="356" y="887"/>
                    </a:lnTo>
                    <a:lnTo>
                      <a:pt x="357" y="885"/>
                    </a:lnTo>
                    <a:lnTo>
                      <a:pt x="361" y="881"/>
                    </a:lnTo>
                    <a:lnTo>
                      <a:pt x="367" y="872"/>
                    </a:lnTo>
                    <a:lnTo>
                      <a:pt x="368" y="870"/>
                    </a:lnTo>
                    <a:lnTo>
                      <a:pt x="367" y="866"/>
                    </a:lnTo>
                    <a:lnTo>
                      <a:pt x="370" y="850"/>
                    </a:lnTo>
                    <a:lnTo>
                      <a:pt x="365" y="839"/>
                    </a:lnTo>
                    <a:lnTo>
                      <a:pt x="366" y="831"/>
                    </a:lnTo>
                    <a:lnTo>
                      <a:pt x="368" y="840"/>
                    </a:lnTo>
                    <a:lnTo>
                      <a:pt x="377" y="848"/>
                    </a:lnTo>
                    <a:lnTo>
                      <a:pt x="381" y="847"/>
                    </a:lnTo>
                    <a:lnTo>
                      <a:pt x="386" y="837"/>
                    </a:lnTo>
                    <a:lnTo>
                      <a:pt x="393" y="840"/>
                    </a:lnTo>
                    <a:lnTo>
                      <a:pt x="394" y="833"/>
                    </a:lnTo>
                    <a:lnTo>
                      <a:pt x="398" y="827"/>
                    </a:lnTo>
                    <a:lnTo>
                      <a:pt x="387" y="822"/>
                    </a:lnTo>
                    <a:lnTo>
                      <a:pt x="394" y="823"/>
                    </a:lnTo>
                    <a:lnTo>
                      <a:pt x="403" y="817"/>
                    </a:lnTo>
                    <a:lnTo>
                      <a:pt x="403" y="812"/>
                    </a:lnTo>
                    <a:lnTo>
                      <a:pt x="410" y="809"/>
                    </a:lnTo>
                    <a:lnTo>
                      <a:pt x="411" y="799"/>
                    </a:lnTo>
                    <a:lnTo>
                      <a:pt x="417" y="796"/>
                    </a:lnTo>
                    <a:lnTo>
                      <a:pt x="417" y="784"/>
                    </a:lnTo>
                    <a:lnTo>
                      <a:pt x="425" y="783"/>
                    </a:lnTo>
                    <a:lnTo>
                      <a:pt x="435" y="785"/>
                    </a:lnTo>
                    <a:lnTo>
                      <a:pt x="446" y="775"/>
                    </a:lnTo>
                    <a:lnTo>
                      <a:pt x="449" y="764"/>
                    </a:lnTo>
                    <a:lnTo>
                      <a:pt x="464" y="753"/>
                    </a:lnTo>
                    <a:lnTo>
                      <a:pt x="470" y="761"/>
                    </a:lnTo>
                    <a:lnTo>
                      <a:pt x="481" y="753"/>
                    </a:lnTo>
                    <a:lnTo>
                      <a:pt x="484" y="743"/>
                    </a:lnTo>
                    <a:lnTo>
                      <a:pt x="492" y="737"/>
                    </a:lnTo>
                    <a:lnTo>
                      <a:pt x="500" y="740"/>
                    </a:lnTo>
                    <a:lnTo>
                      <a:pt x="503" y="735"/>
                    </a:lnTo>
                    <a:lnTo>
                      <a:pt x="516" y="727"/>
                    </a:lnTo>
                    <a:lnTo>
                      <a:pt x="521" y="719"/>
                    </a:lnTo>
                    <a:lnTo>
                      <a:pt x="528" y="715"/>
                    </a:lnTo>
                    <a:lnTo>
                      <a:pt x="535" y="699"/>
                    </a:lnTo>
                    <a:lnTo>
                      <a:pt x="538" y="691"/>
                    </a:lnTo>
                    <a:lnTo>
                      <a:pt x="549" y="677"/>
                    </a:lnTo>
                    <a:lnTo>
                      <a:pt x="555" y="664"/>
                    </a:lnTo>
                    <a:lnTo>
                      <a:pt x="562" y="651"/>
                    </a:lnTo>
                    <a:lnTo>
                      <a:pt x="566" y="646"/>
                    </a:lnTo>
                    <a:lnTo>
                      <a:pt x="567" y="651"/>
                    </a:lnTo>
                    <a:lnTo>
                      <a:pt x="566" y="662"/>
                    </a:lnTo>
                    <a:lnTo>
                      <a:pt x="576" y="649"/>
                    </a:lnTo>
                    <a:lnTo>
                      <a:pt x="577" y="644"/>
                    </a:lnTo>
                    <a:lnTo>
                      <a:pt x="572" y="639"/>
                    </a:lnTo>
                    <a:lnTo>
                      <a:pt x="571" y="633"/>
                    </a:lnTo>
                    <a:lnTo>
                      <a:pt x="556" y="618"/>
                    </a:lnTo>
                    <a:lnTo>
                      <a:pt x="555" y="612"/>
                    </a:lnTo>
                    <a:lnTo>
                      <a:pt x="558" y="610"/>
                    </a:lnTo>
                    <a:lnTo>
                      <a:pt x="556" y="602"/>
                    </a:lnTo>
                    <a:lnTo>
                      <a:pt x="551" y="596"/>
                    </a:lnTo>
                    <a:lnTo>
                      <a:pt x="551" y="594"/>
                    </a:lnTo>
                    <a:lnTo>
                      <a:pt x="556" y="589"/>
                    </a:lnTo>
                    <a:lnTo>
                      <a:pt x="558" y="582"/>
                    </a:lnTo>
                    <a:lnTo>
                      <a:pt x="566" y="579"/>
                    </a:lnTo>
                    <a:lnTo>
                      <a:pt x="576" y="554"/>
                    </a:lnTo>
                    <a:lnTo>
                      <a:pt x="577" y="547"/>
                    </a:lnTo>
                    <a:lnTo>
                      <a:pt x="567" y="530"/>
                    </a:lnTo>
                    <a:lnTo>
                      <a:pt x="569" y="527"/>
                    </a:lnTo>
                    <a:lnTo>
                      <a:pt x="580" y="520"/>
                    </a:lnTo>
                    <a:lnTo>
                      <a:pt x="580" y="512"/>
                    </a:lnTo>
                    <a:lnTo>
                      <a:pt x="585" y="511"/>
                    </a:lnTo>
                    <a:lnTo>
                      <a:pt x="592" y="515"/>
                    </a:lnTo>
                    <a:lnTo>
                      <a:pt x="596" y="514"/>
                    </a:lnTo>
                    <a:lnTo>
                      <a:pt x="597" y="506"/>
                    </a:lnTo>
                    <a:lnTo>
                      <a:pt x="593" y="503"/>
                    </a:lnTo>
                    <a:lnTo>
                      <a:pt x="603" y="501"/>
                    </a:lnTo>
                    <a:lnTo>
                      <a:pt x="604" y="495"/>
                    </a:lnTo>
                    <a:lnTo>
                      <a:pt x="593" y="481"/>
                    </a:lnTo>
                    <a:lnTo>
                      <a:pt x="593" y="476"/>
                    </a:lnTo>
                    <a:lnTo>
                      <a:pt x="605" y="484"/>
                    </a:lnTo>
                    <a:lnTo>
                      <a:pt x="610" y="493"/>
                    </a:lnTo>
                    <a:lnTo>
                      <a:pt x="614" y="493"/>
                    </a:lnTo>
                    <a:lnTo>
                      <a:pt x="613" y="476"/>
                    </a:lnTo>
                    <a:lnTo>
                      <a:pt x="614" y="478"/>
                    </a:lnTo>
                    <a:lnTo>
                      <a:pt x="618" y="476"/>
                    </a:lnTo>
                    <a:lnTo>
                      <a:pt x="619" y="455"/>
                    </a:lnTo>
                    <a:lnTo>
                      <a:pt x="623" y="454"/>
                    </a:lnTo>
                    <a:lnTo>
                      <a:pt x="628" y="454"/>
                    </a:lnTo>
                    <a:lnTo>
                      <a:pt x="628" y="460"/>
                    </a:lnTo>
                    <a:lnTo>
                      <a:pt x="631" y="465"/>
                    </a:lnTo>
                    <a:lnTo>
                      <a:pt x="635" y="467"/>
                    </a:lnTo>
                    <a:lnTo>
                      <a:pt x="640" y="454"/>
                    </a:lnTo>
                    <a:lnTo>
                      <a:pt x="645" y="457"/>
                    </a:lnTo>
                    <a:lnTo>
                      <a:pt x="651" y="468"/>
                    </a:lnTo>
                    <a:lnTo>
                      <a:pt x="655" y="468"/>
                    </a:lnTo>
                    <a:lnTo>
                      <a:pt x="661" y="473"/>
                    </a:lnTo>
                    <a:lnTo>
                      <a:pt x="666" y="461"/>
                    </a:lnTo>
                    <a:lnTo>
                      <a:pt x="691" y="458"/>
                    </a:lnTo>
                    <a:lnTo>
                      <a:pt x="700" y="465"/>
                    </a:lnTo>
                    <a:lnTo>
                      <a:pt x="706" y="472"/>
                    </a:lnTo>
                    <a:lnTo>
                      <a:pt x="710" y="465"/>
                    </a:lnTo>
                    <a:lnTo>
                      <a:pt x="715" y="461"/>
                    </a:lnTo>
                    <a:lnTo>
                      <a:pt x="712" y="449"/>
                    </a:lnTo>
                    <a:lnTo>
                      <a:pt x="698" y="415"/>
                    </a:lnTo>
                    <a:lnTo>
                      <a:pt x="694" y="395"/>
                    </a:lnTo>
                    <a:lnTo>
                      <a:pt x="698" y="377"/>
                    </a:lnTo>
                    <a:lnTo>
                      <a:pt x="706" y="364"/>
                    </a:lnTo>
                    <a:lnTo>
                      <a:pt x="707" y="354"/>
                    </a:lnTo>
                    <a:lnTo>
                      <a:pt x="707" y="342"/>
                    </a:lnTo>
                    <a:lnTo>
                      <a:pt x="687" y="296"/>
                    </a:lnTo>
                    <a:lnTo>
                      <a:pt x="684" y="279"/>
                    </a:lnTo>
                    <a:lnTo>
                      <a:pt x="690" y="258"/>
                    </a:lnTo>
                    <a:lnTo>
                      <a:pt x="688" y="243"/>
                    </a:lnTo>
                    <a:lnTo>
                      <a:pt x="683" y="237"/>
                    </a:lnTo>
                    <a:lnTo>
                      <a:pt x="682" y="223"/>
                    </a:lnTo>
                    <a:lnTo>
                      <a:pt x="682" y="202"/>
                    </a:lnTo>
                    <a:lnTo>
                      <a:pt x="683" y="186"/>
                    </a:lnTo>
                    <a:lnTo>
                      <a:pt x="688" y="173"/>
                    </a:lnTo>
                    <a:lnTo>
                      <a:pt x="685" y="166"/>
                    </a:lnTo>
                    <a:lnTo>
                      <a:pt x="653" y="110"/>
                    </a:lnTo>
                    <a:lnTo>
                      <a:pt x="635" y="92"/>
                    </a:lnTo>
                    <a:lnTo>
                      <a:pt x="599" y="81"/>
                    </a:lnTo>
                    <a:lnTo>
                      <a:pt x="569" y="51"/>
                    </a:lnTo>
                    <a:lnTo>
                      <a:pt x="528" y="5"/>
                    </a:lnTo>
                    <a:lnTo>
                      <a:pt x="526" y="0"/>
                    </a:lnTo>
                    <a:lnTo>
                      <a:pt x="523" y="0"/>
                    </a:lnTo>
                    <a:lnTo>
                      <a:pt x="500" y="0"/>
                    </a:lnTo>
                    <a:lnTo>
                      <a:pt x="495" y="3"/>
                    </a:lnTo>
                    <a:lnTo>
                      <a:pt x="496" y="13"/>
                    </a:lnTo>
                    <a:lnTo>
                      <a:pt x="501" y="17"/>
                    </a:lnTo>
                    <a:lnTo>
                      <a:pt x="502" y="29"/>
                    </a:lnTo>
                    <a:lnTo>
                      <a:pt x="500" y="38"/>
                    </a:lnTo>
                    <a:lnTo>
                      <a:pt x="496" y="43"/>
                    </a:lnTo>
                    <a:lnTo>
                      <a:pt x="492" y="58"/>
                    </a:lnTo>
                    <a:lnTo>
                      <a:pt x="486" y="69"/>
                    </a:lnTo>
                    <a:lnTo>
                      <a:pt x="488" y="79"/>
                    </a:lnTo>
                    <a:lnTo>
                      <a:pt x="497" y="89"/>
                    </a:lnTo>
                    <a:lnTo>
                      <a:pt x="490" y="97"/>
                    </a:lnTo>
                    <a:lnTo>
                      <a:pt x="481" y="100"/>
                    </a:lnTo>
                    <a:lnTo>
                      <a:pt x="438" y="84"/>
                    </a:lnTo>
                    <a:lnTo>
                      <a:pt x="408" y="80"/>
                    </a:lnTo>
                    <a:lnTo>
                      <a:pt x="398" y="81"/>
                    </a:lnTo>
                    <a:lnTo>
                      <a:pt x="393" y="86"/>
                    </a:lnTo>
                    <a:lnTo>
                      <a:pt x="388" y="96"/>
                    </a:lnTo>
                    <a:lnTo>
                      <a:pt x="390" y="119"/>
                    </a:lnTo>
                    <a:lnTo>
                      <a:pt x="388" y="129"/>
                    </a:lnTo>
                    <a:lnTo>
                      <a:pt x="383" y="150"/>
                    </a:lnTo>
                    <a:lnTo>
                      <a:pt x="373" y="166"/>
                    </a:lnTo>
                    <a:lnTo>
                      <a:pt x="370" y="165"/>
                    </a:lnTo>
                    <a:lnTo>
                      <a:pt x="360" y="153"/>
                    </a:lnTo>
                    <a:lnTo>
                      <a:pt x="347" y="145"/>
                    </a:lnTo>
                    <a:lnTo>
                      <a:pt x="335" y="149"/>
                    </a:lnTo>
                    <a:lnTo>
                      <a:pt x="317" y="167"/>
                    </a:lnTo>
                    <a:lnTo>
                      <a:pt x="308" y="180"/>
                    </a:lnTo>
                    <a:lnTo>
                      <a:pt x="304" y="196"/>
                    </a:lnTo>
                    <a:lnTo>
                      <a:pt x="302" y="209"/>
                    </a:lnTo>
                    <a:lnTo>
                      <a:pt x="296" y="219"/>
                    </a:lnTo>
                    <a:lnTo>
                      <a:pt x="282" y="237"/>
                    </a:lnTo>
                    <a:lnTo>
                      <a:pt x="279" y="251"/>
                    </a:lnTo>
                    <a:lnTo>
                      <a:pt x="292" y="273"/>
                    </a:lnTo>
                    <a:lnTo>
                      <a:pt x="293" y="285"/>
                    </a:lnTo>
                    <a:lnTo>
                      <a:pt x="291" y="294"/>
                    </a:lnTo>
                    <a:lnTo>
                      <a:pt x="285" y="306"/>
                    </a:lnTo>
                    <a:lnTo>
                      <a:pt x="273" y="320"/>
                    </a:lnTo>
                    <a:lnTo>
                      <a:pt x="265" y="334"/>
                    </a:lnTo>
                    <a:lnTo>
                      <a:pt x="242" y="364"/>
                    </a:lnTo>
                    <a:lnTo>
                      <a:pt x="236" y="381"/>
                    </a:lnTo>
                    <a:lnTo>
                      <a:pt x="233" y="401"/>
                    </a:lnTo>
                    <a:lnTo>
                      <a:pt x="228" y="413"/>
                    </a:lnTo>
                    <a:lnTo>
                      <a:pt x="211" y="427"/>
                    </a:lnTo>
                    <a:lnTo>
                      <a:pt x="200" y="427"/>
                    </a:lnTo>
                    <a:lnTo>
                      <a:pt x="193" y="431"/>
                    </a:lnTo>
                    <a:lnTo>
                      <a:pt x="194" y="446"/>
                    </a:lnTo>
                    <a:lnTo>
                      <a:pt x="194" y="467"/>
                    </a:lnTo>
                    <a:lnTo>
                      <a:pt x="193" y="497"/>
                    </a:lnTo>
                    <a:lnTo>
                      <a:pt x="184" y="547"/>
                    </a:lnTo>
                    <a:lnTo>
                      <a:pt x="167" y="584"/>
                    </a:lnTo>
                    <a:lnTo>
                      <a:pt x="147" y="616"/>
                    </a:lnTo>
                    <a:lnTo>
                      <a:pt x="148" y="625"/>
                    </a:lnTo>
                    <a:lnTo>
                      <a:pt x="163" y="641"/>
                    </a:lnTo>
                    <a:lnTo>
                      <a:pt x="169" y="653"/>
                    </a:lnTo>
                    <a:lnTo>
                      <a:pt x="169" y="672"/>
                    </a:lnTo>
                    <a:lnTo>
                      <a:pt x="167" y="683"/>
                    </a:lnTo>
                    <a:lnTo>
                      <a:pt x="157" y="695"/>
                    </a:lnTo>
                    <a:lnTo>
                      <a:pt x="142" y="695"/>
                    </a:lnTo>
                    <a:lnTo>
                      <a:pt x="125" y="692"/>
                    </a:lnTo>
                    <a:lnTo>
                      <a:pt x="104" y="697"/>
                    </a:lnTo>
                    <a:lnTo>
                      <a:pt x="87" y="708"/>
                    </a:lnTo>
                    <a:lnTo>
                      <a:pt x="62" y="738"/>
                    </a:lnTo>
                    <a:lnTo>
                      <a:pt x="56" y="754"/>
                    </a:lnTo>
                    <a:lnTo>
                      <a:pt x="51" y="774"/>
                    </a:lnTo>
                    <a:lnTo>
                      <a:pt x="55" y="793"/>
                    </a:lnTo>
                    <a:lnTo>
                      <a:pt x="61" y="806"/>
                    </a:lnTo>
                    <a:lnTo>
                      <a:pt x="66" y="811"/>
                    </a:lnTo>
                    <a:lnTo>
                      <a:pt x="60" y="821"/>
                    </a:lnTo>
                    <a:lnTo>
                      <a:pt x="59" y="833"/>
                    </a:lnTo>
                    <a:lnTo>
                      <a:pt x="55" y="843"/>
                    </a:lnTo>
                    <a:lnTo>
                      <a:pt x="55" y="863"/>
                    </a:lnTo>
                    <a:lnTo>
                      <a:pt x="53" y="871"/>
                    </a:lnTo>
                    <a:lnTo>
                      <a:pt x="53" y="883"/>
                    </a:lnTo>
                    <a:lnTo>
                      <a:pt x="55" y="886"/>
                    </a:lnTo>
                    <a:lnTo>
                      <a:pt x="60" y="902"/>
                    </a:lnTo>
                    <a:lnTo>
                      <a:pt x="59" y="944"/>
                    </a:lnTo>
                    <a:lnTo>
                      <a:pt x="60" y="964"/>
                    </a:lnTo>
                    <a:lnTo>
                      <a:pt x="69" y="979"/>
                    </a:lnTo>
                    <a:lnTo>
                      <a:pt x="89" y="995"/>
                    </a:lnTo>
                    <a:lnTo>
                      <a:pt x="92" y="1016"/>
                    </a:lnTo>
                    <a:lnTo>
                      <a:pt x="86" y="1035"/>
                    </a:lnTo>
                    <a:lnTo>
                      <a:pt x="76" y="1046"/>
                    </a:lnTo>
                    <a:lnTo>
                      <a:pt x="61" y="1052"/>
                    </a:lnTo>
                    <a:lnTo>
                      <a:pt x="59" y="1058"/>
                    </a:lnTo>
                    <a:lnTo>
                      <a:pt x="69" y="1071"/>
                    </a:lnTo>
                    <a:lnTo>
                      <a:pt x="77" y="1105"/>
                    </a:lnTo>
                    <a:lnTo>
                      <a:pt x="70" y="1134"/>
                    </a:lnTo>
                    <a:lnTo>
                      <a:pt x="74" y="1143"/>
                    </a:lnTo>
                    <a:lnTo>
                      <a:pt x="72" y="1157"/>
                    </a:lnTo>
                    <a:lnTo>
                      <a:pt x="66" y="1168"/>
                    </a:lnTo>
                    <a:lnTo>
                      <a:pt x="39" y="1179"/>
                    </a:lnTo>
                    <a:lnTo>
                      <a:pt x="39" y="1193"/>
                    </a:lnTo>
                    <a:lnTo>
                      <a:pt x="27" y="1214"/>
                    </a:lnTo>
                    <a:lnTo>
                      <a:pt x="28" y="1230"/>
                    </a:lnTo>
                    <a:lnTo>
                      <a:pt x="32" y="1242"/>
                    </a:lnTo>
                    <a:lnTo>
                      <a:pt x="24" y="1280"/>
                    </a:lnTo>
                    <a:lnTo>
                      <a:pt x="16" y="1286"/>
                    </a:lnTo>
                    <a:lnTo>
                      <a:pt x="12" y="1278"/>
                    </a:lnTo>
                    <a:lnTo>
                      <a:pt x="8" y="1291"/>
                    </a:lnTo>
                    <a:lnTo>
                      <a:pt x="8" y="1268"/>
                    </a:lnTo>
                    <a:lnTo>
                      <a:pt x="6" y="1264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grpSp>
          <p:nvGrpSpPr>
            <p:cNvPr id="122" name="Group 222"/>
            <p:cNvGrpSpPr>
              <a:grpSpLocks noChangeAspect="1"/>
            </p:cNvGrpSpPr>
            <p:nvPr/>
          </p:nvGrpSpPr>
          <p:grpSpPr bwMode="gray">
            <a:xfrm>
              <a:off x="3411415" y="2187153"/>
              <a:ext cx="239054" cy="246978"/>
              <a:chOff x="3202" y="1036"/>
              <a:chExt cx="181" cy="187"/>
            </a:xfrm>
            <a:solidFill>
              <a:srgbClr val="C9C7C3"/>
            </a:solidFill>
          </p:grpSpPr>
          <p:sp>
            <p:nvSpPr>
              <p:cNvPr id="249" name="Freeform 223"/>
              <p:cNvSpPr>
                <a:spLocks noChangeAspect="1"/>
              </p:cNvSpPr>
              <p:nvPr/>
            </p:nvSpPr>
            <p:spPr bwMode="gray">
              <a:xfrm>
                <a:off x="3202" y="1036"/>
                <a:ext cx="118" cy="187"/>
              </a:xfrm>
              <a:custGeom>
                <a:avLst/>
                <a:gdLst/>
                <a:ahLst/>
                <a:cxnLst>
                  <a:cxn ang="0">
                    <a:pos x="274" y="96"/>
                  </a:cxn>
                  <a:cxn ang="0">
                    <a:pos x="291" y="233"/>
                  </a:cxn>
                  <a:cxn ang="0">
                    <a:pos x="264" y="255"/>
                  </a:cxn>
                  <a:cxn ang="0">
                    <a:pos x="253" y="151"/>
                  </a:cxn>
                  <a:cxn ang="0">
                    <a:pos x="197" y="102"/>
                  </a:cxn>
                  <a:cxn ang="0">
                    <a:pos x="189" y="232"/>
                  </a:cxn>
                  <a:cxn ang="0">
                    <a:pos x="145" y="192"/>
                  </a:cxn>
                  <a:cxn ang="0">
                    <a:pos x="94" y="145"/>
                  </a:cxn>
                  <a:cxn ang="0">
                    <a:pos x="170" y="96"/>
                  </a:cxn>
                  <a:cxn ang="0">
                    <a:pos x="98" y="77"/>
                  </a:cxn>
                  <a:cxn ang="0">
                    <a:pos x="74" y="104"/>
                  </a:cxn>
                  <a:cxn ang="0">
                    <a:pos x="35" y="115"/>
                  </a:cxn>
                  <a:cxn ang="0">
                    <a:pos x="15" y="152"/>
                  </a:cxn>
                  <a:cxn ang="0">
                    <a:pos x="15" y="206"/>
                  </a:cxn>
                  <a:cxn ang="0">
                    <a:pos x="33" y="276"/>
                  </a:cxn>
                  <a:cxn ang="0">
                    <a:pos x="74" y="224"/>
                  </a:cxn>
                  <a:cxn ang="0">
                    <a:pos x="70" y="301"/>
                  </a:cxn>
                  <a:cxn ang="0">
                    <a:pos x="37" y="316"/>
                  </a:cxn>
                  <a:cxn ang="0">
                    <a:pos x="66" y="400"/>
                  </a:cxn>
                  <a:cxn ang="0">
                    <a:pos x="100" y="450"/>
                  </a:cxn>
                  <a:cxn ang="0">
                    <a:pos x="129" y="522"/>
                  </a:cxn>
                  <a:cxn ang="0">
                    <a:pos x="191" y="516"/>
                  </a:cxn>
                  <a:cxn ang="0">
                    <a:pos x="213" y="458"/>
                  </a:cxn>
                  <a:cxn ang="0">
                    <a:pos x="231" y="394"/>
                  </a:cxn>
                  <a:cxn ang="0">
                    <a:pos x="266" y="366"/>
                  </a:cxn>
                  <a:cxn ang="0">
                    <a:pos x="307" y="435"/>
                  </a:cxn>
                  <a:cxn ang="0">
                    <a:pos x="336" y="400"/>
                  </a:cxn>
                  <a:cxn ang="0">
                    <a:pos x="326" y="453"/>
                  </a:cxn>
                  <a:cxn ang="0">
                    <a:pos x="336" y="485"/>
                  </a:cxn>
                  <a:cxn ang="0">
                    <a:pos x="264" y="516"/>
                  </a:cxn>
                  <a:cxn ang="0">
                    <a:pos x="224" y="555"/>
                  </a:cxn>
                  <a:cxn ang="0">
                    <a:pos x="167" y="569"/>
                  </a:cxn>
                  <a:cxn ang="0">
                    <a:pos x="195" y="640"/>
                  </a:cxn>
                  <a:cxn ang="0">
                    <a:pos x="231" y="636"/>
                  </a:cxn>
                  <a:cxn ang="0">
                    <a:pos x="315" y="624"/>
                  </a:cxn>
                  <a:cxn ang="0">
                    <a:pos x="338" y="637"/>
                  </a:cxn>
                  <a:cxn ang="0">
                    <a:pos x="281" y="649"/>
                  </a:cxn>
                  <a:cxn ang="0">
                    <a:pos x="291" y="714"/>
                  </a:cxn>
                  <a:cxn ang="0">
                    <a:pos x="215" y="716"/>
                  </a:cxn>
                  <a:cxn ang="0">
                    <a:pos x="199" y="774"/>
                  </a:cxn>
                  <a:cxn ang="0">
                    <a:pos x="278" y="830"/>
                  </a:cxn>
                  <a:cxn ang="0">
                    <a:pos x="302" y="848"/>
                  </a:cxn>
                  <a:cxn ang="0">
                    <a:pos x="323" y="922"/>
                  </a:cxn>
                  <a:cxn ang="0">
                    <a:pos x="348" y="888"/>
                  </a:cxn>
                  <a:cxn ang="0">
                    <a:pos x="364" y="822"/>
                  </a:cxn>
                  <a:cxn ang="0">
                    <a:pos x="380" y="731"/>
                  </a:cxn>
                  <a:cxn ang="0">
                    <a:pos x="423" y="680"/>
                  </a:cxn>
                  <a:cxn ang="0">
                    <a:pos x="426" y="588"/>
                  </a:cxn>
                  <a:cxn ang="0">
                    <a:pos x="455" y="529"/>
                  </a:cxn>
                  <a:cxn ang="0">
                    <a:pos x="473" y="462"/>
                  </a:cxn>
                  <a:cxn ang="0">
                    <a:pos x="536" y="404"/>
                  </a:cxn>
                  <a:cxn ang="0">
                    <a:pos x="586" y="341"/>
                  </a:cxn>
                  <a:cxn ang="0">
                    <a:pos x="477" y="254"/>
                  </a:cxn>
                  <a:cxn ang="0">
                    <a:pos x="435" y="150"/>
                  </a:cxn>
                  <a:cxn ang="0">
                    <a:pos x="391" y="181"/>
                  </a:cxn>
                  <a:cxn ang="0">
                    <a:pos x="379" y="144"/>
                  </a:cxn>
                  <a:cxn ang="0">
                    <a:pos x="339" y="39"/>
                  </a:cxn>
                  <a:cxn ang="0">
                    <a:pos x="290" y="22"/>
                  </a:cxn>
                </a:cxnLst>
                <a:rect l="0" t="0" r="r" b="b"/>
                <a:pathLst>
                  <a:path w="591" h="937">
                    <a:moveTo>
                      <a:pt x="290" y="22"/>
                    </a:moveTo>
                    <a:lnTo>
                      <a:pt x="289" y="29"/>
                    </a:lnTo>
                    <a:lnTo>
                      <a:pt x="294" y="43"/>
                    </a:lnTo>
                    <a:lnTo>
                      <a:pt x="279" y="45"/>
                    </a:lnTo>
                    <a:lnTo>
                      <a:pt x="278" y="57"/>
                    </a:lnTo>
                    <a:lnTo>
                      <a:pt x="278" y="68"/>
                    </a:lnTo>
                    <a:lnTo>
                      <a:pt x="274" y="79"/>
                    </a:lnTo>
                    <a:lnTo>
                      <a:pt x="274" y="96"/>
                    </a:lnTo>
                    <a:lnTo>
                      <a:pt x="279" y="96"/>
                    </a:lnTo>
                    <a:lnTo>
                      <a:pt x="279" y="109"/>
                    </a:lnTo>
                    <a:lnTo>
                      <a:pt x="280" y="133"/>
                    </a:lnTo>
                    <a:lnTo>
                      <a:pt x="283" y="140"/>
                    </a:lnTo>
                    <a:lnTo>
                      <a:pt x="283" y="182"/>
                    </a:lnTo>
                    <a:lnTo>
                      <a:pt x="285" y="195"/>
                    </a:lnTo>
                    <a:lnTo>
                      <a:pt x="288" y="226"/>
                    </a:lnTo>
                    <a:lnTo>
                      <a:pt x="291" y="233"/>
                    </a:lnTo>
                    <a:lnTo>
                      <a:pt x="293" y="258"/>
                    </a:lnTo>
                    <a:lnTo>
                      <a:pt x="318" y="325"/>
                    </a:lnTo>
                    <a:lnTo>
                      <a:pt x="317" y="329"/>
                    </a:lnTo>
                    <a:lnTo>
                      <a:pt x="308" y="327"/>
                    </a:lnTo>
                    <a:lnTo>
                      <a:pt x="296" y="312"/>
                    </a:lnTo>
                    <a:lnTo>
                      <a:pt x="283" y="274"/>
                    </a:lnTo>
                    <a:lnTo>
                      <a:pt x="272" y="254"/>
                    </a:lnTo>
                    <a:lnTo>
                      <a:pt x="264" y="255"/>
                    </a:lnTo>
                    <a:lnTo>
                      <a:pt x="263" y="262"/>
                    </a:lnTo>
                    <a:lnTo>
                      <a:pt x="261" y="263"/>
                    </a:lnTo>
                    <a:lnTo>
                      <a:pt x="259" y="258"/>
                    </a:lnTo>
                    <a:lnTo>
                      <a:pt x="264" y="244"/>
                    </a:lnTo>
                    <a:lnTo>
                      <a:pt x="264" y="217"/>
                    </a:lnTo>
                    <a:lnTo>
                      <a:pt x="259" y="197"/>
                    </a:lnTo>
                    <a:lnTo>
                      <a:pt x="258" y="178"/>
                    </a:lnTo>
                    <a:lnTo>
                      <a:pt x="253" y="151"/>
                    </a:lnTo>
                    <a:lnTo>
                      <a:pt x="252" y="125"/>
                    </a:lnTo>
                    <a:lnTo>
                      <a:pt x="246" y="104"/>
                    </a:lnTo>
                    <a:lnTo>
                      <a:pt x="240" y="96"/>
                    </a:lnTo>
                    <a:lnTo>
                      <a:pt x="238" y="87"/>
                    </a:lnTo>
                    <a:lnTo>
                      <a:pt x="224" y="81"/>
                    </a:lnTo>
                    <a:lnTo>
                      <a:pt x="208" y="69"/>
                    </a:lnTo>
                    <a:lnTo>
                      <a:pt x="199" y="86"/>
                    </a:lnTo>
                    <a:lnTo>
                      <a:pt x="197" y="102"/>
                    </a:lnTo>
                    <a:lnTo>
                      <a:pt x="188" y="114"/>
                    </a:lnTo>
                    <a:lnTo>
                      <a:pt x="187" y="120"/>
                    </a:lnTo>
                    <a:lnTo>
                      <a:pt x="177" y="133"/>
                    </a:lnTo>
                    <a:lnTo>
                      <a:pt x="173" y="146"/>
                    </a:lnTo>
                    <a:lnTo>
                      <a:pt x="176" y="157"/>
                    </a:lnTo>
                    <a:lnTo>
                      <a:pt x="176" y="171"/>
                    </a:lnTo>
                    <a:lnTo>
                      <a:pt x="184" y="215"/>
                    </a:lnTo>
                    <a:lnTo>
                      <a:pt x="189" y="232"/>
                    </a:lnTo>
                    <a:lnTo>
                      <a:pt x="195" y="242"/>
                    </a:lnTo>
                    <a:lnTo>
                      <a:pt x="188" y="241"/>
                    </a:lnTo>
                    <a:lnTo>
                      <a:pt x="176" y="222"/>
                    </a:lnTo>
                    <a:lnTo>
                      <a:pt x="168" y="205"/>
                    </a:lnTo>
                    <a:lnTo>
                      <a:pt x="164" y="183"/>
                    </a:lnTo>
                    <a:lnTo>
                      <a:pt x="152" y="167"/>
                    </a:lnTo>
                    <a:lnTo>
                      <a:pt x="151" y="179"/>
                    </a:lnTo>
                    <a:lnTo>
                      <a:pt x="145" y="192"/>
                    </a:lnTo>
                    <a:lnTo>
                      <a:pt x="140" y="183"/>
                    </a:lnTo>
                    <a:lnTo>
                      <a:pt x="143" y="171"/>
                    </a:lnTo>
                    <a:lnTo>
                      <a:pt x="139" y="158"/>
                    </a:lnTo>
                    <a:lnTo>
                      <a:pt x="148" y="152"/>
                    </a:lnTo>
                    <a:lnTo>
                      <a:pt x="152" y="138"/>
                    </a:lnTo>
                    <a:lnTo>
                      <a:pt x="134" y="136"/>
                    </a:lnTo>
                    <a:lnTo>
                      <a:pt x="106" y="150"/>
                    </a:lnTo>
                    <a:lnTo>
                      <a:pt x="94" y="145"/>
                    </a:lnTo>
                    <a:lnTo>
                      <a:pt x="97" y="135"/>
                    </a:lnTo>
                    <a:lnTo>
                      <a:pt x="113" y="128"/>
                    </a:lnTo>
                    <a:lnTo>
                      <a:pt x="125" y="112"/>
                    </a:lnTo>
                    <a:lnTo>
                      <a:pt x="129" y="102"/>
                    </a:lnTo>
                    <a:lnTo>
                      <a:pt x="143" y="102"/>
                    </a:lnTo>
                    <a:lnTo>
                      <a:pt x="146" y="96"/>
                    </a:lnTo>
                    <a:lnTo>
                      <a:pt x="152" y="104"/>
                    </a:lnTo>
                    <a:lnTo>
                      <a:pt x="170" y="96"/>
                    </a:lnTo>
                    <a:lnTo>
                      <a:pt x="175" y="86"/>
                    </a:lnTo>
                    <a:lnTo>
                      <a:pt x="175" y="76"/>
                    </a:lnTo>
                    <a:lnTo>
                      <a:pt x="170" y="54"/>
                    </a:lnTo>
                    <a:lnTo>
                      <a:pt x="160" y="53"/>
                    </a:lnTo>
                    <a:lnTo>
                      <a:pt x="141" y="58"/>
                    </a:lnTo>
                    <a:lnTo>
                      <a:pt x="122" y="75"/>
                    </a:lnTo>
                    <a:lnTo>
                      <a:pt x="100" y="82"/>
                    </a:lnTo>
                    <a:lnTo>
                      <a:pt x="98" y="77"/>
                    </a:lnTo>
                    <a:lnTo>
                      <a:pt x="91" y="74"/>
                    </a:lnTo>
                    <a:lnTo>
                      <a:pt x="91" y="63"/>
                    </a:lnTo>
                    <a:lnTo>
                      <a:pt x="89" y="54"/>
                    </a:lnTo>
                    <a:lnTo>
                      <a:pt x="80" y="58"/>
                    </a:lnTo>
                    <a:lnTo>
                      <a:pt x="85" y="103"/>
                    </a:lnTo>
                    <a:lnTo>
                      <a:pt x="81" y="104"/>
                    </a:lnTo>
                    <a:lnTo>
                      <a:pt x="78" y="97"/>
                    </a:lnTo>
                    <a:lnTo>
                      <a:pt x="74" y="104"/>
                    </a:lnTo>
                    <a:lnTo>
                      <a:pt x="53" y="58"/>
                    </a:lnTo>
                    <a:lnTo>
                      <a:pt x="43" y="66"/>
                    </a:lnTo>
                    <a:lnTo>
                      <a:pt x="46" y="77"/>
                    </a:lnTo>
                    <a:lnTo>
                      <a:pt x="41" y="86"/>
                    </a:lnTo>
                    <a:lnTo>
                      <a:pt x="30" y="77"/>
                    </a:lnTo>
                    <a:lnTo>
                      <a:pt x="26" y="81"/>
                    </a:lnTo>
                    <a:lnTo>
                      <a:pt x="25" y="91"/>
                    </a:lnTo>
                    <a:lnTo>
                      <a:pt x="35" y="115"/>
                    </a:lnTo>
                    <a:lnTo>
                      <a:pt x="33" y="122"/>
                    </a:lnTo>
                    <a:lnTo>
                      <a:pt x="21" y="119"/>
                    </a:lnTo>
                    <a:lnTo>
                      <a:pt x="12" y="99"/>
                    </a:lnTo>
                    <a:lnTo>
                      <a:pt x="6" y="98"/>
                    </a:lnTo>
                    <a:lnTo>
                      <a:pt x="6" y="107"/>
                    </a:lnTo>
                    <a:lnTo>
                      <a:pt x="8" y="118"/>
                    </a:lnTo>
                    <a:lnTo>
                      <a:pt x="19" y="140"/>
                    </a:lnTo>
                    <a:lnTo>
                      <a:pt x="15" y="152"/>
                    </a:lnTo>
                    <a:lnTo>
                      <a:pt x="8" y="146"/>
                    </a:lnTo>
                    <a:lnTo>
                      <a:pt x="0" y="150"/>
                    </a:lnTo>
                    <a:lnTo>
                      <a:pt x="1" y="158"/>
                    </a:lnTo>
                    <a:lnTo>
                      <a:pt x="6" y="163"/>
                    </a:lnTo>
                    <a:lnTo>
                      <a:pt x="8" y="176"/>
                    </a:lnTo>
                    <a:lnTo>
                      <a:pt x="8" y="201"/>
                    </a:lnTo>
                    <a:lnTo>
                      <a:pt x="9" y="215"/>
                    </a:lnTo>
                    <a:lnTo>
                      <a:pt x="15" y="206"/>
                    </a:lnTo>
                    <a:lnTo>
                      <a:pt x="16" y="217"/>
                    </a:lnTo>
                    <a:lnTo>
                      <a:pt x="17" y="236"/>
                    </a:lnTo>
                    <a:lnTo>
                      <a:pt x="17" y="220"/>
                    </a:lnTo>
                    <a:lnTo>
                      <a:pt x="24" y="236"/>
                    </a:lnTo>
                    <a:lnTo>
                      <a:pt x="25" y="248"/>
                    </a:lnTo>
                    <a:lnTo>
                      <a:pt x="27" y="254"/>
                    </a:lnTo>
                    <a:lnTo>
                      <a:pt x="27" y="271"/>
                    </a:lnTo>
                    <a:lnTo>
                      <a:pt x="33" y="276"/>
                    </a:lnTo>
                    <a:lnTo>
                      <a:pt x="43" y="270"/>
                    </a:lnTo>
                    <a:lnTo>
                      <a:pt x="53" y="244"/>
                    </a:lnTo>
                    <a:lnTo>
                      <a:pt x="38" y="225"/>
                    </a:lnTo>
                    <a:lnTo>
                      <a:pt x="55" y="228"/>
                    </a:lnTo>
                    <a:lnTo>
                      <a:pt x="60" y="238"/>
                    </a:lnTo>
                    <a:lnTo>
                      <a:pt x="62" y="233"/>
                    </a:lnTo>
                    <a:lnTo>
                      <a:pt x="66" y="226"/>
                    </a:lnTo>
                    <a:lnTo>
                      <a:pt x="74" y="224"/>
                    </a:lnTo>
                    <a:lnTo>
                      <a:pt x="71" y="238"/>
                    </a:lnTo>
                    <a:lnTo>
                      <a:pt x="73" y="246"/>
                    </a:lnTo>
                    <a:lnTo>
                      <a:pt x="65" y="253"/>
                    </a:lnTo>
                    <a:lnTo>
                      <a:pt x="63" y="264"/>
                    </a:lnTo>
                    <a:lnTo>
                      <a:pt x="65" y="274"/>
                    </a:lnTo>
                    <a:lnTo>
                      <a:pt x="57" y="279"/>
                    </a:lnTo>
                    <a:lnTo>
                      <a:pt x="54" y="291"/>
                    </a:lnTo>
                    <a:lnTo>
                      <a:pt x="70" y="301"/>
                    </a:lnTo>
                    <a:lnTo>
                      <a:pt x="71" y="313"/>
                    </a:lnTo>
                    <a:lnTo>
                      <a:pt x="80" y="318"/>
                    </a:lnTo>
                    <a:lnTo>
                      <a:pt x="91" y="312"/>
                    </a:lnTo>
                    <a:lnTo>
                      <a:pt x="96" y="325"/>
                    </a:lnTo>
                    <a:lnTo>
                      <a:pt x="94" y="335"/>
                    </a:lnTo>
                    <a:lnTo>
                      <a:pt x="55" y="325"/>
                    </a:lnTo>
                    <a:lnTo>
                      <a:pt x="49" y="314"/>
                    </a:lnTo>
                    <a:lnTo>
                      <a:pt x="37" y="316"/>
                    </a:lnTo>
                    <a:lnTo>
                      <a:pt x="43" y="327"/>
                    </a:lnTo>
                    <a:lnTo>
                      <a:pt x="62" y="348"/>
                    </a:lnTo>
                    <a:lnTo>
                      <a:pt x="71" y="351"/>
                    </a:lnTo>
                    <a:lnTo>
                      <a:pt x="68" y="359"/>
                    </a:lnTo>
                    <a:lnTo>
                      <a:pt x="59" y="360"/>
                    </a:lnTo>
                    <a:lnTo>
                      <a:pt x="54" y="381"/>
                    </a:lnTo>
                    <a:lnTo>
                      <a:pt x="68" y="392"/>
                    </a:lnTo>
                    <a:lnTo>
                      <a:pt x="66" y="400"/>
                    </a:lnTo>
                    <a:lnTo>
                      <a:pt x="73" y="407"/>
                    </a:lnTo>
                    <a:lnTo>
                      <a:pt x="75" y="414"/>
                    </a:lnTo>
                    <a:lnTo>
                      <a:pt x="111" y="435"/>
                    </a:lnTo>
                    <a:lnTo>
                      <a:pt x="128" y="435"/>
                    </a:lnTo>
                    <a:lnTo>
                      <a:pt x="138" y="427"/>
                    </a:lnTo>
                    <a:lnTo>
                      <a:pt x="137" y="441"/>
                    </a:lnTo>
                    <a:lnTo>
                      <a:pt x="127" y="447"/>
                    </a:lnTo>
                    <a:lnTo>
                      <a:pt x="100" y="450"/>
                    </a:lnTo>
                    <a:lnTo>
                      <a:pt x="97" y="457"/>
                    </a:lnTo>
                    <a:lnTo>
                      <a:pt x="106" y="469"/>
                    </a:lnTo>
                    <a:lnTo>
                      <a:pt x="108" y="481"/>
                    </a:lnTo>
                    <a:lnTo>
                      <a:pt x="121" y="486"/>
                    </a:lnTo>
                    <a:lnTo>
                      <a:pt x="128" y="483"/>
                    </a:lnTo>
                    <a:lnTo>
                      <a:pt x="130" y="501"/>
                    </a:lnTo>
                    <a:lnTo>
                      <a:pt x="124" y="509"/>
                    </a:lnTo>
                    <a:lnTo>
                      <a:pt x="129" y="522"/>
                    </a:lnTo>
                    <a:lnTo>
                      <a:pt x="132" y="517"/>
                    </a:lnTo>
                    <a:lnTo>
                      <a:pt x="148" y="526"/>
                    </a:lnTo>
                    <a:lnTo>
                      <a:pt x="152" y="518"/>
                    </a:lnTo>
                    <a:lnTo>
                      <a:pt x="156" y="527"/>
                    </a:lnTo>
                    <a:lnTo>
                      <a:pt x="160" y="522"/>
                    </a:lnTo>
                    <a:lnTo>
                      <a:pt x="173" y="527"/>
                    </a:lnTo>
                    <a:lnTo>
                      <a:pt x="177" y="516"/>
                    </a:lnTo>
                    <a:lnTo>
                      <a:pt x="191" y="516"/>
                    </a:lnTo>
                    <a:lnTo>
                      <a:pt x="193" y="501"/>
                    </a:lnTo>
                    <a:lnTo>
                      <a:pt x="192" y="495"/>
                    </a:lnTo>
                    <a:lnTo>
                      <a:pt x="198" y="479"/>
                    </a:lnTo>
                    <a:lnTo>
                      <a:pt x="208" y="477"/>
                    </a:lnTo>
                    <a:lnTo>
                      <a:pt x="215" y="483"/>
                    </a:lnTo>
                    <a:lnTo>
                      <a:pt x="221" y="478"/>
                    </a:lnTo>
                    <a:lnTo>
                      <a:pt x="218" y="466"/>
                    </a:lnTo>
                    <a:lnTo>
                      <a:pt x="213" y="458"/>
                    </a:lnTo>
                    <a:lnTo>
                      <a:pt x="205" y="457"/>
                    </a:lnTo>
                    <a:lnTo>
                      <a:pt x="210" y="443"/>
                    </a:lnTo>
                    <a:lnTo>
                      <a:pt x="211" y="414"/>
                    </a:lnTo>
                    <a:lnTo>
                      <a:pt x="214" y="396"/>
                    </a:lnTo>
                    <a:lnTo>
                      <a:pt x="218" y="386"/>
                    </a:lnTo>
                    <a:lnTo>
                      <a:pt x="224" y="381"/>
                    </a:lnTo>
                    <a:lnTo>
                      <a:pt x="230" y="382"/>
                    </a:lnTo>
                    <a:lnTo>
                      <a:pt x="231" y="394"/>
                    </a:lnTo>
                    <a:lnTo>
                      <a:pt x="230" y="404"/>
                    </a:lnTo>
                    <a:lnTo>
                      <a:pt x="235" y="416"/>
                    </a:lnTo>
                    <a:lnTo>
                      <a:pt x="241" y="416"/>
                    </a:lnTo>
                    <a:lnTo>
                      <a:pt x="250" y="399"/>
                    </a:lnTo>
                    <a:lnTo>
                      <a:pt x="250" y="388"/>
                    </a:lnTo>
                    <a:lnTo>
                      <a:pt x="252" y="368"/>
                    </a:lnTo>
                    <a:lnTo>
                      <a:pt x="261" y="353"/>
                    </a:lnTo>
                    <a:lnTo>
                      <a:pt x="266" y="366"/>
                    </a:lnTo>
                    <a:lnTo>
                      <a:pt x="267" y="382"/>
                    </a:lnTo>
                    <a:lnTo>
                      <a:pt x="253" y="421"/>
                    </a:lnTo>
                    <a:lnTo>
                      <a:pt x="257" y="446"/>
                    </a:lnTo>
                    <a:lnTo>
                      <a:pt x="264" y="452"/>
                    </a:lnTo>
                    <a:lnTo>
                      <a:pt x="270" y="462"/>
                    </a:lnTo>
                    <a:lnTo>
                      <a:pt x="296" y="450"/>
                    </a:lnTo>
                    <a:lnTo>
                      <a:pt x="299" y="439"/>
                    </a:lnTo>
                    <a:lnTo>
                      <a:pt x="307" y="435"/>
                    </a:lnTo>
                    <a:lnTo>
                      <a:pt x="313" y="424"/>
                    </a:lnTo>
                    <a:lnTo>
                      <a:pt x="315" y="409"/>
                    </a:lnTo>
                    <a:lnTo>
                      <a:pt x="313" y="396"/>
                    </a:lnTo>
                    <a:lnTo>
                      <a:pt x="322" y="389"/>
                    </a:lnTo>
                    <a:lnTo>
                      <a:pt x="326" y="381"/>
                    </a:lnTo>
                    <a:lnTo>
                      <a:pt x="329" y="383"/>
                    </a:lnTo>
                    <a:lnTo>
                      <a:pt x="331" y="398"/>
                    </a:lnTo>
                    <a:lnTo>
                      <a:pt x="336" y="400"/>
                    </a:lnTo>
                    <a:lnTo>
                      <a:pt x="327" y="419"/>
                    </a:lnTo>
                    <a:lnTo>
                      <a:pt x="320" y="425"/>
                    </a:lnTo>
                    <a:lnTo>
                      <a:pt x="318" y="437"/>
                    </a:lnTo>
                    <a:lnTo>
                      <a:pt x="315" y="443"/>
                    </a:lnTo>
                    <a:lnTo>
                      <a:pt x="313" y="453"/>
                    </a:lnTo>
                    <a:lnTo>
                      <a:pt x="316" y="462"/>
                    </a:lnTo>
                    <a:lnTo>
                      <a:pt x="322" y="464"/>
                    </a:lnTo>
                    <a:lnTo>
                      <a:pt x="326" y="453"/>
                    </a:lnTo>
                    <a:lnTo>
                      <a:pt x="334" y="470"/>
                    </a:lnTo>
                    <a:lnTo>
                      <a:pt x="342" y="474"/>
                    </a:lnTo>
                    <a:lnTo>
                      <a:pt x="364" y="461"/>
                    </a:lnTo>
                    <a:lnTo>
                      <a:pt x="367" y="467"/>
                    </a:lnTo>
                    <a:lnTo>
                      <a:pt x="363" y="473"/>
                    </a:lnTo>
                    <a:lnTo>
                      <a:pt x="350" y="474"/>
                    </a:lnTo>
                    <a:lnTo>
                      <a:pt x="347" y="481"/>
                    </a:lnTo>
                    <a:lnTo>
                      <a:pt x="336" y="485"/>
                    </a:lnTo>
                    <a:lnTo>
                      <a:pt x="334" y="491"/>
                    </a:lnTo>
                    <a:lnTo>
                      <a:pt x="316" y="491"/>
                    </a:lnTo>
                    <a:lnTo>
                      <a:pt x="306" y="483"/>
                    </a:lnTo>
                    <a:lnTo>
                      <a:pt x="284" y="485"/>
                    </a:lnTo>
                    <a:lnTo>
                      <a:pt x="268" y="500"/>
                    </a:lnTo>
                    <a:lnTo>
                      <a:pt x="275" y="516"/>
                    </a:lnTo>
                    <a:lnTo>
                      <a:pt x="272" y="524"/>
                    </a:lnTo>
                    <a:lnTo>
                      <a:pt x="264" y="516"/>
                    </a:lnTo>
                    <a:lnTo>
                      <a:pt x="257" y="516"/>
                    </a:lnTo>
                    <a:lnTo>
                      <a:pt x="253" y="526"/>
                    </a:lnTo>
                    <a:lnTo>
                      <a:pt x="247" y="528"/>
                    </a:lnTo>
                    <a:lnTo>
                      <a:pt x="243" y="538"/>
                    </a:lnTo>
                    <a:lnTo>
                      <a:pt x="240" y="540"/>
                    </a:lnTo>
                    <a:lnTo>
                      <a:pt x="240" y="556"/>
                    </a:lnTo>
                    <a:lnTo>
                      <a:pt x="230" y="559"/>
                    </a:lnTo>
                    <a:lnTo>
                      <a:pt x="224" y="555"/>
                    </a:lnTo>
                    <a:lnTo>
                      <a:pt x="193" y="563"/>
                    </a:lnTo>
                    <a:lnTo>
                      <a:pt x="192" y="570"/>
                    </a:lnTo>
                    <a:lnTo>
                      <a:pt x="198" y="581"/>
                    </a:lnTo>
                    <a:lnTo>
                      <a:pt x="194" y="590"/>
                    </a:lnTo>
                    <a:lnTo>
                      <a:pt x="187" y="586"/>
                    </a:lnTo>
                    <a:lnTo>
                      <a:pt x="183" y="572"/>
                    </a:lnTo>
                    <a:lnTo>
                      <a:pt x="178" y="565"/>
                    </a:lnTo>
                    <a:lnTo>
                      <a:pt x="167" y="569"/>
                    </a:lnTo>
                    <a:lnTo>
                      <a:pt x="164" y="575"/>
                    </a:lnTo>
                    <a:lnTo>
                      <a:pt x="165" y="609"/>
                    </a:lnTo>
                    <a:lnTo>
                      <a:pt x="172" y="635"/>
                    </a:lnTo>
                    <a:lnTo>
                      <a:pt x="170" y="642"/>
                    </a:lnTo>
                    <a:lnTo>
                      <a:pt x="170" y="649"/>
                    </a:lnTo>
                    <a:lnTo>
                      <a:pt x="176" y="652"/>
                    </a:lnTo>
                    <a:lnTo>
                      <a:pt x="186" y="652"/>
                    </a:lnTo>
                    <a:lnTo>
                      <a:pt x="195" y="640"/>
                    </a:lnTo>
                    <a:lnTo>
                      <a:pt x="200" y="646"/>
                    </a:lnTo>
                    <a:lnTo>
                      <a:pt x="208" y="646"/>
                    </a:lnTo>
                    <a:lnTo>
                      <a:pt x="216" y="645"/>
                    </a:lnTo>
                    <a:lnTo>
                      <a:pt x="216" y="639"/>
                    </a:lnTo>
                    <a:lnTo>
                      <a:pt x="221" y="637"/>
                    </a:lnTo>
                    <a:lnTo>
                      <a:pt x="223" y="646"/>
                    </a:lnTo>
                    <a:lnTo>
                      <a:pt x="229" y="645"/>
                    </a:lnTo>
                    <a:lnTo>
                      <a:pt x="231" y="636"/>
                    </a:lnTo>
                    <a:lnTo>
                      <a:pt x="235" y="641"/>
                    </a:lnTo>
                    <a:lnTo>
                      <a:pt x="251" y="636"/>
                    </a:lnTo>
                    <a:lnTo>
                      <a:pt x="261" y="624"/>
                    </a:lnTo>
                    <a:lnTo>
                      <a:pt x="267" y="622"/>
                    </a:lnTo>
                    <a:lnTo>
                      <a:pt x="277" y="623"/>
                    </a:lnTo>
                    <a:lnTo>
                      <a:pt x="281" y="629"/>
                    </a:lnTo>
                    <a:lnTo>
                      <a:pt x="306" y="622"/>
                    </a:lnTo>
                    <a:lnTo>
                      <a:pt x="315" y="624"/>
                    </a:lnTo>
                    <a:lnTo>
                      <a:pt x="327" y="617"/>
                    </a:lnTo>
                    <a:lnTo>
                      <a:pt x="329" y="606"/>
                    </a:lnTo>
                    <a:lnTo>
                      <a:pt x="339" y="603"/>
                    </a:lnTo>
                    <a:lnTo>
                      <a:pt x="340" y="613"/>
                    </a:lnTo>
                    <a:lnTo>
                      <a:pt x="336" y="612"/>
                    </a:lnTo>
                    <a:lnTo>
                      <a:pt x="340" y="619"/>
                    </a:lnTo>
                    <a:lnTo>
                      <a:pt x="343" y="634"/>
                    </a:lnTo>
                    <a:lnTo>
                      <a:pt x="338" y="637"/>
                    </a:lnTo>
                    <a:lnTo>
                      <a:pt x="323" y="633"/>
                    </a:lnTo>
                    <a:lnTo>
                      <a:pt x="316" y="639"/>
                    </a:lnTo>
                    <a:lnTo>
                      <a:pt x="311" y="629"/>
                    </a:lnTo>
                    <a:lnTo>
                      <a:pt x="308" y="641"/>
                    </a:lnTo>
                    <a:lnTo>
                      <a:pt x="296" y="641"/>
                    </a:lnTo>
                    <a:lnTo>
                      <a:pt x="296" y="647"/>
                    </a:lnTo>
                    <a:lnTo>
                      <a:pt x="286" y="652"/>
                    </a:lnTo>
                    <a:lnTo>
                      <a:pt x="281" y="649"/>
                    </a:lnTo>
                    <a:lnTo>
                      <a:pt x="270" y="651"/>
                    </a:lnTo>
                    <a:lnTo>
                      <a:pt x="237" y="668"/>
                    </a:lnTo>
                    <a:lnTo>
                      <a:pt x="229" y="668"/>
                    </a:lnTo>
                    <a:lnTo>
                      <a:pt x="231" y="676"/>
                    </a:lnTo>
                    <a:lnTo>
                      <a:pt x="240" y="684"/>
                    </a:lnTo>
                    <a:lnTo>
                      <a:pt x="286" y="694"/>
                    </a:lnTo>
                    <a:lnTo>
                      <a:pt x="293" y="706"/>
                    </a:lnTo>
                    <a:lnTo>
                      <a:pt x="291" y="714"/>
                    </a:lnTo>
                    <a:lnTo>
                      <a:pt x="261" y="705"/>
                    </a:lnTo>
                    <a:lnTo>
                      <a:pt x="258" y="701"/>
                    </a:lnTo>
                    <a:lnTo>
                      <a:pt x="246" y="705"/>
                    </a:lnTo>
                    <a:lnTo>
                      <a:pt x="236" y="699"/>
                    </a:lnTo>
                    <a:lnTo>
                      <a:pt x="225" y="700"/>
                    </a:lnTo>
                    <a:lnTo>
                      <a:pt x="225" y="708"/>
                    </a:lnTo>
                    <a:lnTo>
                      <a:pt x="223" y="715"/>
                    </a:lnTo>
                    <a:lnTo>
                      <a:pt x="215" y="716"/>
                    </a:lnTo>
                    <a:lnTo>
                      <a:pt x="211" y="694"/>
                    </a:lnTo>
                    <a:lnTo>
                      <a:pt x="198" y="690"/>
                    </a:lnTo>
                    <a:lnTo>
                      <a:pt x="183" y="706"/>
                    </a:lnTo>
                    <a:lnTo>
                      <a:pt x="188" y="722"/>
                    </a:lnTo>
                    <a:lnTo>
                      <a:pt x="183" y="738"/>
                    </a:lnTo>
                    <a:lnTo>
                      <a:pt x="191" y="753"/>
                    </a:lnTo>
                    <a:lnTo>
                      <a:pt x="195" y="771"/>
                    </a:lnTo>
                    <a:lnTo>
                      <a:pt x="199" y="774"/>
                    </a:lnTo>
                    <a:lnTo>
                      <a:pt x="205" y="792"/>
                    </a:lnTo>
                    <a:lnTo>
                      <a:pt x="236" y="807"/>
                    </a:lnTo>
                    <a:lnTo>
                      <a:pt x="241" y="806"/>
                    </a:lnTo>
                    <a:lnTo>
                      <a:pt x="248" y="817"/>
                    </a:lnTo>
                    <a:lnTo>
                      <a:pt x="248" y="829"/>
                    </a:lnTo>
                    <a:lnTo>
                      <a:pt x="254" y="833"/>
                    </a:lnTo>
                    <a:lnTo>
                      <a:pt x="270" y="834"/>
                    </a:lnTo>
                    <a:lnTo>
                      <a:pt x="278" y="830"/>
                    </a:lnTo>
                    <a:lnTo>
                      <a:pt x="283" y="833"/>
                    </a:lnTo>
                    <a:lnTo>
                      <a:pt x="288" y="829"/>
                    </a:lnTo>
                    <a:lnTo>
                      <a:pt x="300" y="828"/>
                    </a:lnTo>
                    <a:lnTo>
                      <a:pt x="306" y="835"/>
                    </a:lnTo>
                    <a:lnTo>
                      <a:pt x="312" y="834"/>
                    </a:lnTo>
                    <a:lnTo>
                      <a:pt x="312" y="841"/>
                    </a:lnTo>
                    <a:lnTo>
                      <a:pt x="304" y="856"/>
                    </a:lnTo>
                    <a:lnTo>
                      <a:pt x="302" y="848"/>
                    </a:lnTo>
                    <a:lnTo>
                      <a:pt x="288" y="849"/>
                    </a:lnTo>
                    <a:lnTo>
                      <a:pt x="270" y="859"/>
                    </a:lnTo>
                    <a:lnTo>
                      <a:pt x="270" y="868"/>
                    </a:lnTo>
                    <a:lnTo>
                      <a:pt x="308" y="904"/>
                    </a:lnTo>
                    <a:lnTo>
                      <a:pt x="311" y="911"/>
                    </a:lnTo>
                    <a:lnTo>
                      <a:pt x="311" y="936"/>
                    </a:lnTo>
                    <a:lnTo>
                      <a:pt x="316" y="935"/>
                    </a:lnTo>
                    <a:lnTo>
                      <a:pt x="323" y="922"/>
                    </a:lnTo>
                    <a:lnTo>
                      <a:pt x="323" y="930"/>
                    </a:lnTo>
                    <a:lnTo>
                      <a:pt x="329" y="937"/>
                    </a:lnTo>
                    <a:lnTo>
                      <a:pt x="338" y="936"/>
                    </a:lnTo>
                    <a:lnTo>
                      <a:pt x="349" y="925"/>
                    </a:lnTo>
                    <a:lnTo>
                      <a:pt x="350" y="910"/>
                    </a:lnTo>
                    <a:lnTo>
                      <a:pt x="354" y="908"/>
                    </a:lnTo>
                    <a:lnTo>
                      <a:pt x="353" y="900"/>
                    </a:lnTo>
                    <a:lnTo>
                      <a:pt x="348" y="888"/>
                    </a:lnTo>
                    <a:lnTo>
                      <a:pt x="351" y="878"/>
                    </a:lnTo>
                    <a:lnTo>
                      <a:pt x="349" y="873"/>
                    </a:lnTo>
                    <a:lnTo>
                      <a:pt x="351" y="866"/>
                    </a:lnTo>
                    <a:lnTo>
                      <a:pt x="363" y="855"/>
                    </a:lnTo>
                    <a:lnTo>
                      <a:pt x="367" y="840"/>
                    </a:lnTo>
                    <a:lnTo>
                      <a:pt x="365" y="839"/>
                    </a:lnTo>
                    <a:lnTo>
                      <a:pt x="369" y="832"/>
                    </a:lnTo>
                    <a:lnTo>
                      <a:pt x="364" y="822"/>
                    </a:lnTo>
                    <a:lnTo>
                      <a:pt x="370" y="802"/>
                    </a:lnTo>
                    <a:lnTo>
                      <a:pt x="367" y="792"/>
                    </a:lnTo>
                    <a:lnTo>
                      <a:pt x="367" y="771"/>
                    </a:lnTo>
                    <a:lnTo>
                      <a:pt x="370" y="762"/>
                    </a:lnTo>
                    <a:lnTo>
                      <a:pt x="381" y="742"/>
                    </a:lnTo>
                    <a:lnTo>
                      <a:pt x="392" y="741"/>
                    </a:lnTo>
                    <a:lnTo>
                      <a:pt x="387" y="728"/>
                    </a:lnTo>
                    <a:lnTo>
                      <a:pt x="380" y="731"/>
                    </a:lnTo>
                    <a:lnTo>
                      <a:pt x="379" y="722"/>
                    </a:lnTo>
                    <a:lnTo>
                      <a:pt x="406" y="710"/>
                    </a:lnTo>
                    <a:lnTo>
                      <a:pt x="413" y="715"/>
                    </a:lnTo>
                    <a:lnTo>
                      <a:pt x="417" y="714"/>
                    </a:lnTo>
                    <a:lnTo>
                      <a:pt x="417" y="704"/>
                    </a:lnTo>
                    <a:lnTo>
                      <a:pt x="420" y="698"/>
                    </a:lnTo>
                    <a:lnTo>
                      <a:pt x="420" y="688"/>
                    </a:lnTo>
                    <a:lnTo>
                      <a:pt x="423" y="680"/>
                    </a:lnTo>
                    <a:lnTo>
                      <a:pt x="425" y="669"/>
                    </a:lnTo>
                    <a:lnTo>
                      <a:pt x="425" y="661"/>
                    </a:lnTo>
                    <a:lnTo>
                      <a:pt x="423" y="662"/>
                    </a:lnTo>
                    <a:lnTo>
                      <a:pt x="424" y="646"/>
                    </a:lnTo>
                    <a:lnTo>
                      <a:pt x="429" y="626"/>
                    </a:lnTo>
                    <a:lnTo>
                      <a:pt x="426" y="620"/>
                    </a:lnTo>
                    <a:lnTo>
                      <a:pt x="425" y="607"/>
                    </a:lnTo>
                    <a:lnTo>
                      <a:pt x="426" y="588"/>
                    </a:lnTo>
                    <a:lnTo>
                      <a:pt x="425" y="583"/>
                    </a:lnTo>
                    <a:lnTo>
                      <a:pt x="425" y="576"/>
                    </a:lnTo>
                    <a:lnTo>
                      <a:pt x="440" y="570"/>
                    </a:lnTo>
                    <a:lnTo>
                      <a:pt x="451" y="577"/>
                    </a:lnTo>
                    <a:lnTo>
                      <a:pt x="455" y="575"/>
                    </a:lnTo>
                    <a:lnTo>
                      <a:pt x="456" y="563"/>
                    </a:lnTo>
                    <a:lnTo>
                      <a:pt x="455" y="552"/>
                    </a:lnTo>
                    <a:lnTo>
                      <a:pt x="455" y="529"/>
                    </a:lnTo>
                    <a:lnTo>
                      <a:pt x="460" y="522"/>
                    </a:lnTo>
                    <a:lnTo>
                      <a:pt x="457" y="511"/>
                    </a:lnTo>
                    <a:lnTo>
                      <a:pt x="461" y="510"/>
                    </a:lnTo>
                    <a:lnTo>
                      <a:pt x="458" y="502"/>
                    </a:lnTo>
                    <a:lnTo>
                      <a:pt x="460" y="491"/>
                    </a:lnTo>
                    <a:lnTo>
                      <a:pt x="460" y="477"/>
                    </a:lnTo>
                    <a:lnTo>
                      <a:pt x="457" y="464"/>
                    </a:lnTo>
                    <a:lnTo>
                      <a:pt x="473" y="462"/>
                    </a:lnTo>
                    <a:lnTo>
                      <a:pt x="477" y="453"/>
                    </a:lnTo>
                    <a:lnTo>
                      <a:pt x="485" y="453"/>
                    </a:lnTo>
                    <a:lnTo>
                      <a:pt x="489" y="432"/>
                    </a:lnTo>
                    <a:lnTo>
                      <a:pt x="485" y="424"/>
                    </a:lnTo>
                    <a:lnTo>
                      <a:pt x="498" y="420"/>
                    </a:lnTo>
                    <a:lnTo>
                      <a:pt x="508" y="423"/>
                    </a:lnTo>
                    <a:lnTo>
                      <a:pt x="521" y="404"/>
                    </a:lnTo>
                    <a:lnTo>
                      <a:pt x="536" y="404"/>
                    </a:lnTo>
                    <a:lnTo>
                      <a:pt x="552" y="392"/>
                    </a:lnTo>
                    <a:lnTo>
                      <a:pt x="570" y="399"/>
                    </a:lnTo>
                    <a:lnTo>
                      <a:pt x="581" y="398"/>
                    </a:lnTo>
                    <a:lnTo>
                      <a:pt x="585" y="392"/>
                    </a:lnTo>
                    <a:lnTo>
                      <a:pt x="591" y="371"/>
                    </a:lnTo>
                    <a:lnTo>
                      <a:pt x="589" y="354"/>
                    </a:lnTo>
                    <a:lnTo>
                      <a:pt x="590" y="345"/>
                    </a:lnTo>
                    <a:lnTo>
                      <a:pt x="586" y="341"/>
                    </a:lnTo>
                    <a:lnTo>
                      <a:pt x="570" y="341"/>
                    </a:lnTo>
                    <a:lnTo>
                      <a:pt x="531" y="327"/>
                    </a:lnTo>
                    <a:lnTo>
                      <a:pt x="525" y="314"/>
                    </a:lnTo>
                    <a:lnTo>
                      <a:pt x="503" y="305"/>
                    </a:lnTo>
                    <a:lnTo>
                      <a:pt x="495" y="283"/>
                    </a:lnTo>
                    <a:lnTo>
                      <a:pt x="492" y="267"/>
                    </a:lnTo>
                    <a:lnTo>
                      <a:pt x="484" y="264"/>
                    </a:lnTo>
                    <a:lnTo>
                      <a:pt x="477" y="254"/>
                    </a:lnTo>
                    <a:lnTo>
                      <a:pt x="444" y="252"/>
                    </a:lnTo>
                    <a:lnTo>
                      <a:pt x="441" y="231"/>
                    </a:lnTo>
                    <a:lnTo>
                      <a:pt x="445" y="217"/>
                    </a:lnTo>
                    <a:lnTo>
                      <a:pt x="445" y="210"/>
                    </a:lnTo>
                    <a:lnTo>
                      <a:pt x="447" y="204"/>
                    </a:lnTo>
                    <a:lnTo>
                      <a:pt x="449" y="192"/>
                    </a:lnTo>
                    <a:lnTo>
                      <a:pt x="440" y="172"/>
                    </a:lnTo>
                    <a:lnTo>
                      <a:pt x="435" y="150"/>
                    </a:lnTo>
                    <a:lnTo>
                      <a:pt x="426" y="133"/>
                    </a:lnTo>
                    <a:lnTo>
                      <a:pt x="417" y="133"/>
                    </a:lnTo>
                    <a:lnTo>
                      <a:pt x="413" y="123"/>
                    </a:lnTo>
                    <a:lnTo>
                      <a:pt x="408" y="128"/>
                    </a:lnTo>
                    <a:lnTo>
                      <a:pt x="401" y="145"/>
                    </a:lnTo>
                    <a:lnTo>
                      <a:pt x="401" y="157"/>
                    </a:lnTo>
                    <a:lnTo>
                      <a:pt x="404" y="167"/>
                    </a:lnTo>
                    <a:lnTo>
                      <a:pt x="391" y="181"/>
                    </a:lnTo>
                    <a:lnTo>
                      <a:pt x="379" y="204"/>
                    </a:lnTo>
                    <a:lnTo>
                      <a:pt x="377" y="195"/>
                    </a:lnTo>
                    <a:lnTo>
                      <a:pt x="382" y="188"/>
                    </a:lnTo>
                    <a:lnTo>
                      <a:pt x="386" y="171"/>
                    </a:lnTo>
                    <a:lnTo>
                      <a:pt x="382" y="155"/>
                    </a:lnTo>
                    <a:lnTo>
                      <a:pt x="379" y="150"/>
                    </a:lnTo>
                    <a:lnTo>
                      <a:pt x="376" y="152"/>
                    </a:lnTo>
                    <a:lnTo>
                      <a:pt x="379" y="144"/>
                    </a:lnTo>
                    <a:lnTo>
                      <a:pt x="385" y="136"/>
                    </a:lnTo>
                    <a:lnTo>
                      <a:pt x="390" y="106"/>
                    </a:lnTo>
                    <a:lnTo>
                      <a:pt x="394" y="101"/>
                    </a:lnTo>
                    <a:lnTo>
                      <a:pt x="397" y="81"/>
                    </a:lnTo>
                    <a:lnTo>
                      <a:pt x="385" y="60"/>
                    </a:lnTo>
                    <a:lnTo>
                      <a:pt x="350" y="22"/>
                    </a:lnTo>
                    <a:lnTo>
                      <a:pt x="337" y="29"/>
                    </a:lnTo>
                    <a:lnTo>
                      <a:pt x="339" y="39"/>
                    </a:lnTo>
                    <a:lnTo>
                      <a:pt x="339" y="47"/>
                    </a:lnTo>
                    <a:lnTo>
                      <a:pt x="329" y="41"/>
                    </a:lnTo>
                    <a:lnTo>
                      <a:pt x="324" y="43"/>
                    </a:lnTo>
                    <a:lnTo>
                      <a:pt x="324" y="14"/>
                    </a:lnTo>
                    <a:lnTo>
                      <a:pt x="323" y="0"/>
                    </a:lnTo>
                    <a:lnTo>
                      <a:pt x="293" y="0"/>
                    </a:lnTo>
                    <a:lnTo>
                      <a:pt x="293" y="0"/>
                    </a:lnTo>
                    <a:lnTo>
                      <a:pt x="290" y="2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0" name="Freeform 224"/>
              <p:cNvSpPr>
                <a:spLocks noChangeAspect="1"/>
              </p:cNvSpPr>
              <p:nvPr/>
            </p:nvSpPr>
            <p:spPr bwMode="gray">
              <a:xfrm>
                <a:off x="3306" y="1118"/>
                <a:ext cx="25" cy="23"/>
              </a:xfrm>
              <a:custGeom>
                <a:avLst/>
                <a:gdLst/>
                <a:ahLst/>
                <a:cxnLst>
                  <a:cxn ang="0">
                    <a:pos x="52" y="117"/>
                  </a:cxn>
                  <a:cxn ang="0">
                    <a:pos x="54" y="111"/>
                  </a:cxn>
                  <a:cxn ang="0">
                    <a:pos x="65" y="112"/>
                  </a:cxn>
                  <a:cxn ang="0">
                    <a:pos x="81" y="99"/>
                  </a:cxn>
                  <a:cxn ang="0">
                    <a:pos x="105" y="97"/>
                  </a:cxn>
                  <a:cxn ang="0">
                    <a:pos x="107" y="86"/>
                  </a:cxn>
                  <a:cxn ang="0">
                    <a:pos x="106" y="81"/>
                  </a:cxn>
                  <a:cxn ang="0">
                    <a:pos x="111" y="52"/>
                  </a:cxn>
                  <a:cxn ang="0">
                    <a:pos x="126" y="37"/>
                  </a:cxn>
                  <a:cxn ang="0">
                    <a:pos x="111" y="22"/>
                  </a:cxn>
                  <a:cxn ang="0">
                    <a:pos x="107" y="14"/>
                  </a:cxn>
                  <a:cxn ang="0">
                    <a:pos x="106" y="8"/>
                  </a:cxn>
                  <a:cxn ang="0">
                    <a:pos x="67" y="13"/>
                  </a:cxn>
                  <a:cxn ang="0">
                    <a:pos x="62" y="13"/>
                  </a:cxn>
                  <a:cxn ang="0">
                    <a:pos x="67" y="10"/>
                  </a:cxn>
                  <a:cxn ang="0">
                    <a:pos x="69" y="0"/>
                  </a:cxn>
                  <a:cxn ang="0">
                    <a:pos x="65" y="3"/>
                  </a:cxn>
                  <a:cxn ang="0">
                    <a:pos x="51" y="4"/>
                  </a:cxn>
                  <a:cxn ang="0">
                    <a:pos x="44" y="20"/>
                  </a:cxn>
                  <a:cxn ang="0">
                    <a:pos x="38" y="26"/>
                  </a:cxn>
                  <a:cxn ang="0">
                    <a:pos x="32" y="22"/>
                  </a:cxn>
                  <a:cxn ang="0">
                    <a:pos x="27" y="30"/>
                  </a:cxn>
                  <a:cxn ang="0">
                    <a:pos x="0" y="40"/>
                  </a:cxn>
                  <a:cxn ang="0">
                    <a:pos x="11" y="52"/>
                  </a:cxn>
                  <a:cxn ang="0">
                    <a:pos x="25" y="54"/>
                  </a:cxn>
                  <a:cxn ang="0">
                    <a:pos x="25" y="65"/>
                  </a:cxn>
                  <a:cxn ang="0">
                    <a:pos x="24" y="73"/>
                  </a:cxn>
                  <a:cxn ang="0">
                    <a:pos x="26" y="87"/>
                  </a:cxn>
                  <a:cxn ang="0">
                    <a:pos x="31" y="99"/>
                  </a:cxn>
                  <a:cxn ang="0">
                    <a:pos x="33" y="106"/>
                  </a:cxn>
                  <a:cxn ang="0">
                    <a:pos x="38" y="114"/>
                  </a:cxn>
                  <a:cxn ang="0">
                    <a:pos x="52" y="117"/>
                  </a:cxn>
                </a:cxnLst>
                <a:rect l="0" t="0" r="r" b="b"/>
                <a:pathLst>
                  <a:path w="126" h="117">
                    <a:moveTo>
                      <a:pt x="52" y="117"/>
                    </a:moveTo>
                    <a:lnTo>
                      <a:pt x="54" y="111"/>
                    </a:lnTo>
                    <a:lnTo>
                      <a:pt x="65" y="112"/>
                    </a:lnTo>
                    <a:lnTo>
                      <a:pt x="81" y="99"/>
                    </a:lnTo>
                    <a:lnTo>
                      <a:pt x="105" y="97"/>
                    </a:lnTo>
                    <a:lnTo>
                      <a:pt x="107" y="86"/>
                    </a:lnTo>
                    <a:lnTo>
                      <a:pt x="106" y="81"/>
                    </a:lnTo>
                    <a:lnTo>
                      <a:pt x="111" y="52"/>
                    </a:lnTo>
                    <a:lnTo>
                      <a:pt x="126" y="37"/>
                    </a:lnTo>
                    <a:lnTo>
                      <a:pt x="111" y="22"/>
                    </a:lnTo>
                    <a:lnTo>
                      <a:pt x="107" y="14"/>
                    </a:lnTo>
                    <a:lnTo>
                      <a:pt x="106" y="8"/>
                    </a:lnTo>
                    <a:lnTo>
                      <a:pt x="67" y="13"/>
                    </a:lnTo>
                    <a:lnTo>
                      <a:pt x="62" y="13"/>
                    </a:lnTo>
                    <a:lnTo>
                      <a:pt x="67" y="10"/>
                    </a:lnTo>
                    <a:lnTo>
                      <a:pt x="69" y="0"/>
                    </a:lnTo>
                    <a:lnTo>
                      <a:pt x="65" y="3"/>
                    </a:lnTo>
                    <a:lnTo>
                      <a:pt x="51" y="4"/>
                    </a:lnTo>
                    <a:lnTo>
                      <a:pt x="44" y="20"/>
                    </a:lnTo>
                    <a:lnTo>
                      <a:pt x="38" y="26"/>
                    </a:lnTo>
                    <a:lnTo>
                      <a:pt x="32" y="22"/>
                    </a:lnTo>
                    <a:lnTo>
                      <a:pt x="27" y="30"/>
                    </a:lnTo>
                    <a:lnTo>
                      <a:pt x="0" y="40"/>
                    </a:lnTo>
                    <a:lnTo>
                      <a:pt x="11" y="52"/>
                    </a:lnTo>
                    <a:lnTo>
                      <a:pt x="25" y="54"/>
                    </a:lnTo>
                    <a:lnTo>
                      <a:pt x="25" y="65"/>
                    </a:lnTo>
                    <a:lnTo>
                      <a:pt x="24" y="73"/>
                    </a:lnTo>
                    <a:lnTo>
                      <a:pt x="26" y="87"/>
                    </a:lnTo>
                    <a:lnTo>
                      <a:pt x="31" y="99"/>
                    </a:lnTo>
                    <a:lnTo>
                      <a:pt x="33" y="106"/>
                    </a:lnTo>
                    <a:lnTo>
                      <a:pt x="38" y="114"/>
                    </a:lnTo>
                    <a:lnTo>
                      <a:pt x="52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1" name="Freeform 225"/>
              <p:cNvSpPr>
                <a:spLocks noChangeAspect="1"/>
              </p:cNvSpPr>
              <p:nvPr/>
            </p:nvSpPr>
            <p:spPr bwMode="gray">
              <a:xfrm>
                <a:off x="3340" y="1146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0" y="0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2" name="Freeform 226"/>
              <p:cNvSpPr>
                <a:spLocks noChangeAspect="1"/>
              </p:cNvSpPr>
              <p:nvPr/>
            </p:nvSpPr>
            <p:spPr bwMode="gray">
              <a:xfrm>
                <a:off x="3340" y="1147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3" name="Freeform 227"/>
              <p:cNvSpPr>
                <a:spLocks noChangeAspect="1"/>
              </p:cNvSpPr>
              <p:nvPr/>
            </p:nvSpPr>
            <p:spPr bwMode="gray">
              <a:xfrm>
                <a:off x="3313" y="1136"/>
                <a:ext cx="45" cy="54"/>
              </a:xfrm>
              <a:custGeom>
                <a:avLst/>
                <a:gdLst/>
                <a:ahLst/>
                <a:cxnLst>
                  <a:cxn ang="0">
                    <a:pos x="206" y="133"/>
                  </a:cxn>
                  <a:cxn ang="0">
                    <a:pos x="201" y="128"/>
                  </a:cxn>
                  <a:cxn ang="0">
                    <a:pos x="190" y="116"/>
                  </a:cxn>
                  <a:cxn ang="0">
                    <a:pos x="180" y="107"/>
                  </a:cxn>
                  <a:cxn ang="0">
                    <a:pos x="162" y="124"/>
                  </a:cxn>
                  <a:cxn ang="0">
                    <a:pos x="145" y="108"/>
                  </a:cxn>
                  <a:cxn ang="0">
                    <a:pos x="131" y="90"/>
                  </a:cxn>
                  <a:cxn ang="0">
                    <a:pos x="120" y="75"/>
                  </a:cxn>
                  <a:cxn ang="0">
                    <a:pos x="125" y="51"/>
                  </a:cxn>
                  <a:cxn ang="0">
                    <a:pos x="134" y="43"/>
                  </a:cxn>
                  <a:cxn ang="0">
                    <a:pos x="128" y="19"/>
                  </a:cxn>
                  <a:cxn ang="0">
                    <a:pos x="114" y="15"/>
                  </a:cxn>
                  <a:cxn ang="0">
                    <a:pos x="112" y="0"/>
                  </a:cxn>
                  <a:cxn ang="0">
                    <a:pos x="106" y="15"/>
                  </a:cxn>
                  <a:cxn ang="0">
                    <a:pos x="87" y="26"/>
                  </a:cxn>
                  <a:cxn ang="0">
                    <a:pos x="50" y="23"/>
                  </a:cxn>
                  <a:cxn ang="0">
                    <a:pos x="2" y="51"/>
                  </a:cxn>
                  <a:cxn ang="0">
                    <a:pos x="0" y="62"/>
                  </a:cxn>
                  <a:cxn ang="0">
                    <a:pos x="11" y="75"/>
                  </a:cxn>
                  <a:cxn ang="0">
                    <a:pos x="16" y="86"/>
                  </a:cxn>
                  <a:cxn ang="0">
                    <a:pos x="35" y="108"/>
                  </a:cxn>
                  <a:cxn ang="0">
                    <a:pos x="27" y="134"/>
                  </a:cxn>
                  <a:cxn ang="0">
                    <a:pos x="21" y="150"/>
                  </a:cxn>
                  <a:cxn ang="0">
                    <a:pos x="21" y="165"/>
                  </a:cxn>
                  <a:cxn ang="0">
                    <a:pos x="21" y="172"/>
                  </a:cxn>
                  <a:cxn ang="0">
                    <a:pos x="5" y="187"/>
                  </a:cxn>
                  <a:cxn ang="0">
                    <a:pos x="4" y="195"/>
                  </a:cxn>
                  <a:cxn ang="0">
                    <a:pos x="1" y="205"/>
                  </a:cxn>
                  <a:cxn ang="0">
                    <a:pos x="8" y="222"/>
                  </a:cxn>
                  <a:cxn ang="0">
                    <a:pos x="26" y="222"/>
                  </a:cxn>
                  <a:cxn ang="0">
                    <a:pos x="66" y="214"/>
                  </a:cxn>
                  <a:cxn ang="0">
                    <a:pos x="77" y="208"/>
                  </a:cxn>
                  <a:cxn ang="0">
                    <a:pos x="87" y="189"/>
                  </a:cxn>
                  <a:cxn ang="0">
                    <a:pos x="98" y="193"/>
                  </a:cxn>
                  <a:cxn ang="0">
                    <a:pos x="96" y="205"/>
                  </a:cxn>
                  <a:cxn ang="0">
                    <a:pos x="103" y="195"/>
                  </a:cxn>
                  <a:cxn ang="0">
                    <a:pos x="107" y="205"/>
                  </a:cxn>
                  <a:cxn ang="0">
                    <a:pos x="99" y="214"/>
                  </a:cxn>
                  <a:cxn ang="0">
                    <a:pos x="97" y="235"/>
                  </a:cxn>
                  <a:cxn ang="0">
                    <a:pos x="85" y="253"/>
                  </a:cxn>
                  <a:cxn ang="0">
                    <a:pos x="99" y="259"/>
                  </a:cxn>
                  <a:cxn ang="0">
                    <a:pos x="110" y="259"/>
                  </a:cxn>
                  <a:cxn ang="0">
                    <a:pos x="112" y="248"/>
                  </a:cxn>
                  <a:cxn ang="0">
                    <a:pos x="125" y="232"/>
                  </a:cxn>
                  <a:cxn ang="0">
                    <a:pos x="129" y="237"/>
                  </a:cxn>
                  <a:cxn ang="0">
                    <a:pos x="142" y="235"/>
                  </a:cxn>
                  <a:cxn ang="0">
                    <a:pos x="146" y="225"/>
                  </a:cxn>
                  <a:cxn ang="0">
                    <a:pos x="151" y="216"/>
                  </a:cxn>
                  <a:cxn ang="0">
                    <a:pos x="166" y="202"/>
                  </a:cxn>
                  <a:cxn ang="0">
                    <a:pos x="169" y="184"/>
                  </a:cxn>
                  <a:cxn ang="0">
                    <a:pos x="180" y="165"/>
                  </a:cxn>
                  <a:cxn ang="0">
                    <a:pos x="222" y="152"/>
                  </a:cxn>
                  <a:cxn ang="0">
                    <a:pos x="221" y="145"/>
                  </a:cxn>
                </a:cxnLst>
                <a:rect l="0" t="0" r="r" b="b"/>
                <a:pathLst>
                  <a:path w="222" h="268">
                    <a:moveTo>
                      <a:pt x="207" y="140"/>
                    </a:moveTo>
                    <a:lnTo>
                      <a:pt x="206" y="133"/>
                    </a:lnTo>
                    <a:lnTo>
                      <a:pt x="201" y="133"/>
                    </a:lnTo>
                    <a:lnTo>
                      <a:pt x="201" y="128"/>
                    </a:lnTo>
                    <a:lnTo>
                      <a:pt x="196" y="117"/>
                    </a:lnTo>
                    <a:lnTo>
                      <a:pt x="190" y="116"/>
                    </a:lnTo>
                    <a:lnTo>
                      <a:pt x="184" y="106"/>
                    </a:lnTo>
                    <a:lnTo>
                      <a:pt x="180" y="107"/>
                    </a:lnTo>
                    <a:lnTo>
                      <a:pt x="178" y="114"/>
                    </a:lnTo>
                    <a:lnTo>
                      <a:pt x="162" y="124"/>
                    </a:lnTo>
                    <a:lnTo>
                      <a:pt x="150" y="116"/>
                    </a:lnTo>
                    <a:lnTo>
                      <a:pt x="145" y="108"/>
                    </a:lnTo>
                    <a:lnTo>
                      <a:pt x="139" y="106"/>
                    </a:lnTo>
                    <a:lnTo>
                      <a:pt x="131" y="90"/>
                    </a:lnTo>
                    <a:lnTo>
                      <a:pt x="124" y="86"/>
                    </a:lnTo>
                    <a:lnTo>
                      <a:pt x="120" y="75"/>
                    </a:lnTo>
                    <a:lnTo>
                      <a:pt x="120" y="64"/>
                    </a:lnTo>
                    <a:lnTo>
                      <a:pt x="125" y="51"/>
                    </a:lnTo>
                    <a:lnTo>
                      <a:pt x="134" y="53"/>
                    </a:lnTo>
                    <a:lnTo>
                      <a:pt x="134" y="43"/>
                    </a:lnTo>
                    <a:lnTo>
                      <a:pt x="137" y="37"/>
                    </a:lnTo>
                    <a:lnTo>
                      <a:pt x="128" y="19"/>
                    </a:lnTo>
                    <a:lnTo>
                      <a:pt x="119" y="25"/>
                    </a:lnTo>
                    <a:lnTo>
                      <a:pt x="114" y="15"/>
                    </a:lnTo>
                    <a:lnTo>
                      <a:pt x="114" y="6"/>
                    </a:lnTo>
                    <a:lnTo>
                      <a:pt x="112" y="0"/>
                    </a:lnTo>
                    <a:lnTo>
                      <a:pt x="110" y="0"/>
                    </a:lnTo>
                    <a:lnTo>
                      <a:pt x="106" y="15"/>
                    </a:lnTo>
                    <a:lnTo>
                      <a:pt x="93" y="17"/>
                    </a:lnTo>
                    <a:lnTo>
                      <a:pt x="87" y="26"/>
                    </a:lnTo>
                    <a:lnTo>
                      <a:pt x="66" y="28"/>
                    </a:lnTo>
                    <a:lnTo>
                      <a:pt x="50" y="23"/>
                    </a:lnTo>
                    <a:lnTo>
                      <a:pt x="28" y="32"/>
                    </a:lnTo>
                    <a:lnTo>
                      <a:pt x="2" y="51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6" y="66"/>
                    </a:lnTo>
                    <a:lnTo>
                      <a:pt x="11" y="75"/>
                    </a:lnTo>
                    <a:lnTo>
                      <a:pt x="16" y="75"/>
                    </a:lnTo>
                    <a:lnTo>
                      <a:pt x="16" y="86"/>
                    </a:lnTo>
                    <a:lnTo>
                      <a:pt x="39" y="101"/>
                    </a:lnTo>
                    <a:lnTo>
                      <a:pt x="35" y="108"/>
                    </a:lnTo>
                    <a:lnTo>
                      <a:pt x="34" y="119"/>
                    </a:lnTo>
                    <a:lnTo>
                      <a:pt x="27" y="134"/>
                    </a:lnTo>
                    <a:lnTo>
                      <a:pt x="27" y="140"/>
                    </a:lnTo>
                    <a:lnTo>
                      <a:pt x="21" y="150"/>
                    </a:lnTo>
                    <a:lnTo>
                      <a:pt x="22" y="15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21" y="172"/>
                    </a:lnTo>
                    <a:lnTo>
                      <a:pt x="20" y="177"/>
                    </a:lnTo>
                    <a:lnTo>
                      <a:pt x="5" y="187"/>
                    </a:lnTo>
                    <a:lnTo>
                      <a:pt x="5" y="192"/>
                    </a:lnTo>
                    <a:lnTo>
                      <a:pt x="4" y="195"/>
                    </a:lnTo>
                    <a:lnTo>
                      <a:pt x="0" y="198"/>
                    </a:lnTo>
                    <a:lnTo>
                      <a:pt x="1" y="205"/>
                    </a:lnTo>
                    <a:lnTo>
                      <a:pt x="0" y="214"/>
                    </a:lnTo>
                    <a:lnTo>
                      <a:pt x="8" y="222"/>
                    </a:lnTo>
                    <a:lnTo>
                      <a:pt x="17" y="216"/>
                    </a:lnTo>
                    <a:lnTo>
                      <a:pt x="26" y="222"/>
                    </a:lnTo>
                    <a:lnTo>
                      <a:pt x="32" y="215"/>
                    </a:lnTo>
                    <a:lnTo>
                      <a:pt x="66" y="214"/>
                    </a:lnTo>
                    <a:lnTo>
                      <a:pt x="67" y="210"/>
                    </a:lnTo>
                    <a:lnTo>
                      <a:pt x="77" y="208"/>
                    </a:lnTo>
                    <a:lnTo>
                      <a:pt x="80" y="198"/>
                    </a:lnTo>
                    <a:lnTo>
                      <a:pt x="87" y="189"/>
                    </a:lnTo>
                    <a:lnTo>
                      <a:pt x="97" y="191"/>
                    </a:lnTo>
                    <a:lnTo>
                      <a:pt x="98" y="193"/>
                    </a:lnTo>
                    <a:lnTo>
                      <a:pt x="94" y="200"/>
                    </a:lnTo>
                    <a:lnTo>
                      <a:pt x="96" y="205"/>
                    </a:lnTo>
                    <a:lnTo>
                      <a:pt x="98" y="209"/>
                    </a:lnTo>
                    <a:lnTo>
                      <a:pt x="103" y="195"/>
                    </a:lnTo>
                    <a:lnTo>
                      <a:pt x="110" y="195"/>
                    </a:lnTo>
                    <a:lnTo>
                      <a:pt x="107" y="205"/>
                    </a:lnTo>
                    <a:lnTo>
                      <a:pt x="107" y="210"/>
                    </a:lnTo>
                    <a:lnTo>
                      <a:pt x="99" y="214"/>
                    </a:lnTo>
                    <a:lnTo>
                      <a:pt x="94" y="222"/>
                    </a:lnTo>
                    <a:lnTo>
                      <a:pt x="97" y="235"/>
                    </a:lnTo>
                    <a:lnTo>
                      <a:pt x="96" y="240"/>
                    </a:lnTo>
                    <a:lnTo>
                      <a:pt x="85" y="253"/>
                    </a:lnTo>
                    <a:lnTo>
                      <a:pt x="91" y="265"/>
                    </a:lnTo>
                    <a:lnTo>
                      <a:pt x="99" y="259"/>
                    </a:lnTo>
                    <a:lnTo>
                      <a:pt x="101" y="268"/>
                    </a:lnTo>
                    <a:lnTo>
                      <a:pt x="110" y="259"/>
                    </a:lnTo>
                    <a:lnTo>
                      <a:pt x="109" y="252"/>
                    </a:lnTo>
                    <a:lnTo>
                      <a:pt x="112" y="248"/>
                    </a:lnTo>
                    <a:lnTo>
                      <a:pt x="125" y="238"/>
                    </a:lnTo>
                    <a:lnTo>
                      <a:pt x="125" y="232"/>
                    </a:lnTo>
                    <a:lnTo>
                      <a:pt x="126" y="232"/>
                    </a:lnTo>
                    <a:lnTo>
                      <a:pt x="129" y="237"/>
                    </a:lnTo>
                    <a:lnTo>
                      <a:pt x="133" y="240"/>
                    </a:lnTo>
                    <a:lnTo>
                      <a:pt x="142" y="235"/>
                    </a:lnTo>
                    <a:lnTo>
                      <a:pt x="144" y="229"/>
                    </a:lnTo>
                    <a:lnTo>
                      <a:pt x="146" y="225"/>
                    </a:lnTo>
                    <a:lnTo>
                      <a:pt x="151" y="226"/>
                    </a:lnTo>
                    <a:lnTo>
                      <a:pt x="151" y="216"/>
                    </a:lnTo>
                    <a:lnTo>
                      <a:pt x="160" y="213"/>
                    </a:lnTo>
                    <a:lnTo>
                      <a:pt x="166" y="202"/>
                    </a:lnTo>
                    <a:lnTo>
                      <a:pt x="166" y="193"/>
                    </a:lnTo>
                    <a:lnTo>
                      <a:pt x="169" y="184"/>
                    </a:lnTo>
                    <a:lnTo>
                      <a:pt x="179" y="175"/>
                    </a:lnTo>
                    <a:lnTo>
                      <a:pt x="180" y="165"/>
                    </a:lnTo>
                    <a:lnTo>
                      <a:pt x="204" y="152"/>
                    </a:lnTo>
                    <a:lnTo>
                      <a:pt x="222" y="152"/>
                    </a:lnTo>
                    <a:lnTo>
                      <a:pt x="222" y="148"/>
                    </a:lnTo>
                    <a:lnTo>
                      <a:pt x="221" y="145"/>
                    </a:lnTo>
                    <a:lnTo>
                      <a:pt x="207" y="14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54" name="Freeform 228"/>
              <p:cNvSpPr>
                <a:spLocks noChangeAspect="1"/>
              </p:cNvSpPr>
              <p:nvPr/>
            </p:nvSpPr>
            <p:spPr bwMode="gray">
              <a:xfrm>
                <a:off x="3284" y="1036"/>
                <a:ext cx="99" cy="5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3" y="22"/>
                  </a:cxn>
                  <a:cxn ang="0">
                    <a:pos x="2" y="41"/>
                  </a:cxn>
                  <a:cxn ang="0">
                    <a:pos x="15" y="61"/>
                  </a:cxn>
                  <a:cxn ang="0">
                    <a:pos x="23" y="72"/>
                  </a:cxn>
                  <a:cxn ang="0">
                    <a:pos x="29" y="76"/>
                  </a:cxn>
                  <a:cxn ang="0">
                    <a:pos x="36" y="91"/>
                  </a:cxn>
                  <a:cxn ang="0">
                    <a:pos x="70" y="97"/>
                  </a:cxn>
                  <a:cxn ang="0">
                    <a:pos x="85" y="86"/>
                  </a:cxn>
                  <a:cxn ang="0">
                    <a:pos x="121" y="79"/>
                  </a:cxn>
                  <a:cxn ang="0">
                    <a:pos x="144" y="69"/>
                  </a:cxn>
                  <a:cxn ang="0">
                    <a:pos x="202" y="66"/>
                  </a:cxn>
                  <a:cxn ang="0">
                    <a:pos x="199" y="76"/>
                  </a:cxn>
                  <a:cxn ang="0">
                    <a:pos x="209" y="88"/>
                  </a:cxn>
                  <a:cxn ang="0">
                    <a:pos x="202" y="96"/>
                  </a:cxn>
                  <a:cxn ang="0">
                    <a:pos x="153" y="106"/>
                  </a:cxn>
                  <a:cxn ang="0">
                    <a:pos x="133" y="106"/>
                  </a:cxn>
                  <a:cxn ang="0">
                    <a:pos x="145" y="123"/>
                  </a:cxn>
                  <a:cxn ang="0">
                    <a:pos x="158" y="130"/>
                  </a:cxn>
                  <a:cxn ang="0">
                    <a:pos x="153" y="144"/>
                  </a:cxn>
                  <a:cxn ang="0">
                    <a:pos x="117" y="131"/>
                  </a:cxn>
                  <a:cxn ang="0">
                    <a:pos x="98" y="119"/>
                  </a:cxn>
                  <a:cxn ang="0">
                    <a:pos x="86" y="138"/>
                  </a:cxn>
                  <a:cxn ang="0">
                    <a:pos x="106" y="158"/>
                  </a:cxn>
                  <a:cxn ang="0">
                    <a:pos x="142" y="183"/>
                  </a:cxn>
                  <a:cxn ang="0">
                    <a:pos x="160" y="199"/>
                  </a:cxn>
                  <a:cxn ang="0">
                    <a:pos x="175" y="188"/>
                  </a:cxn>
                  <a:cxn ang="0">
                    <a:pos x="186" y="183"/>
                  </a:cxn>
                  <a:cxn ang="0">
                    <a:pos x="218" y="187"/>
                  </a:cxn>
                  <a:cxn ang="0">
                    <a:pos x="249" y="187"/>
                  </a:cxn>
                  <a:cxn ang="0">
                    <a:pos x="244" y="206"/>
                  </a:cxn>
                  <a:cxn ang="0">
                    <a:pos x="257" y="228"/>
                  </a:cxn>
                  <a:cxn ang="0">
                    <a:pos x="261" y="246"/>
                  </a:cxn>
                  <a:cxn ang="0">
                    <a:pos x="279" y="259"/>
                  </a:cxn>
                  <a:cxn ang="0">
                    <a:pos x="287" y="259"/>
                  </a:cxn>
                  <a:cxn ang="0">
                    <a:pos x="332" y="236"/>
                  </a:cxn>
                  <a:cxn ang="0">
                    <a:pos x="354" y="211"/>
                  </a:cxn>
                  <a:cxn ang="0">
                    <a:pos x="376" y="209"/>
                  </a:cxn>
                  <a:cxn ang="0">
                    <a:pos x="391" y="208"/>
                  </a:cxn>
                  <a:cxn ang="0">
                    <a:pos x="413" y="182"/>
                  </a:cxn>
                  <a:cxn ang="0">
                    <a:pos x="424" y="163"/>
                  </a:cxn>
                  <a:cxn ang="0">
                    <a:pos x="428" y="150"/>
                  </a:cxn>
                  <a:cxn ang="0">
                    <a:pos x="421" y="124"/>
                  </a:cxn>
                  <a:cxn ang="0">
                    <a:pos x="443" y="112"/>
                  </a:cxn>
                  <a:cxn ang="0">
                    <a:pos x="459" y="87"/>
                  </a:cxn>
                  <a:cxn ang="0">
                    <a:pos x="462" y="79"/>
                  </a:cxn>
                  <a:cxn ang="0">
                    <a:pos x="491" y="57"/>
                  </a:cxn>
                  <a:cxn ang="0">
                    <a:pos x="487" y="28"/>
                  </a:cxn>
                  <a:cxn ang="0">
                    <a:pos x="492" y="11"/>
                  </a:cxn>
                  <a:cxn ang="0">
                    <a:pos x="235" y="0"/>
                  </a:cxn>
                  <a:cxn ang="0">
                    <a:pos x="228" y="11"/>
                  </a:cxn>
                  <a:cxn ang="0">
                    <a:pos x="67" y="0"/>
                  </a:cxn>
                  <a:cxn ang="0">
                    <a:pos x="35" y="0"/>
                  </a:cxn>
                </a:cxnLst>
                <a:rect l="0" t="0" r="r" b="b"/>
                <a:pathLst>
                  <a:path w="496" h="260">
                    <a:moveTo>
                      <a:pt x="32" y="12"/>
                    </a:moveTo>
                    <a:lnTo>
                      <a:pt x="30" y="17"/>
                    </a:lnTo>
                    <a:lnTo>
                      <a:pt x="20" y="11"/>
                    </a:lnTo>
                    <a:lnTo>
                      <a:pt x="18" y="12"/>
                    </a:lnTo>
                    <a:lnTo>
                      <a:pt x="23" y="18"/>
                    </a:lnTo>
                    <a:lnTo>
                      <a:pt x="23" y="22"/>
                    </a:lnTo>
                    <a:lnTo>
                      <a:pt x="13" y="22"/>
                    </a:lnTo>
                    <a:lnTo>
                      <a:pt x="0" y="36"/>
                    </a:lnTo>
                    <a:lnTo>
                      <a:pt x="2" y="41"/>
                    </a:lnTo>
                    <a:lnTo>
                      <a:pt x="9" y="43"/>
                    </a:lnTo>
                    <a:lnTo>
                      <a:pt x="8" y="54"/>
                    </a:lnTo>
                    <a:lnTo>
                      <a:pt x="15" y="61"/>
                    </a:lnTo>
                    <a:lnTo>
                      <a:pt x="15" y="68"/>
                    </a:lnTo>
                    <a:lnTo>
                      <a:pt x="21" y="80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27" y="72"/>
                    </a:lnTo>
                    <a:lnTo>
                      <a:pt x="29" y="76"/>
                    </a:lnTo>
                    <a:lnTo>
                      <a:pt x="32" y="77"/>
                    </a:lnTo>
                    <a:lnTo>
                      <a:pt x="29" y="85"/>
                    </a:lnTo>
                    <a:lnTo>
                      <a:pt x="36" y="91"/>
                    </a:lnTo>
                    <a:lnTo>
                      <a:pt x="67" y="88"/>
                    </a:lnTo>
                    <a:lnTo>
                      <a:pt x="70" y="91"/>
                    </a:lnTo>
                    <a:lnTo>
                      <a:pt x="70" y="97"/>
                    </a:lnTo>
                    <a:lnTo>
                      <a:pt x="75" y="98"/>
                    </a:lnTo>
                    <a:lnTo>
                      <a:pt x="85" y="90"/>
                    </a:lnTo>
                    <a:lnTo>
                      <a:pt x="85" y="86"/>
                    </a:lnTo>
                    <a:lnTo>
                      <a:pt x="102" y="86"/>
                    </a:lnTo>
                    <a:lnTo>
                      <a:pt x="107" y="79"/>
                    </a:lnTo>
                    <a:lnTo>
                      <a:pt x="121" y="79"/>
                    </a:lnTo>
                    <a:lnTo>
                      <a:pt x="122" y="74"/>
                    </a:lnTo>
                    <a:lnTo>
                      <a:pt x="142" y="76"/>
                    </a:lnTo>
                    <a:lnTo>
                      <a:pt x="144" y="69"/>
                    </a:lnTo>
                    <a:lnTo>
                      <a:pt x="187" y="70"/>
                    </a:lnTo>
                    <a:lnTo>
                      <a:pt x="192" y="63"/>
                    </a:lnTo>
                    <a:lnTo>
                      <a:pt x="202" y="66"/>
                    </a:lnTo>
                    <a:lnTo>
                      <a:pt x="207" y="60"/>
                    </a:lnTo>
                    <a:lnTo>
                      <a:pt x="207" y="71"/>
                    </a:lnTo>
                    <a:lnTo>
                      <a:pt x="199" y="76"/>
                    </a:lnTo>
                    <a:lnTo>
                      <a:pt x="211" y="77"/>
                    </a:lnTo>
                    <a:lnTo>
                      <a:pt x="209" y="81"/>
                    </a:lnTo>
                    <a:lnTo>
                      <a:pt x="209" y="88"/>
                    </a:lnTo>
                    <a:lnTo>
                      <a:pt x="201" y="91"/>
                    </a:lnTo>
                    <a:lnTo>
                      <a:pt x="201" y="95"/>
                    </a:lnTo>
                    <a:lnTo>
                      <a:pt x="202" y="96"/>
                    </a:lnTo>
                    <a:lnTo>
                      <a:pt x="201" y="99"/>
                    </a:lnTo>
                    <a:lnTo>
                      <a:pt x="156" y="98"/>
                    </a:lnTo>
                    <a:lnTo>
                      <a:pt x="153" y="106"/>
                    </a:lnTo>
                    <a:lnTo>
                      <a:pt x="149" y="104"/>
                    </a:lnTo>
                    <a:lnTo>
                      <a:pt x="149" y="98"/>
                    </a:lnTo>
                    <a:lnTo>
                      <a:pt x="133" y="106"/>
                    </a:lnTo>
                    <a:lnTo>
                      <a:pt x="136" y="112"/>
                    </a:lnTo>
                    <a:lnTo>
                      <a:pt x="132" y="118"/>
                    </a:lnTo>
                    <a:lnTo>
                      <a:pt x="145" y="123"/>
                    </a:lnTo>
                    <a:lnTo>
                      <a:pt x="147" y="128"/>
                    </a:lnTo>
                    <a:lnTo>
                      <a:pt x="156" y="127"/>
                    </a:lnTo>
                    <a:lnTo>
                      <a:pt x="158" y="130"/>
                    </a:lnTo>
                    <a:lnTo>
                      <a:pt x="158" y="135"/>
                    </a:lnTo>
                    <a:lnTo>
                      <a:pt x="161" y="140"/>
                    </a:lnTo>
                    <a:lnTo>
                      <a:pt x="153" y="144"/>
                    </a:lnTo>
                    <a:lnTo>
                      <a:pt x="144" y="135"/>
                    </a:lnTo>
                    <a:lnTo>
                      <a:pt x="118" y="138"/>
                    </a:lnTo>
                    <a:lnTo>
                      <a:pt x="117" y="131"/>
                    </a:lnTo>
                    <a:lnTo>
                      <a:pt x="112" y="130"/>
                    </a:lnTo>
                    <a:lnTo>
                      <a:pt x="112" y="124"/>
                    </a:lnTo>
                    <a:lnTo>
                      <a:pt x="98" y="119"/>
                    </a:lnTo>
                    <a:lnTo>
                      <a:pt x="85" y="128"/>
                    </a:lnTo>
                    <a:lnTo>
                      <a:pt x="84" y="131"/>
                    </a:lnTo>
                    <a:lnTo>
                      <a:pt x="86" y="138"/>
                    </a:lnTo>
                    <a:lnTo>
                      <a:pt x="94" y="145"/>
                    </a:lnTo>
                    <a:lnTo>
                      <a:pt x="96" y="154"/>
                    </a:lnTo>
                    <a:lnTo>
                      <a:pt x="106" y="158"/>
                    </a:lnTo>
                    <a:lnTo>
                      <a:pt x="115" y="172"/>
                    </a:lnTo>
                    <a:lnTo>
                      <a:pt x="139" y="174"/>
                    </a:lnTo>
                    <a:lnTo>
                      <a:pt x="142" y="183"/>
                    </a:lnTo>
                    <a:lnTo>
                      <a:pt x="142" y="194"/>
                    </a:lnTo>
                    <a:lnTo>
                      <a:pt x="150" y="203"/>
                    </a:lnTo>
                    <a:lnTo>
                      <a:pt x="160" y="199"/>
                    </a:lnTo>
                    <a:lnTo>
                      <a:pt x="161" y="199"/>
                    </a:lnTo>
                    <a:lnTo>
                      <a:pt x="161" y="194"/>
                    </a:lnTo>
                    <a:lnTo>
                      <a:pt x="175" y="188"/>
                    </a:lnTo>
                    <a:lnTo>
                      <a:pt x="181" y="195"/>
                    </a:lnTo>
                    <a:lnTo>
                      <a:pt x="182" y="183"/>
                    </a:lnTo>
                    <a:lnTo>
                      <a:pt x="186" y="183"/>
                    </a:lnTo>
                    <a:lnTo>
                      <a:pt x="187" y="190"/>
                    </a:lnTo>
                    <a:lnTo>
                      <a:pt x="203" y="199"/>
                    </a:lnTo>
                    <a:lnTo>
                      <a:pt x="218" y="187"/>
                    </a:lnTo>
                    <a:lnTo>
                      <a:pt x="241" y="195"/>
                    </a:lnTo>
                    <a:lnTo>
                      <a:pt x="246" y="192"/>
                    </a:lnTo>
                    <a:lnTo>
                      <a:pt x="249" y="187"/>
                    </a:lnTo>
                    <a:lnTo>
                      <a:pt x="250" y="188"/>
                    </a:lnTo>
                    <a:lnTo>
                      <a:pt x="249" y="198"/>
                    </a:lnTo>
                    <a:lnTo>
                      <a:pt x="244" y="206"/>
                    </a:lnTo>
                    <a:lnTo>
                      <a:pt x="246" y="224"/>
                    </a:lnTo>
                    <a:lnTo>
                      <a:pt x="254" y="232"/>
                    </a:lnTo>
                    <a:lnTo>
                      <a:pt x="257" y="228"/>
                    </a:lnTo>
                    <a:lnTo>
                      <a:pt x="255" y="236"/>
                    </a:lnTo>
                    <a:lnTo>
                      <a:pt x="263" y="243"/>
                    </a:lnTo>
                    <a:lnTo>
                      <a:pt x="261" y="246"/>
                    </a:lnTo>
                    <a:lnTo>
                      <a:pt x="262" y="249"/>
                    </a:lnTo>
                    <a:lnTo>
                      <a:pt x="278" y="253"/>
                    </a:lnTo>
                    <a:lnTo>
                      <a:pt x="279" y="259"/>
                    </a:lnTo>
                    <a:lnTo>
                      <a:pt x="283" y="260"/>
                    </a:lnTo>
                    <a:lnTo>
                      <a:pt x="287" y="254"/>
                    </a:lnTo>
                    <a:lnTo>
                      <a:pt x="287" y="259"/>
                    </a:lnTo>
                    <a:lnTo>
                      <a:pt x="315" y="255"/>
                    </a:lnTo>
                    <a:lnTo>
                      <a:pt x="328" y="247"/>
                    </a:lnTo>
                    <a:lnTo>
                      <a:pt x="332" y="236"/>
                    </a:lnTo>
                    <a:lnTo>
                      <a:pt x="333" y="221"/>
                    </a:lnTo>
                    <a:lnTo>
                      <a:pt x="337" y="217"/>
                    </a:lnTo>
                    <a:lnTo>
                      <a:pt x="354" y="211"/>
                    </a:lnTo>
                    <a:lnTo>
                      <a:pt x="367" y="199"/>
                    </a:lnTo>
                    <a:lnTo>
                      <a:pt x="376" y="204"/>
                    </a:lnTo>
                    <a:lnTo>
                      <a:pt x="376" y="209"/>
                    </a:lnTo>
                    <a:lnTo>
                      <a:pt x="379" y="211"/>
                    </a:lnTo>
                    <a:lnTo>
                      <a:pt x="385" y="204"/>
                    </a:lnTo>
                    <a:lnTo>
                      <a:pt x="391" y="208"/>
                    </a:lnTo>
                    <a:lnTo>
                      <a:pt x="405" y="194"/>
                    </a:lnTo>
                    <a:lnTo>
                      <a:pt x="414" y="188"/>
                    </a:lnTo>
                    <a:lnTo>
                      <a:pt x="413" y="182"/>
                    </a:lnTo>
                    <a:lnTo>
                      <a:pt x="418" y="174"/>
                    </a:lnTo>
                    <a:lnTo>
                      <a:pt x="417" y="166"/>
                    </a:lnTo>
                    <a:lnTo>
                      <a:pt x="424" y="163"/>
                    </a:lnTo>
                    <a:lnTo>
                      <a:pt x="425" y="156"/>
                    </a:lnTo>
                    <a:lnTo>
                      <a:pt x="425" y="150"/>
                    </a:lnTo>
                    <a:lnTo>
                      <a:pt x="428" y="150"/>
                    </a:lnTo>
                    <a:lnTo>
                      <a:pt x="427" y="142"/>
                    </a:lnTo>
                    <a:lnTo>
                      <a:pt x="422" y="140"/>
                    </a:lnTo>
                    <a:lnTo>
                      <a:pt x="421" y="124"/>
                    </a:lnTo>
                    <a:lnTo>
                      <a:pt x="433" y="114"/>
                    </a:lnTo>
                    <a:lnTo>
                      <a:pt x="434" y="109"/>
                    </a:lnTo>
                    <a:lnTo>
                      <a:pt x="443" y="112"/>
                    </a:lnTo>
                    <a:lnTo>
                      <a:pt x="448" y="98"/>
                    </a:lnTo>
                    <a:lnTo>
                      <a:pt x="455" y="99"/>
                    </a:lnTo>
                    <a:lnTo>
                      <a:pt x="459" y="87"/>
                    </a:lnTo>
                    <a:lnTo>
                      <a:pt x="465" y="86"/>
                    </a:lnTo>
                    <a:lnTo>
                      <a:pt x="462" y="84"/>
                    </a:lnTo>
                    <a:lnTo>
                      <a:pt x="462" y="79"/>
                    </a:lnTo>
                    <a:lnTo>
                      <a:pt x="472" y="66"/>
                    </a:lnTo>
                    <a:lnTo>
                      <a:pt x="473" y="60"/>
                    </a:lnTo>
                    <a:lnTo>
                      <a:pt x="491" y="57"/>
                    </a:lnTo>
                    <a:lnTo>
                      <a:pt x="494" y="44"/>
                    </a:lnTo>
                    <a:lnTo>
                      <a:pt x="496" y="37"/>
                    </a:lnTo>
                    <a:lnTo>
                      <a:pt x="487" y="28"/>
                    </a:lnTo>
                    <a:lnTo>
                      <a:pt x="488" y="26"/>
                    </a:lnTo>
                    <a:lnTo>
                      <a:pt x="487" y="21"/>
                    </a:lnTo>
                    <a:lnTo>
                      <a:pt x="492" y="11"/>
                    </a:lnTo>
                    <a:lnTo>
                      <a:pt x="491" y="4"/>
                    </a:lnTo>
                    <a:lnTo>
                      <a:pt x="492" y="0"/>
                    </a:lnTo>
                    <a:lnTo>
                      <a:pt x="235" y="0"/>
                    </a:lnTo>
                    <a:lnTo>
                      <a:pt x="235" y="4"/>
                    </a:lnTo>
                    <a:lnTo>
                      <a:pt x="230" y="2"/>
                    </a:lnTo>
                    <a:lnTo>
                      <a:pt x="228" y="11"/>
                    </a:lnTo>
                    <a:lnTo>
                      <a:pt x="222" y="5"/>
                    </a:lnTo>
                    <a:lnTo>
                      <a:pt x="219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6" y="0"/>
                    </a:lnTo>
                    <a:lnTo>
                      <a:pt x="35" y="0"/>
                    </a:lnTo>
                    <a:lnTo>
                      <a:pt x="31" y="6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23" name="Freeform 229"/>
            <p:cNvSpPr>
              <a:spLocks noChangeAspect="1"/>
            </p:cNvSpPr>
            <p:nvPr/>
          </p:nvSpPr>
          <p:spPr bwMode="gray">
            <a:xfrm>
              <a:off x="2618970" y="3116955"/>
              <a:ext cx="5283" cy="528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22"/>
                </a:cxn>
                <a:cxn ang="0">
                  <a:pos x="2" y="0"/>
                </a:cxn>
                <a:cxn ang="0">
                  <a:pos x="0" y="10"/>
                </a:cxn>
                <a:cxn ang="0">
                  <a:pos x="0" y="13"/>
                </a:cxn>
                <a:cxn ang="0">
                  <a:pos x="1" y="15"/>
                </a:cxn>
                <a:cxn ang="0">
                  <a:pos x="13" y="13"/>
                </a:cxn>
                <a:cxn ang="0">
                  <a:pos x="19" y="10"/>
                </a:cxn>
                <a:cxn ang="0">
                  <a:pos x="19" y="6"/>
                </a:cxn>
                <a:cxn ang="0">
                  <a:pos x="8" y="0"/>
                </a:cxn>
                <a:cxn ang="0">
                  <a:pos x="3" y="0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lnTo>
                    <a:pt x="3" y="22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13" y="13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4" name="Freeform 230"/>
            <p:cNvSpPr>
              <a:spLocks noChangeAspect="1"/>
            </p:cNvSpPr>
            <p:nvPr/>
          </p:nvSpPr>
          <p:spPr bwMode="gray">
            <a:xfrm>
              <a:off x="2900288" y="2637526"/>
              <a:ext cx="38302" cy="36981"/>
            </a:xfrm>
            <a:custGeom>
              <a:avLst/>
              <a:gdLst/>
              <a:ahLst/>
              <a:cxnLst>
                <a:cxn ang="0">
                  <a:pos x="82" y="27"/>
                </a:cxn>
                <a:cxn ang="0">
                  <a:pos x="96" y="46"/>
                </a:cxn>
                <a:cxn ang="0">
                  <a:pos x="118" y="55"/>
                </a:cxn>
                <a:cxn ang="0">
                  <a:pos x="128" y="70"/>
                </a:cxn>
                <a:cxn ang="0">
                  <a:pos x="137" y="68"/>
                </a:cxn>
                <a:cxn ang="0">
                  <a:pos x="141" y="90"/>
                </a:cxn>
                <a:cxn ang="0">
                  <a:pos x="130" y="87"/>
                </a:cxn>
                <a:cxn ang="0">
                  <a:pos x="123" y="82"/>
                </a:cxn>
                <a:cxn ang="0">
                  <a:pos x="107" y="81"/>
                </a:cxn>
                <a:cxn ang="0">
                  <a:pos x="97" y="92"/>
                </a:cxn>
                <a:cxn ang="0">
                  <a:pos x="110" y="101"/>
                </a:cxn>
                <a:cxn ang="0">
                  <a:pos x="118" y="112"/>
                </a:cxn>
                <a:cxn ang="0">
                  <a:pos x="129" y="113"/>
                </a:cxn>
                <a:cxn ang="0">
                  <a:pos x="128" y="138"/>
                </a:cxn>
                <a:cxn ang="0">
                  <a:pos x="121" y="140"/>
                </a:cxn>
                <a:cxn ang="0">
                  <a:pos x="110" y="133"/>
                </a:cxn>
                <a:cxn ang="0">
                  <a:pos x="110" y="122"/>
                </a:cxn>
                <a:cxn ang="0">
                  <a:pos x="97" y="128"/>
                </a:cxn>
                <a:cxn ang="0">
                  <a:pos x="75" y="98"/>
                </a:cxn>
                <a:cxn ang="0">
                  <a:pos x="31" y="76"/>
                </a:cxn>
                <a:cxn ang="0">
                  <a:pos x="24" y="62"/>
                </a:cxn>
                <a:cxn ang="0">
                  <a:pos x="10" y="50"/>
                </a:cxn>
                <a:cxn ang="0">
                  <a:pos x="8" y="39"/>
                </a:cxn>
                <a:cxn ang="0">
                  <a:pos x="4" y="33"/>
                </a:cxn>
                <a:cxn ang="0">
                  <a:pos x="4" y="26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5" y="0"/>
                </a:cxn>
                <a:cxn ang="0">
                  <a:pos x="49" y="9"/>
                </a:cxn>
                <a:cxn ang="0">
                  <a:pos x="58" y="5"/>
                </a:cxn>
                <a:cxn ang="0">
                  <a:pos x="75" y="15"/>
                </a:cxn>
                <a:cxn ang="0">
                  <a:pos x="82" y="27"/>
                </a:cxn>
              </a:cxnLst>
              <a:rect l="0" t="0" r="r" b="b"/>
              <a:pathLst>
                <a:path w="141" h="140">
                  <a:moveTo>
                    <a:pt x="82" y="27"/>
                  </a:moveTo>
                  <a:lnTo>
                    <a:pt x="96" y="46"/>
                  </a:lnTo>
                  <a:lnTo>
                    <a:pt x="118" y="55"/>
                  </a:lnTo>
                  <a:lnTo>
                    <a:pt x="128" y="70"/>
                  </a:lnTo>
                  <a:lnTo>
                    <a:pt x="137" y="68"/>
                  </a:lnTo>
                  <a:lnTo>
                    <a:pt x="141" y="90"/>
                  </a:lnTo>
                  <a:lnTo>
                    <a:pt x="130" y="87"/>
                  </a:lnTo>
                  <a:lnTo>
                    <a:pt x="123" y="82"/>
                  </a:lnTo>
                  <a:lnTo>
                    <a:pt x="107" y="81"/>
                  </a:lnTo>
                  <a:lnTo>
                    <a:pt x="97" y="92"/>
                  </a:lnTo>
                  <a:lnTo>
                    <a:pt x="110" y="101"/>
                  </a:lnTo>
                  <a:lnTo>
                    <a:pt x="118" y="112"/>
                  </a:lnTo>
                  <a:lnTo>
                    <a:pt x="129" y="113"/>
                  </a:lnTo>
                  <a:lnTo>
                    <a:pt x="128" y="138"/>
                  </a:lnTo>
                  <a:lnTo>
                    <a:pt x="121" y="140"/>
                  </a:lnTo>
                  <a:lnTo>
                    <a:pt x="110" y="133"/>
                  </a:lnTo>
                  <a:lnTo>
                    <a:pt x="110" y="122"/>
                  </a:lnTo>
                  <a:lnTo>
                    <a:pt x="97" y="128"/>
                  </a:lnTo>
                  <a:lnTo>
                    <a:pt x="75" y="98"/>
                  </a:lnTo>
                  <a:lnTo>
                    <a:pt x="31" y="76"/>
                  </a:lnTo>
                  <a:lnTo>
                    <a:pt x="24" y="62"/>
                  </a:lnTo>
                  <a:lnTo>
                    <a:pt x="10" y="50"/>
                  </a:lnTo>
                  <a:lnTo>
                    <a:pt x="8" y="39"/>
                  </a:lnTo>
                  <a:lnTo>
                    <a:pt x="4" y="33"/>
                  </a:lnTo>
                  <a:lnTo>
                    <a:pt x="4" y="26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5" y="0"/>
                  </a:lnTo>
                  <a:lnTo>
                    <a:pt x="49" y="9"/>
                  </a:lnTo>
                  <a:lnTo>
                    <a:pt x="58" y="5"/>
                  </a:lnTo>
                  <a:lnTo>
                    <a:pt x="75" y="15"/>
                  </a:lnTo>
                  <a:lnTo>
                    <a:pt x="82" y="27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5" name="Freeform 231"/>
            <p:cNvSpPr>
              <a:spLocks noChangeAspect="1"/>
            </p:cNvSpPr>
            <p:nvPr/>
          </p:nvSpPr>
          <p:spPr bwMode="gray">
            <a:xfrm>
              <a:off x="2850100" y="2723374"/>
              <a:ext cx="38302" cy="26415"/>
            </a:xfrm>
            <a:custGeom>
              <a:avLst/>
              <a:gdLst/>
              <a:ahLst/>
              <a:cxnLst>
                <a:cxn ang="0">
                  <a:pos x="144" y="31"/>
                </a:cxn>
                <a:cxn ang="0">
                  <a:pos x="144" y="51"/>
                </a:cxn>
                <a:cxn ang="0">
                  <a:pos x="146" y="69"/>
                </a:cxn>
                <a:cxn ang="0">
                  <a:pos x="134" y="78"/>
                </a:cxn>
                <a:cxn ang="0">
                  <a:pos x="123" y="79"/>
                </a:cxn>
                <a:cxn ang="0">
                  <a:pos x="116" y="76"/>
                </a:cxn>
                <a:cxn ang="0">
                  <a:pos x="112" y="86"/>
                </a:cxn>
                <a:cxn ang="0">
                  <a:pos x="94" y="80"/>
                </a:cxn>
                <a:cxn ang="0">
                  <a:pos x="76" y="87"/>
                </a:cxn>
                <a:cxn ang="0">
                  <a:pos x="32" y="98"/>
                </a:cxn>
                <a:cxn ang="0">
                  <a:pos x="10" y="102"/>
                </a:cxn>
                <a:cxn ang="0">
                  <a:pos x="0" y="100"/>
                </a:cxn>
                <a:cxn ang="0">
                  <a:pos x="1" y="82"/>
                </a:cxn>
                <a:cxn ang="0">
                  <a:pos x="4" y="70"/>
                </a:cxn>
                <a:cxn ang="0">
                  <a:pos x="25" y="58"/>
                </a:cxn>
                <a:cxn ang="0">
                  <a:pos x="46" y="39"/>
                </a:cxn>
                <a:cxn ang="0">
                  <a:pos x="51" y="33"/>
                </a:cxn>
                <a:cxn ang="0">
                  <a:pos x="91" y="22"/>
                </a:cxn>
                <a:cxn ang="0">
                  <a:pos x="105" y="9"/>
                </a:cxn>
                <a:cxn ang="0">
                  <a:pos x="118" y="0"/>
                </a:cxn>
                <a:cxn ang="0">
                  <a:pos x="123" y="8"/>
                </a:cxn>
                <a:cxn ang="0">
                  <a:pos x="140" y="22"/>
                </a:cxn>
                <a:cxn ang="0">
                  <a:pos x="144" y="31"/>
                </a:cxn>
              </a:cxnLst>
              <a:rect l="0" t="0" r="r" b="b"/>
              <a:pathLst>
                <a:path w="146" h="102">
                  <a:moveTo>
                    <a:pt x="144" y="31"/>
                  </a:moveTo>
                  <a:lnTo>
                    <a:pt x="144" y="51"/>
                  </a:lnTo>
                  <a:lnTo>
                    <a:pt x="146" y="69"/>
                  </a:lnTo>
                  <a:lnTo>
                    <a:pt x="134" y="78"/>
                  </a:lnTo>
                  <a:lnTo>
                    <a:pt x="123" y="79"/>
                  </a:lnTo>
                  <a:lnTo>
                    <a:pt x="116" y="76"/>
                  </a:lnTo>
                  <a:lnTo>
                    <a:pt x="112" y="86"/>
                  </a:lnTo>
                  <a:lnTo>
                    <a:pt x="94" y="80"/>
                  </a:lnTo>
                  <a:lnTo>
                    <a:pt x="76" y="87"/>
                  </a:lnTo>
                  <a:lnTo>
                    <a:pt x="32" y="98"/>
                  </a:lnTo>
                  <a:lnTo>
                    <a:pt x="10" y="102"/>
                  </a:lnTo>
                  <a:lnTo>
                    <a:pt x="0" y="100"/>
                  </a:lnTo>
                  <a:lnTo>
                    <a:pt x="1" y="82"/>
                  </a:lnTo>
                  <a:lnTo>
                    <a:pt x="4" y="70"/>
                  </a:lnTo>
                  <a:lnTo>
                    <a:pt x="25" y="58"/>
                  </a:lnTo>
                  <a:lnTo>
                    <a:pt x="46" y="39"/>
                  </a:lnTo>
                  <a:lnTo>
                    <a:pt x="51" y="33"/>
                  </a:lnTo>
                  <a:lnTo>
                    <a:pt x="91" y="22"/>
                  </a:lnTo>
                  <a:lnTo>
                    <a:pt x="105" y="9"/>
                  </a:lnTo>
                  <a:lnTo>
                    <a:pt x="118" y="0"/>
                  </a:lnTo>
                  <a:lnTo>
                    <a:pt x="123" y="8"/>
                  </a:lnTo>
                  <a:lnTo>
                    <a:pt x="140" y="22"/>
                  </a:lnTo>
                  <a:lnTo>
                    <a:pt x="144" y="31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6" name="Freeform 232"/>
            <p:cNvSpPr>
              <a:spLocks noChangeAspect="1"/>
            </p:cNvSpPr>
            <p:nvPr/>
          </p:nvSpPr>
          <p:spPr bwMode="gray">
            <a:xfrm>
              <a:off x="2620291" y="3112993"/>
              <a:ext cx="11887" cy="3962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1" y="6"/>
                </a:cxn>
                <a:cxn ang="0">
                  <a:pos x="14" y="0"/>
                </a:cxn>
                <a:cxn ang="0">
                  <a:pos x="5" y="0"/>
                </a:cxn>
                <a:cxn ang="0">
                  <a:pos x="0" y="3"/>
                </a:cxn>
                <a:cxn ang="0">
                  <a:pos x="1" y="9"/>
                </a:cxn>
                <a:cxn ang="0">
                  <a:pos x="6" y="15"/>
                </a:cxn>
                <a:cxn ang="0">
                  <a:pos x="15" y="15"/>
                </a:cxn>
                <a:cxn ang="0">
                  <a:pos x="25" y="15"/>
                </a:cxn>
                <a:cxn ang="0">
                  <a:pos x="25" y="10"/>
                </a:cxn>
                <a:cxn ang="0">
                  <a:pos x="27" y="6"/>
                </a:cxn>
                <a:cxn ang="0">
                  <a:pos x="41" y="7"/>
                </a:cxn>
                <a:cxn ang="0">
                  <a:pos x="44" y="4"/>
                </a:cxn>
              </a:cxnLst>
              <a:rect l="0" t="0" r="r" b="b"/>
              <a:pathLst>
                <a:path w="44" h="15">
                  <a:moveTo>
                    <a:pt x="44" y="4"/>
                  </a:moveTo>
                  <a:lnTo>
                    <a:pt x="41" y="6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9"/>
                  </a:lnTo>
                  <a:lnTo>
                    <a:pt x="6" y="15"/>
                  </a:lnTo>
                  <a:lnTo>
                    <a:pt x="15" y="15"/>
                  </a:lnTo>
                  <a:lnTo>
                    <a:pt x="25" y="15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41" y="7"/>
                  </a:lnTo>
                  <a:lnTo>
                    <a:pt x="44" y="4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7" name="Freeform 233"/>
            <p:cNvSpPr>
              <a:spLocks noChangeAspect="1"/>
            </p:cNvSpPr>
            <p:nvPr/>
          </p:nvSpPr>
          <p:spPr bwMode="gray">
            <a:xfrm>
              <a:off x="2200295" y="2187153"/>
              <a:ext cx="801690" cy="927160"/>
            </a:xfrm>
            <a:custGeom>
              <a:avLst/>
              <a:gdLst/>
              <a:ahLst/>
              <a:cxnLst>
                <a:cxn ang="0">
                  <a:pos x="334" y="269"/>
                </a:cxn>
                <a:cxn ang="0">
                  <a:pos x="56" y="423"/>
                </a:cxn>
                <a:cxn ang="0">
                  <a:pos x="87" y="620"/>
                </a:cxn>
                <a:cxn ang="0">
                  <a:pos x="345" y="649"/>
                </a:cxn>
                <a:cxn ang="0">
                  <a:pos x="370" y="802"/>
                </a:cxn>
                <a:cxn ang="0">
                  <a:pos x="203" y="910"/>
                </a:cxn>
                <a:cxn ang="0">
                  <a:pos x="382" y="1005"/>
                </a:cxn>
                <a:cxn ang="0">
                  <a:pos x="663" y="1060"/>
                </a:cxn>
                <a:cxn ang="0">
                  <a:pos x="789" y="1212"/>
                </a:cxn>
                <a:cxn ang="0">
                  <a:pos x="914" y="1457"/>
                </a:cxn>
                <a:cxn ang="0">
                  <a:pos x="957" y="1666"/>
                </a:cxn>
                <a:cxn ang="0">
                  <a:pos x="946" y="1937"/>
                </a:cxn>
                <a:cxn ang="0">
                  <a:pos x="1155" y="1924"/>
                </a:cxn>
                <a:cxn ang="0">
                  <a:pos x="1212" y="2100"/>
                </a:cxn>
                <a:cxn ang="0">
                  <a:pos x="1198" y="2196"/>
                </a:cxn>
                <a:cxn ang="0">
                  <a:pos x="1193" y="2371"/>
                </a:cxn>
                <a:cxn ang="0">
                  <a:pos x="1189" y="2458"/>
                </a:cxn>
                <a:cxn ang="0">
                  <a:pos x="1066" y="2539"/>
                </a:cxn>
                <a:cxn ang="0">
                  <a:pos x="1064" y="2750"/>
                </a:cxn>
                <a:cxn ang="0">
                  <a:pos x="1125" y="2895"/>
                </a:cxn>
                <a:cxn ang="0">
                  <a:pos x="1211" y="2960"/>
                </a:cxn>
                <a:cxn ang="0">
                  <a:pos x="1195" y="3116"/>
                </a:cxn>
                <a:cxn ang="0">
                  <a:pos x="1279" y="3272"/>
                </a:cxn>
                <a:cxn ang="0">
                  <a:pos x="1338" y="3337"/>
                </a:cxn>
                <a:cxn ang="0">
                  <a:pos x="1363" y="3416"/>
                </a:cxn>
                <a:cxn ang="0">
                  <a:pos x="1470" y="3433"/>
                </a:cxn>
                <a:cxn ang="0">
                  <a:pos x="1537" y="3452"/>
                </a:cxn>
                <a:cxn ang="0">
                  <a:pos x="1629" y="3467"/>
                </a:cxn>
                <a:cxn ang="0">
                  <a:pos x="1687" y="3305"/>
                </a:cxn>
                <a:cxn ang="0">
                  <a:pos x="1689" y="3152"/>
                </a:cxn>
                <a:cxn ang="0">
                  <a:pos x="1764" y="3101"/>
                </a:cxn>
                <a:cxn ang="0">
                  <a:pos x="1753" y="2943"/>
                </a:cxn>
                <a:cxn ang="0">
                  <a:pos x="1812" y="2852"/>
                </a:cxn>
                <a:cxn ang="0">
                  <a:pos x="1901" y="2792"/>
                </a:cxn>
                <a:cxn ang="0">
                  <a:pos x="1930" y="2799"/>
                </a:cxn>
                <a:cxn ang="0">
                  <a:pos x="2028" y="2774"/>
                </a:cxn>
                <a:cxn ang="0">
                  <a:pos x="2118" y="2690"/>
                </a:cxn>
                <a:cxn ang="0">
                  <a:pos x="2174" y="2551"/>
                </a:cxn>
                <a:cxn ang="0">
                  <a:pos x="2221" y="2438"/>
                </a:cxn>
                <a:cxn ang="0">
                  <a:pos x="2324" y="2497"/>
                </a:cxn>
                <a:cxn ang="0">
                  <a:pos x="2398" y="2454"/>
                </a:cxn>
                <a:cxn ang="0">
                  <a:pos x="2533" y="2404"/>
                </a:cxn>
                <a:cxn ang="0">
                  <a:pos x="2608" y="2324"/>
                </a:cxn>
                <a:cxn ang="0">
                  <a:pos x="2693" y="2260"/>
                </a:cxn>
                <a:cxn ang="0">
                  <a:pos x="2744" y="2191"/>
                </a:cxn>
                <a:cxn ang="0">
                  <a:pos x="2518" y="2132"/>
                </a:cxn>
                <a:cxn ang="0">
                  <a:pos x="2535" y="1960"/>
                </a:cxn>
                <a:cxn ang="0">
                  <a:pos x="2675" y="2082"/>
                </a:cxn>
                <a:cxn ang="0">
                  <a:pos x="2798" y="2021"/>
                </a:cxn>
                <a:cxn ang="0">
                  <a:pos x="2734" y="1919"/>
                </a:cxn>
                <a:cxn ang="0">
                  <a:pos x="2637" y="1764"/>
                </a:cxn>
                <a:cxn ang="0">
                  <a:pos x="2526" y="1666"/>
                </a:cxn>
                <a:cxn ang="0">
                  <a:pos x="2780" y="1635"/>
                </a:cxn>
                <a:cxn ang="0">
                  <a:pos x="2761" y="1433"/>
                </a:cxn>
                <a:cxn ang="0">
                  <a:pos x="2855" y="1350"/>
                </a:cxn>
                <a:cxn ang="0">
                  <a:pos x="2914" y="1260"/>
                </a:cxn>
                <a:cxn ang="0">
                  <a:pos x="2866" y="1034"/>
                </a:cxn>
                <a:cxn ang="0">
                  <a:pos x="2763" y="931"/>
                </a:cxn>
                <a:cxn ang="0">
                  <a:pos x="3000" y="845"/>
                </a:cxn>
                <a:cxn ang="0">
                  <a:pos x="2868" y="650"/>
                </a:cxn>
                <a:cxn ang="0">
                  <a:pos x="2831" y="472"/>
                </a:cxn>
                <a:cxn ang="0">
                  <a:pos x="2931" y="232"/>
                </a:cxn>
                <a:cxn ang="0">
                  <a:pos x="3035" y="0"/>
                </a:cxn>
              </a:cxnLst>
              <a:rect l="0" t="0" r="r" b="b"/>
              <a:pathLst>
                <a:path w="3035" h="3510">
                  <a:moveTo>
                    <a:pt x="430" y="18"/>
                  </a:moveTo>
                  <a:lnTo>
                    <a:pt x="443" y="28"/>
                  </a:lnTo>
                  <a:lnTo>
                    <a:pt x="454" y="26"/>
                  </a:lnTo>
                  <a:lnTo>
                    <a:pt x="467" y="50"/>
                  </a:lnTo>
                  <a:lnTo>
                    <a:pt x="458" y="63"/>
                  </a:lnTo>
                  <a:lnTo>
                    <a:pt x="442" y="66"/>
                  </a:lnTo>
                  <a:lnTo>
                    <a:pt x="427" y="63"/>
                  </a:lnTo>
                  <a:lnTo>
                    <a:pt x="420" y="93"/>
                  </a:lnTo>
                  <a:lnTo>
                    <a:pt x="430" y="101"/>
                  </a:lnTo>
                  <a:lnTo>
                    <a:pt x="438" y="117"/>
                  </a:lnTo>
                  <a:lnTo>
                    <a:pt x="442" y="131"/>
                  </a:lnTo>
                  <a:lnTo>
                    <a:pt x="442" y="147"/>
                  </a:lnTo>
                  <a:lnTo>
                    <a:pt x="443" y="157"/>
                  </a:lnTo>
                  <a:lnTo>
                    <a:pt x="424" y="183"/>
                  </a:lnTo>
                  <a:lnTo>
                    <a:pt x="416" y="204"/>
                  </a:lnTo>
                  <a:lnTo>
                    <a:pt x="406" y="212"/>
                  </a:lnTo>
                  <a:lnTo>
                    <a:pt x="382" y="255"/>
                  </a:lnTo>
                  <a:lnTo>
                    <a:pt x="377" y="276"/>
                  </a:lnTo>
                  <a:lnTo>
                    <a:pt x="368" y="283"/>
                  </a:lnTo>
                  <a:lnTo>
                    <a:pt x="363" y="278"/>
                  </a:lnTo>
                  <a:lnTo>
                    <a:pt x="351" y="278"/>
                  </a:lnTo>
                  <a:lnTo>
                    <a:pt x="334" y="269"/>
                  </a:lnTo>
                  <a:lnTo>
                    <a:pt x="322" y="278"/>
                  </a:lnTo>
                  <a:lnTo>
                    <a:pt x="311" y="258"/>
                  </a:lnTo>
                  <a:lnTo>
                    <a:pt x="275" y="274"/>
                  </a:lnTo>
                  <a:lnTo>
                    <a:pt x="274" y="284"/>
                  </a:lnTo>
                  <a:lnTo>
                    <a:pt x="263" y="278"/>
                  </a:lnTo>
                  <a:lnTo>
                    <a:pt x="231" y="285"/>
                  </a:lnTo>
                  <a:lnTo>
                    <a:pt x="204" y="305"/>
                  </a:lnTo>
                  <a:lnTo>
                    <a:pt x="195" y="314"/>
                  </a:lnTo>
                  <a:lnTo>
                    <a:pt x="201" y="325"/>
                  </a:lnTo>
                  <a:lnTo>
                    <a:pt x="217" y="330"/>
                  </a:lnTo>
                  <a:lnTo>
                    <a:pt x="216" y="343"/>
                  </a:lnTo>
                  <a:lnTo>
                    <a:pt x="199" y="337"/>
                  </a:lnTo>
                  <a:lnTo>
                    <a:pt x="191" y="341"/>
                  </a:lnTo>
                  <a:lnTo>
                    <a:pt x="189" y="350"/>
                  </a:lnTo>
                  <a:lnTo>
                    <a:pt x="183" y="355"/>
                  </a:lnTo>
                  <a:lnTo>
                    <a:pt x="153" y="357"/>
                  </a:lnTo>
                  <a:lnTo>
                    <a:pt x="140" y="370"/>
                  </a:lnTo>
                  <a:lnTo>
                    <a:pt x="114" y="378"/>
                  </a:lnTo>
                  <a:lnTo>
                    <a:pt x="106" y="411"/>
                  </a:lnTo>
                  <a:lnTo>
                    <a:pt x="87" y="402"/>
                  </a:lnTo>
                  <a:lnTo>
                    <a:pt x="65" y="409"/>
                  </a:lnTo>
                  <a:lnTo>
                    <a:pt x="56" y="423"/>
                  </a:lnTo>
                  <a:lnTo>
                    <a:pt x="32" y="432"/>
                  </a:lnTo>
                  <a:lnTo>
                    <a:pt x="18" y="443"/>
                  </a:lnTo>
                  <a:lnTo>
                    <a:pt x="15" y="458"/>
                  </a:lnTo>
                  <a:lnTo>
                    <a:pt x="16" y="464"/>
                  </a:lnTo>
                  <a:lnTo>
                    <a:pt x="5" y="485"/>
                  </a:lnTo>
                  <a:lnTo>
                    <a:pt x="6" y="494"/>
                  </a:lnTo>
                  <a:lnTo>
                    <a:pt x="26" y="499"/>
                  </a:lnTo>
                  <a:lnTo>
                    <a:pt x="13" y="504"/>
                  </a:lnTo>
                  <a:lnTo>
                    <a:pt x="13" y="510"/>
                  </a:lnTo>
                  <a:lnTo>
                    <a:pt x="10" y="526"/>
                  </a:lnTo>
                  <a:lnTo>
                    <a:pt x="0" y="529"/>
                  </a:lnTo>
                  <a:lnTo>
                    <a:pt x="4" y="540"/>
                  </a:lnTo>
                  <a:lnTo>
                    <a:pt x="18" y="555"/>
                  </a:lnTo>
                  <a:lnTo>
                    <a:pt x="33" y="563"/>
                  </a:lnTo>
                  <a:lnTo>
                    <a:pt x="37" y="572"/>
                  </a:lnTo>
                  <a:lnTo>
                    <a:pt x="37" y="586"/>
                  </a:lnTo>
                  <a:lnTo>
                    <a:pt x="39" y="591"/>
                  </a:lnTo>
                  <a:lnTo>
                    <a:pt x="58" y="601"/>
                  </a:lnTo>
                  <a:lnTo>
                    <a:pt x="65" y="598"/>
                  </a:lnTo>
                  <a:lnTo>
                    <a:pt x="76" y="607"/>
                  </a:lnTo>
                  <a:lnTo>
                    <a:pt x="91" y="608"/>
                  </a:lnTo>
                  <a:lnTo>
                    <a:pt x="87" y="620"/>
                  </a:lnTo>
                  <a:lnTo>
                    <a:pt x="92" y="634"/>
                  </a:lnTo>
                  <a:lnTo>
                    <a:pt x="114" y="630"/>
                  </a:lnTo>
                  <a:lnTo>
                    <a:pt x="155" y="614"/>
                  </a:lnTo>
                  <a:lnTo>
                    <a:pt x="134" y="641"/>
                  </a:lnTo>
                  <a:lnTo>
                    <a:pt x="128" y="660"/>
                  </a:lnTo>
                  <a:lnTo>
                    <a:pt x="160" y="660"/>
                  </a:lnTo>
                  <a:lnTo>
                    <a:pt x="180" y="649"/>
                  </a:lnTo>
                  <a:lnTo>
                    <a:pt x="180" y="657"/>
                  </a:lnTo>
                  <a:lnTo>
                    <a:pt x="153" y="678"/>
                  </a:lnTo>
                  <a:lnTo>
                    <a:pt x="158" y="693"/>
                  </a:lnTo>
                  <a:lnTo>
                    <a:pt x="196" y="709"/>
                  </a:lnTo>
                  <a:lnTo>
                    <a:pt x="214" y="711"/>
                  </a:lnTo>
                  <a:lnTo>
                    <a:pt x="236" y="700"/>
                  </a:lnTo>
                  <a:lnTo>
                    <a:pt x="237" y="685"/>
                  </a:lnTo>
                  <a:lnTo>
                    <a:pt x="230" y="663"/>
                  </a:lnTo>
                  <a:lnTo>
                    <a:pt x="239" y="660"/>
                  </a:lnTo>
                  <a:lnTo>
                    <a:pt x="253" y="678"/>
                  </a:lnTo>
                  <a:lnTo>
                    <a:pt x="258" y="694"/>
                  </a:lnTo>
                  <a:lnTo>
                    <a:pt x="289" y="694"/>
                  </a:lnTo>
                  <a:lnTo>
                    <a:pt x="314" y="688"/>
                  </a:lnTo>
                  <a:lnTo>
                    <a:pt x="329" y="663"/>
                  </a:lnTo>
                  <a:lnTo>
                    <a:pt x="345" y="649"/>
                  </a:lnTo>
                  <a:lnTo>
                    <a:pt x="356" y="646"/>
                  </a:lnTo>
                  <a:lnTo>
                    <a:pt x="354" y="658"/>
                  </a:lnTo>
                  <a:lnTo>
                    <a:pt x="340" y="666"/>
                  </a:lnTo>
                  <a:lnTo>
                    <a:pt x="345" y="673"/>
                  </a:lnTo>
                  <a:lnTo>
                    <a:pt x="352" y="671"/>
                  </a:lnTo>
                  <a:lnTo>
                    <a:pt x="360" y="658"/>
                  </a:lnTo>
                  <a:lnTo>
                    <a:pt x="375" y="655"/>
                  </a:lnTo>
                  <a:lnTo>
                    <a:pt x="379" y="665"/>
                  </a:lnTo>
                  <a:lnTo>
                    <a:pt x="381" y="678"/>
                  </a:lnTo>
                  <a:lnTo>
                    <a:pt x="393" y="688"/>
                  </a:lnTo>
                  <a:lnTo>
                    <a:pt x="389" y="706"/>
                  </a:lnTo>
                  <a:lnTo>
                    <a:pt x="381" y="716"/>
                  </a:lnTo>
                  <a:lnTo>
                    <a:pt x="365" y="714"/>
                  </a:lnTo>
                  <a:lnTo>
                    <a:pt x="356" y="725"/>
                  </a:lnTo>
                  <a:lnTo>
                    <a:pt x="359" y="736"/>
                  </a:lnTo>
                  <a:lnTo>
                    <a:pt x="365" y="747"/>
                  </a:lnTo>
                  <a:lnTo>
                    <a:pt x="395" y="763"/>
                  </a:lnTo>
                  <a:lnTo>
                    <a:pt x="398" y="769"/>
                  </a:lnTo>
                  <a:lnTo>
                    <a:pt x="397" y="776"/>
                  </a:lnTo>
                  <a:lnTo>
                    <a:pt x="391" y="785"/>
                  </a:lnTo>
                  <a:lnTo>
                    <a:pt x="373" y="791"/>
                  </a:lnTo>
                  <a:lnTo>
                    <a:pt x="370" y="802"/>
                  </a:lnTo>
                  <a:lnTo>
                    <a:pt x="360" y="803"/>
                  </a:lnTo>
                  <a:lnTo>
                    <a:pt x="346" y="796"/>
                  </a:lnTo>
                  <a:lnTo>
                    <a:pt x="289" y="781"/>
                  </a:lnTo>
                  <a:lnTo>
                    <a:pt x="258" y="789"/>
                  </a:lnTo>
                  <a:lnTo>
                    <a:pt x="203" y="776"/>
                  </a:lnTo>
                  <a:lnTo>
                    <a:pt x="146" y="774"/>
                  </a:lnTo>
                  <a:lnTo>
                    <a:pt x="117" y="787"/>
                  </a:lnTo>
                  <a:lnTo>
                    <a:pt x="119" y="797"/>
                  </a:lnTo>
                  <a:lnTo>
                    <a:pt x="106" y="800"/>
                  </a:lnTo>
                  <a:lnTo>
                    <a:pt x="88" y="829"/>
                  </a:lnTo>
                  <a:lnTo>
                    <a:pt x="81" y="840"/>
                  </a:lnTo>
                  <a:lnTo>
                    <a:pt x="87" y="838"/>
                  </a:lnTo>
                  <a:lnTo>
                    <a:pt x="110" y="851"/>
                  </a:lnTo>
                  <a:lnTo>
                    <a:pt x="114" y="860"/>
                  </a:lnTo>
                  <a:lnTo>
                    <a:pt x="113" y="872"/>
                  </a:lnTo>
                  <a:lnTo>
                    <a:pt x="129" y="884"/>
                  </a:lnTo>
                  <a:lnTo>
                    <a:pt x="149" y="881"/>
                  </a:lnTo>
                  <a:lnTo>
                    <a:pt x="173" y="828"/>
                  </a:lnTo>
                  <a:lnTo>
                    <a:pt x="179" y="833"/>
                  </a:lnTo>
                  <a:lnTo>
                    <a:pt x="160" y="870"/>
                  </a:lnTo>
                  <a:lnTo>
                    <a:pt x="166" y="894"/>
                  </a:lnTo>
                  <a:lnTo>
                    <a:pt x="203" y="910"/>
                  </a:lnTo>
                  <a:lnTo>
                    <a:pt x="233" y="915"/>
                  </a:lnTo>
                  <a:lnTo>
                    <a:pt x="262" y="909"/>
                  </a:lnTo>
                  <a:lnTo>
                    <a:pt x="260" y="924"/>
                  </a:lnTo>
                  <a:lnTo>
                    <a:pt x="243" y="937"/>
                  </a:lnTo>
                  <a:lnTo>
                    <a:pt x="222" y="937"/>
                  </a:lnTo>
                  <a:lnTo>
                    <a:pt x="185" y="976"/>
                  </a:lnTo>
                  <a:lnTo>
                    <a:pt x="198" y="996"/>
                  </a:lnTo>
                  <a:lnTo>
                    <a:pt x="214" y="1012"/>
                  </a:lnTo>
                  <a:lnTo>
                    <a:pt x="225" y="1031"/>
                  </a:lnTo>
                  <a:lnTo>
                    <a:pt x="262" y="1061"/>
                  </a:lnTo>
                  <a:lnTo>
                    <a:pt x="292" y="1070"/>
                  </a:lnTo>
                  <a:lnTo>
                    <a:pt x="309" y="1081"/>
                  </a:lnTo>
                  <a:lnTo>
                    <a:pt x="336" y="1087"/>
                  </a:lnTo>
                  <a:lnTo>
                    <a:pt x="362" y="1099"/>
                  </a:lnTo>
                  <a:lnTo>
                    <a:pt x="329" y="1048"/>
                  </a:lnTo>
                  <a:lnTo>
                    <a:pt x="313" y="1037"/>
                  </a:lnTo>
                  <a:lnTo>
                    <a:pt x="328" y="1016"/>
                  </a:lnTo>
                  <a:lnTo>
                    <a:pt x="340" y="1016"/>
                  </a:lnTo>
                  <a:lnTo>
                    <a:pt x="357" y="1043"/>
                  </a:lnTo>
                  <a:lnTo>
                    <a:pt x="368" y="1044"/>
                  </a:lnTo>
                  <a:lnTo>
                    <a:pt x="372" y="1024"/>
                  </a:lnTo>
                  <a:lnTo>
                    <a:pt x="382" y="1005"/>
                  </a:lnTo>
                  <a:lnTo>
                    <a:pt x="410" y="1015"/>
                  </a:lnTo>
                  <a:lnTo>
                    <a:pt x="404" y="1028"/>
                  </a:lnTo>
                  <a:lnTo>
                    <a:pt x="402" y="1054"/>
                  </a:lnTo>
                  <a:lnTo>
                    <a:pt x="419" y="1071"/>
                  </a:lnTo>
                  <a:lnTo>
                    <a:pt x="430" y="1062"/>
                  </a:lnTo>
                  <a:lnTo>
                    <a:pt x="440" y="1042"/>
                  </a:lnTo>
                  <a:lnTo>
                    <a:pt x="453" y="1034"/>
                  </a:lnTo>
                  <a:lnTo>
                    <a:pt x="462" y="1038"/>
                  </a:lnTo>
                  <a:lnTo>
                    <a:pt x="465" y="1023"/>
                  </a:lnTo>
                  <a:lnTo>
                    <a:pt x="476" y="1010"/>
                  </a:lnTo>
                  <a:lnTo>
                    <a:pt x="491" y="1001"/>
                  </a:lnTo>
                  <a:lnTo>
                    <a:pt x="491" y="1021"/>
                  </a:lnTo>
                  <a:lnTo>
                    <a:pt x="502" y="1039"/>
                  </a:lnTo>
                  <a:lnTo>
                    <a:pt x="521" y="1022"/>
                  </a:lnTo>
                  <a:lnTo>
                    <a:pt x="534" y="992"/>
                  </a:lnTo>
                  <a:lnTo>
                    <a:pt x="554" y="997"/>
                  </a:lnTo>
                  <a:lnTo>
                    <a:pt x="562" y="1018"/>
                  </a:lnTo>
                  <a:lnTo>
                    <a:pt x="575" y="1024"/>
                  </a:lnTo>
                  <a:lnTo>
                    <a:pt x="581" y="1019"/>
                  </a:lnTo>
                  <a:lnTo>
                    <a:pt x="593" y="1021"/>
                  </a:lnTo>
                  <a:lnTo>
                    <a:pt x="657" y="1040"/>
                  </a:lnTo>
                  <a:lnTo>
                    <a:pt x="663" y="1060"/>
                  </a:lnTo>
                  <a:lnTo>
                    <a:pt x="671" y="1066"/>
                  </a:lnTo>
                  <a:lnTo>
                    <a:pt x="672" y="1075"/>
                  </a:lnTo>
                  <a:lnTo>
                    <a:pt x="672" y="1054"/>
                  </a:lnTo>
                  <a:lnTo>
                    <a:pt x="673" y="1054"/>
                  </a:lnTo>
                  <a:lnTo>
                    <a:pt x="698" y="1075"/>
                  </a:lnTo>
                  <a:lnTo>
                    <a:pt x="715" y="1085"/>
                  </a:lnTo>
                  <a:lnTo>
                    <a:pt x="723" y="1082"/>
                  </a:lnTo>
                  <a:lnTo>
                    <a:pt x="727" y="1092"/>
                  </a:lnTo>
                  <a:lnTo>
                    <a:pt x="725" y="1118"/>
                  </a:lnTo>
                  <a:lnTo>
                    <a:pt x="737" y="1115"/>
                  </a:lnTo>
                  <a:lnTo>
                    <a:pt x="750" y="1099"/>
                  </a:lnTo>
                  <a:lnTo>
                    <a:pt x="758" y="1121"/>
                  </a:lnTo>
                  <a:lnTo>
                    <a:pt x="763" y="1123"/>
                  </a:lnTo>
                  <a:lnTo>
                    <a:pt x="771" y="1132"/>
                  </a:lnTo>
                  <a:lnTo>
                    <a:pt x="787" y="1128"/>
                  </a:lnTo>
                  <a:lnTo>
                    <a:pt x="791" y="1140"/>
                  </a:lnTo>
                  <a:lnTo>
                    <a:pt x="798" y="1153"/>
                  </a:lnTo>
                  <a:lnTo>
                    <a:pt x="800" y="1166"/>
                  </a:lnTo>
                  <a:lnTo>
                    <a:pt x="803" y="1169"/>
                  </a:lnTo>
                  <a:lnTo>
                    <a:pt x="802" y="1180"/>
                  </a:lnTo>
                  <a:lnTo>
                    <a:pt x="792" y="1199"/>
                  </a:lnTo>
                  <a:lnTo>
                    <a:pt x="789" y="1212"/>
                  </a:lnTo>
                  <a:lnTo>
                    <a:pt x="800" y="1200"/>
                  </a:lnTo>
                  <a:lnTo>
                    <a:pt x="802" y="1215"/>
                  </a:lnTo>
                  <a:lnTo>
                    <a:pt x="801" y="1221"/>
                  </a:lnTo>
                  <a:lnTo>
                    <a:pt x="812" y="1241"/>
                  </a:lnTo>
                  <a:lnTo>
                    <a:pt x="814" y="1261"/>
                  </a:lnTo>
                  <a:lnTo>
                    <a:pt x="823" y="1275"/>
                  </a:lnTo>
                  <a:lnTo>
                    <a:pt x="877" y="1314"/>
                  </a:lnTo>
                  <a:lnTo>
                    <a:pt x="878" y="1322"/>
                  </a:lnTo>
                  <a:lnTo>
                    <a:pt x="871" y="1329"/>
                  </a:lnTo>
                  <a:lnTo>
                    <a:pt x="867" y="1336"/>
                  </a:lnTo>
                  <a:lnTo>
                    <a:pt x="872" y="1349"/>
                  </a:lnTo>
                  <a:lnTo>
                    <a:pt x="886" y="1352"/>
                  </a:lnTo>
                  <a:lnTo>
                    <a:pt x="914" y="1392"/>
                  </a:lnTo>
                  <a:lnTo>
                    <a:pt x="906" y="1397"/>
                  </a:lnTo>
                  <a:lnTo>
                    <a:pt x="882" y="1404"/>
                  </a:lnTo>
                  <a:lnTo>
                    <a:pt x="900" y="1409"/>
                  </a:lnTo>
                  <a:lnTo>
                    <a:pt x="913" y="1406"/>
                  </a:lnTo>
                  <a:lnTo>
                    <a:pt x="915" y="1422"/>
                  </a:lnTo>
                  <a:lnTo>
                    <a:pt x="892" y="1422"/>
                  </a:lnTo>
                  <a:lnTo>
                    <a:pt x="915" y="1433"/>
                  </a:lnTo>
                  <a:lnTo>
                    <a:pt x="918" y="1440"/>
                  </a:lnTo>
                  <a:lnTo>
                    <a:pt x="914" y="1457"/>
                  </a:lnTo>
                  <a:lnTo>
                    <a:pt x="911" y="1483"/>
                  </a:lnTo>
                  <a:lnTo>
                    <a:pt x="922" y="1480"/>
                  </a:lnTo>
                  <a:lnTo>
                    <a:pt x="930" y="1489"/>
                  </a:lnTo>
                  <a:lnTo>
                    <a:pt x="921" y="1501"/>
                  </a:lnTo>
                  <a:lnTo>
                    <a:pt x="941" y="1521"/>
                  </a:lnTo>
                  <a:lnTo>
                    <a:pt x="937" y="1542"/>
                  </a:lnTo>
                  <a:lnTo>
                    <a:pt x="938" y="1549"/>
                  </a:lnTo>
                  <a:lnTo>
                    <a:pt x="929" y="1544"/>
                  </a:lnTo>
                  <a:lnTo>
                    <a:pt x="927" y="1555"/>
                  </a:lnTo>
                  <a:lnTo>
                    <a:pt x="929" y="1564"/>
                  </a:lnTo>
                  <a:lnTo>
                    <a:pt x="952" y="1581"/>
                  </a:lnTo>
                  <a:lnTo>
                    <a:pt x="954" y="1587"/>
                  </a:lnTo>
                  <a:lnTo>
                    <a:pt x="956" y="1597"/>
                  </a:lnTo>
                  <a:lnTo>
                    <a:pt x="949" y="1618"/>
                  </a:lnTo>
                  <a:lnTo>
                    <a:pt x="958" y="1616"/>
                  </a:lnTo>
                  <a:lnTo>
                    <a:pt x="975" y="1607"/>
                  </a:lnTo>
                  <a:lnTo>
                    <a:pt x="967" y="1615"/>
                  </a:lnTo>
                  <a:lnTo>
                    <a:pt x="963" y="1624"/>
                  </a:lnTo>
                  <a:lnTo>
                    <a:pt x="960" y="1636"/>
                  </a:lnTo>
                  <a:lnTo>
                    <a:pt x="972" y="1646"/>
                  </a:lnTo>
                  <a:lnTo>
                    <a:pt x="962" y="1652"/>
                  </a:lnTo>
                  <a:lnTo>
                    <a:pt x="957" y="1666"/>
                  </a:lnTo>
                  <a:lnTo>
                    <a:pt x="947" y="1673"/>
                  </a:lnTo>
                  <a:lnTo>
                    <a:pt x="980" y="1683"/>
                  </a:lnTo>
                  <a:lnTo>
                    <a:pt x="999" y="1693"/>
                  </a:lnTo>
                  <a:lnTo>
                    <a:pt x="1006" y="1710"/>
                  </a:lnTo>
                  <a:lnTo>
                    <a:pt x="1005" y="1728"/>
                  </a:lnTo>
                  <a:lnTo>
                    <a:pt x="1000" y="1733"/>
                  </a:lnTo>
                  <a:lnTo>
                    <a:pt x="999" y="1748"/>
                  </a:lnTo>
                  <a:lnTo>
                    <a:pt x="1000" y="1765"/>
                  </a:lnTo>
                  <a:lnTo>
                    <a:pt x="1001" y="1781"/>
                  </a:lnTo>
                  <a:lnTo>
                    <a:pt x="992" y="1785"/>
                  </a:lnTo>
                  <a:lnTo>
                    <a:pt x="996" y="1801"/>
                  </a:lnTo>
                  <a:lnTo>
                    <a:pt x="990" y="1808"/>
                  </a:lnTo>
                  <a:lnTo>
                    <a:pt x="986" y="1825"/>
                  </a:lnTo>
                  <a:lnTo>
                    <a:pt x="981" y="1834"/>
                  </a:lnTo>
                  <a:lnTo>
                    <a:pt x="967" y="1854"/>
                  </a:lnTo>
                  <a:lnTo>
                    <a:pt x="953" y="1860"/>
                  </a:lnTo>
                  <a:lnTo>
                    <a:pt x="969" y="1878"/>
                  </a:lnTo>
                  <a:lnTo>
                    <a:pt x="992" y="1869"/>
                  </a:lnTo>
                  <a:lnTo>
                    <a:pt x="968" y="1898"/>
                  </a:lnTo>
                  <a:lnTo>
                    <a:pt x="951" y="1906"/>
                  </a:lnTo>
                  <a:lnTo>
                    <a:pt x="941" y="1921"/>
                  </a:lnTo>
                  <a:lnTo>
                    <a:pt x="946" y="1937"/>
                  </a:lnTo>
                  <a:lnTo>
                    <a:pt x="963" y="1968"/>
                  </a:lnTo>
                  <a:lnTo>
                    <a:pt x="973" y="1954"/>
                  </a:lnTo>
                  <a:lnTo>
                    <a:pt x="988" y="1970"/>
                  </a:lnTo>
                  <a:lnTo>
                    <a:pt x="1007" y="1976"/>
                  </a:lnTo>
                  <a:lnTo>
                    <a:pt x="1037" y="1960"/>
                  </a:lnTo>
                  <a:lnTo>
                    <a:pt x="1038" y="1943"/>
                  </a:lnTo>
                  <a:lnTo>
                    <a:pt x="1028" y="1931"/>
                  </a:lnTo>
                  <a:lnTo>
                    <a:pt x="1032" y="1919"/>
                  </a:lnTo>
                  <a:lnTo>
                    <a:pt x="1039" y="1926"/>
                  </a:lnTo>
                  <a:lnTo>
                    <a:pt x="1046" y="1917"/>
                  </a:lnTo>
                  <a:lnTo>
                    <a:pt x="1044" y="1908"/>
                  </a:lnTo>
                  <a:lnTo>
                    <a:pt x="1061" y="1895"/>
                  </a:lnTo>
                  <a:lnTo>
                    <a:pt x="1062" y="1865"/>
                  </a:lnTo>
                  <a:lnTo>
                    <a:pt x="1069" y="1882"/>
                  </a:lnTo>
                  <a:lnTo>
                    <a:pt x="1078" y="1899"/>
                  </a:lnTo>
                  <a:lnTo>
                    <a:pt x="1096" y="1883"/>
                  </a:lnTo>
                  <a:lnTo>
                    <a:pt x="1087" y="1904"/>
                  </a:lnTo>
                  <a:lnTo>
                    <a:pt x="1086" y="1919"/>
                  </a:lnTo>
                  <a:lnTo>
                    <a:pt x="1105" y="1926"/>
                  </a:lnTo>
                  <a:lnTo>
                    <a:pt x="1104" y="1930"/>
                  </a:lnTo>
                  <a:lnTo>
                    <a:pt x="1114" y="1930"/>
                  </a:lnTo>
                  <a:lnTo>
                    <a:pt x="1155" y="1924"/>
                  </a:lnTo>
                  <a:lnTo>
                    <a:pt x="1141" y="1941"/>
                  </a:lnTo>
                  <a:lnTo>
                    <a:pt x="1104" y="1953"/>
                  </a:lnTo>
                  <a:lnTo>
                    <a:pt x="1092" y="1969"/>
                  </a:lnTo>
                  <a:lnTo>
                    <a:pt x="1120" y="1973"/>
                  </a:lnTo>
                  <a:lnTo>
                    <a:pt x="1152" y="1962"/>
                  </a:lnTo>
                  <a:lnTo>
                    <a:pt x="1132" y="1975"/>
                  </a:lnTo>
                  <a:lnTo>
                    <a:pt x="1128" y="1994"/>
                  </a:lnTo>
                  <a:lnTo>
                    <a:pt x="1118" y="2011"/>
                  </a:lnTo>
                  <a:lnTo>
                    <a:pt x="1164" y="1981"/>
                  </a:lnTo>
                  <a:lnTo>
                    <a:pt x="1136" y="2017"/>
                  </a:lnTo>
                  <a:lnTo>
                    <a:pt x="1180" y="2012"/>
                  </a:lnTo>
                  <a:lnTo>
                    <a:pt x="1175" y="2025"/>
                  </a:lnTo>
                  <a:lnTo>
                    <a:pt x="1183" y="2033"/>
                  </a:lnTo>
                  <a:lnTo>
                    <a:pt x="1180" y="2041"/>
                  </a:lnTo>
                  <a:lnTo>
                    <a:pt x="1152" y="2029"/>
                  </a:lnTo>
                  <a:lnTo>
                    <a:pt x="1167" y="2045"/>
                  </a:lnTo>
                  <a:lnTo>
                    <a:pt x="1199" y="2059"/>
                  </a:lnTo>
                  <a:lnTo>
                    <a:pt x="1212" y="2075"/>
                  </a:lnTo>
                  <a:lnTo>
                    <a:pt x="1218" y="2091"/>
                  </a:lnTo>
                  <a:lnTo>
                    <a:pt x="1196" y="2082"/>
                  </a:lnTo>
                  <a:lnTo>
                    <a:pt x="1212" y="2092"/>
                  </a:lnTo>
                  <a:lnTo>
                    <a:pt x="1212" y="2100"/>
                  </a:lnTo>
                  <a:lnTo>
                    <a:pt x="1200" y="2103"/>
                  </a:lnTo>
                  <a:lnTo>
                    <a:pt x="1204" y="2111"/>
                  </a:lnTo>
                  <a:lnTo>
                    <a:pt x="1188" y="2105"/>
                  </a:lnTo>
                  <a:lnTo>
                    <a:pt x="1190" y="2121"/>
                  </a:lnTo>
                  <a:lnTo>
                    <a:pt x="1199" y="2132"/>
                  </a:lnTo>
                  <a:lnTo>
                    <a:pt x="1218" y="2124"/>
                  </a:lnTo>
                  <a:lnTo>
                    <a:pt x="1223" y="2136"/>
                  </a:lnTo>
                  <a:lnTo>
                    <a:pt x="1221" y="2148"/>
                  </a:lnTo>
                  <a:lnTo>
                    <a:pt x="1191" y="2142"/>
                  </a:lnTo>
                  <a:lnTo>
                    <a:pt x="1164" y="2131"/>
                  </a:lnTo>
                  <a:lnTo>
                    <a:pt x="1124" y="2094"/>
                  </a:lnTo>
                  <a:lnTo>
                    <a:pt x="1102" y="2080"/>
                  </a:lnTo>
                  <a:lnTo>
                    <a:pt x="1039" y="2071"/>
                  </a:lnTo>
                  <a:lnTo>
                    <a:pt x="1023" y="2073"/>
                  </a:lnTo>
                  <a:lnTo>
                    <a:pt x="1010" y="2091"/>
                  </a:lnTo>
                  <a:lnTo>
                    <a:pt x="1042" y="2138"/>
                  </a:lnTo>
                  <a:lnTo>
                    <a:pt x="1070" y="2147"/>
                  </a:lnTo>
                  <a:lnTo>
                    <a:pt x="1102" y="2162"/>
                  </a:lnTo>
                  <a:lnTo>
                    <a:pt x="1125" y="2190"/>
                  </a:lnTo>
                  <a:lnTo>
                    <a:pt x="1174" y="2201"/>
                  </a:lnTo>
                  <a:lnTo>
                    <a:pt x="1183" y="2194"/>
                  </a:lnTo>
                  <a:lnTo>
                    <a:pt x="1198" y="2196"/>
                  </a:lnTo>
                  <a:lnTo>
                    <a:pt x="1204" y="2202"/>
                  </a:lnTo>
                  <a:lnTo>
                    <a:pt x="1234" y="2200"/>
                  </a:lnTo>
                  <a:lnTo>
                    <a:pt x="1232" y="2216"/>
                  </a:lnTo>
                  <a:lnTo>
                    <a:pt x="1238" y="2232"/>
                  </a:lnTo>
                  <a:lnTo>
                    <a:pt x="1221" y="2238"/>
                  </a:lnTo>
                  <a:lnTo>
                    <a:pt x="1225" y="2255"/>
                  </a:lnTo>
                  <a:lnTo>
                    <a:pt x="1211" y="2261"/>
                  </a:lnTo>
                  <a:lnTo>
                    <a:pt x="1215" y="2276"/>
                  </a:lnTo>
                  <a:lnTo>
                    <a:pt x="1217" y="2281"/>
                  </a:lnTo>
                  <a:lnTo>
                    <a:pt x="1204" y="2288"/>
                  </a:lnTo>
                  <a:lnTo>
                    <a:pt x="1202" y="2313"/>
                  </a:lnTo>
                  <a:lnTo>
                    <a:pt x="1217" y="2324"/>
                  </a:lnTo>
                  <a:lnTo>
                    <a:pt x="1234" y="2312"/>
                  </a:lnTo>
                  <a:lnTo>
                    <a:pt x="1242" y="2326"/>
                  </a:lnTo>
                  <a:lnTo>
                    <a:pt x="1226" y="2337"/>
                  </a:lnTo>
                  <a:lnTo>
                    <a:pt x="1234" y="2349"/>
                  </a:lnTo>
                  <a:lnTo>
                    <a:pt x="1221" y="2350"/>
                  </a:lnTo>
                  <a:lnTo>
                    <a:pt x="1215" y="2337"/>
                  </a:lnTo>
                  <a:lnTo>
                    <a:pt x="1201" y="2334"/>
                  </a:lnTo>
                  <a:lnTo>
                    <a:pt x="1194" y="2341"/>
                  </a:lnTo>
                  <a:lnTo>
                    <a:pt x="1193" y="2356"/>
                  </a:lnTo>
                  <a:lnTo>
                    <a:pt x="1193" y="2371"/>
                  </a:lnTo>
                  <a:lnTo>
                    <a:pt x="1199" y="2378"/>
                  </a:lnTo>
                  <a:lnTo>
                    <a:pt x="1188" y="2392"/>
                  </a:lnTo>
                  <a:lnTo>
                    <a:pt x="1191" y="2398"/>
                  </a:lnTo>
                  <a:lnTo>
                    <a:pt x="1204" y="2395"/>
                  </a:lnTo>
                  <a:lnTo>
                    <a:pt x="1199" y="2404"/>
                  </a:lnTo>
                  <a:lnTo>
                    <a:pt x="1193" y="2421"/>
                  </a:lnTo>
                  <a:lnTo>
                    <a:pt x="1171" y="2428"/>
                  </a:lnTo>
                  <a:lnTo>
                    <a:pt x="1155" y="2421"/>
                  </a:lnTo>
                  <a:lnTo>
                    <a:pt x="1140" y="2420"/>
                  </a:lnTo>
                  <a:lnTo>
                    <a:pt x="1118" y="2426"/>
                  </a:lnTo>
                  <a:lnTo>
                    <a:pt x="1114" y="2436"/>
                  </a:lnTo>
                  <a:lnTo>
                    <a:pt x="1098" y="2452"/>
                  </a:lnTo>
                  <a:lnTo>
                    <a:pt x="1102" y="2462"/>
                  </a:lnTo>
                  <a:lnTo>
                    <a:pt x="1099" y="2463"/>
                  </a:lnTo>
                  <a:lnTo>
                    <a:pt x="1103" y="2474"/>
                  </a:lnTo>
                  <a:lnTo>
                    <a:pt x="1115" y="2468"/>
                  </a:lnTo>
                  <a:lnTo>
                    <a:pt x="1128" y="2476"/>
                  </a:lnTo>
                  <a:lnTo>
                    <a:pt x="1182" y="2459"/>
                  </a:lnTo>
                  <a:lnTo>
                    <a:pt x="1172" y="2442"/>
                  </a:lnTo>
                  <a:lnTo>
                    <a:pt x="1191" y="2443"/>
                  </a:lnTo>
                  <a:lnTo>
                    <a:pt x="1194" y="2447"/>
                  </a:lnTo>
                  <a:lnTo>
                    <a:pt x="1189" y="2458"/>
                  </a:lnTo>
                  <a:lnTo>
                    <a:pt x="1174" y="2466"/>
                  </a:lnTo>
                  <a:lnTo>
                    <a:pt x="1198" y="2479"/>
                  </a:lnTo>
                  <a:lnTo>
                    <a:pt x="1184" y="2476"/>
                  </a:lnTo>
                  <a:lnTo>
                    <a:pt x="1188" y="2485"/>
                  </a:lnTo>
                  <a:lnTo>
                    <a:pt x="1205" y="2493"/>
                  </a:lnTo>
                  <a:lnTo>
                    <a:pt x="1199" y="2498"/>
                  </a:lnTo>
                  <a:lnTo>
                    <a:pt x="1188" y="2493"/>
                  </a:lnTo>
                  <a:lnTo>
                    <a:pt x="1171" y="2500"/>
                  </a:lnTo>
                  <a:lnTo>
                    <a:pt x="1155" y="2502"/>
                  </a:lnTo>
                  <a:lnTo>
                    <a:pt x="1114" y="2481"/>
                  </a:lnTo>
                  <a:lnTo>
                    <a:pt x="1101" y="2487"/>
                  </a:lnTo>
                  <a:lnTo>
                    <a:pt x="1101" y="2492"/>
                  </a:lnTo>
                  <a:lnTo>
                    <a:pt x="1078" y="2485"/>
                  </a:lnTo>
                  <a:lnTo>
                    <a:pt x="1071" y="2491"/>
                  </a:lnTo>
                  <a:lnTo>
                    <a:pt x="1088" y="2491"/>
                  </a:lnTo>
                  <a:lnTo>
                    <a:pt x="1104" y="2508"/>
                  </a:lnTo>
                  <a:lnTo>
                    <a:pt x="1098" y="2513"/>
                  </a:lnTo>
                  <a:lnTo>
                    <a:pt x="1081" y="2503"/>
                  </a:lnTo>
                  <a:lnTo>
                    <a:pt x="1091" y="2516"/>
                  </a:lnTo>
                  <a:lnTo>
                    <a:pt x="1078" y="2516"/>
                  </a:lnTo>
                  <a:lnTo>
                    <a:pt x="1064" y="2525"/>
                  </a:lnTo>
                  <a:lnTo>
                    <a:pt x="1066" y="2539"/>
                  </a:lnTo>
                  <a:lnTo>
                    <a:pt x="1065" y="2555"/>
                  </a:lnTo>
                  <a:lnTo>
                    <a:pt x="1067" y="2556"/>
                  </a:lnTo>
                  <a:lnTo>
                    <a:pt x="1056" y="2570"/>
                  </a:lnTo>
                  <a:lnTo>
                    <a:pt x="1067" y="2578"/>
                  </a:lnTo>
                  <a:lnTo>
                    <a:pt x="1072" y="2575"/>
                  </a:lnTo>
                  <a:lnTo>
                    <a:pt x="1051" y="2590"/>
                  </a:lnTo>
                  <a:lnTo>
                    <a:pt x="1055" y="2600"/>
                  </a:lnTo>
                  <a:lnTo>
                    <a:pt x="1049" y="2605"/>
                  </a:lnTo>
                  <a:lnTo>
                    <a:pt x="1044" y="2615"/>
                  </a:lnTo>
                  <a:lnTo>
                    <a:pt x="1043" y="2640"/>
                  </a:lnTo>
                  <a:lnTo>
                    <a:pt x="1061" y="2653"/>
                  </a:lnTo>
                  <a:lnTo>
                    <a:pt x="1059" y="2667"/>
                  </a:lnTo>
                  <a:lnTo>
                    <a:pt x="1074" y="2664"/>
                  </a:lnTo>
                  <a:lnTo>
                    <a:pt x="1091" y="2665"/>
                  </a:lnTo>
                  <a:lnTo>
                    <a:pt x="1089" y="2685"/>
                  </a:lnTo>
                  <a:lnTo>
                    <a:pt x="1082" y="2690"/>
                  </a:lnTo>
                  <a:lnTo>
                    <a:pt x="1071" y="2705"/>
                  </a:lnTo>
                  <a:lnTo>
                    <a:pt x="1085" y="2719"/>
                  </a:lnTo>
                  <a:lnTo>
                    <a:pt x="1065" y="2716"/>
                  </a:lnTo>
                  <a:lnTo>
                    <a:pt x="1060" y="2728"/>
                  </a:lnTo>
                  <a:lnTo>
                    <a:pt x="1061" y="2742"/>
                  </a:lnTo>
                  <a:lnTo>
                    <a:pt x="1064" y="2750"/>
                  </a:lnTo>
                  <a:lnTo>
                    <a:pt x="1076" y="2750"/>
                  </a:lnTo>
                  <a:lnTo>
                    <a:pt x="1065" y="2764"/>
                  </a:lnTo>
                  <a:lnTo>
                    <a:pt x="1072" y="2767"/>
                  </a:lnTo>
                  <a:lnTo>
                    <a:pt x="1086" y="2767"/>
                  </a:lnTo>
                  <a:lnTo>
                    <a:pt x="1097" y="2764"/>
                  </a:lnTo>
                  <a:lnTo>
                    <a:pt x="1071" y="2787"/>
                  </a:lnTo>
                  <a:lnTo>
                    <a:pt x="1071" y="2797"/>
                  </a:lnTo>
                  <a:lnTo>
                    <a:pt x="1085" y="2802"/>
                  </a:lnTo>
                  <a:lnTo>
                    <a:pt x="1086" y="2810"/>
                  </a:lnTo>
                  <a:lnTo>
                    <a:pt x="1102" y="2802"/>
                  </a:lnTo>
                  <a:lnTo>
                    <a:pt x="1096" y="2805"/>
                  </a:lnTo>
                  <a:lnTo>
                    <a:pt x="1089" y="2815"/>
                  </a:lnTo>
                  <a:lnTo>
                    <a:pt x="1092" y="2823"/>
                  </a:lnTo>
                  <a:lnTo>
                    <a:pt x="1086" y="2834"/>
                  </a:lnTo>
                  <a:lnTo>
                    <a:pt x="1099" y="2830"/>
                  </a:lnTo>
                  <a:lnTo>
                    <a:pt x="1108" y="2825"/>
                  </a:lnTo>
                  <a:lnTo>
                    <a:pt x="1110" y="2856"/>
                  </a:lnTo>
                  <a:lnTo>
                    <a:pt x="1125" y="2855"/>
                  </a:lnTo>
                  <a:lnTo>
                    <a:pt x="1125" y="2864"/>
                  </a:lnTo>
                  <a:lnTo>
                    <a:pt x="1137" y="2864"/>
                  </a:lnTo>
                  <a:lnTo>
                    <a:pt x="1120" y="2882"/>
                  </a:lnTo>
                  <a:lnTo>
                    <a:pt x="1125" y="2895"/>
                  </a:lnTo>
                  <a:lnTo>
                    <a:pt x="1135" y="2880"/>
                  </a:lnTo>
                  <a:lnTo>
                    <a:pt x="1137" y="2896"/>
                  </a:lnTo>
                  <a:lnTo>
                    <a:pt x="1134" y="2900"/>
                  </a:lnTo>
                  <a:lnTo>
                    <a:pt x="1131" y="2916"/>
                  </a:lnTo>
                  <a:lnTo>
                    <a:pt x="1140" y="2920"/>
                  </a:lnTo>
                  <a:lnTo>
                    <a:pt x="1141" y="2932"/>
                  </a:lnTo>
                  <a:lnTo>
                    <a:pt x="1144" y="2945"/>
                  </a:lnTo>
                  <a:lnTo>
                    <a:pt x="1151" y="2937"/>
                  </a:lnTo>
                  <a:lnTo>
                    <a:pt x="1151" y="2941"/>
                  </a:lnTo>
                  <a:lnTo>
                    <a:pt x="1157" y="2943"/>
                  </a:lnTo>
                  <a:lnTo>
                    <a:pt x="1145" y="2957"/>
                  </a:lnTo>
                  <a:lnTo>
                    <a:pt x="1142" y="2965"/>
                  </a:lnTo>
                  <a:lnTo>
                    <a:pt x="1142" y="2979"/>
                  </a:lnTo>
                  <a:lnTo>
                    <a:pt x="1141" y="2990"/>
                  </a:lnTo>
                  <a:lnTo>
                    <a:pt x="1141" y="3002"/>
                  </a:lnTo>
                  <a:lnTo>
                    <a:pt x="1145" y="3017"/>
                  </a:lnTo>
                  <a:lnTo>
                    <a:pt x="1151" y="3013"/>
                  </a:lnTo>
                  <a:lnTo>
                    <a:pt x="1164" y="3013"/>
                  </a:lnTo>
                  <a:lnTo>
                    <a:pt x="1175" y="2990"/>
                  </a:lnTo>
                  <a:lnTo>
                    <a:pt x="1190" y="2961"/>
                  </a:lnTo>
                  <a:lnTo>
                    <a:pt x="1198" y="2965"/>
                  </a:lnTo>
                  <a:lnTo>
                    <a:pt x="1211" y="2960"/>
                  </a:lnTo>
                  <a:lnTo>
                    <a:pt x="1218" y="2944"/>
                  </a:lnTo>
                  <a:lnTo>
                    <a:pt x="1237" y="2954"/>
                  </a:lnTo>
                  <a:lnTo>
                    <a:pt x="1248" y="2952"/>
                  </a:lnTo>
                  <a:lnTo>
                    <a:pt x="1255" y="2968"/>
                  </a:lnTo>
                  <a:lnTo>
                    <a:pt x="1226" y="2960"/>
                  </a:lnTo>
                  <a:lnTo>
                    <a:pt x="1216" y="2970"/>
                  </a:lnTo>
                  <a:lnTo>
                    <a:pt x="1215" y="2977"/>
                  </a:lnTo>
                  <a:lnTo>
                    <a:pt x="1228" y="2988"/>
                  </a:lnTo>
                  <a:lnTo>
                    <a:pt x="1247" y="2988"/>
                  </a:lnTo>
                  <a:lnTo>
                    <a:pt x="1218" y="3000"/>
                  </a:lnTo>
                  <a:lnTo>
                    <a:pt x="1206" y="3002"/>
                  </a:lnTo>
                  <a:lnTo>
                    <a:pt x="1202" y="3018"/>
                  </a:lnTo>
                  <a:lnTo>
                    <a:pt x="1191" y="3025"/>
                  </a:lnTo>
                  <a:lnTo>
                    <a:pt x="1175" y="3027"/>
                  </a:lnTo>
                  <a:lnTo>
                    <a:pt x="1173" y="3036"/>
                  </a:lnTo>
                  <a:lnTo>
                    <a:pt x="1179" y="3057"/>
                  </a:lnTo>
                  <a:lnTo>
                    <a:pt x="1177" y="3082"/>
                  </a:lnTo>
                  <a:lnTo>
                    <a:pt x="1187" y="3078"/>
                  </a:lnTo>
                  <a:lnTo>
                    <a:pt x="1177" y="3093"/>
                  </a:lnTo>
                  <a:lnTo>
                    <a:pt x="1187" y="3110"/>
                  </a:lnTo>
                  <a:lnTo>
                    <a:pt x="1190" y="3119"/>
                  </a:lnTo>
                  <a:lnTo>
                    <a:pt x="1195" y="3116"/>
                  </a:lnTo>
                  <a:lnTo>
                    <a:pt x="1198" y="3136"/>
                  </a:lnTo>
                  <a:lnTo>
                    <a:pt x="1212" y="3160"/>
                  </a:lnTo>
                  <a:lnTo>
                    <a:pt x="1217" y="3162"/>
                  </a:lnTo>
                  <a:lnTo>
                    <a:pt x="1217" y="3165"/>
                  </a:lnTo>
                  <a:lnTo>
                    <a:pt x="1218" y="3170"/>
                  </a:lnTo>
                  <a:lnTo>
                    <a:pt x="1234" y="3173"/>
                  </a:lnTo>
                  <a:lnTo>
                    <a:pt x="1236" y="3186"/>
                  </a:lnTo>
                  <a:lnTo>
                    <a:pt x="1241" y="3195"/>
                  </a:lnTo>
                  <a:lnTo>
                    <a:pt x="1242" y="3203"/>
                  </a:lnTo>
                  <a:lnTo>
                    <a:pt x="1249" y="3196"/>
                  </a:lnTo>
                  <a:lnTo>
                    <a:pt x="1254" y="3195"/>
                  </a:lnTo>
                  <a:lnTo>
                    <a:pt x="1247" y="3212"/>
                  </a:lnTo>
                  <a:lnTo>
                    <a:pt x="1247" y="3226"/>
                  </a:lnTo>
                  <a:lnTo>
                    <a:pt x="1250" y="3232"/>
                  </a:lnTo>
                  <a:lnTo>
                    <a:pt x="1260" y="3233"/>
                  </a:lnTo>
                  <a:lnTo>
                    <a:pt x="1269" y="3238"/>
                  </a:lnTo>
                  <a:lnTo>
                    <a:pt x="1265" y="3246"/>
                  </a:lnTo>
                  <a:lnTo>
                    <a:pt x="1265" y="3255"/>
                  </a:lnTo>
                  <a:lnTo>
                    <a:pt x="1276" y="3260"/>
                  </a:lnTo>
                  <a:lnTo>
                    <a:pt x="1285" y="3260"/>
                  </a:lnTo>
                  <a:lnTo>
                    <a:pt x="1275" y="3265"/>
                  </a:lnTo>
                  <a:lnTo>
                    <a:pt x="1279" y="3272"/>
                  </a:lnTo>
                  <a:lnTo>
                    <a:pt x="1288" y="3270"/>
                  </a:lnTo>
                  <a:lnTo>
                    <a:pt x="1281" y="3275"/>
                  </a:lnTo>
                  <a:lnTo>
                    <a:pt x="1273" y="3277"/>
                  </a:lnTo>
                  <a:lnTo>
                    <a:pt x="1276" y="3282"/>
                  </a:lnTo>
                  <a:lnTo>
                    <a:pt x="1277" y="3288"/>
                  </a:lnTo>
                  <a:lnTo>
                    <a:pt x="1291" y="3286"/>
                  </a:lnTo>
                  <a:lnTo>
                    <a:pt x="1308" y="3272"/>
                  </a:lnTo>
                  <a:lnTo>
                    <a:pt x="1313" y="3276"/>
                  </a:lnTo>
                  <a:lnTo>
                    <a:pt x="1314" y="3283"/>
                  </a:lnTo>
                  <a:lnTo>
                    <a:pt x="1300" y="3292"/>
                  </a:lnTo>
                  <a:lnTo>
                    <a:pt x="1291" y="3298"/>
                  </a:lnTo>
                  <a:lnTo>
                    <a:pt x="1293" y="3304"/>
                  </a:lnTo>
                  <a:lnTo>
                    <a:pt x="1300" y="3313"/>
                  </a:lnTo>
                  <a:lnTo>
                    <a:pt x="1308" y="3319"/>
                  </a:lnTo>
                  <a:lnTo>
                    <a:pt x="1308" y="3324"/>
                  </a:lnTo>
                  <a:lnTo>
                    <a:pt x="1316" y="3325"/>
                  </a:lnTo>
                  <a:lnTo>
                    <a:pt x="1311" y="3332"/>
                  </a:lnTo>
                  <a:lnTo>
                    <a:pt x="1297" y="3339"/>
                  </a:lnTo>
                  <a:lnTo>
                    <a:pt x="1300" y="3343"/>
                  </a:lnTo>
                  <a:lnTo>
                    <a:pt x="1312" y="3350"/>
                  </a:lnTo>
                  <a:lnTo>
                    <a:pt x="1320" y="3347"/>
                  </a:lnTo>
                  <a:lnTo>
                    <a:pt x="1338" y="3337"/>
                  </a:lnTo>
                  <a:lnTo>
                    <a:pt x="1344" y="3337"/>
                  </a:lnTo>
                  <a:lnTo>
                    <a:pt x="1355" y="3342"/>
                  </a:lnTo>
                  <a:lnTo>
                    <a:pt x="1311" y="3358"/>
                  </a:lnTo>
                  <a:lnTo>
                    <a:pt x="1314" y="3361"/>
                  </a:lnTo>
                  <a:lnTo>
                    <a:pt x="1322" y="3358"/>
                  </a:lnTo>
                  <a:lnTo>
                    <a:pt x="1334" y="3358"/>
                  </a:lnTo>
                  <a:lnTo>
                    <a:pt x="1336" y="3361"/>
                  </a:lnTo>
                  <a:lnTo>
                    <a:pt x="1335" y="3364"/>
                  </a:lnTo>
                  <a:lnTo>
                    <a:pt x="1334" y="3373"/>
                  </a:lnTo>
                  <a:lnTo>
                    <a:pt x="1340" y="3378"/>
                  </a:lnTo>
                  <a:lnTo>
                    <a:pt x="1344" y="3379"/>
                  </a:lnTo>
                  <a:lnTo>
                    <a:pt x="1356" y="3374"/>
                  </a:lnTo>
                  <a:lnTo>
                    <a:pt x="1360" y="3379"/>
                  </a:lnTo>
                  <a:lnTo>
                    <a:pt x="1362" y="3386"/>
                  </a:lnTo>
                  <a:lnTo>
                    <a:pt x="1363" y="3388"/>
                  </a:lnTo>
                  <a:lnTo>
                    <a:pt x="1373" y="3390"/>
                  </a:lnTo>
                  <a:lnTo>
                    <a:pt x="1382" y="3395"/>
                  </a:lnTo>
                  <a:lnTo>
                    <a:pt x="1386" y="3394"/>
                  </a:lnTo>
                  <a:lnTo>
                    <a:pt x="1389" y="3397"/>
                  </a:lnTo>
                  <a:lnTo>
                    <a:pt x="1388" y="3400"/>
                  </a:lnTo>
                  <a:lnTo>
                    <a:pt x="1373" y="3411"/>
                  </a:lnTo>
                  <a:lnTo>
                    <a:pt x="1363" y="3416"/>
                  </a:lnTo>
                  <a:lnTo>
                    <a:pt x="1359" y="3422"/>
                  </a:lnTo>
                  <a:lnTo>
                    <a:pt x="1370" y="3420"/>
                  </a:lnTo>
                  <a:lnTo>
                    <a:pt x="1377" y="3421"/>
                  </a:lnTo>
                  <a:lnTo>
                    <a:pt x="1400" y="3420"/>
                  </a:lnTo>
                  <a:lnTo>
                    <a:pt x="1397" y="3410"/>
                  </a:lnTo>
                  <a:lnTo>
                    <a:pt x="1397" y="3407"/>
                  </a:lnTo>
                  <a:lnTo>
                    <a:pt x="1399" y="3406"/>
                  </a:lnTo>
                  <a:lnTo>
                    <a:pt x="1410" y="3410"/>
                  </a:lnTo>
                  <a:lnTo>
                    <a:pt x="1419" y="3407"/>
                  </a:lnTo>
                  <a:lnTo>
                    <a:pt x="1442" y="3410"/>
                  </a:lnTo>
                  <a:lnTo>
                    <a:pt x="1462" y="3397"/>
                  </a:lnTo>
                  <a:lnTo>
                    <a:pt x="1464" y="3401"/>
                  </a:lnTo>
                  <a:lnTo>
                    <a:pt x="1480" y="3394"/>
                  </a:lnTo>
                  <a:lnTo>
                    <a:pt x="1478" y="3401"/>
                  </a:lnTo>
                  <a:lnTo>
                    <a:pt x="1476" y="3407"/>
                  </a:lnTo>
                  <a:lnTo>
                    <a:pt x="1483" y="3410"/>
                  </a:lnTo>
                  <a:lnTo>
                    <a:pt x="1499" y="3404"/>
                  </a:lnTo>
                  <a:lnTo>
                    <a:pt x="1495" y="3409"/>
                  </a:lnTo>
                  <a:lnTo>
                    <a:pt x="1470" y="3422"/>
                  </a:lnTo>
                  <a:lnTo>
                    <a:pt x="1478" y="3422"/>
                  </a:lnTo>
                  <a:lnTo>
                    <a:pt x="1465" y="3431"/>
                  </a:lnTo>
                  <a:lnTo>
                    <a:pt x="1470" y="3433"/>
                  </a:lnTo>
                  <a:lnTo>
                    <a:pt x="1474" y="3432"/>
                  </a:lnTo>
                  <a:lnTo>
                    <a:pt x="1483" y="3426"/>
                  </a:lnTo>
                  <a:lnTo>
                    <a:pt x="1491" y="3427"/>
                  </a:lnTo>
                  <a:lnTo>
                    <a:pt x="1501" y="3418"/>
                  </a:lnTo>
                  <a:lnTo>
                    <a:pt x="1508" y="3407"/>
                  </a:lnTo>
                  <a:lnTo>
                    <a:pt x="1512" y="3410"/>
                  </a:lnTo>
                  <a:lnTo>
                    <a:pt x="1508" y="3421"/>
                  </a:lnTo>
                  <a:lnTo>
                    <a:pt x="1496" y="3429"/>
                  </a:lnTo>
                  <a:lnTo>
                    <a:pt x="1491" y="3437"/>
                  </a:lnTo>
                  <a:lnTo>
                    <a:pt x="1495" y="3442"/>
                  </a:lnTo>
                  <a:lnTo>
                    <a:pt x="1497" y="3450"/>
                  </a:lnTo>
                  <a:lnTo>
                    <a:pt x="1500" y="3455"/>
                  </a:lnTo>
                  <a:lnTo>
                    <a:pt x="1502" y="3461"/>
                  </a:lnTo>
                  <a:lnTo>
                    <a:pt x="1506" y="3455"/>
                  </a:lnTo>
                  <a:lnTo>
                    <a:pt x="1511" y="3444"/>
                  </a:lnTo>
                  <a:lnTo>
                    <a:pt x="1516" y="3440"/>
                  </a:lnTo>
                  <a:lnTo>
                    <a:pt x="1521" y="3440"/>
                  </a:lnTo>
                  <a:lnTo>
                    <a:pt x="1519" y="3448"/>
                  </a:lnTo>
                  <a:lnTo>
                    <a:pt x="1516" y="3461"/>
                  </a:lnTo>
                  <a:lnTo>
                    <a:pt x="1518" y="3465"/>
                  </a:lnTo>
                  <a:lnTo>
                    <a:pt x="1528" y="3461"/>
                  </a:lnTo>
                  <a:lnTo>
                    <a:pt x="1537" y="3452"/>
                  </a:lnTo>
                  <a:lnTo>
                    <a:pt x="1537" y="3458"/>
                  </a:lnTo>
                  <a:lnTo>
                    <a:pt x="1534" y="3474"/>
                  </a:lnTo>
                  <a:lnTo>
                    <a:pt x="1529" y="3477"/>
                  </a:lnTo>
                  <a:lnTo>
                    <a:pt x="1522" y="3487"/>
                  </a:lnTo>
                  <a:lnTo>
                    <a:pt x="1522" y="3493"/>
                  </a:lnTo>
                  <a:lnTo>
                    <a:pt x="1524" y="3493"/>
                  </a:lnTo>
                  <a:lnTo>
                    <a:pt x="1527" y="3501"/>
                  </a:lnTo>
                  <a:lnTo>
                    <a:pt x="1530" y="3502"/>
                  </a:lnTo>
                  <a:lnTo>
                    <a:pt x="1542" y="3501"/>
                  </a:lnTo>
                  <a:lnTo>
                    <a:pt x="1550" y="3510"/>
                  </a:lnTo>
                  <a:lnTo>
                    <a:pt x="1564" y="3507"/>
                  </a:lnTo>
                  <a:lnTo>
                    <a:pt x="1577" y="3492"/>
                  </a:lnTo>
                  <a:lnTo>
                    <a:pt x="1583" y="3482"/>
                  </a:lnTo>
                  <a:lnTo>
                    <a:pt x="1583" y="3487"/>
                  </a:lnTo>
                  <a:lnTo>
                    <a:pt x="1586" y="3497"/>
                  </a:lnTo>
                  <a:lnTo>
                    <a:pt x="1618" y="3499"/>
                  </a:lnTo>
                  <a:lnTo>
                    <a:pt x="1636" y="3498"/>
                  </a:lnTo>
                  <a:lnTo>
                    <a:pt x="1636" y="3497"/>
                  </a:lnTo>
                  <a:lnTo>
                    <a:pt x="1634" y="3490"/>
                  </a:lnTo>
                  <a:lnTo>
                    <a:pt x="1635" y="3485"/>
                  </a:lnTo>
                  <a:lnTo>
                    <a:pt x="1632" y="3476"/>
                  </a:lnTo>
                  <a:lnTo>
                    <a:pt x="1629" y="3467"/>
                  </a:lnTo>
                  <a:lnTo>
                    <a:pt x="1624" y="3466"/>
                  </a:lnTo>
                  <a:lnTo>
                    <a:pt x="1605" y="3454"/>
                  </a:lnTo>
                  <a:lnTo>
                    <a:pt x="1624" y="3458"/>
                  </a:lnTo>
                  <a:lnTo>
                    <a:pt x="1632" y="3458"/>
                  </a:lnTo>
                  <a:lnTo>
                    <a:pt x="1636" y="3453"/>
                  </a:lnTo>
                  <a:lnTo>
                    <a:pt x="1645" y="3454"/>
                  </a:lnTo>
                  <a:lnTo>
                    <a:pt x="1650" y="3449"/>
                  </a:lnTo>
                  <a:lnTo>
                    <a:pt x="1648" y="3432"/>
                  </a:lnTo>
                  <a:lnTo>
                    <a:pt x="1650" y="3420"/>
                  </a:lnTo>
                  <a:lnTo>
                    <a:pt x="1651" y="3412"/>
                  </a:lnTo>
                  <a:lnTo>
                    <a:pt x="1656" y="3405"/>
                  </a:lnTo>
                  <a:lnTo>
                    <a:pt x="1661" y="3379"/>
                  </a:lnTo>
                  <a:lnTo>
                    <a:pt x="1661" y="3373"/>
                  </a:lnTo>
                  <a:lnTo>
                    <a:pt x="1658" y="3372"/>
                  </a:lnTo>
                  <a:lnTo>
                    <a:pt x="1661" y="3367"/>
                  </a:lnTo>
                  <a:lnTo>
                    <a:pt x="1669" y="3358"/>
                  </a:lnTo>
                  <a:lnTo>
                    <a:pt x="1674" y="3348"/>
                  </a:lnTo>
                  <a:lnTo>
                    <a:pt x="1669" y="3348"/>
                  </a:lnTo>
                  <a:lnTo>
                    <a:pt x="1672" y="3340"/>
                  </a:lnTo>
                  <a:lnTo>
                    <a:pt x="1684" y="3318"/>
                  </a:lnTo>
                  <a:lnTo>
                    <a:pt x="1690" y="3311"/>
                  </a:lnTo>
                  <a:lnTo>
                    <a:pt x="1687" y="3305"/>
                  </a:lnTo>
                  <a:lnTo>
                    <a:pt x="1690" y="3296"/>
                  </a:lnTo>
                  <a:lnTo>
                    <a:pt x="1689" y="3287"/>
                  </a:lnTo>
                  <a:lnTo>
                    <a:pt x="1682" y="3282"/>
                  </a:lnTo>
                  <a:lnTo>
                    <a:pt x="1679" y="3239"/>
                  </a:lnTo>
                  <a:lnTo>
                    <a:pt x="1673" y="3235"/>
                  </a:lnTo>
                  <a:lnTo>
                    <a:pt x="1674" y="3230"/>
                  </a:lnTo>
                  <a:lnTo>
                    <a:pt x="1669" y="3216"/>
                  </a:lnTo>
                  <a:lnTo>
                    <a:pt x="1651" y="3210"/>
                  </a:lnTo>
                  <a:lnTo>
                    <a:pt x="1667" y="3205"/>
                  </a:lnTo>
                  <a:lnTo>
                    <a:pt x="1669" y="3201"/>
                  </a:lnTo>
                  <a:lnTo>
                    <a:pt x="1669" y="3195"/>
                  </a:lnTo>
                  <a:lnTo>
                    <a:pt x="1673" y="3191"/>
                  </a:lnTo>
                  <a:lnTo>
                    <a:pt x="1680" y="3190"/>
                  </a:lnTo>
                  <a:lnTo>
                    <a:pt x="1684" y="3192"/>
                  </a:lnTo>
                  <a:lnTo>
                    <a:pt x="1691" y="3192"/>
                  </a:lnTo>
                  <a:lnTo>
                    <a:pt x="1711" y="3189"/>
                  </a:lnTo>
                  <a:lnTo>
                    <a:pt x="1715" y="3180"/>
                  </a:lnTo>
                  <a:lnTo>
                    <a:pt x="1723" y="3179"/>
                  </a:lnTo>
                  <a:lnTo>
                    <a:pt x="1723" y="3169"/>
                  </a:lnTo>
                  <a:lnTo>
                    <a:pt x="1714" y="3170"/>
                  </a:lnTo>
                  <a:lnTo>
                    <a:pt x="1700" y="3160"/>
                  </a:lnTo>
                  <a:lnTo>
                    <a:pt x="1689" y="3152"/>
                  </a:lnTo>
                  <a:lnTo>
                    <a:pt x="1696" y="3152"/>
                  </a:lnTo>
                  <a:lnTo>
                    <a:pt x="1702" y="3158"/>
                  </a:lnTo>
                  <a:lnTo>
                    <a:pt x="1709" y="3160"/>
                  </a:lnTo>
                  <a:lnTo>
                    <a:pt x="1729" y="3162"/>
                  </a:lnTo>
                  <a:lnTo>
                    <a:pt x="1729" y="3156"/>
                  </a:lnTo>
                  <a:lnTo>
                    <a:pt x="1716" y="3154"/>
                  </a:lnTo>
                  <a:lnTo>
                    <a:pt x="1714" y="3146"/>
                  </a:lnTo>
                  <a:lnTo>
                    <a:pt x="1720" y="3144"/>
                  </a:lnTo>
                  <a:lnTo>
                    <a:pt x="1722" y="3140"/>
                  </a:lnTo>
                  <a:lnTo>
                    <a:pt x="1716" y="3133"/>
                  </a:lnTo>
                  <a:lnTo>
                    <a:pt x="1717" y="3130"/>
                  </a:lnTo>
                  <a:lnTo>
                    <a:pt x="1728" y="3138"/>
                  </a:lnTo>
                  <a:lnTo>
                    <a:pt x="1739" y="3141"/>
                  </a:lnTo>
                  <a:lnTo>
                    <a:pt x="1737" y="3131"/>
                  </a:lnTo>
                  <a:lnTo>
                    <a:pt x="1745" y="3130"/>
                  </a:lnTo>
                  <a:lnTo>
                    <a:pt x="1742" y="3124"/>
                  </a:lnTo>
                  <a:lnTo>
                    <a:pt x="1741" y="3117"/>
                  </a:lnTo>
                  <a:lnTo>
                    <a:pt x="1748" y="3121"/>
                  </a:lnTo>
                  <a:lnTo>
                    <a:pt x="1755" y="3119"/>
                  </a:lnTo>
                  <a:lnTo>
                    <a:pt x="1757" y="3115"/>
                  </a:lnTo>
                  <a:lnTo>
                    <a:pt x="1758" y="3103"/>
                  </a:lnTo>
                  <a:lnTo>
                    <a:pt x="1764" y="3101"/>
                  </a:lnTo>
                  <a:lnTo>
                    <a:pt x="1764" y="3090"/>
                  </a:lnTo>
                  <a:lnTo>
                    <a:pt x="1760" y="3085"/>
                  </a:lnTo>
                  <a:lnTo>
                    <a:pt x="1727" y="3077"/>
                  </a:lnTo>
                  <a:lnTo>
                    <a:pt x="1728" y="3071"/>
                  </a:lnTo>
                  <a:lnTo>
                    <a:pt x="1759" y="3079"/>
                  </a:lnTo>
                  <a:lnTo>
                    <a:pt x="1774" y="3077"/>
                  </a:lnTo>
                  <a:lnTo>
                    <a:pt x="1763" y="3045"/>
                  </a:lnTo>
                  <a:lnTo>
                    <a:pt x="1768" y="3041"/>
                  </a:lnTo>
                  <a:lnTo>
                    <a:pt x="1770" y="3036"/>
                  </a:lnTo>
                  <a:lnTo>
                    <a:pt x="1764" y="3027"/>
                  </a:lnTo>
                  <a:lnTo>
                    <a:pt x="1726" y="3022"/>
                  </a:lnTo>
                  <a:lnTo>
                    <a:pt x="1722" y="3008"/>
                  </a:lnTo>
                  <a:lnTo>
                    <a:pt x="1732" y="3011"/>
                  </a:lnTo>
                  <a:lnTo>
                    <a:pt x="1755" y="2997"/>
                  </a:lnTo>
                  <a:lnTo>
                    <a:pt x="1772" y="2997"/>
                  </a:lnTo>
                  <a:lnTo>
                    <a:pt x="1784" y="3002"/>
                  </a:lnTo>
                  <a:lnTo>
                    <a:pt x="1786" y="2998"/>
                  </a:lnTo>
                  <a:lnTo>
                    <a:pt x="1777" y="2995"/>
                  </a:lnTo>
                  <a:lnTo>
                    <a:pt x="1770" y="2987"/>
                  </a:lnTo>
                  <a:lnTo>
                    <a:pt x="1766" y="2966"/>
                  </a:lnTo>
                  <a:lnTo>
                    <a:pt x="1758" y="2958"/>
                  </a:lnTo>
                  <a:lnTo>
                    <a:pt x="1753" y="2943"/>
                  </a:lnTo>
                  <a:lnTo>
                    <a:pt x="1747" y="2938"/>
                  </a:lnTo>
                  <a:lnTo>
                    <a:pt x="1744" y="2928"/>
                  </a:lnTo>
                  <a:lnTo>
                    <a:pt x="1733" y="2931"/>
                  </a:lnTo>
                  <a:lnTo>
                    <a:pt x="1743" y="2906"/>
                  </a:lnTo>
                  <a:lnTo>
                    <a:pt x="1749" y="2912"/>
                  </a:lnTo>
                  <a:lnTo>
                    <a:pt x="1760" y="2911"/>
                  </a:lnTo>
                  <a:lnTo>
                    <a:pt x="1768" y="2916"/>
                  </a:lnTo>
                  <a:lnTo>
                    <a:pt x="1768" y="2905"/>
                  </a:lnTo>
                  <a:lnTo>
                    <a:pt x="1776" y="2907"/>
                  </a:lnTo>
                  <a:lnTo>
                    <a:pt x="1782" y="2915"/>
                  </a:lnTo>
                  <a:lnTo>
                    <a:pt x="1786" y="2909"/>
                  </a:lnTo>
                  <a:lnTo>
                    <a:pt x="1793" y="2917"/>
                  </a:lnTo>
                  <a:lnTo>
                    <a:pt x="1801" y="2909"/>
                  </a:lnTo>
                  <a:lnTo>
                    <a:pt x="1801" y="2901"/>
                  </a:lnTo>
                  <a:lnTo>
                    <a:pt x="1813" y="2885"/>
                  </a:lnTo>
                  <a:lnTo>
                    <a:pt x="1808" y="2877"/>
                  </a:lnTo>
                  <a:lnTo>
                    <a:pt x="1809" y="2871"/>
                  </a:lnTo>
                  <a:lnTo>
                    <a:pt x="1807" y="2863"/>
                  </a:lnTo>
                  <a:lnTo>
                    <a:pt x="1793" y="2855"/>
                  </a:lnTo>
                  <a:lnTo>
                    <a:pt x="1801" y="2852"/>
                  </a:lnTo>
                  <a:lnTo>
                    <a:pt x="1804" y="2848"/>
                  </a:lnTo>
                  <a:lnTo>
                    <a:pt x="1812" y="2852"/>
                  </a:lnTo>
                  <a:lnTo>
                    <a:pt x="1819" y="2832"/>
                  </a:lnTo>
                  <a:lnTo>
                    <a:pt x="1827" y="2836"/>
                  </a:lnTo>
                  <a:lnTo>
                    <a:pt x="1829" y="2845"/>
                  </a:lnTo>
                  <a:lnTo>
                    <a:pt x="1836" y="2846"/>
                  </a:lnTo>
                  <a:lnTo>
                    <a:pt x="1841" y="2830"/>
                  </a:lnTo>
                  <a:lnTo>
                    <a:pt x="1851" y="2839"/>
                  </a:lnTo>
                  <a:lnTo>
                    <a:pt x="1854" y="2845"/>
                  </a:lnTo>
                  <a:lnTo>
                    <a:pt x="1862" y="2842"/>
                  </a:lnTo>
                  <a:lnTo>
                    <a:pt x="1878" y="2841"/>
                  </a:lnTo>
                  <a:lnTo>
                    <a:pt x="1871" y="2831"/>
                  </a:lnTo>
                  <a:lnTo>
                    <a:pt x="1886" y="2831"/>
                  </a:lnTo>
                  <a:lnTo>
                    <a:pt x="1898" y="2837"/>
                  </a:lnTo>
                  <a:lnTo>
                    <a:pt x="1899" y="2828"/>
                  </a:lnTo>
                  <a:lnTo>
                    <a:pt x="1904" y="2828"/>
                  </a:lnTo>
                  <a:lnTo>
                    <a:pt x="1901" y="2818"/>
                  </a:lnTo>
                  <a:lnTo>
                    <a:pt x="1904" y="2815"/>
                  </a:lnTo>
                  <a:lnTo>
                    <a:pt x="1900" y="2812"/>
                  </a:lnTo>
                  <a:lnTo>
                    <a:pt x="1895" y="2812"/>
                  </a:lnTo>
                  <a:lnTo>
                    <a:pt x="1888" y="2803"/>
                  </a:lnTo>
                  <a:lnTo>
                    <a:pt x="1890" y="2788"/>
                  </a:lnTo>
                  <a:lnTo>
                    <a:pt x="1900" y="2801"/>
                  </a:lnTo>
                  <a:lnTo>
                    <a:pt x="1901" y="2792"/>
                  </a:lnTo>
                  <a:lnTo>
                    <a:pt x="1906" y="2796"/>
                  </a:lnTo>
                  <a:lnTo>
                    <a:pt x="1911" y="2796"/>
                  </a:lnTo>
                  <a:lnTo>
                    <a:pt x="1914" y="2782"/>
                  </a:lnTo>
                  <a:lnTo>
                    <a:pt x="1904" y="2774"/>
                  </a:lnTo>
                  <a:lnTo>
                    <a:pt x="1916" y="2767"/>
                  </a:lnTo>
                  <a:lnTo>
                    <a:pt x="1914" y="2761"/>
                  </a:lnTo>
                  <a:lnTo>
                    <a:pt x="1919" y="2755"/>
                  </a:lnTo>
                  <a:lnTo>
                    <a:pt x="1925" y="2756"/>
                  </a:lnTo>
                  <a:lnTo>
                    <a:pt x="1911" y="2745"/>
                  </a:lnTo>
                  <a:lnTo>
                    <a:pt x="1910" y="2739"/>
                  </a:lnTo>
                  <a:lnTo>
                    <a:pt x="1919" y="2744"/>
                  </a:lnTo>
                  <a:lnTo>
                    <a:pt x="1922" y="2731"/>
                  </a:lnTo>
                  <a:lnTo>
                    <a:pt x="1933" y="2746"/>
                  </a:lnTo>
                  <a:lnTo>
                    <a:pt x="1941" y="2744"/>
                  </a:lnTo>
                  <a:lnTo>
                    <a:pt x="1947" y="2746"/>
                  </a:lnTo>
                  <a:lnTo>
                    <a:pt x="1960" y="2745"/>
                  </a:lnTo>
                  <a:lnTo>
                    <a:pt x="1936" y="2765"/>
                  </a:lnTo>
                  <a:lnTo>
                    <a:pt x="1935" y="2777"/>
                  </a:lnTo>
                  <a:lnTo>
                    <a:pt x="1925" y="2787"/>
                  </a:lnTo>
                  <a:lnTo>
                    <a:pt x="1927" y="2793"/>
                  </a:lnTo>
                  <a:lnTo>
                    <a:pt x="1927" y="2797"/>
                  </a:lnTo>
                  <a:lnTo>
                    <a:pt x="1930" y="2799"/>
                  </a:lnTo>
                  <a:lnTo>
                    <a:pt x="1936" y="2799"/>
                  </a:lnTo>
                  <a:lnTo>
                    <a:pt x="1943" y="2803"/>
                  </a:lnTo>
                  <a:lnTo>
                    <a:pt x="1954" y="2812"/>
                  </a:lnTo>
                  <a:lnTo>
                    <a:pt x="1956" y="2804"/>
                  </a:lnTo>
                  <a:lnTo>
                    <a:pt x="1947" y="2796"/>
                  </a:lnTo>
                  <a:lnTo>
                    <a:pt x="1957" y="2801"/>
                  </a:lnTo>
                  <a:lnTo>
                    <a:pt x="1956" y="2788"/>
                  </a:lnTo>
                  <a:lnTo>
                    <a:pt x="1957" y="2775"/>
                  </a:lnTo>
                  <a:lnTo>
                    <a:pt x="1967" y="2785"/>
                  </a:lnTo>
                  <a:lnTo>
                    <a:pt x="1973" y="2802"/>
                  </a:lnTo>
                  <a:lnTo>
                    <a:pt x="1983" y="2801"/>
                  </a:lnTo>
                  <a:lnTo>
                    <a:pt x="1987" y="2810"/>
                  </a:lnTo>
                  <a:lnTo>
                    <a:pt x="1992" y="2794"/>
                  </a:lnTo>
                  <a:lnTo>
                    <a:pt x="1997" y="2782"/>
                  </a:lnTo>
                  <a:lnTo>
                    <a:pt x="2005" y="2781"/>
                  </a:lnTo>
                  <a:lnTo>
                    <a:pt x="2002" y="2797"/>
                  </a:lnTo>
                  <a:lnTo>
                    <a:pt x="2007" y="2793"/>
                  </a:lnTo>
                  <a:lnTo>
                    <a:pt x="2012" y="2797"/>
                  </a:lnTo>
                  <a:lnTo>
                    <a:pt x="2014" y="2793"/>
                  </a:lnTo>
                  <a:lnTo>
                    <a:pt x="2022" y="2801"/>
                  </a:lnTo>
                  <a:lnTo>
                    <a:pt x="2023" y="2788"/>
                  </a:lnTo>
                  <a:lnTo>
                    <a:pt x="2028" y="2774"/>
                  </a:lnTo>
                  <a:lnTo>
                    <a:pt x="2038" y="2778"/>
                  </a:lnTo>
                  <a:lnTo>
                    <a:pt x="2038" y="2767"/>
                  </a:lnTo>
                  <a:lnTo>
                    <a:pt x="2042" y="2758"/>
                  </a:lnTo>
                  <a:lnTo>
                    <a:pt x="2034" y="2746"/>
                  </a:lnTo>
                  <a:lnTo>
                    <a:pt x="2030" y="2740"/>
                  </a:lnTo>
                  <a:lnTo>
                    <a:pt x="2033" y="2731"/>
                  </a:lnTo>
                  <a:lnTo>
                    <a:pt x="2044" y="2744"/>
                  </a:lnTo>
                  <a:lnTo>
                    <a:pt x="2065" y="2753"/>
                  </a:lnTo>
                  <a:lnTo>
                    <a:pt x="2072" y="2753"/>
                  </a:lnTo>
                  <a:lnTo>
                    <a:pt x="2065" y="2740"/>
                  </a:lnTo>
                  <a:lnTo>
                    <a:pt x="2073" y="2728"/>
                  </a:lnTo>
                  <a:lnTo>
                    <a:pt x="2076" y="2740"/>
                  </a:lnTo>
                  <a:lnTo>
                    <a:pt x="2081" y="2744"/>
                  </a:lnTo>
                  <a:lnTo>
                    <a:pt x="2086" y="2739"/>
                  </a:lnTo>
                  <a:lnTo>
                    <a:pt x="2093" y="2739"/>
                  </a:lnTo>
                  <a:lnTo>
                    <a:pt x="2097" y="2734"/>
                  </a:lnTo>
                  <a:lnTo>
                    <a:pt x="2098" y="2724"/>
                  </a:lnTo>
                  <a:lnTo>
                    <a:pt x="2102" y="2717"/>
                  </a:lnTo>
                  <a:lnTo>
                    <a:pt x="2105" y="2700"/>
                  </a:lnTo>
                  <a:lnTo>
                    <a:pt x="2110" y="2685"/>
                  </a:lnTo>
                  <a:lnTo>
                    <a:pt x="2114" y="2700"/>
                  </a:lnTo>
                  <a:lnTo>
                    <a:pt x="2118" y="2690"/>
                  </a:lnTo>
                  <a:lnTo>
                    <a:pt x="2120" y="2702"/>
                  </a:lnTo>
                  <a:lnTo>
                    <a:pt x="2123" y="2691"/>
                  </a:lnTo>
                  <a:lnTo>
                    <a:pt x="2126" y="2683"/>
                  </a:lnTo>
                  <a:lnTo>
                    <a:pt x="2126" y="2679"/>
                  </a:lnTo>
                  <a:lnTo>
                    <a:pt x="2131" y="2680"/>
                  </a:lnTo>
                  <a:lnTo>
                    <a:pt x="2130" y="2672"/>
                  </a:lnTo>
                  <a:lnTo>
                    <a:pt x="2137" y="2678"/>
                  </a:lnTo>
                  <a:lnTo>
                    <a:pt x="2132" y="2664"/>
                  </a:lnTo>
                  <a:lnTo>
                    <a:pt x="2134" y="2660"/>
                  </a:lnTo>
                  <a:lnTo>
                    <a:pt x="2140" y="2656"/>
                  </a:lnTo>
                  <a:lnTo>
                    <a:pt x="2142" y="2649"/>
                  </a:lnTo>
                  <a:lnTo>
                    <a:pt x="2156" y="2642"/>
                  </a:lnTo>
                  <a:lnTo>
                    <a:pt x="2158" y="2619"/>
                  </a:lnTo>
                  <a:lnTo>
                    <a:pt x="2161" y="2615"/>
                  </a:lnTo>
                  <a:lnTo>
                    <a:pt x="2159" y="2604"/>
                  </a:lnTo>
                  <a:lnTo>
                    <a:pt x="2156" y="2599"/>
                  </a:lnTo>
                  <a:lnTo>
                    <a:pt x="2164" y="2599"/>
                  </a:lnTo>
                  <a:lnTo>
                    <a:pt x="2163" y="2590"/>
                  </a:lnTo>
                  <a:lnTo>
                    <a:pt x="2168" y="2573"/>
                  </a:lnTo>
                  <a:lnTo>
                    <a:pt x="2175" y="2571"/>
                  </a:lnTo>
                  <a:lnTo>
                    <a:pt x="2177" y="2560"/>
                  </a:lnTo>
                  <a:lnTo>
                    <a:pt x="2174" y="2551"/>
                  </a:lnTo>
                  <a:lnTo>
                    <a:pt x="2184" y="2555"/>
                  </a:lnTo>
                  <a:lnTo>
                    <a:pt x="2196" y="2547"/>
                  </a:lnTo>
                  <a:lnTo>
                    <a:pt x="2209" y="2534"/>
                  </a:lnTo>
                  <a:lnTo>
                    <a:pt x="2207" y="2528"/>
                  </a:lnTo>
                  <a:lnTo>
                    <a:pt x="2215" y="2519"/>
                  </a:lnTo>
                  <a:lnTo>
                    <a:pt x="2220" y="2528"/>
                  </a:lnTo>
                  <a:lnTo>
                    <a:pt x="2226" y="2522"/>
                  </a:lnTo>
                  <a:lnTo>
                    <a:pt x="2229" y="2525"/>
                  </a:lnTo>
                  <a:lnTo>
                    <a:pt x="2231" y="2518"/>
                  </a:lnTo>
                  <a:lnTo>
                    <a:pt x="2234" y="2514"/>
                  </a:lnTo>
                  <a:lnTo>
                    <a:pt x="2233" y="2501"/>
                  </a:lnTo>
                  <a:lnTo>
                    <a:pt x="2242" y="2498"/>
                  </a:lnTo>
                  <a:lnTo>
                    <a:pt x="2237" y="2489"/>
                  </a:lnTo>
                  <a:lnTo>
                    <a:pt x="2217" y="2477"/>
                  </a:lnTo>
                  <a:lnTo>
                    <a:pt x="2225" y="2475"/>
                  </a:lnTo>
                  <a:lnTo>
                    <a:pt x="2216" y="2454"/>
                  </a:lnTo>
                  <a:lnTo>
                    <a:pt x="2202" y="2436"/>
                  </a:lnTo>
                  <a:lnTo>
                    <a:pt x="2201" y="2428"/>
                  </a:lnTo>
                  <a:lnTo>
                    <a:pt x="2214" y="2427"/>
                  </a:lnTo>
                  <a:lnTo>
                    <a:pt x="2211" y="2415"/>
                  </a:lnTo>
                  <a:lnTo>
                    <a:pt x="2221" y="2425"/>
                  </a:lnTo>
                  <a:lnTo>
                    <a:pt x="2221" y="2438"/>
                  </a:lnTo>
                  <a:lnTo>
                    <a:pt x="2223" y="2448"/>
                  </a:lnTo>
                  <a:lnTo>
                    <a:pt x="2229" y="2436"/>
                  </a:lnTo>
                  <a:lnTo>
                    <a:pt x="2232" y="2439"/>
                  </a:lnTo>
                  <a:lnTo>
                    <a:pt x="2233" y="2449"/>
                  </a:lnTo>
                  <a:lnTo>
                    <a:pt x="2239" y="2458"/>
                  </a:lnTo>
                  <a:lnTo>
                    <a:pt x="2241" y="2465"/>
                  </a:lnTo>
                  <a:lnTo>
                    <a:pt x="2260" y="2471"/>
                  </a:lnTo>
                  <a:lnTo>
                    <a:pt x="2256" y="2480"/>
                  </a:lnTo>
                  <a:lnTo>
                    <a:pt x="2248" y="2476"/>
                  </a:lnTo>
                  <a:lnTo>
                    <a:pt x="2250" y="2489"/>
                  </a:lnTo>
                  <a:lnTo>
                    <a:pt x="2261" y="2495"/>
                  </a:lnTo>
                  <a:lnTo>
                    <a:pt x="2260" y="2501"/>
                  </a:lnTo>
                  <a:lnTo>
                    <a:pt x="2270" y="2493"/>
                  </a:lnTo>
                  <a:lnTo>
                    <a:pt x="2280" y="2493"/>
                  </a:lnTo>
                  <a:lnTo>
                    <a:pt x="2297" y="2501"/>
                  </a:lnTo>
                  <a:lnTo>
                    <a:pt x="2288" y="2490"/>
                  </a:lnTo>
                  <a:lnTo>
                    <a:pt x="2291" y="2486"/>
                  </a:lnTo>
                  <a:lnTo>
                    <a:pt x="2290" y="2481"/>
                  </a:lnTo>
                  <a:lnTo>
                    <a:pt x="2295" y="2481"/>
                  </a:lnTo>
                  <a:lnTo>
                    <a:pt x="2296" y="2485"/>
                  </a:lnTo>
                  <a:lnTo>
                    <a:pt x="2314" y="2497"/>
                  </a:lnTo>
                  <a:lnTo>
                    <a:pt x="2324" y="2497"/>
                  </a:lnTo>
                  <a:lnTo>
                    <a:pt x="2322" y="2486"/>
                  </a:lnTo>
                  <a:lnTo>
                    <a:pt x="2311" y="2481"/>
                  </a:lnTo>
                  <a:lnTo>
                    <a:pt x="2311" y="2468"/>
                  </a:lnTo>
                  <a:lnTo>
                    <a:pt x="2317" y="2473"/>
                  </a:lnTo>
                  <a:lnTo>
                    <a:pt x="2330" y="2474"/>
                  </a:lnTo>
                  <a:lnTo>
                    <a:pt x="2330" y="2484"/>
                  </a:lnTo>
                  <a:lnTo>
                    <a:pt x="2339" y="2493"/>
                  </a:lnTo>
                  <a:lnTo>
                    <a:pt x="2346" y="2484"/>
                  </a:lnTo>
                  <a:lnTo>
                    <a:pt x="2338" y="2475"/>
                  </a:lnTo>
                  <a:lnTo>
                    <a:pt x="2341" y="2469"/>
                  </a:lnTo>
                  <a:lnTo>
                    <a:pt x="2351" y="2474"/>
                  </a:lnTo>
                  <a:lnTo>
                    <a:pt x="2349" y="2460"/>
                  </a:lnTo>
                  <a:lnTo>
                    <a:pt x="2350" y="2452"/>
                  </a:lnTo>
                  <a:lnTo>
                    <a:pt x="2357" y="2448"/>
                  </a:lnTo>
                  <a:lnTo>
                    <a:pt x="2360" y="2448"/>
                  </a:lnTo>
                  <a:lnTo>
                    <a:pt x="2366" y="2460"/>
                  </a:lnTo>
                  <a:lnTo>
                    <a:pt x="2378" y="2473"/>
                  </a:lnTo>
                  <a:lnTo>
                    <a:pt x="2381" y="2471"/>
                  </a:lnTo>
                  <a:lnTo>
                    <a:pt x="2384" y="2466"/>
                  </a:lnTo>
                  <a:lnTo>
                    <a:pt x="2387" y="2459"/>
                  </a:lnTo>
                  <a:lnTo>
                    <a:pt x="2395" y="2465"/>
                  </a:lnTo>
                  <a:lnTo>
                    <a:pt x="2398" y="2454"/>
                  </a:lnTo>
                  <a:lnTo>
                    <a:pt x="2424" y="2450"/>
                  </a:lnTo>
                  <a:lnTo>
                    <a:pt x="2435" y="2441"/>
                  </a:lnTo>
                  <a:lnTo>
                    <a:pt x="2443" y="2446"/>
                  </a:lnTo>
                  <a:lnTo>
                    <a:pt x="2443" y="2436"/>
                  </a:lnTo>
                  <a:lnTo>
                    <a:pt x="2452" y="2441"/>
                  </a:lnTo>
                  <a:lnTo>
                    <a:pt x="2458" y="2438"/>
                  </a:lnTo>
                  <a:lnTo>
                    <a:pt x="2460" y="2426"/>
                  </a:lnTo>
                  <a:lnTo>
                    <a:pt x="2468" y="2430"/>
                  </a:lnTo>
                  <a:lnTo>
                    <a:pt x="2473" y="2439"/>
                  </a:lnTo>
                  <a:lnTo>
                    <a:pt x="2478" y="2438"/>
                  </a:lnTo>
                  <a:lnTo>
                    <a:pt x="2476" y="2428"/>
                  </a:lnTo>
                  <a:lnTo>
                    <a:pt x="2483" y="2426"/>
                  </a:lnTo>
                  <a:lnTo>
                    <a:pt x="2489" y="2425"/>
                  </a:lnTo>
                  <a:lnTo>
                    <a:pt x="2494" y="2431"/>
                  </a:lnTo>
                  <a:lnTo>
                    <a:pt x="2499" y="2428"/>
                  </a:lnTo>
                  <a:lnTo>
                    <a:pt x="2499" y="2422"/>
                  </a:lnTo>
                  <a:lnTo>
                    <a:pt x="2501" y="2420"/>
                  </a:lnTo>
                  <a:lnTo>
                    <a:pt x="2510" y="2419"/>
                  </a:lnTo>
                  <a:lnTo>
                    <a:pt x="2514" y="2423"/>
                  </a:lnTo>
                  <a:lnTo>
                    <a:pt x="2517" y="2411"/>
                  </a:lnTo>
                  <a:lnTo>
                    <a:pt x="2521" y="2407"/>
                  </a:lnTo>
                  <a:lnTo>
                    <a:pt x="2533" y="2404"/>
                  </a:lnTo>
                  <a:lnTo>
                    <a:pt x="2537" y="2411"/>
                  </a:lnTo>
                  <a:lnTo>
                    <a:pt x="2539" y="2406"/>
                  </a:lnTo>
                  <a:lnTo>
                    <a:pt x="2554" y="2406"/>
                  </a:lnTo>
                  <a:lnTo>
                    <a:pt x="2551" y="2400"/>
                  </a:lnTo>
                  <a:lnTo>
                    <a:pt x="2555" y="2393"/>
                  </a:lnTo>
                  <a:lnTo>
                    <a:pt x="2573" y="2389"/>
                  </a:lnTo>
                  <a:lnTo>
                    <a:pt x="2577" y="2383"/>
                  </a:lnTo>
                  <a:lnTo>
                    <a:pt x="2577" y="2378"/>
                  </a:lnTo>
                  <a:lnTo>
                    <a:pt x="2586" y="2378"/>
                  </a:lnTo>
                  <a:lnTo>
                    <a:pt x="2591" y="2363"/>
                  </a:lnTo>
                  <a:lnTo>
                    <a:pt x="2600" y="2363"/>
                  </a:lnTo>
                  <a:lnTo>
                    <a:pt x="2593" y="2360"/>
                  </a:lnTo>
                  <a:lnTo>
                    <a:pt x="2591" y="2353"/>
                  </a:lnTo>
                  <a:lnTo>
                    <a:pt x="2591" y="2345"/>
                  </a:lnTo>
                  <a:lnTo>
                    <a:pt x="2608" y="2353"/>
                  </a:lnTo>
                  <a:lnTo>
                    <a:pt x="2607" y="2342"/>
                  </a:lnTo>
                  <a:lnTo>
                    <a:pt x="2613" y="2340"/>
                  </a:lnTo>
                  <a:lnTo>
                    <a:pt x="2623" y="2345"/>
                  </a:lnTo>
                  <a:lnTo>
                    <a:pt x="2620" y="2337"/>
                  </a:lnTo>
                  <a:lnTo>
                    <a:pt x="2621" y="2334"/>
                  </a:lnTo>
                  <a:lnTo>
                    <a:pt x="2621" y="2329"/>
                  </a:lnTo>
                  <a:lnTo>
                    <a:pt x="2608" y="2324"/>
                  </a:lnTo>
                  <a:lnTo>
                    <a:pt x="2619" y="2314"/>
                  </a:lnTo>
                  <a:lnTo>
                    <a:pt x="2627" y="2318"/>
                  </a:lnTo>
                  <a:lnTo>
                    <a:pt x="2635" y="2324"/>
                  </a:lnTo>
                  <a:lnTo>
                    <a:pt x="2639" y="2320"/>
                  </a:lnTo>
                  <a:lnTo>
                    <a:pt x="2634" y="2319"/>
                  </a:lnTo>
                  <a:lnTo>
                    <a:pt x="2635" y="2314"/>
                  </a:lnTo>
                  <a:lnTo>
                    <a:pt x="2646" y="2310"/>
                  </a:lnTo>
                  <a:lnTo>
                    <a:pt x="2646" y="2301"/>
                  </a:lnTo>
                  <a:lnTo>
                    <a:pt x="2661" y="2296"/>
                  </a:lnTo>
                  <a:lnTo>
                    <a:pt x="2658" y="2288"/>
                  </a:lnTo>
                  <a:lnTo>
                    <a:pt x="2673" y="2294"/>
                  </a:lnTo>
                  <a:lnTo>
                    <a:pt x="2666" y="2283"/>
                  </a:lnTo>
                  <a:lnTo>
                    <a:pt x="2674" y="2286"/>
                  </a:lnTo>
                  <a:lnTo>
                    <a:pt x="2669" y="2276"/>
                  </a:lnTo>
                  <a:lnTo>
                    <a:pt x="2661" y="2272"/>
                  </a:lnTo>
                  <a:lnTo>
                    <a:pt x="2666" y="2267"/>
                  </a:lnTo>
                  <a:lnTo>
                    <a:pt x="2675" y="2269"/>
                  </a:lnTo>
                  <a:lnTo>
                    <a:pt x="2679" y="2264"/>
                  </a:lnTo>
                  <a:lnTo>
                    <a:pt x="2684" y="2271"/>
                  </a:lnTo>
                  <a:lnTo>
                    <a:pt x="2693" y="2276"/>
                  </a:lnTo>
                  <a:lnTo>
                    <a:pt x="2698" y="2265"/>
                  </a:lnTo>
                  <a:lnTo>
                    <a:pt x="2693" y="2260"/>
                  </a:lnTo>
                  <a:lnTo>
                    <a:pt x="2698" y="2259"/>
                  </a:lnTo>
                  <a:lnTo>
                    <a:pt x="2686" y="2245"/>
                  </a:lnTo>
                  <a:lnTo>
                    <a:pt x="2699" y="2239"/>
                  </a:lnTo>
                  <a:lnTo>
                    <a:pt x="2717" y="2236"/>
                  </a:lnTo>
                  <a:lnTo>
                    <a:pt x="2720" y="2226"/>
                  </a:lnTo>
                  <a:lnTo>
                    <a:pt x="2736" y="2236"/>
                  </a:lnTo>
                  <a:lnTo>
                    <a:pt x="2732" y="2229"/>
                  </a:lnTo>
                  <a:lnTo>
                    <a:pt x="2726" y="2228"/>
                  </a:lnTo>
                  <a:lnTo>
                    <a:pt x="2722" y="2223"/>
                  </a:lnTo>
                  <a:lnTo>
                    <a:pt x="2728" y="2222"/>
                  </a:lnTo>
                  <a:lnTo>
                    <a:pt x="2729" y="2212"/>
                  </a:lnTo>
                  <a:lnTo>
                    <a:pt x="2738" y="2216"/>
                  </a:lnTo>
                  <a:lnTo>
                    <a:pt x="2744" y="2208"/>
                  </a:lnTo>
                  <a:lnTo>
                    <a:pt x="2750" y="2212"/>
                  </a:lnTo>
                  <a:lnTo>
                    <a:pt x="2758" y="2212"/>
                  </a:lnTo>
                  <a:lnTo>
                    <a:pt x="2763" y="2205"/>
                  </a:lnTo>
                  <a:lnTo>
                    <a:pt x="2769" y="2212"/>
                  </a:lnTo>
                  <a:lnTo>
                    <a:pt x="2781" y="2193"/>
                  </a:lnTo>
                  <a:lnTo>
                    <a:pt x="2786" y="2178"/>
                  </a:lnTo>
                  <a:lnTo>
                    <a:pt x="2783" y="2178"/>
                  </a:lnTo>
                  <a:lnTo>
                    <a:pt x="2760" y="2190"/>
                  </a:lnTo>
                  <a:lnTo>
                    <a:pt x="2744" y="2191"/>
                  </a:lnTo>
                  <a:lnTo>
                    <a:pt x="2693" y="2184"/>
                  </a:lnTo>
                  <a:lnTo>
                    <a:pt x="2634" y="2154"/>
                  </a:lnTo>
                  <a:lnTo>
                    <a:pt x="2627" y="2157"/>
                  </a:lnTo>
                  <a:lnTo>
                    <a:pt x="2627" y="2145"/>
                  </a:lnTo>
                  <a:lnTo>
                    <a:pt x="2618" y="2148"/>
                  </a:lnTo>
                  <a:lnTo>
                    <a:pt x="2607" y="2154"/>
                  </a:lnTo>
                  <a:lnTo>
                    <a:pt x="2602" y="2142"/>
                  </a:lnTo>
                  <a:lnTo>
                    <a:pt x="2564" y="2161"/>
                  </a:lnTo>
                  <a:lnTo>
                    <a:pt x="2549" y="2173"/>
                  </a:lnTo>
                  <a:lnTo>
                    <a:pt x="2529" y="2164"/>
                  </a:lnTo>
                  <a:lnTo>
                    <a:pt x="2507" y="2174"/>
                  </a:lnTo>
                  <a:lnTo>
                    <a:pt x="2497" y="2201"/>
                  </a:lnTo>
                  <a:lnTo>
                    <a:pt x="2463" y="2200"/>
                  </a:lnTo>
                  <a:lnTo>
                    <a:pt x="2427" y="2195"/>
                  </a:lnTo>
                  <a:lnTo>
                    <a:pt x="2446" y="2179"/>
                  </a:lnTo>
                  <a:lnTo>
                    <a:pt x="2463" y="2186"/>
                  </a:lnTo>
                  <a:lnTo>
                    <a:pt x="2479" y="2180"/>
                  </a:lnTo>
                  <a:lnTo>
                    <a:pt x="2508" y="2156"/>
                  </a:lnTo>
                  <a:lnTo>
                    <a:pt x="2528" y="2154"/>
                  </a:lnTo>
                  <a:lnTo>
                    <a:pt x="2541" y="2147"/>
                  </a:lnTo>
                  <a:lnTo>
                    <a:pt x="2534" y="2135"/>
                  </a:lnTo>
                  <a:lnTo>
                    <a:pt x="2518" y="2132"/>
                  </a:lnTo>
                  <a:lnTo>
                    <a:pt x="2465" y="2141"/>
                  </a:lnTo>
                  <a:lnTo>
                    <a:pt x="2437" y="2138"/>
                  </a:lnTo>
                  <a:lnTo>
                    <a:pt x="2425" y="2127"/>
                  </a:lnTo>
                  <a:lnTo>
                    <a:pt x="2409" y="2126"/>
                  </a:lnTo>
                  <a:lnTo>
                    <a:pt x="2441" y="2111"/>
                  </a:lnTo>
                  <a:lnTo>
                    <a:pt x="2449" y="2099"/>
                  </a:lnTo>
                  <a:lnTo>
                    <a:pt x="2458" y="2073"/>
                  </a:lnTo>
                  <a:lnTo>
                    <a:pt x="2444" y="2055"/>
                  </a:lnTo>
                  <a:lnTo>
                    <a:pt x="2448" y="2046"/>
                  </a:lnTo>
                  <a:lnTo>
                    <a:pt x="2465" y="2044"/>
                  </a:lnTo>
                  <a:lnTo>
                    <a:pt x="2476" y="2050"/>
                  </a:lnTo>
                  <a:lnTo>
                    <a:pt x="2478" y="2029"/>
                  </a:lnTo>
                  <a:lnTo>
                    <a:pt x="2494" y="2045"/>
                  </a:lnTo>
                  <a:lnTo>
                    <a:pt x="2535" y="2045"/>
                  </a:lnTo>
                  <a:lnTo>
                    <a:pt x="2571" y="2024"/>
                  </a:lnTo>
                  <a:lnTo>
                    <a:pt x="2584" y="2008"/>
                  </a:lnTo>
                  <a:lnTo>
                    <a:pt x="2578" y="1991"/>
                  </a:lnTo>
                  <a:lnTo>
                    <a:pt x="2594" y="2001"/>
                  </a:lnTo>
                  <a:lnTo>
                    <a:pt x="2592" y="1975"/>
                  </a:lnTo>
                  <a:lnTo>
                    <a:pt x="2577" y="1959"/>
                  </a:lnTo>
                  <a:lnTo>
                    <a:pt x="2553" y="1955"/>
                  </a:lnTo>
                  <a:lnTo>
                    <a:pt x="2535" y="1960"/>
                  </a:lnTo>
                  <a:lnTo>
                    <a:pt x="2516" y="1949"/>
                  </a:lnTo>
                  <a:lnTo>
                    <a:pt x="2499" y="1958"/>
                  </a:lnTo>
                  <a:lnTo>
                    <a:pt x="2501" y="1944"/>
                  </a:lnTo>
                  <a:lnTo>
                    <a:pt x="2490" y="1938"/>
                  </a:lnTo>
                  <a:lnTo>
                    <a:pt x="2471" y="1931"/>
                  </a:lnTo>
                  <a:lnTo>
                    <a:pt x="2487" y="1927"/>
                  </a:lnTo>
                  <a:lnTo>
                    <a:pt x="2483" y="1912"/>
                  </a:lnTo>
                  <a:lnTo>
                    <a:pt x="2480" y="1898"/>
                  </a:lnTo>
                  <a:lnTo>
                    <a:pt x="2505" y="1915"/>
                  </a:lnTo>
                  <a:lnTo>
                    <a:pt x="2521" y="1938"/>
                  </a:lnTo>
                  <a:lnTo>
                    <a:pt x="2538" y="1942"/>
                  </a:lnTo>
                  <a:lnTo>
                    <a:pt x="2550" y="1932"/>
                  </a:lnTo>
                  <a:lnTo>
                    <a:pt x="2565" y="1941"/>
                  </a:lnTo>
                  <a:lnTo>
                    <a:pt x="2583" y="1944"/>
                  </a:lnTo>
                  <a:lnTo>
                    <a:pt x="2604" y="1964"/>
                  </a:lnTo>
                  <a:lnTo>
                    <a:pt x="2620" y="1984"/>
                  </a:lnTo>
                  <a:lnTo>
                    <a:pt x="2640" y="1982"/>
                  </a:lnTo>
                  <a:lnTo>
                    <a:pt x="2646" y="1990"/>
                  </a:lnTo>
                  <a:lnTo>
                    <a:pt x="2651" y="2008"/>
                  </a:lnTo>
                  <a:lnTo>
                    <a:pt x="2667" y="2027"/>
                  </a:lnTo>
                  <a:lnTo>
                    <a:pt x="2669" y="2049"/>
                  </a:lnTo>
                  <a:lnTo>
                    <a:pt x="2675" y="2082"/>
                  </a:lnTo>
                  <a:lnTo>
                    <a:pt x="2689" y="2107"/>
                  </a:lnTo>
                  <a:lnTo>
                    <a:pt x="2710" y="2124"/>
                  </a:lnTo>
                  <a:lnTo>
                    <a:pt x="2734" y="2134"/>
                  </a:lnTo>
                  <a:lnTo>
                    <a:pt x="2755" y="2130"/>
                  </a:lnTo>
                  <a:lnTo>
                    <a:pt x="2756" y="2087"/>
                  </a:lnTo>
                  <a:lnTo>
                    <a:pt x="2759" y="2068"/>
                  </a:lnTo>
                  <a:lnTo>
                    <a:pt x="2765" y="2070"/>
                  </a:lnTo>
                  <a:lnTo>
                    <a:pt x="2768" y="2099"/>
                  </a:lnTo>
                  <a:lnTo>
                    <a:pt x="2772" y="2123"/>
                  </a:lnTo>
                  <a:lnTo>
                    <a:pt x="2788" y="2119"/>
                  </a:lnTo>
                  <a:lnTo>
                    <a:pt x="2796" y="2132"/>
                  </a:lnTo>
                  <a:lnTo>
                    <a:pt x="2811" y="2126"/>
                  </a:lnTo>
                  <a:lnTo>
                    <a:pt x="2812" y="2108"/>
                  </a:lnTo>
                  <a:lnTo>
                    <a:pt x="2803" y="2104"/>
                  </a:lnTo>
                  <a:lnTo>
                    <a:pt x="2804" y="2087"/>
                  </a:lnTo>
                  <a:lnTo>
                    <a:pt x="2797" y="2070"/>
                  </a:lnTo>
                  <a:lnTo>
                    <a:pt x="2802" y="2064"/>
                  </a:lnTo>
                  <a:lnTo>
                    <a:pt x="2799" y="2045"/>
                  </a:lnTo>
                  <a:lnTo>
                    <a:pt x="2802" y="2038"/>
                  </a:lnTo>
                  <a:lnTo>
                    <a:pt x="2797" y="2027"/>
                  </a:lnTo>
                  <a:lnTo>
                    <a:pt x="2785" y="2029"/>
                  </a:lnTo>
                  <a:lnTo>
                    <a:pt x="2798" y="2021"/>
                  </a:lnTo>
                  <a:lnTo>
                    <a:pt x="2799" y="2003"/>
                  </a:lnTo>
                  <a:lnTo>
                    <a:pt x="2797" y="1991"/>
                  </a:lnTo>
                  <a:lnTo>
                    <a:pt x="2801" y="1984"/>
                  </a:lnTo>
                  <a:lnTo>
                    <a:pt x="2802" y="1955"/>
                  </a:lnTo>
                  <a:lnTo>
                    <a:pt x="2795" y="1952"/>
                  </a:lnTo>
                  <a:lnTo>
                    <a:pt x="2781" y="1965"/>
                  </a:lnTo>
                  <a:lnTo>
                    <a:pt x="2774" y="1963"/>
                  </a:lnTo>
                  <a:lnTo>
                    <a:pt x="2766" y="1989"/>
                  </a:lnTo>
                  <a:lnTo>
                    <a:pt x="2759" y="1991"/>
                  </a:lnTo>
                  <a:lnTo>
                    <a:pt x="2759" y="1962"/>
                  </a:lnTo>
                  <a:lnTo>
                    <a:pt x="2781" y="1930"/>
                  </a:lnTo>
                  <a:lnTo>
                    <a:pt x="2786" y="1915"/>
                  </a:lnTo>
                  <a:lnTo>
                    <a:pt x="2776" y="1915"/>
                  </a:lnTo>
                  <a:lnTo>
                    <a:pt x="2769" y="1922"/>
                  </a:lnTo>
                  <a:lnTo>
                    <a:pt x="2760" y="1936"/>
                  </a:lnTo>
                  <a:lnTo>
                    <a:pt x="2754" y="1939"/>
                  </a:lnTo>
                  <a:lnTo>
                    <a:pt x="2761" y="1920"/>
                  </a:lnTo>
                  <a:lnTo>
                    <a:pt x="2763" y="1905"/>
                  </a:lnTo>
                  <a:lnTo>
                    <a:pt x="2742" y="1920"/>
                  </a:lnTo>
                  <a:lnTo>
                    <a:pt x="2732" y="1936"/>
                  </a:lnTo>
                  <a:lnTo>
                    <a:pt x="2726" y="1939"/>
                  </a:lnTo>
                  <a:lnTo>
                    <a:pt x="2734" y="1919"/>
                  </a:lnTo>
                  <a:lnTo>
                    <a:pt x="2747" y="1904"/>
                  </a:lnTo>
                  <a:lnTo>
                    <a:pt x="2749" y="1894"/>
                  </a:lnTo>
                  <a:lnTo>
                    <a:pt x="2758" y="1882"/>
                  </a:lnTo>
                  <a:lnTo>
                    <a:pt x="2723" y="1867"/>
                  </a:lnTo>
                  <a:lnTo>
                    <a:pt x="2720" y="1855"/>
                  </a:lnTo>
                  <a:lnTo>
                    <a:pt x="2691" y="1844"/>
                  </a:lnTo>
                  <a:lnTo>
                    <a:pt x="2689" y="1834"/>
                  </a:lnTo>
                  <a:lnTo>
                    <a:pt x="2680" y="1822"/>
                  </a:lnTo>
                  <a:lnTo>
                    <a:pt x="2643" y="1792"/>
                  </a:lnTo>
                  <a:lnTo>
                    <a:pt x="2632" y="1790"/>
                  </a:lnTo>
                  <a:lnTo>
                    <a:pt x="2616" y="1799"/>
                  </a:lnTo>
                  <a:lnTo>
                    <a:pt x="2609" y="1813"/>
                  </a:lnTo>
                  <a:lnTo>
                    <a:pt x="2605" y="1834"/>
                  </a:lnTo>
                  <a:lnTo>
                    <a:pt x="2597" y="1850"/>
                  </a:lnTo>
                  <a:lnTo>
                    <a:pt x="2597" y="1835"/>
                  </a:lnTo>
                  <a:lnTo>
                    <a:pt x="2602" y="1819"/>
                  </a:lnTo>
                  <a:lnTo>
                    <a:pt x="2605" y="1801"/>
                  </a:lnTo>
                  <a:lnTo>
                    <a:pt x="2593" y="1797"/>
                  </a:lnTo>
                  <a:lnTo>
                    <a:pt x="2594" y="1790"/>
                  </a:lnTo>
                  <a:lnTo>
                    <a:pt x="2621" y="1785"/>
                  </a:lnTo>
                  <a:lnTo>
                    <a:pt x="2637" y="1779"/>
                  </a:lnTo>
                  <a:lnTo>
                    <a:pt x="2637" y="1764"/>
                  </a:lnTo>
                  <a:lnTo>
                    <a:pt x="2634" y="1743"/>
                  </a:lnTo>
                  <a:lnTo>
                    <a:pt x="2599" y="1721"/>
                  </a:lnTo>
                  <a:lnTo>
                    <a:pt x="2583" y="1725"/>
                  </a:lnTo>
                  <a:lnTo>
                    <a:pt x="2564" y="1739"/>
                  </a:lnTo>
                  <a:lnTo>
                    <a:pt x="2549" y="1755"/>
                  </a:lnTo>
                  <a:lnTo>
                    <a:pt x="2546" y="1755"/>
                  </a:lnTo>
                  <a:lnTo>
                    <a:pt x="2546" y="1736"/>
                  </a:lnTo>
                  <a:lnTo>
                    <a:pt x="2526" y="1741"/>
                  </a:lnTo>
                  <a:lnTo>
                    <a:pt x="2533" y="1732"/>
                  </a:lnTo>
                  <a:lnTo>
                    <a:pt x="2540" y="1729"/>
                  </a:lnTo>
                  <a:lnTo>
                    <a:pt x="2530" y="1720"/>
                  </a:lnTo>
                  <a:lnTo>
                    <a:pt x="2561" y="1723"/>
                  </a:lnTo>
                  <a:lnTo>
                    <a:pt x="2580" y="1717"/>
                  </a:lnTo>
                  <a:lnTo>
                    <a:pt x="2593" y="1706"/>
                  </a:lnTo>
                  <a:lnTo>
                    <a:pt x="2612" y="1701"/>
                  </a:lnTo>
                  <a:lnTo>
                    <a:pt x="2624" y="1678"/>
                  </a:lnTo>
                  <a:lnTo>
                    <a:pt x="2613" y="1672"/>
                  </a:lnTo>
                  <a:lnTo>
                    <a:pt x="2592" y="1669"/>
                  </a:lnTo>
                  <a:lnTo>
                    <a:pt x="2580" y="1657"/>
                  </a:lnTo>
                  <a:lnTo>
                    <a:pt x="2564" y="1648"/>
                  </a:lnTo>
                  <a:lnTo>
                    <a:pt x="2539" y="1655"/>
                  </a:lnTo>
                  <a:lnTo>
                    <a:pt x="2526" y="1666"/>
                  </a:lnTo>
                  <a:lnTo>
                    <a:pt x="2517" y="1656"/>
                  </a:lnTo>
                  <a:lnTo>
                    <a:pt x="2534" y="1648"/>
                  </a:lnTo>
                  <a:lnTo>
                    <a:pt x="2544" y="1639"/>
                  </a:lnTo>
                  <a:lnTo>
                    <a:pt x="2521" y="1627"/>
                  </a:lnTo>
                  <a:lnTo>
                    <a:pt x="2543" y="1623"/>
                  </a:lnTo>
                  <a:lnTo>
                    <a:pt x="2557" y="1639"/>
                  </a:lnTo>
                  <a:lnTo>
                    <a:pt x="2577" y="1640"/>
                  </a:lnTo>
                  <a:lnTo>
                    <a:pt x="2598" y="1619"/>
                  </a:lnTo>
                  <a:lnTo>
                    <a:pt x="2605" y="1607"/>
                  </a:lnTo>
                  <a:lnTo>
                    <a:pt x="2634" y="1592"/>
                  </a:lnTo>
                  <a:lnTo>
                    <a:pt x="2630" y="1582"/>
                  </a:lnTo>
                  <a:lnTo>
                    <a:pt x="2625" y="1561"/>
                  </a:lnTo>
                  <a:lnTo>
                    <a:pt x="2643" y="1575"/>
                  </a:lnTo>
                  <a:lnTo>
                    <a:pt x="2655" y="1577"/>
                  </a:lnTo>
                  <a:lnTo>
                    <a:pt x="2658" y="1540"/>
                  </a:lnTo>
                  <a:lnTo>
                    <a:pt x="2668" y="1535"/>
                  </a:lnTo>
                  <a:lnTo>
                    <a:pt x="2677" y="1537"/>
                  </a:lnTo>
                  <a:lnTo>
                    <a:pt x="2680" y="1564"/>
                  </a:lnTo>
                  <a:lnTo>
                    <a:pt x="2696" y="1587"/>
                  </a:lnTo>
                  <a:lnTo>
                    <a:pt x="2732" y="1620"/>
                  </a:lnTo>
                  <a:lnTo>
                    <a:pt x="2766" y="1636"/>
                  </a:lnTo>
                  <a:lnTo>
                    <a:pt x="2780" y="1635"/>
                  </a:lnTo>
                  <a:lnTo>
                    <a:pt x="2786" y="1619"/>
                  </a:lnTo>
                  <a:lnTo>
                    <a:pt x="2802" y="1612"/>
                  </a:lnTo>
                  <a:lnTo>
                    <a:pt x="2820" y="1591"/>
                  </a:lnTo>
                  <a:lnTo>
                    <a:pt x="2840" y="1598"/>
                  </a:lnTo>
                  <a:lnTo>
                    <a:pt x="2863" y="1597"/>
                  </a:lnTo>
                  <a:lnTo>
                    <a:pt x="2872" y="1588"/>
                  </a:lnTo>
                  <a:lnTo>
                    <a:pt x="2869" y="1577"/>
                  </a:lnTo>
                  <a:lnTo>
                    <a:pt x="2871" y="1546"/>
                  </a:lnTo>
                  <a:lnTo>
                    <a:pt x="2878" y="1530"/>
                  </a:lnTo>
                  <a:lnTo>
                    <a:pt x="2879" y="1522"/>
                  </a:lnTo>
                  <a:lnTo>
                    <a:pt x="2867" y="1514"/>
                  </a:lnTo>
                  <a:lnTo>
                    <a:pt x="2835" y="1503"/>
                  </a:lnTo>
                  <a:lnTo>
                    <a:pt x="2819" y="1496"/>
                  </a:lnTo>
                  <a:lnTo>
                    <a:pt x="2808" y="1484"/>
                  </a:lnTo>
                  <a:lnTo>
                    <a:pt x="2785" y="1490"/>
                  </a:lnTo>
                  <a:lnTo>
                    <a:pt x="2766" y="1484"/>
                  </a:lnTo>
                  <a:lnTo>
                    <a:pt x="2768" y="1475"/>
                  </a:lnTo>
                  <a:lnTo>
                    <a:pt x="2774" y="1474"/>
                  </a:lnTo>
                  <a:lnTo>
                    <a:pt x="2771" y="1460"/>
                  </a:lnTo>
                  <a:lnTo>
                    <a:pt x="2782" y="1448"/>
                  </a:lnTo>
                  <a:lnTo>
                    <a:pt x="2781" y="1436"/>
                  </a:lnTo>
                  <a:lnTo>
                    <a:pt x="2761" y="1433"/>
                  </a:lnTo>
                  <a:lnTo>
                    <a:pt x="2792" y="1420"/>
                  </a:lnTo>
                  <a:lnTo>
                    <a:pt x="2791" y="1404"/>
                  </a:lnTo>
                  <a:lnTo>
                    <a:pt x="2786" y="1383"/>
                  </a:lnTo>
                  <a:lnTo>
                    <a:pt x="2797" y="1387"/>
                  </a:lnTo>
                  <a:lnTo>
                    <a:pt x="2806" y="1398"/>
                  </a:lnTo>
                  <a:lnTo>
                    <a:pt x="2833" y="1395"/>
                  </a:lnTo>
                  <a:lnTo>
                    <a:pt x="2852" y="1400"/>
                  </a:lnTo>
                  <a:lnTo>
                    <a:pt x="2868" y="1398"/>
                  </a:lnTo>
                  <a:lnTo>
                    <a:pt x="2881" y="1404"/>
                  </a:lnTo>
                  <a:lnTo>
                    <a:pt x="2887" y="1425"/>
                  </a:lnTo>
                  <a:lnTo>
                    <a:pt x="2897" y="1440"/>
                  </a:lnTo>
                  <a:lnTo>
                    <a:pt x="2922" y="1446"/>
                  </a:lnTo>
                  <a:lnTo>
                    <a:pt x="2949" y="1408"/>
                  </a:lnTo>
                  <a:lnTo>
                    <a:pt x="2946" y="1392"/>
                  </a:lnTo>
                  <a:lnTo>
                    <a:pt x="2935" y="1379"/>
                  </a:lnTo>
                  <a:lnTo>
                    <a:pt x="2927" y="1358"/>
                  </a:lnTo>
                  <a:lnTo>
                    <a:pt x="2905" y="1371"/>
                  </a:lnTo>
                  <a:lnTo>
                    <a:pt x="2890" y="1361"/>
                  </a:lnTo>
                  <a:lnTo>
                    <a:pt x="2862" y="1356"/>
                  </a:lnTo>
                  <a:lnTo>
                    <a:pt x="2844" y="1358"/>
                  </a:lnTo>
                  <a:lnTo>
                    <a:pt x="2842" y="1355"/>
                  </a:lnTo>
                  <a:lnTo>
                    <a:pt x="2855" y="1350"/>
                  </a:lnTo>
                  <a:lnTo>
                    <a:pt x="2857" y="1334"/>
                  </a:lnTo>
                  <a:lnTo>
                    <a:pt x="2856" y="1318"/>
                  </a:lnTo>
                  <a:lnTo>
                    <a:pt x="2858" y="1298"/>
                  </a:lnTo>
                  <a:lnTo>
                    <a:pt x="2860" y="1284"/>
                  </a:lnTo>
                  <a:lnTo>
                    <a:pt x="2852" y="1276"/>
                  </a:lnTo>
                  <a:lnTo>
                    <a:pt x="2840" y="1274"/>
                  </a:lnTo>
                  <a:lnTo>
                    <a:pt x="2825" y="1285"/>
                  </a:lnTo>
                  <a:lnTo>
                    <a:pt x="2812" y="1288"/>
                  </a:lnTo>
                  <a:lnTo>
                    <a:pt x="2826" y="1269"/>
                  </a:lnTo>
                  <a:lnTo>
                    <a:pt x="2852" y="1258"/>
                  </a:lnTo>
                  <a:lnTo>
                    <a:pt x="2866" y="1260"/>
                  </a:lnTo>
                  <a:lnTo>
                    <a:pt x="2863" y="1243"/>
                  </a:lnTo>
                  <a:lnTo>
                    <a:pt x="2833" y="1215"/>
                  </a:lnTo>
                  <a:lnTo>
                    <a:pt x="2818" y="1196"/>
                  </a:lnTo>
                  <a:lnTo>
                    <a:pt x="2796" y="1195"/>
                  </a:lnTo>
                  <a:lnTo>
                    <a:pt x="2782" y="1184"/>
                  </a:lnTo>
                  <a:lnTo>
                    <a:pt x="2817" y="1187"/>
                  </a:lnTo>
                  <a:lnTo>
                    <a:pt x="2797" y="1166"/>
                  </a:lnTo>
                  <a:lnTo>
                    <a:pt x="2889" y="1216"/>
                  </a:lnTo>
                  <a:lnTo>
                    <a:pt x="2898" y="1231"/>
                  </a:lnTo>
                  <a:lnTo>
                    <a:pt x="2900" y="1252"/>
                  </a:lnTo>
                  <a:lnTo>
                    <a:pt x="2914" y="1260"/>
                  </a:lnTo>
                  <a:lnTo>
                    <a:pt x="2922" y="1257"/>
                  </a:lnTo>
                  <a:lnTo>
                    <a:pt x="2930" y="1225"/>
                  </a:lnTo>
                  <a:lnTo>
                    <a:pt x="2930" y="1194"/>
                  </a:lnTo>
                  <a:lnTo>
                    <a:pt x="2925" y="1160"/>
                  </a:lnTo>
                  <a:lnTo>
                    <a:pt x="2925" y="1130"/>
                  </a:lnTo>
                  <a:lnTo>
                    <a:pt x="2910" y="1105"/>
                  </a:lnTo>
                  <a:lnTo>
                    <a:pt x="2897" y="1090"/>
                  </a:lnTo>
                  <a:lnTo>
                    <a:pt x="2883" y="1093"/>
                  </a:lnTo>
                  <a:lnTo>
                    <a:pt x="2873" y="1090"/>
                  </a:lnTo>
                  <a:lnTo>
                    <a:pt x="2862" y="1081"/>
                  </a:lnTo>
                  <a:lnTo>
                    <a:pt x="2842" y="1078"/>
                  </a:lnTo>
                  <a:lnTo>
                    <a:pt x="2842" y="1070"/>
                  </a:lnTo>
                  <a:lnTo>
                    <a:pt x="2868" y="1070"/>
                  </a:lnTo>
                  <a:lnTo>
                    <a:pt x="2885" y="1066"/>
                  </a:lnTo>
                  <a:lnTo>
                    <a:pt x="2898" y="1059"/>
                  </a:lnTo>
                  <a:lnTo>
                    <a:pt x="2911" y="1056"/>
                  </a:lnTo>
                  <a:lnTo>
                    <a:pt x="2912" y="1045"/>
                  </a:lnTo>
                  <a:lnTo>
                    <a:pt x="2904" y="1019"/>
                  </a:lnTo>
                  <a:lnTo>
                    <a:pt x="2889" y="1016"/>
                  </a:lnTo>
                  <a:lnTo>
                    <a:pt x="2869" y="1021"/>
                  </a:lnTo>
                  <a:lnTo>
                    <a:pt x="2844" y="1001"/>
                  </a:lnTo>
                  <a:lnTo>
                    <a:pt x="2866" y="1034"/>
                  </a:lnTo>
                  <a:lnTo>
                    <a:pt x="2854" y="1033"/>
                  </a:lnTo>
                  <a:lnTo>
                    <a:pt x="2841" y="1016"/>
                  </a:lnTo>
                  <a:lnTo>
                    <a:pt x="2833" y="1010"/>
                  </a:lnTo>
                  <a:lnTo>
                    <a:pt x="2839" y="1029"/>
                  </a:lnTo>
                  <a:lnTo>
                    <a:pt x="2824" y="1024"/>
                  </a:lnTo>
                  <a:lnTo>
                    <a:pt x="2820" y="1016"/>
                  </a:lnTo>
                  <a:lnTo>
                    <a:pt x="2808" y="1015"/>
                  </a:lnTo>
                  <a:lnTo>
                    <a:pt x="2809" y="1004"/>
                  </a:lnTo>
                  <a:lnTo>
                    <a:pt x="2809" y="990"/>
                  </a:lnTo>
                  <a:lnTo>
                    <a:pt x="2811" y="985"/>
                  </a:lnTo>
                  <a:lnTo>
                    <a:pt x="2808" y="973"/>
                  </a:lnTo>
                  <a:lnTo>
                    <a:pt x="2775" y="976"/>
                  </a:lnTo>
                  <a:lnTo>
                    <a:pt x="2759" y="968"/>
                  </a:lnTo>
                  <a:lnTo>
                    <a:pt x="2766" y="962"/>
                  </a:lnTo>
                  <a:lnTo>
                    <a:pt x="2801" y="968"/>
                  </a:lnTo>
                  <a:lnTo>
                    <a:pt x="2792" y="961"/>
                  </a:lnTo>
                  <a:lnTo>
                    <a:pt x="2799" y="951"/>
                  </a:lnTo>
                  <a:lnTo>
                    <a:pt x="2783" y="947"/>
                  </a:lnTo>
                  <a:lnTo>
                    <a:pt x="2779" y="934"/>
                  </a:lnTo>
                  <a:lnTo>
                    <a:pt x="2771" y="931"/>
                  </a:lnTo>
                  <a:lnTo>
                    <a:pt x="2763" y="946"/>
                  </a:lnTo>
                  <a:lnTo>
                    <a:pt x="2763" y="931"/>
                  </a:lnTo>
                  <a:lnTo>
                    <a:pt x="2753" y="906"/>
                  </a:lnTo>
                  <a:lnTo>
                    <a:pt x="2766" y="897"/>
                  </a:lnTo>
                  <a:lnTo>
                    <a:pt x="2768" y="884"/>
                  </a:lnTo>
                  <a:lnTo>
                    <a:pt x="2785" y="881"/>
                  </a:lnTo>
                  <a:lnTo>
                    <a:pt x="2797" y="898"/>
                  </a:lnTo>
                  <a:lnTo>
                    <a:pt x="2806" y="916"/>
                  </a:lnTo>
                  <a:lnTo>
                    <a:pt x="2823" y="903"/>
                  </a:lnTo>
                  <a:lnTo>
                    <a:pt x="2831" y="888"/>
                  </a:lnTo>
                  <a:lnTo>
                    <a:pt x="2855" y="881"/>
                  </a:lnTo>
                  <a:lnTo>
                    <a:pt x="2809" y="868"/>
                  </a:lnTo>
                  <a:lnTo>
                    <a:pt x="2815" y="862"/>
                  </a:lnTo>
                  <a:lnTo>
                    <a:pt x="2852" y="866"/>
                  </a:lnTo>
                  <a:lnTo>
                    <a:pt x="2863" y="859"/>
                  </a:lnTo>
                  <a:lnTo>
                    <a:pt x="2860" y="855"/>
                  </a:lnTo>
                  <a:lnTo>
                    <a:pt x="2807" y="841"/>
                  </a:lnTo>
                  <a:lnTo>
                    <a:pt x="2874" y="844"/>
                  </a:lnTo>
                  <a:lnTo>
                    <a:pt x="2915" y="854"/>
                  </a:lnTo>
                  <a:lnTo>
                    <a:pt x="2943" y="870"/>
                  </a:lnTo>
                  <a:lnTo>
                    <a:pt x="2985" y="884"/>
                  </a:lnTo>
                  <a:lnTo>
                    <a:pt x="2997" y="865"/>
                  </a:lnTo>
                  <a:lnTo>
                    <a:pt x="2997" y="856"/>
                  </a:lnTo>
                  <a:lnTo>
                    <a:pt x="3000" y="845"/>
                  </a:lnTo>
                  <a:lnTo>
                    <a:pt x="3000" y="833"/>
                  </a:lnTo>
                  <a:lnTo>
                    <a:pt x="3000" y="805"/>
                  </a:lnTo>
                  <a:lnTo>
                    <a:pt x="2995" y="757"/>
                  </a:lnTo>
                  <a:lnTo>
                    <a:pt x="2992" y="754"/>
                  </a:lnTo>
                  <a:lnTo>
                    <a:pt x="2986" y="758"/>
                  </a:lnTo>
                  <a:lnTo>
                    <a:pt x="2963" y="741"/>
                  </a:lnTo>
                  <a:lnTo>
                    <a:pt x="2954" y="752"/>
                  </a:lnTo>
                  <a:lnTo>
                    <a:pt x="2955" y="773"/>
                  </a:lnTo>
                  <a:lnTo>
                    <a:pt x="2949" y="775"/>
                  </a:lnTo>
                  <a:lnTo>
                    <a:pt x="2936" y="771"/>
                  </a:lnTo>
                  <a:lnTo>
                    <a:pt x="2935" y="754"/>
                  </a:lnTo>
                  <a:lnTo>
                    <a:pt x="2915" y="738"/>
                  </a:lnTo>
                  <a:lnTo>
                    <a:pt x="2868" y="733"/>
                  </a:lnTo>
                  <a:lnTo>
                    <a:pt x="2889" y="730"/>
                  </a:lnTo>
                  <a:lnTo>
                    <a:pt x="2887" y="720"/>
                  </a:lnTo>
                  <a:lnTo>
                    <a:pt x="2863" y="709"/>
                  </a:lnTo>
                  <a:lnTo>
                    <a:pt x="2873" y="706"/>
                  </a:lnTo>
                  <a:lnTo>
                    <a:pt x="2873" y="695"/>
                  </a:lnTo>
                  <a:lnTo>
                    <a:pt x="2889" y="696"/>
                  </a:lnTo>
                  <a:lnTo>
                    <a:pt x="2862" y="676"/>
                  </a:lnTo>
                  <a:lnTo>
                    <a:pt x="2858" y="667"/>
                  </a:lnTo>
                  <a:lnTo>
                    <a:pt x="2868" y="650"/>
                  </a:lnTo>
                  <a:lnTo>
                    <a:pt x="2884" y="657"/>
                  </a:lnTo>
                  <a:lnTo>
                    <a:pt x="2910" y="657"/>
                  </a:lnTo>
                  <a:lnTo>
                    <a:pt x="2941" y="689"/>
                  </a:lnTo>
                  <a:lnTo>
                    <a:pt x="2955" y="680"/>
                  </a:lnTo>
                  <a:lnTo>
                    <a:pt x="2953" y="660"/>
                  </a:lnTo>
                  <a:lnTo>
                    <a:pt x="2943" y="646"/>
                  </a:lnTo>
                  <a:lnTo>
                    <a:pt x="2884" y="618"/>
                  </a:lnTo>
                  <a:lnTo>
                    <a:pt x="2869" y="607"/>
                  </a:lnTo>
                  <a:lnTo>
                    <a:pt x="2867" y="592"/>
                  </a:lnTo>
                  <a:lnTo>
                    <a:pt x="2857" y="585"/>
                  </a:lnTo>
                  <a:lnTo>
                    <a:pt x="2846" y="593"/>
                  </a:lnTo>
                  <a:lnTo>
                    <a:pt x="2820" y="663"/>
                  </a:lnTo>
                  <a:lnTo>
                    <a:pt x="2807" y="666"/>
                  </a:lnTo>
                  <a:lnTo>
                    <a:pt x="2798" y="646"/>
                  </a:lnTo>
                  <a:lnTo>
                    <a:pt x="2808" y="619"/>
                  </a:lnTo>
                  <a:lnTo>
                    <a:pt x="2811" y="594"/>
                  </a:lnTo>
                  <a:lnTo>
                    <a:pt x="2813" y="579"/>
                  </a:lnTo>
                  <a:lnTo>
                    <a:pt x="2826" y="561"/>
                  </a:lnTo>
                  <a:lnTo>
                    <a:pt x="2829" y="550"/>
                  </a:lnTo>
                  <a:lnTo>
                    <a:pt x="2824" y="537"/>
                  </a:lnTo>
                  <a:lnTo>
                    <a:pt x="2829" y="505"/>
                  </a:lnTo>
                  <a:lnTo>
                    <a:pt x="2831" y="472"/>
                  </a:lnTo>
                  <a:lnTo>
                    <a:pt x="2844" y="425"/>
                  </a:lnTo>
                  <a:lnTo>
                    <a:pt x="2849" y="411"/>
                  </a:lnTo>
                  <a:lnTo>
                    <a:pt x="2833" y="413"/>
                  </a:lnTo>
                  <a:lnTo>
                    <a:pt x="2829" y="404"/>
                  </a:lnTo>
                  <a:lnTo>
                    <a:pt x="2841" y="403"/>
                  </a:lnTo>
                  <a:lnTo>
                    <a:pt x="2842" y="391"/>
                  </a:lnTo>
                  <a:lnTo>
                    <a:pt x="2842" y="376"/>
                  </a:lnTo>
                  <a:lnTo>
                    <a:pt x="2839" y="366"/>
                  </a:lnTo>
                  <a:lnTo>
                    <a:pt x="2842" y="359"/>
                  </a:lnTo>
                  <a:lnTo>
                    <a:pt x="2852" y="362"/>
                  </a:lnTo>
                  <a:lnTo>
                    <a:pt x="2872" y="345"/>
                  </a:lnTo>
                  <a:lnTo>
                    <a:pt x="2890" y="353"/>
                  </a:lnTo>
                  <a:lnTo>
                    <a:pt x="2908" y="333"/>
                  </a:lnTo>
                  <a:lnTo>
                    <a:pt x="2908" y="314"/>
                  </a:lnTo>
                  <a:lnTo>
                    <a:pt x="2904" y="297"/>
                  </a:lnTo>
                  <a:lnTo>
                    <a:pt x="2904" y="270"/>
                  </a:lnTo>
                  <a:lnTo>
                    <a:pt x="2908" y="274"/>
                  </a:lnTo>
                  <a:lnTo>
                    <a:pt x="2919" y="265"/>
                  </a:lnTo>
                  <a:lnTo>
                    <a:pt x="2920" y="273"/>
                  </a:lnTo>
                  <a:lnTo>
                    <a:pt x="2924" y="270"/>
                  </a:lnTo>
                  <a:lnTo>
                    <a:pt x="2924" y="248"/>
                  </a:lnTo>
                  <a:lnTo>
                    <a:pt x="2931" y="232"/>
                  </a:lnTo>
                  <a:lnTo>
                    <a:pt x="2941" y="228"/>
                  </a:lnTo>
                  <a:lnTo>
                    <a:pt x="2941" y="248"/>
                  </a:lnTo>
                  <a:lnTo>
                    <a:pt x="2944" y="240"/>
                  </a:lnTo>
                  <a:lnTo>
                    <a:pt x="2951" y="215"/>
                  </a:lnTo>
                  <a:lnTo>
                    <a:pt x="2924" y="211"/>
                  </a:lnTo>
                  <a:lnTo>
                    <a:pt x="2920" y="235"/>
                  </a:lnTo>
                  <a:lnTo>
                    <a:pt x="2910" y="260"/>
                  </a:lnTo>
                  <a:lnTo>
                    <a:pt x="2909" y="237"/>
                  </a:lnTo>
                  <a:lnTo>
                    <a:pt x="2919" y="211"/>
                  </a:lnTo>
                  <a:lnTo>
                    <a:pt x="2921" y="182"/>
                  </a:lnTo>
                  <a:lnTo>
                    <a:pt x="2916" y="173"/>
                  </a:lnTo>
                  <a:lnTo>
                    <a:pt x="2921" y="154"/>
                  </a:lnTo>
                  <a:lnTo>
                    <a:pt x="2925" y="104"/>
                  </a:lnTo>
                  <a:lnTo>
                    <a:pt x="2936" y="81"/>
                  </a:lnTo>
                  <a:lnTo>
                    <a:pt x="2944" y="74"/>
                  </a:lnTo>
                  <a:lnTo>
                    <a:pt x="2979" y="86"/>
                  </a:lnTo>
                  <a:lnTo>
                    <a:pt x="3005" y="77"/>
                  </a:lnTo>
                  <a:lnTo>
                    <a:pt x="3018" y="54"/>
                  </a:lnTo>
                  <a:lnTo>
                    <a:pt x="3021" y="39"/>
                  </a:lnTo>
                  <a:lnTo>
                    <a:pt x="3030" y="21"/>
                  </a:lnTo>
                  <a:lnTo>
                    <a:pt x="3033" y="5"/>
                  </a:lnTo>
                  <a:lnTo>
                    <a:pt x="3035" y="0"/>
                  </a:lnTo>
                  <a:lnTo>
                    <a:pt x="2920" y="0"/>
                  </a:lnTo>
                  <a:lnTo>
                    <a:pt x="2901" y="25"/>
                  </a:lnTo>
                  <a:lnTo>
                    <a:pt x="2894" y="47"/>
                  </a:lnTo>
                  <a:lnTo>
                    <a:pt x="2894" y="63"/>
                  </a:lnTo>
                  <a:lnTo>
                    <a:pt x="2906" y="65"/>
                  </a:lnTo>
                  <a:lnTo>
                    <a:pt x="2887" y="79"/>
                  </a:lnTo>
                  <a:lnTo>
                    <a:pt x="2877" y="52"/>
                  </a:lnTo>
                  <a:lnTo>
                    <a:pt x="2868" y="48"/>
                  </a:lnTo>
                  <a:lnTo>
                    <a:pt x="2877" y="20"/>
                  </a:lnTo>
                  <a:lnTo>
                    <a:pt x="2877" y="7"/>
                  </a:lnTo>
                  <a:lnTo>
                    <a:pt x="2874" y="0"/>
                  </a:lnTo>
                  <a:lnTo>
                    <a:pt x="451" y="0"/>
                  </a:lnTo>
                  <a:lnTo>
                    <a:pt x="430" y="1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8" name="Freeform 234"/>
            <p:cNvSpPr>
              <a:spLocks noChangeAspect="1"/>
            </p:cNvSpPr>
            <p:nvPr/>
          </p:nvSpPr>
          <p:spPr bwMode="gray">
            <a:xfrm>
              <a:off x="2461802" y="2755072"/>
              <a:ext cx="43584" cy="43584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49" y="10"/>
                </a:cxn>
                <a:cxn ang="0">
                  <a:pos x="67" y="13"/>
                </a:cxn>
                <a:cxn ang="0">
                  <a:pos x="92" y="25"/>
                </a:cxn>
                <a:cxn ang="0">
                  <a:pos x="128" y="80"/>
                </a:cxn>
                <a:cxn ang="0">
                  <a:pos x="150" y="86"/>
                </a:cxn>
                <a:cxn ang="0">
                  <a:pos x="163" y="99"/>
                </a:cxn>
                <a:cxn ang="0">
                  <a:pos x="163" y="116"/>
                </a:cxn>
                <a:cxn ang="0">
                  <a:pos x="161" y="126"/>
                </a:cxn>
                <a:cxn ang="0">
                  <a:pos x="146" y="143"/>
                </a:cxn>
                <a:cxn ang="0">
                  <a:pos x="87" y="162"/>
                </a:cxn>
                <a:cxn ang="0">
                  <a:pos x="70" y="166"/>
                </a:cxn>
                <a:cxn ang="0">
                  <a:pos x="60" y="165"/>
                </a:cxn>
                <a:cxn ang="0">
                  <a:pos x="40" y="150"/>
                </a:cxn>
                <a:cxn ang="0">
                  <a:pos x="40" y="142"/>
                </a:cxn>
                <a:cxn ang="0">
                  <a:pos x="53" y="139"/>
                </a:cxn>
                <a:cxn ang="0">
                  <a:pos x="66" y="143"/>
                </a:cxn>
                <a:cxn ang="0">
                  <a:pos x="77" y="139"/>
                </a:cxn>
                <a:cxn ang="0">
                  <a:pos x="77" y="130"/>
                </a:cxn>
                <a:cxn ang="0">
                  <a:pos x="69" y="138"/>
                </a:cxn>
                <a:cxn ang="0">
                  <a:pos x="67" y="130"/>
                </a:cxn>
                <a:cxn ang="0">
                  <a:pos x="55" y="129"/>
                </a:cxn>
                <a:cxn ang="0">
                  <a:pos x="55" y="117"/>
                </a:cxn>
                <a:cxn ang="0">
                  <a:pos x="45" y="126"/>
                </a:cxn>
                <a:cxn ang="0">
                  <a:pos x="22" y="126"/>
                </a:cxn>
                <a:cxn ang="0">
                  <a:pos x="2" y="117"/>
                </a:cxn>
                <a:cxn ang="0">
                  <a:pos x="1" y="103"/>
                </a:cxn>
                <a:cxn ang="0">
                  <a:pos x="11" y="100"/>
                </a:cxn>
                <a:cxn ang="0">
                  <a:pos x="28" y="106"/>
                </a:cxn>
                <a:cxn ang="0">
                  <a:pos x="16" y="91"/>
                </a:cxn>
                <a:cxn ang="0">
                  <a:pos x="0" y="79"/>
                </a:cxn>
                <a:cxn ang="0">
                  <a:pos x="5" y="72"/>
                </a:cxn>
                <a:cxn ang="0">
                  <a:pos x="34" y="69"/>
                </a:cxn>
                <a:cxn ang="0">
                  <a:pos x="19" y="58"/>
                </a:cxn>
                <a:cxn ang="0">
                  <a:pos x="7" y="35"/>
                </a:cxn>
                <a:cxn ang="0">
                  <a:pos x="7" y="15"/>
                </a:cxn>
                <a:cxn ang="0">
                  <a:pos x="29" y="0"/>
                </a:cxn>
              </a:cxnLst>
              <a:rect l="0" t="0" r="r" b="b"/>
              <a:pathLst>
                <a:path w="163" h="166">
                  <a:moveTo>
                    <a:pt x="29" y="0"/>
                  </a:moveTo>
                  <a:lnTo>
                    <a:pt x="49" y="10"/>
                  </a:lnTo>
                  <a:lnTo>
                    <a:pt x="67" y="13"/>
                  </a:lnTo>
                  <a:lnTo>
                    <a:pt x="92" y="25"/>
                  </a:lnTo>
                  <a:lnTo>
                    <a:pt x="128" y="80"/>
                  </a:lnTo>
                  <a:lnTo>
                    <a:pt x="150" y="86"/>
                  </a:lnTo>
                  <a:lnTo>
                    <a:pt x="163" y="99"/>
                  </a:lnTo>
                  <a:lnTo>
                    <a:pt x="163" y="116"/>
                  </a:lnTo>
                  <a:lnTo>
                    <a:pt x="161" y="126"/>
                  </a:lnTo>
                  <a:lnTo>
                    <a:pt x="146" y="143"/>
                  </a:lnTo>
                  <a:lnTo>
                    <a:pt x="87" y="162"/>
                  </a:lnTo>
                  <a:lnTo>
                    <a:pt x="70" y="166"/>
                  </a:lnTo>
                  <a:lnTo>
                    <a:pt x="60" y="165"/>
                  </a:lnTo>
                  <a:lnTo>
                    <a:pt x="40" y="150"/>
                  </a:lnTo>
                  <a:lnTo>
                    <a:pt x="40" y="142"/>
                  </a:lnTo>
                  <a:lnTo>
                    <a:pt x="53" y="139"/>
                  </a:lnTo>
                  <a:lnTo>
                    <a:pt x="66" y="143"/>
                  </a:lnTo>
                  <a:lnTo>
                    <a:pt x="77" y="139"/>
                  </a:lnTo>
                  <a:lnTo>
                    <a:pt x="77" y="130"/>
                  </a:lnTo>
                  <a:lnTo>
                    <a:pt x="69" y="138"/>
                  </a:lnTo>
                  <a:lnTo>
                    <a:pt x="67" y="130"/>
                  </a:lnTo>
                  <a:lnTo>
                    <a:pt x="55" y="129"/>
                  </a:lnTo>
                  <a:lnTo>
                    <a:pt x="55" y="117"/>
                  </a:lnTo>
                  <a:lnTo>
                    <a:pt x="45" y="126"/>
                  </a:lnTo>
                  <a:lnTo>
                    <a:pt x="22" y="126"/>
                  </a:lnTo>
                  <a:lnTo>
                    <a:pt x="2" y="117"/>
                  </a:lnTo>
                  <a:lnTo>
                    <a:pt x="1" y="103"/>
                  </a:lnTo>
                  <a:lnTo>
                    <a:pt x="11" y="100"/>
                  </a:lnTo>
                  <a:lnTo>
                    <a:pt x="28" y="106"/>
                  </a:lnTo>
                  <a:lnTo>
                    <a:pt x="16" y="91"/>
                  </a:lnTo>
                  <a:lnTo>
                    <a:pt x="0" y="79"/>
                  </a:lnTo>
                  <a:lnTo>
                    <a:pt x="5" y="72"/>
                  </a:lnTo>
                  <a:lnTo>
                    <a:pt x="34" y="69"/>
                  </a:lnTo>
                  <a:lnTo>
                    <a:pt x="19" y="58"/>
                  </a:lnTo>
                  <a:lnTo>
                    <a:pt x="7" y="35"/>
                  </a:lnTo>
                  <a:lnTo>
                    <a:pt x="7" y="15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29" name="Freeform 235"/>
            <p:cNvSpPr>
              <a:spLocks noChangeAspect="1"/>
            </p:cNvSpPr>
            <p:nvPr/>
          </p:nvSpPr>
          <p:spPr bwMode="gray">
            <a:xfrm>
              <a:off x="2258408" y="2379981"/>
              <a:ext cx="43584" cy="15849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0" y="30"/>
                </a:cxn>
                <a:cxn ang="0">
                  <a:pos x="17" y="20"/>
                </a:cxn>
                <a:cxn ang="0">
                  <a:pos x="31" y="5"/>
                </a:cxn>
                <a:cxn ang="0">
                  <a:pos x="94" y="0"/>
                </a:cxn>
                <a:cxn ang="0">
                  <a:pos x="119" y="6"/>
                </a:cxn>
                <a:cxn ang="0">
                  <a:pos x="131" y="14"/>
                </a:cxn>
                <a:cxn ang="0">
                  <a:pos x="137" y="25"/>
                </a:cxn>
                <a:cxn ang="0">
                  <a:pos x="165" y="38"/>
                </a:cxn>
                <a:cxn ang="0">
                  <a:pos x="167" y="44"/>
                </a:cxn>
                <a:cxn ang="0">
                  <a:pos x="153" y="55"/>
                </a:cxn>
                <a:cxn ang="0">
                  <a:pos x="124" y="61"/>
                </a:cxn>
                <a:cxn ang="0">
                  <a:pos x="67" y="43"/>
                </a:cxn>
                <a:cxn ang="0">
                  <a:pos x="47" y="48"/>
                </a:cxn>
                <a:cxn ang="0">
                  <a:pos x="30" y="46"/>
                </a:cxn>
                <a:cxn ang="0">
                  <a:pos x="0" y="35"/>
                </a:cxn>
              </a:cxnLst>
              <a:rect l="0" t="0" r="r" b="b"/>
              <a:pathLst>
                <a:path w="167" h="61">
                  <a:moveTo>
                    <a:pt x="0" y="35"/>
                  </a:moveTo>
                  <a:lnTo>
                    <a:pt x="0" y="30"/>
                  </a:lnTo>
                  <a:lnTo>
                    <a:pt x="17" y="20"/>
                  </a:lnTo>
                  <a:lnTo>
                    <a:pt x="31" y="5"/>
                  </a:lnTo>
                  <a:lnTo>
                    <a:pt x="94" y="0"/>
                  </a:lnTo>
                  <a:lnTo>
                    <a:pt x="119" y="6"/>
                  </a:lnTo>
                  <a:lnTo>
                    <a:pt x="131" y="14"/>
                  </a:lnTo>
                  <a:lnTo>
                    <a:pt x="137" y="25"/>
                  </a:lnTo>
                  <a:lnTo>
                    <a:pt x="165" y="38"/>
                  </a:lnTo>
                  <a:lnTo>
                    <a:pt x="167" y="44"/>
                  </a:lnTo>
                  <a:lnTo>
                    <a:pt x="153" y="55"/>
                  </a:lnTo>
                  <a:lnTo>
                    <a:pt x="124" y="61"/>
                  </a:lnTo>
                  <a:lnTo>
                    <a:pt x="67" y="43"/>
                  </a:lnTo>
                  <a:lnTo>
                    <a:pt x="47" y="48"/>
                  </a:lnTo>
                  <a:lnTo>
                    <a:pt x="30" y="46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30" name="Group 236"/>
            <p:cNvGrpSpPr>
              <a:grpSpLocks noChangeAspect="1"/>
            </p:cNvGrpSpPr>
            <p:nvPr/>
          </p:nvGrpSpPr>
          <p:grpSpPr bwMode="gray">
            <a:xfrm>
              <a:off x="2078787" y="4022984"/>
              <a:ext cx="672258" cy="1135837"/>
              <a:chOff x="1624" y="2350"/>
              <a:chExt cx="509" cy="860"/>
            </a:xfrm>
            <a:solidFill>
              <a:srgbClr val="DEEDBF"/>
            </a:solidFill>
          </p:grpSpPr>
          <p:sp>
            <p:nvSpPr>
              <p:cNvPr id="224" name="Freeform 237"/>
              <p:cNvSpPr>
                <a:spLocks noChangeAspect="1"/>
              </p:cNvSpPr>
              <p:nvPr/>
            </p:nvSpPr>
            <p:spPr bwMode="gray">
              <a:xfrm>
                <a:off x="1709" y="3154"/>
                <a:ext cx="23" cy="27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7" y="12"/>
                  </a:cxn>
                  <a:cxn ang="0">
                    <a:pos x="17" y="17"/>
                  </a:cxn>
                  <a:cxn ang="0">
                    <a:pos x="28" y="10"/>
                  </a:cxn>
                  <a:cxn ang="0">
                    <a:pos x="33" y="23"/>
                  </a:cxn>
                  <a:cxn ang="0">
                    <a:pos x="41" y="23"/>
                  </a:cxn>
                  <a:cxn ang="0">
                    <a:pos x="41" y="7"/>
                  </a:cxn>
                  <a:cxn ang="0">
                    <a:pos x="43" y="1"/>
                  </a:cxn>
                  <a:cxn ang="0">
                    <a:pos x="53" y="15"/>
                  </a:cxn>
                  <a:cxn ang="0">
                    <a:pos x="43" y="39"/>
                  </a:cxn>
                  <a:cxn ang="0">
                    <a:pos x="45" y="60"/>
                  </a:cxn>
                  <a:cxn ang="0">
                    <a:pos x="53" y="72"/>
                  </a:cxn>
                  <a:cxn ang="0">
                    <a:pos x="80" y="61"/>
                  </a:cxn>
                  <a:cxn ang="0">
                    <a:pos x="100" y="64"/>
                  </a:cxn>
                  <a:cxn ang="0">
                    <a:pos x="115" y="70"/>
                  </a:cxn>
                  <a:cxn ang="0">
                    <a:pos x="92" y="97"/>
                  </a:cxn>
                  <a:cxn ang="0">
                    <a:pos x="77" y="99"/>
                  </a:cxn>
                  <a:cxn ang="0">
                    <a:pos x="74" y="107"/>
                  </a:cxn>
                  <a:cxn ang="0">
                    <a:pos x="66" y="107"/>
                  </a:cxn>
                  <a:cxn ang="0">
                    <a:pos x="63" y="117"/>
                  </a:cxn>
                  <a:cxn ang="0">
                    <a:pos x="59" y="128"/>
                  </a:cxn>
                  <a:cxn ang="0">
                    <a:pos x="53" y="131"/>
                  </a:cxn>
                  <a:cxn ang="0">
                    <a:pos x="26" y="106"/>
                  </a:cxn>
                  <a:cxn ang="0">
                    <a:pos x="43" y="108"/>
                  </a:cxn>
                  <a:cxn ang="0">
                    <a:pos x="49" y="99"/>
                  </a:cxn>
                  <a:cxn ang="0">
                    <a:pos x="39" y="83"/>
                  </a:cxn>
                  <a:cxn ang="0">
                    <a:pos x="33" y="93"/>
                  </a:cxn>
                  <a:cxn ang="0">
                    <a:pos x="20" y="86"/>
                  </a:cxn>
                  <a:cxn ang="0">
                    <a:pos x="10" y="77"/>
                  </a:cxn>
                  <a:cxn ang="0">
                    <a:pos x="7" y="66"/>
                  </a:cxn>
                  <a:cxn ang="0">
                    <a:pos x="0" y="66"/>
                  </a:cxn>
                  <a:cxn ang="0">
                    <a:pos x="1" y="50"/>
                  </a:cxn>
                  <a:cxn ang="0">
                    <a:pos x="1" y="31"/>
                  </a:cxn>
                </a:cxnLst>
                <a:rect l="0" t="0" r="r" b="b"/>
                <a:pathLst>
                  <a:path w="115" h="134">
                    <a:moveTo>
                      <a:pt x="2" y="17"/>
                    </a:moveTo>
                    <a:lnTo>
                      <a:pt x="4" y="17"/>
                    </a:lnTo>
                    <a:lnTo>
                      <a:pt x="5" y="13"/>
                    </a:lnTo>
                    <a:lnTo>
                      <a:pt x="7" y="12"/>
                    </a:lnTo>
                    <a:lnTo>
                      <a:pt x="12" y="16"/>
                    </a:lnTo>
                    <a:lnTo>
                      <a:pt x="17" y="17"/>
                    </a:lnTo>
                    <a:lnTo>
                      <a:pt x="22" y="12"/>
                    </a:lnTo>
                    <a:lnTo>
                      <a:pt x="28" y="10"/>
                    </a:lnTo>
                    <a:lnTo>
                      <a:pt x="32" y="13"/>
                    </a:lnTo>
                    <a:lnTo>
                      <a:pt x="33" y="23"/>
                    </a:lnTo>
                    <a:lnTo>
                      <a:pt x="36" y="27"/>
                    </a:lnTo>
                    <a:lnTo>
                      <a:pt x="41" y="23"/>
                    </a:lnTo>
                    <a:lnTo>
                      <a:pt x="44" y="11"/>
                    </a:lnTo>
                    <a:lnTo>
                      <a:pt x="41" y="7"/>
                    </a:lnTo>
                    <a:lnTo>
                      <a:pt x="41" y="0"/>
                    </a:lnTo>
                    <a:lnTo>
                      <a:pt x="43" y="1"/>
                    </a:lnTo>
                    <a:lnTo>
                      <a:pt x="50" y="6"/>
                    </a:lnTo>
                    <a:lnTo>
                      <a:pt x="53" y="15"/>
                    </a:lnTo>
                    <a:lnTo>
                      <a:pt x="54" y="27"/>
                    </a:lnTo>
                    <a:lnTo>
                      <a:pt x="43" y="39"/>
                    </a:lnTo>
                    <a:lnTo>
                      <a:pt x="37" y="55"/>
                    </a:lnTo>
                    <a:lnTo>
                      <a:pt x="45" y="60"/>
                    </a:lnTo>
                    <a:lnTo>
                      <a:pt x="52" y="66"/>
                    </a:lnTo>
                    <a:lnTo>
                      <a:pt x="53" y="72"/>
                    </a:lnTo>
                    <a:lnTo>
                      <a:pt x="63" y="80"/>
                    </a:lnTo>
                    <a:lnTo>
                      <a:pt x="80" y="61"/>
                    </a:lnTo>
                    <a:lnTo>
                      <a:pt x="87" y="61"/>
                    </a:lnTo>
                    <a:lnTo>
                      <a:pt x="100" y="64"/>
                    </a:lnTo>
                    <a:lnTo>
                      <a:pt x="112" y="63"/>
                    </a:lnTo>
                    <a:lnTo>
                      <a:pt x="115" y="70"/>
                    </a:lnTo>
                    <a:lnTo>
                      <a:pt x="115" y="79"/>
                    </a:lnTo>
                    <a:lnTo>
                      <a:pt x="92" y="97"/>
                    </a:lnTo>
                    <a:lnTo>
                      <a:pt x="85" y="102"/>
                    </a:lnTo>
                    <a:lnTo>
                      <a:pt x="77" y="99"/>
                    </a:lnTo>
                    <a:lnTo>
                      <a:pt x="74" y="101"/>
                    </a:lnTo>
                    <a:lnTo>
                      <a:pt x="74" y="107"/>
                    </a:lnTo>
                    <a:lnTo>
                      <a:pt x="71" y="109"/>
                    </a:lnTo>
                    <a:lnTo>
                      <a:pt x="66" y="107"/>
                    </a:lnTo>
                    <a:lnTo>
                      <a:pt x="60" y="110"/>
                    </a:lnTo>
                    <a:lnTo>
                      <a:pt x="63" y="117"/>
                    </a:lnTo>
                    <a:lnTo>
                      <a:pt x="59" y="120"/>
                    </a:lnTo>
                    <a:lnTo>
                      <a:pt x="59" y="128"/>
                    </a:lnTo>
                    <a:lnTo>
                      <a:pt x="61" y="134"/>
                    </a:lnTo>
                    <a:lnTo>
                      <a:pt x="53" y="131"/>
                    </a:lnTo>
                    <a:lnTo>
                      <a:pt x="28" y="108"/>
                    </a:lnTo>
                    <a:lnTo>
                      <a:pt x="26" y="106"/>
                    </a:lnTo>
                    <a:lnTo>
                      <a:pt x="34" y="104"/>
                    </a:lnTo>
                    <a:lnTo>
                      <a:pt x="43" y="108"/>
                    </a:lnTo>
                    <a:lnTo>
                      <a:pt x="49" y="106"/>
                    </a:lnTo>
                    <a:lnTo>
                      <a:pt x="49" y="99"/>
                    </a:lnTo>
                    <a:lnTo>
                      <a:pt x="44" y="95"/>
                    </a:lnTo>
                    <a:lnTo>
                      <a:pt x="39" y="83"/>
                    </a:lnTo>
                    <a:lnTo>
                      <a:pt x="37" y="88"/>
                    </a:lnTo>
                    <a:lnTo>
                      <a:pt x="33" y="93"/>
                    </a:lnTo>
                    <a:lnTo>
                      <a:pt x="17" y="92"/>
                    </a:lnTo>
                    <a:lnTo>
                      <a:pt x="20" y="86"/>
                    </a:lnTo>
                    <a:lnTo>
                      <a:pt x="20" y="81"/>
                    </a:lnTo>
                    <a:lnTo>
                      <a:pt x="10" y="77"/>
                    </a:lnTo>
                    <a:lnTo>
                      <a:pt x="7" y="74"/>
                    </a:lnTo>
                    <a:lnTo>
                      <a:pt x="7" y="66"/>
                    </a:lnTo>
                    <a:lnTo>
                      <a:pt x="6" y="65"/>
                    </a:lnTo>
                    <a:lnTo>
                      <a:pt x="0" y="66"/>
                    </a:lnTo>
                    <a:lnTo>
                      <a:pt x="1" y="60"/>
                    </a:lnTo>
                    <a:lnTo>
                      <a:pt x="1" y="50"/>
                    </a:lnTo>
                    <a:lnTo>
                      <a:pt x="2" y="40"/>
                    </a:lnTo>
                    <a:lnTo>
                      <a:pt x="1" y="31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25" name="Freeform 238"/>
              <p:cNvSpPr>
                <a:spLocks noChangeAspect="1"/>
              </p:cNvSpPr>
              <p:nvPr/>
            </p:nvSpPr>
            <p:spPr bwMode="gray">
              <a:xfrm>
                <a:off x="1712" y="2353"/>
                <a:ext cx="148" cy="126"/>
              </a:xfrm>
              <a:custGeom>
                <a:avLst/>
                <a:gdLst/>
                <a:ahLst/>
                <a:cxnLst>
                  <a:cxn ang="0">
                    <a:pos x="84" y="47"/>
                  </a:cxn>
                  <a:cxn ang="0">
                    <a:pos x="97" y="77"/>
                  </a:cxn>
                  <a:cxn ang="0">
                    <a:pos x="73" y="133"/>
                  </a:cxn>
                  <a:cxn ang="0">
                    <a:pos x="98" y="176"/>
                  </a:cxn>
                  <a:cxn ang="0">
                    <a:pos x="126" y="148"/>
                  </a:cxn>
                  <a:cxn ang="0">
                    <a:pos x="108" y="74"/>
                  </a:cxn>
                  <a:cxn ang="0">
                    <a:pos x="196" y="42"/>
                  </a:cxn>
                  <a:cxn ang="0">
                    <a:pos x="169" y="27"/>
                  </a:cxn>
                  <a:cxn ang="0">
                    <a:pos x="191" y="2"/>
                  </a:cxn>
                  <a:cxn ang="0">
                    <a:pos x="243" y="46"/>
                  </a:cxn>
                  <a:cxn ang="0">
                    <a:pos x="285" y="88"/>
                  </a:cxn>
                  <a:cxn ang="0">
                    <a:pos x="366" y="88"/>
                  </a:cxn>
                  <a:cxn ang="0">
                    <a:pos x="411" y="106"/>
                  </a:cxn>
                  <a:cxn ang="0">
                    <a:pos x="495" y="99"/>
                  </a:cxn>
                  <a:cxn ang="0">
                    <a:pos x="499" y="88"/>
                  </a:cxn>
                  <a:cxn ang="0">
                    <a:pos x="621" y="86"/>
                  </a:cxn>
                  <a:cxn ang="0">
                    <a:pos x="573" y="95"/>
                  </a:cxn>
                  <a:cxn ang="0">
                    <a:pos x="593" y="117"/>
                  </a:cxn>
                  <a:cxn ang="0">
                    <a:pos x="663" y="150"/>
                  </a:cxn>
                  <a:cxn ang="0">
                    <a:pos x="689" y="197"/>
                  </a:cxn>
                  <a:cxn ang="0">
                    <a:pos x="695" y="211"/>
                  </a:cxn>
                  <a:cxn ang="0">
                    <a:pos x="737" y="209"/>
                  </a:cxn>
                  <a:cxn ang="0">
                    <a:pos x="728" y="231"/>
                  </a:cxn>
                  <a:cxn ang="0">
                    <a:pos x="689" y="252"/>
                  </a:cxn>
                  <a:cxn ang="0">
                    <a:pos x="702" y="279"/>
                  </a:cxn>
                  <a:cxn ang="0">
                    <a:pos x="673" y="321"/>
                  </a:cxn>
                  <a:cxn ang="0">
                    <a:pos x="674" y="359"/>
                  </a:cxn>
                  <a:cxn ang="0">
                    <a:pos x="699" y="401"/>
                  </a:cxn>
                  <a:cxn ang="0">
                    <a:pos x="646" y="432"/>
                  </a:cxn>
                  <a:cxn ang="0">
                    <a:pos x="568" y="459"/>
                  </a:cxn>
                  <a:cxn ang="0">
                    <a:pos x="474" y="437"/>
                  </a:cxn>
                  <a:cxn ang="0">
                    <a:pos x="497" y="467"/>
                  </a:cxn>
                  <a:cxn ang="0">
                    <a:pos x="501" y="524"/>
                  </a:cxn>
                  <a:cxn ang="0">
                    <a:pos x="546" y="550"/>
                  </a:cxn>
                  <a:cxn ang="0">
                    <a:pos x="518" y="565"/>
                  </a:cxn>
                  <a:cxn ang="0">
                    <a:pos x="486" y="593"/>
                  </a:cxn>
                  <a:cxn ang="0">
                    <a:pos x="452" y="607"/>
                  </a:cxn>
                  <a:cxn ang="0">
                    <a:pos x="402" y="631"/>
                  </a:cxn>
                  <a:cxn ang="0">
                    <a:pos x="361" y="612"/>
                  </a:cxn>
                  <a:cxn ang="0">
                    <a:pos x="321" y="532"/>
                  </a:cxn>
                  <a:cxn ang="0">
                    <a:pos x="328" y="492"/>
                  </a:cxn>
                  <a:cxn ang="0">
                    <a:pos x="315" y="459"/>
                  </a:cxn>
                  <a:cxn ang="0">
                    <a:pos x="299" y="419"/>
                  </a:cxn>
                  <a:cxn ang="0">
                    <a:pos x="314" y="357"/>
                  </a:cxn>
                  <a:cxn ang="0">
                    <a:pos x="314" y="330"/>
                  </a:cxn>
                  <a:cxn ang="0">
                    <a:pos x="253" y="337"/>
                  </a:cxn>
                  <a:cxn ang="0">
                    <a:pos x="217" y="338"/>
                  </a:cxn>
                  <a:cxn ang="0">
                    <a:pos x="169" y="289"/>
                  </a:cxn>
                  <a:cxn ang="0">
                    <a:pos x="90" y="287"/>
                  </a:cxn>
                  <a:cxn ang="0">
                    <a:pos x="52" y="229"/>
                  </a:cxn>
                  <a:cxn ang="0">
                    <a:pos x="31" y="196"/>
                  </a:cxn>
                  <a:cxn ang="0">
                    <a:pos x="14" y="140"/>
                  </a:cxn>
                  <a:cxn ang="0">
                    <a:pos x="79" y="29"/>
                  </a:cxn>
                </a:cxnLst>
                <a:rect l="0" t="0" r="r" b="b"/>
                <a:pathLst>
                  <a:path w="743" h="631">
                    <a:moveTo>
                      <a:pt x="109" y="21"/>
                    </a:moveTo>
                    <a:lnTo>
                      <a:pt x="99" y="29"/>
                    </a:lnTo>
                    <a:lnTo>
                      <a:pt x="88" y="31"/>
                    </a:lnTo>
                    <a:lnTo>
                      <a:pt x="82" y="35"/>
                    </a:lnTo>
                    <a:lnTo>
                      <a:pt x="82" y="39"/>
                    </a:lnTo>
                    <a:lnTo>
                      <a:pt x="84" y="47"/>
                    </a:lnTo>
                    <a:lnTo>
                      <a:pt x="87" y="56"/>
                    </a:lnTo>
                    <a:lnTo>
                      <a:pt x="94" y="66"/>
                    </a:lnTo>
                    <a:lnTo>
                      <a:pt x="95" y="69"/>
                    </a:lnTo>
                    <a:lnTo>
                      <a:pt x="93" y="72"/>
                    </a:lnTo>
                    <a:lnTo>
                      <a:pt x="93" y="73"/>
                    </a:lnTo>
                    <a:lnTo>
                      <a:pt x="97" y="77"/>
                    </a:lnTo>
                    <a:lnTo>
                      <a:pt x="97" y="83"/>
                    </a:lnTo>
                    <a:lnTo>
                      <a:pt x="93" y="95"/>
                    </a:lnTo>
                    <a:lnTo>
                      <a:pt x="78" y="109"/>
                    </a:lnTo>
                    <a:lnTo>
                      <a:pt x="76" y="111"/>
                    </a:lnTo>
                    <a:lnTo>
                      <a:pt x="73" y="118"/>
                    </a:lnTo>
                    <a:lnTo>
                      <a:pt x="73" y="133"/>
                    </a:lnTo>
                    <a:lnTo>
                      <a:pt x="74" y="140"/>
                    </a:lnTo>
                    <a:lnTo>
                      <a:pt x="78" y="145"/>
                    </a:lnTo>
                    <a:lnTo>
                      <a:pt x="87" y="152"/>
                    </a:lnTo>
                    <a:lnTo>
                      <a:pt x="93" y="165"/>
                    </a:lnTo>
                    <a:lnTo>
                      <a:pt x="95" y="174"/>
                    </a:lnTo>
                    <a:lnTo>
                      <a:pt x="98" y="176"/>
                    </a:lnTo>
                    <a:lnTo>
                      <a:pt x="105" y="176"/>
                    </a:lnTo>
                    <a:lnTo>
                      <a:pt x="113" y="174"/>
                    </a:lnTo>
                    <a:lnTo>
                      <a:pt x="119" y="169"/>
                    </a:lnTo>
                    <a:lnTo>
                      <a:pt x="125" y="161"/>
                    </a:lnTo>
                    <a:lnTo>
                      <a:pt x="126" y="159"/>
                    </a:lnTo>
                    <a:lnTo>
                      <a:pt x="126" y="148"/>
                    </a:lnTo>
                    <a:lnTo>
                      <a:pt x="125" y="134"/>
                    </a:lnTo>
                    <a:lnTo>
                      <a:pt x="115" y="117"/>
                    </a:lnTo>
                    <a:lnTo>
                      <a:pt x="109" y="110"/>
                    </a:lnTo>
                    <a:lnTo>
                      <a:pt x="104" y="101"/>
                    </a:lnTo>
                    <a:lnTo>
                      <a:pt x="104" y="77"/>
                    </a:lnTo>
                    <a:lnTo>
                      <a:pt x="108" y="74"/>
                    </a:lnTo>
                    <a:lnTo>
                      <a:pt x="110" y="70"/>
                    </a:lnTo>
                    <a:lnTo>
                      <a:pt x="111" y="68"/>
                    </a:lnTo>
                    <a:lnTo>
                      <a:pt x="120" y="66"/>
                    </a:lnTo>
                    <a:lnTo>
                      <a:pt x="140" y="53"/>
                    </a:lnTo>
                    <a:lnTo>
                      <a:pt x="173" y="43"/>
                    </a:lnTo>
                    <a:lnTo>
                      <a:pt x="196" y="42"/>
                    </a:lnTo>
                    <a:lnTo>
                      <a:pt x="196" y="36"/>
                    </a:lnTo>
                    <a:lnTo>
                      <a:pt x="195" y="32"/>
                    </a:lnTo>
                    <a:lnTo>
                      <a:pt x="190" y="30"/>
                    </a:lnTo>
                    <a:lnTo>
                      <a:pt x="174" y="29"/>
                    </a:lnTo>
                    <a:lnTo>
                      <a:pt x="172" y="27"/>
                    </a:lnTo>
                    <a:lnTo>
                      <a:pt x="169" y="27"/>
                    </a:lnTo>
                    <a:lnTo>
                      <a:pt x="168" y="25"/>
                    </a:lnTo>
                    <a:lnTo>
                      <a:pt x="169" y="18"/>
                    </a:lnTo>
                    <a:lnTo>
                      <a:pt x="175" y="5"/>
                    </a:lnTo>
                    <a:lnTo>
                      <a:pt x="181" y="0"/>
                    </a:lnTo>
                    <a:lnTo>
                      <a:pt x="186" y="0"/>
                    </a:lnTo>
                    <a:lnTo>
                      <a:pt x="191" y="2"/>
                    </a:lnTo>
                    <a:lnTo>
                      <a:pt x="192" y="4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7" y="40"/>
                    </a:lnTo>
                    <a:lnTo>
                      <a:pt x="223" y="42"/>
                    </a:lnTo>
                    <a:lnTo>
                      <a:pt x="243" y="46"/>
                    </a:lnTo>
                    <a:lnTo>
                      <a:pt x="246" y="46"/>
                    </a:lnTo>
                    <a:lnTo>
                      <a:pt x="260" y="50"/>
                    </a:lnTo>
                    <a:lnTo>
                      <a:pt x="271" y="56"/>
                    </a:lnTo>
                    <a:lnTo>
                      <a:pt x="276" y="61"/>
                    </a:lnTo>
                    <a:lnTo>
                      <a:pt x="280" y="77"/>
                    </a:lnTo>
                    <a:lnTo>
                      <a:pt x="285" y="88"/>
                    </a:lnTo>
                    <a:lnTo>
                      <a:pt x="286" y="90"/>
                    </a:lnTo>
                    <a:lnTo>
                      <a:pt x="292" y="95"/>
                    </a:lnTo>
                    <a:lnTo>
                      <a:pt x="303" y="95"/>
                    </a:lnTo>
                    <a:lnTo>
                      <a:pt x="329" y="90"/>
                    </a:lnTo>
                    <a:lnTo>
                      <a:pt x="340" y="91"/>
                    </a:lnTo>
                    <a:lnTo>
                      <a:pt x="366" y="88"/>
                    </a:lnTo>
                    <a:lnTo>
                      <a:pt x="395" y="88"/>
                    </a:lnTo>
                    <a:lnTo>
                      <a:pt x="398" y="89"/>
                    </a:lnTo>
                    <a:lnTo>
                      <a:pt x="401" y="91"/>
                    </a:lnTo>
                    <a:lnTo>
                      <a:pt x="405" y="97"/>
                    </a:lnTo>
                    <a:lnTo>
                      <a:pt x="405" y="101"/>
                    </a:lnTo>
                    <a:lnTo>
                      <a:pt x="411" y="106"/>
                    </a:lnTo>
                    <a:lnTo>
                      <a:pt x="422" y="112"/>
                    </a:lnTo>
                    <a:lnTo>
                      <a:pt x="432" y="115"/>
                    </a:lnTo>
                    <a:lnTo>
                      <a:pt x="450" y="115"/>
                    </a:lnTo>
                    <a:lnTo>
                      <a:pt x="476" y="110"/>
                    </a:lnTo>
                    <a:lnTo>
                      <a:pt x="484" y="106"/>
                    </a:lnTo>
                    <a:lnTo>
                      <a:pt x="495" y="99"/>
                    </a:lnTo>
                    <a:lnTo>
                      <a:pt x="512" y="99"/>
                    </a:lnTo>
                    <a:lnTo>
                      <a:pt x="523" y="96"/>
                    </a:lnTo>
                    <a:lnTo>
                      <a:pt x="527" y="94"/>
                    </a:lnTo>
                    <a:lnTo>
                      <a:pt x="525" y="91"/>
                    </a:lnTo>
                    <a:lnTo>
                      <a:pt x="506" y="90"/>
                    </a:lnTo>
                    <a:lnTo>
                      <a:pt x="499" y="88"/>
                    </a:lnTo>
                    <a:lnTo>
                      <a:pt x="499" y="88"/>
                    </a:lnTo>
                    <a:lnTo>
                      <a:pt x="506" y="84"/>
                    </a:lnTo>
                    <a:lnTo>
                      <a:pt x="520" y="83"/>
                    </a:lnTo>
                    <a:lnTo>
                      <a:pt x="608" y="83"/>
                    </a:lnTo>
                    <a:lnTo>
                      <a:pt x="620" y="86"/>
                    </a:lnTo>
                    <a:lnTo>
                      <a:pt x="621" y="86"/>
                    </a:lnTo>
                    <a:lnTo>
                      <a:pt x="619" y="88"/>
                    </a:lnTo>
                    <a:lnTo>
                      <a:pt x="606" y="90"/>
                    </a:lnTo>
                    <a:lnTo>
                      <a:pt x="605" y="93"/>
                    </a:lnTo>
                    <a:lnTo>
                      <a:pt x="600" y="95"/>
                    </a:lnTo>
                    <a:lnTo>
                      <a:pt x="587" y="93"/>
                    </a:lnTo>
                    <a:lnTo>
                      <a:pt x="573" y="95"/>
                    </a:lnTo>
                    <a:lnTo>
                      <a:pt x="570" y="99"/>
                    </a:lnTo>
                    <a:lnTo>
                      <a:pt x="571" y="102"/>
                    </a:lnTo>
                    <a:lnTo>
                      <a:pt x="579" y="106"/>
                    </a:lnTo>
                    <a:lnTo>
                      <a:pt x="583" y="107"/>
                    </a:lnTo>
                    <a:lnTo>
                      <a:pt x="590" y="111"/>
                    </a:lnTo>
                    <a:lnTo>
                      <a:pt x="593" y="117"/>
                    </a:lnTo>
                    <a:lnTo>
                      <a:pt x="599" y="122"/>
                    </a:lnTo>
                    <a:lnTo>
                      <a:pt x="600" y="129"/>
                    </a:lnTo>
                    <a:lnTo>
                      <a:pt x="604" y="134"/>
                    </a:lnTo>
                    <a:lnTo>
                      <a:pt x="621" y="132"/>
                    </a:lnTo>
                    <a:lnTo>
                      <a:pt x="638" y="136"/>
                    </a:lnTo>
                    <a:lnTo>
                      <a:pt x="663" y="150"/>
                    </a:lnTo>
                    <a:lnTo>
                      <a:pt x="670" y="152"/>
                    </a:lnTo>
                    <a:lnTo>
                      <a:pt x="678" y="159"/>
                    </a:lnTo>
                    <a:lnTo>
                      <a:pt x="686" y="172"/>
                    </a:lnTo>
                    <a:lnTo>
                      <a:pt x="687" y="177"/>
                    </a:lnTo>
                    <a:lnTo>
                      <a:pt x="689" y="193"/>
                    </a:lnTo>
                    <a:lnTo>
                      <a:pt x="689" y="197"/>
                    </a:lnTo>
                    <a:lnTo>
                      <a:pt x="686" y="199"/>
                    </a:lnTo>
                    <a:lnTo>
                      <a:pt x="676" y="203"/>
                    </a:lnTo>
                    <a:lnTo>
                      <a:pt x="676" y="206"/>
                    </a:lnTo>
                    <a:lnTo>
                      <a:pt x="679" y="207"/>
                    </a:lnTo>
                    <a:lnTo>
                      <a:pt x="689" y="208"/>
                    </a:lnTo>
                    <a:lnTo>
                      <a:pt x="695" y="211"/>
                    </a:lnTo>
                    <a:lnTo>
                      <a:pt x="701" y="211"/>
                    </a:lnTo>
                    <a:lnTo>
                      <a:pt x="705" y="209"/>
                    </a:lnTo>
                    <a:lnTo>
                      <a:pt x="712" y="202"/>
                    </a:lnTo>
                    <a:lnTo>
                      <a:pt x="721" y="201"/>
                    </a:lnTo>
                    <a:lnTo>
                      <a:pt x="727" y="203"/>
                    </a:lnTo>
                    <a:lnTo>
                      <a:pt x="737" y="209"/>
                    </a:lnTo>
                    <a:lnTo>
                      <a:pt x="741" y="214"/>
                    </a:lnTo>
                    <a:lnTo>
                      <a:pt x="743" y="217"/>
                    </a:lnTo>
                    <a:lnTo>
                      <a:pt x="743" y="225"/>
                    </a:lnTo>
                    <a:lnTo>
                      <a:pt x="739" y="228"/>
                    </a:lnTo>
                    <a:lnTo>
                      <a:pt x="734" y="228"/>
                    </a:lnTo>
                    <a:lnTo>
                      <a:pt x="728" y="231"/>
                    </a:lnTo>
                    <a:lnTo>
                      <a:pt x="724" y="234"/>
                    </a:lnTo>
                    <a:lnTo>
                      <a:pt x="708" y="241"/>
                    </a:lnTo>
                    <a:lnTo>
                      <a:pt x="705" y="245"/>
                    </a:lnTo>
                    <a:lnTo>
                      <a:pt x="702" y="247"/>
                    </a:lnTo>
                    <a:lnTo>
                      <a:pt x="691" y="250"/>
                    </a:lnTo>
                    <a:lnTo>
                      <a:pt x="689" y="252"/>
                    </a:lnTo>
                    <a:lnTo>
                      <a:pt x="686" y="258"/>
                    </a:lnTo>
                    <a:lnTo>
                      <a:pt x="686" y="267"/>
                    </a:lnTo>
                    <a:lnTo>
                      <a:pt x="689" y="279"/>
                    </a:lnTo>
                    <a:lnTo>
                      <a:pt x="694" y="281"/>
                    </a:lnTo>
                    <a:lnTo>
                      <a:pt x="700" y="279"/>
                    </a:lnTo>
                    <a:lnTo>
                      <a:pt x="702" y="279"/>
                    </a:lnTo>
                    <a:lnTo>
                      <a:pt x="707" y="284"/>
                    </a:lnTo>
                    <a:lnTo>
                      <a:pt x="702" y="290"/>
                    </a:lnTo>
                    <a:lnTo>
                      <a:pt x="691" y="298"/>
                    </a:lnTo>
                    <a:lnTo>
                      <a:pt x="674" y="304"/>
                    </a:lnTo>
                    <a:lnTo>
                      <a:pt x="673" y="306"/>
                    </a:lnTo>
                    <a:lnTo>
                      <a:pt x="673" y="321"/>
                    </a:lnTo>
                    <a:lnTo>
                      <a:pt x="669" y="327"/>
                    </a:lnTo>
                    <a:lnTo>
                      <a:pt x="663" y="336"/>
                    </a:lnTo>
                    <a:lnTo>
                      <a:pt x="662" y="337"/>
                    </a:lnTo>
                    <a:lnTo>
                      <a:pt x="662" y="341"/>
                    </a:lnTo>
                    <a:lnTo>
                      <a:pt x="662" y="343"/>
                    </a:lnTo>
                    <a:lnTo>
                      <a:pt x="674" y="359"/>
                    </a:lnTo>
                    <a:lnTo>
                      <a:pt x="685" y="370"/>
                    </a:lnTo>
                    <a:lnTo>
                      <a:pt x="689" y="378"/>
                    </a:lnTo>
                    <a:lnTo>
                      <a:pt x="695" y="384"/>
                    </a:lnTo>
                    <a:lnTo>
                      <a:pt x="699" y="386"/>
                    </a:lnTo>
                    <a:lnTo>
                      <a:pt x="699" y="389"/>
                    </a:lnTo>
                    <a:lnTo>
                      <a:pt x="699" y="401"/>
                    </a:lnTo>
                    <a:lnTo>
                      <a:pt x="687" y="414"/>
                    </a:lnTo>
                    <a:lnTo>
                      <a:pt x="680" y="421"/>
                    </a:lnTo>
                    <a:lnTo>
                      <a:pt x="676" y="423"/>
                    </a:lnTo>
                    <a:lnTo>
                      <a:pt x="660" y="424"/>
                    </a:lnTo>
                    <a:lnTo>
                      <a:pt x="654" y="428"/>
                    </a:lnTo>
                    <a:lnTo>
                      <a:pt x="646" y="432"/>
                    </a:lnTo>
                    <a:lnTo>
                      <a:pt x="640" y="440"/>
                    </a:lnTo>
                    <a:lnTo>
                      <a:pt x="635" y="443"/>
                    </a:lnTo>
                    <a:lnTo>
                      <a:pt x="606" y="445"/>
                    </a:lnTo>
                    <a:lnTo>
                      <a:pt x="590" y="449"/>
                    </a:lnTo>
                    <a:lnTo>
                      <a:pt x="572" y="455"/>
                    </a:lnTo>
                    <a:lnTo>
                      <a:pt x="568" y="459"/>
                    </a:lnTo>
                    <a:lnTo>
                      <a:pt x="567" y="460"/>
                    </a:lnTo>
                    <a:lnTo>
                      <a:pt x="542" y="459"/>
                    </a:lnTo>
                    <a:lnTo>
                      <a:pt x="524" y="454"/>
                    </a:lnTo>
                    <a:lnTo>
                      <a:pt x="503" y="441"/>
                    </a:lnTo>
                    <a:lnTo>
                      <a:pt x="481" y="439"/>
                    </a:lnTo>
                    <a:lnTo>
                      <a:pt x="474" y="437"/>
                    </a:lnTo>
                    <a:lnTo>
                      <a:pt x="470" y="437"/>
                    </a:lnTo>
                    <a:lnTo>
                      <a:pt x="469" y="437"/>
                    </a:lnTo>
                    <a:lnTo>
                      <a:pt x="470" y="446"/>
                    </a:lnTo>
                    <a:lnTo>
                      <a:pt x="474" y="455"/>
                    </a:lnTo>
                    <a:lnTo>
                      <a:pt x="485" y="460"/>
                    </a:lnTo>
                    <a:lnTo>
                      <a:pt x="497" y="467"/>
                    </a:lnTo>
                    <a:lnTo>
                      <a:pt x="499" y="470"/>
                    </a:lnTo>
                    <a:lnTo>
                      <a:pt x="498" y="482"/>
                    </a:lnTo>
                    <a:lnTo>
                      <a:pt x="495" y="495"/>
                    </a:lnTo>
                    <a:lnTo>
                      <a:pt x="495" y="502"/>
                    </a:lnTo>
                    <a:lnTo>
                      <a:pt x="496" y="507"/>
                    </a:lnTo>
                    <a:lnTo>
                      <a:pt x="501" y="524"/>
                    </a:lnTo>
                    <a:lnTo>
                      <a:pt x="502" y="532"/>
                    </a:lnTo>
                    <a:lnTo>
                      <a:pt x="503" y="538"/>
                    </a:lnTo>
                    <a:lnTo>
                      <a:pt x="518" y="541"/>
                    </a:lnTo>
                    <a:lnTo>
                      <a:pt x="522" y="542"/>
                    </a:lnTo>
                    <a:lnTo>
                      <a:pt x="546" y="541"/>
                    </a:lnTo>
                    <a:lnTo>
                      <a:pt x="546" y="550"/>
                    </a:lnTo>
                    <a:lnTo>
                      <a:pt x="546" y="551"/>
                    </a:lnTo>
                    <a:lnTo>
                      <a:pt x="544" y="554"/>
                    </a:lnTo>
                    <a:lnTo>
                      <a:pt x="533" y="556"/>
                    </a:lnTo>
                    <a:lnTo>
                      <a:pt x="525" y="559"/>
                    </a:lnTo>
                    <a:lnTo>
                      <a:pt x="524" y="562"/>
                    </a:lnTo>
                    <a:lnTo>
                      <a:pt x="518" y="565"/>
                    </a:lnTo>
                    <a:lnTo>
                      <a:pt x="511" y="565"/>
                    </a:lnTo>
                    <a:lnTo>
                      <a:pt x="506" y="573"/>
                    </a:lnTo>
                    <a:lnTo>
                      <a:pt x="499" y="588"/>
                    </a:lnTo>
                    <a:lnTo>
                      <a:pt x="496" y="591"/>
                    </a:lnTo>
                    <a:lnTo>
                      <a:pt x="491" y="593"/>
                    </a:lnTo>
                    <a:lnTo>
                      <a:pt x="486" y="593"/>
                    </a:lnTo>
                    <a:lnTo>
                      <a:pt x="480" y="596"/>
                    </a:lnTo>
                    <a:lnTo>
                      <a:pt x="477" y="597"/>
                    </a:lnTo>
                    <a:lnTo>
                      <a:pt x="475" y="602"/>
                    </a:lnTo>
                    <a:lnTo>
                      <a:pt x="466" y="602"/>
                    </a:lnTo>
                    <a:lnTo>
                      <a:pt x="454" y="607"/>
                    </a:lnTo>
                    <a:lnTo>
                      <a:pt x="452" y="607"/>
                    </a:lnTo>
                    <a:lnTo>
                      <a:pt x="444" y="611"/>
                    </a:lnTo>
                    <a:lnTo>
                      <a:pt x="436" y="615"/>
                    </a:lnTo>
                    <a:lnTo>
                      <a:pt x="431" y="618"/>
                    </a:lnTo>
                    <a:lnTo>
                      <a:pt x="423" y="626"/>
                    </a:lnTo>
                    <a:lnTo>
                      <a:pt x="421" y="627"/>
                    </a:lnTo>
                    <a:lnTo>
                      <a:pt x="402" y="631"/>
                    </a:lnTo>
                    <a:lnTo>
                      <a:pt x="385" y="631"/>
                    </a:lnTo>
                    <a:lnTo>
                      <a:pt x="383" y="629"/>
                    </a:lnTo>
                    <a:lnTo>
                      <a:pt x="380" y="629"/>
                    </a:lnTo>
                    <a:lnTo>
                      <a:pt x="368" y="621"/>
                    </a:lnTo>
                    <a:lnTo>
                      <a:pt x="364" y="617"/>
                    </a:lnTo>
                    <a:lnTo>
                      <a:pt x="361" y="612"/>
                    </a:lnTo>
                    <a:lnTo>
                      <a:pt x="358" y="607"/>
                    </a:lnTo>
                    <a:lnTo>
                      <a:pt x="353" y="600"/>
                    </a:lnTo>
                    <a:lnTo>
                      <a:pt x="348" y="591"/>
                    </a:lnTo>
                    <a:lnTo>
                      <a:pt x="346" y="580"/>
                    </a:lnTo>
                    <a:lnTo>
                      <a:pt x="330" y="543"/>
                    </a:lnTo>
                    <a:lnTo>
                      <a:pt x="321" y="532"/>
                    </a:lnTo>
                    <a:lnTo>
                      <a:pt x="304" y="519"/>
                    </a:lnTo>
                    <a:lnTo>
                      <a:pt x="304" y="515"/>
                    </a:lnTo>
                    <a:lnTo>
                      <a:pt x="316" y="504"/>
                    </a:lnTo>
                    <a:lnTo>
                      <a:pt x="321" y="497"/>
                    </a:lnTo>
                    <a:lnTo>
                      <a:pt x="324" y="495"/>
                    </a:lnTo>
                    <a:lnTo>
                      <a:pt x="328" y="492"/>
                    </a:lnTo>
                    <a:lnTo>
                      <a:pt x="330" y="491"/>
                    </a:lnTo>
                    <a:lnTo>
                      <a:pt x="331" y="488"/>
                    </a:lnTo>
                    <a:lnTo>
                      <a:pt x="330" y="481"/>
                    </a:lnTo>
                    <a:lnTo>
                      <a:pt x="328" y="476"/>
                    </a:lnTo>
                    <a:lnTo>
                      <a:pt x="323" y="467"/>
                    </a:lnTo>
                    <a:lnTo>
                      <a:pt x="315" y="459"/>
                    </a:lnTo>
                    <a:lnTo>
                      <a:pt x="308" y="454"/>
                    </a:lnTo>
                    <a:lnTo>
                      <a:pt x="307" y="451"/>
                    </a:lnTo>
                    <a:lnTo>
                      <a:pt x="305" y="441"/>
                    </a:lnTo>
                    <a:lnTo>
                      <a:pt x="303" y="435"/>
                    </a:lnTo>
                    <a:lnTo>
                      <a:pt x="303" y="427"/>
                    </a:lnTo>
                    <a:lnTo>
                      <a:pt x="299" y="419"/>
                    </a:lnTo>
                    <a:lnTo>
                      <a:pt x="299" y="407"/>
                    </a:lnTo>
                    <a:lnTo>
                      <a:pt x="303" y="401"/>
                    </a:lnTo>
                    <a:lnTo>
                      <a:pt x="305" y="391"/>
                    </a:lnTo>
                    <a:lnTo>
                      <a:pt x="305" y="380"/>
                    </a:lnTo>
                    <a:lnTo>
                      <a:pt x="314" y="370"/>
                    </a:lnTo>
                    <a:lnTo>
                      <a:pt x="314" y="357"/>
                    </a:lnTo>
                    <a:lnTo>
                      <a:pt x="316" y="352"/>
                    </a:lnTo>
                    <a:lnTo>
                      <a:pt x="323" y="346"/>
                    </a:lnTo>
                    <a:lnTo>
                      <a:pt x="323" y="341"/>
                    </a:lnTo>
                    <a:lnTo>
                      <a:pt x="320" y="332"/>
                    </a:lnTo>
                    <a:lnTo>
                      <a:pt x="318" y="330"/>
                    </a:lnTo>
                    <a:lnTo>
                      <a:pt x="314" y="330"/>
                    </a:lnTo>
                    <a:lnTo>
                      <a:pt x="304" y="330"/>
                    </a:lnTo>
                    <a:lnTo>
                      <a:pt x="285" y="338"/>
                    </a:lnTo>
                    <a:lnTo>
                      <a:pt x="273" y="341"/>
                    </a:lnTo>
                    <a:lnTo>
                      <a:pt x="266" y="341"/>
                    </a:lnTo>
                    <a:lnTo>
                      <a:pt x="257" y="338"/>
                    </a:lnTo>
                    <a:lnTo>
                      <a:pt x="253" y="337"/>
                    </a:lnTo>
                    <a:lnTo>
                      <a:pt x="248" y="335"/>
                    </a:lnTo>
                    <a:lnTo>
                      <a:pt x="242" y="333"/>
                    </a:lnTo>
                    <a:lnTo>
                      <a:pt x="234" y="336"/>
                    </a:lnTo>
                    <a:lnTo>
                      <a:pt x="232" y="338"/>
                    </a:lnTo>
                    <a:lnTo>
                      <a:pt x="226" y="338"/>
                    </a:lnTo>
                    <a:lnTo>
                      <a:pt x="217" y="338"/>
                    </a:lnTo>
                    <a:lnTo>
                      <a:pt x="213" y="336"/>
                    </a:lnTo>
                    <a:lnTo>
                      <a:pt x="212" y="336"/>
                    </a:lnTo>
                    <a:lnTo>
                      <a:pt x="184" y="295"/>
                    </a:lnTo>
                    <a:lnTo>
                      <a:pt x="183" y="293"/>
                    </a:lnTo>
                    <a:lnTo>
                      <a:pt x="180" y="290"/>
                    </a:lnTo>
                    <a:lnTo>
                      <a:pt x="169" y="289"/>
                    </a:lnTo>
                    <a:lnTo>
                      <a:pt x="163" y="285"/>
                    </a:lnTo>
                    <a:lnTo>
                      <a:pt x="151" y="281"/>
                    </a:lnTo>
                    <a:lnTo>
                      <a:pt x="133" y="282"/>
                    </a:lnTo>
                    <a:lnTo>
                      <a:pt x="115" y="287"/>
                    </a:lnTo>
                    <a:lnTo>
                      <a:pt x="105" y="288"/>
                    </a:lnTo>
                    <a:lnTo>
                      <a:pt x="90" y="287"/>
                    </a:lnTo>
                    <a:lnTo>
                      <a:pt x="73" y="279"/>
                    </a:lnTo>
                    <a:lnTo>
                      <a:pt x="70" y="272"/>
                    </a:lnTo>
                    <a:lnTo>
                      <a:pt x="66" y="271"/>
                    </a:lnTo>
                    <a:lnTo>
                      <a:pt x="54" y="265"/>
                    </a:lnTo>
                    <a:lnTo>
                      <a:pt x="52" y="262"/>
                    </a:lnTo>
                    <a:lnTo>
                      <a:pt x="52" y="229"/>
                    </a:lnTo>
                    <a:lnTo>
                      <a:pt x="50" y="220"/>
                    </a:lnTo>
                    <a:lnTo>
                      <a:pt x="47" y="214"/>
                    </a:lnTo>
                    <a:lnTo>
                      <a:pt x="43" y="211"/>
                    </a:lnTo>
                    <a:lnTo>
                      <a:pt x="41" y="208"/>
                    </a:lnTo>
                    <a:lnTo>
                      <a:pt x="34" y="199"/>
                    </a:lnTo>
                    <a:lnTo>
                      <a:pt x="31" y="196"/>
                    </a:lnTo>
                    <a:lnTo>
                      <a:pt x="28" y="176"/>
                    </a:lnTo>
                    <a:lnTo>
                      <a:pt x="25" y="170"/>
                    </a:lnTo>
                    <a:lnTo>
                      <a:pt x="24" y="168"/>
                    </a:lnTo>
                    <a:lnTo>
                      <a:pt x="0" y="169"/>
                    </a:lnTo>
                    <a:lnTo>
                      <a:pt x="6" y="155"/>
                    </a:lnTo>
                    <a:lnTo>
                      <a:pt x="14" y="140"/>
                    </a:lnTo>
                    <a:lnTo>
                      <a:pt x="27" y="95"/>
                    </a:lnTo>
                    <a:lnTo>
                      <a:pt x="40" y="73"/>
                    </a:lnTo>
                    <a:lnTo>
                      <a:pt x="65" y="50"/>
                    </a:lnTo>
                    <a:lnTo>
                      <a:pt x="68" y="45"/>
                    </a:lnTo>
                    <a:lnTo>
                      <a:pt x="73" y="35"/>
                    </a:lnTo>
                    <a:lnTo>
                      <a:pt x="79" y="29"/>
                    </a:lnTo>
                    <a:lnTo>
                      <a:pt x="94" y="23"/>
                    </a:lnTo>
                    <a:lnTo>
                      <a:pt x="109" y="21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26" name="Freeform 239"/>
              <p:cNvSpPr>
                <a:spLocks noChangeAspect="1"/>
              </p:cNvSpPr>
              <p:nvPr/>
            </p:nvSpPr>
            <p:spPr bwMode="gray">
              <a:xfrm>
                <a:off x="1629" y="2473"/>
                <a:ext cx="62" cy="69"/>
              </a:xfrm>
              <a:custGeom>
                <a:avLst/>
                <a:gdLst/>
                <a:ahLst/>
                <a:cxnLst>
                  <a:cxn ang="0">
                    <a:pos x="112" y="2"/>
                  </a:cxn>
                  <a:cxn ang="0">
                    <a:pos x="147" y="18"/>
                  </a:cxn>
                  <a:cxn ang="0">
                    <a:pos x="189" y="41"/>
                  </a:cxn>
                  <a:cxn ang="0">
                    <a:pos x="194" y="57"/>
                  </a:cxn>
                  <a:cxn ang="0">
                    <a:pos x="209" y="62"/>
                  </a:cxn>
                  <a:cxn ang="0">
                    <a:pos x="222" y="60"/>
                  </a:cxn>
                  <a:cxn ang="0">
                    <a:pos x="253" y="62"/>
                  </a:cxn>
                  <a:cxn ang="0">
                    <a:pos x="259" y="54"/>
                  </a:cxn>
                  <a:cxn ang="0">
                    <a:pos x="271" y="56"/>
                  </a:cxn>
                  <a:cxn ang="0">
                    <a:pos x="284" y="65"/>
                  </a:cxn>
                  <a:cxn ang="0">
                    <a:pos x="304" y="76"/>
                  </a:cxn>
                  <a:cxn ang="0">
                    <a:pos x="291" y="78"/>
                  </a:cxn>
                  <a:cxn ang="0">
                    <a:pos x="295" y="89"/>
                  </a:cxn>
                  <a:cxn ang="0">
                    <a:pos x="302" y="103"/>
                  </a:cxn>
                  <a:cxn ang="0">
                    <a:pos x="311" y="125"/>
                  </a:cxn>
                  <a:cxn ang="0">
                    <a:pos x="302" y="126"/>
                  </a:cxn>
                  <a:cxn ang="0">
                    <a:pos x="280" y="165"/>
                  </a:cxn>
                  <a:cxn ang="0">
                    <a:pos x="260" y="186"/>
                  </a:cxn>
                  <a:cxn ang="0">
                    <a:pos x="241" y="207"/>
                  </a:cxn>
                  <a:cxn ang="0">
                    <a:pos x="216" y="221"/>
                  </a:cxn>
                  <a:cxn ang="0">
                    <a:pos x="162" y="239"/>
                  </a:cxn>
                  <a:cxn ang="0">
                    <a:pos x="152" y="247"/>
                  </a:cxn>
                  <a:cxn ang="0">
                    <a:pos x="146" y="266"/>
                  </a:cxn>
                  <a:cxn ang="0">
                    <a:pos x="140" y="269"/>
                  </a:cxn>
                  <a:cxn ang="0">
                    <a:pos x="134" y="265"/>
                  </a:cxn>
                  <a:cxn ang="0">
                    <a:pos x="120" y="286"/>
                  </a:cxn>
                  <a:cxn ang="0">
                    <a:pos x="118" y="320"/>
                  </a:cxn>
                  <a:cxn ang="0">
                    <a:pos x="114" y="329"/>
                  </a:cxn>
                  <a:cxn ang="0">
                    <a:pos x="97" y="340"/>
                  </a:cxn>
                  <a:cxn ang="0">
                    <a:pos x="78" y="344"/>
                  </a:cxn>
                  <a:cxn ang="0">
                    <a:pos x="71" y="330"/>
                  </a:cxn>
                  <a:cxn ang="0">
                    <a:pos x="60" y="321"/>
                  </a:cxn>
                  <a:cxn ang="0">
                    <a:pos x="46" y="318"/>
                  </a:cxn>
                  <a:cxn ang="0">
                    <a:pos x="33" y="314"/>
                  </a:cxn>
                  <a:cxn ang="0">
                    <a:pos x="21" y="320"/>
                  </a:cxn>
                  <a:cxn ang="0">
                    <a:pos x="17" y="304"/>
                  </a:cxn>
                  <a:cxn ang="0">
                    <a:pos x="15" y="297"/>
                  </a:cxn>
                  <a:cxn ang="0">
                    <a:pos x="28" y="290"/>
                  </a:cxn>
                  <a:cxn ang="0">
                    <a:pos x="32" y="276"/>
                  </a:cxn>
                  <a:cxn ang="0">
                    <a:pos x="28" y="264"/>
                  </a:cxn>
                  <a:cxn ang="0">
                    <a:pos x="27" y="261"/>
                  </a:cxn>
                  <a:cxn ang="0">
                    <a:pos x="40" y="254"/>
                  </a:cxn>
                  <a:cxn ang="0">
                    <a:pos x="53" y="243"/>
                  </a:cxn>
                  <a:cxn ang="0">
                    <a:pos x="59" y="213"/>
                  </a:cxn>
                  <a:cxn ang="0">
                    <a:pos x="53" y="205"/>
                  </a:cxn>
                  <a:cxn ang="0">
                    <a:pos x="45" y="197"/>
                  </a:cxn>
                  <a:cxn ang="0">
                    <a:pos x="30" y="217"/>
                  </a:cxn>
                  <a:cxn ang="0">
                    <a:pos x="21" y="210"/>
                  </a:cxn>
                  <a:cxn ang="0">
                    <a:pos x="2" y="199"/>
                  </a:cxn>
                  <a:cxn ang="0">
                    <a:pos x="0" y="164"/>
                  </a:cxn>
                  <a:cxn ang="0">
                    <a:pos x="1" y="130"/>
                  </a:cxn>
                  <a:cxn ang="0">
                    <a:pos x="17" y="120"/>
                  </a:cxn>
                  <a:cxn ang="0">
                    <a:pos x="26" y="97"/>
                  </a:cxn>
                  <a:cxn ang="0">
                    <a:pos x="40" y="72"/>
                  </a:cxn>
                  <a:cxn ang="0">
                    <a:pos x="44" y="60"/>
                  </a:cxn>
                  <a:cxn ang="0">
                    <a:pos x="42" y="33"/>
                  </a:cxn>
                  <a:cxn ang="0">
                    <a:pos x="66" y="27"/>
                  </a:cxn>
                  <a:cxn ang="0">
                    <a:pos x="71" y="24"/>
                  </a:cxn>
                  <a:cxn ang="0">
                    <a:pos x="88" y="9"/>
                  </a:cxn>
                  <a:cxn ang="0">
                    <a:pos x="103" y="7"/>
                  </a:cxn>
                  <a:cxn ang="0">
                    <a:pos x="109" y="0"/>
                  </a:cxn>
                </a:cxnLst>
                <a:rect l="0" t="0" r="r" b="b"/>
                <a:pathLst>
                  <a:path w="311" h="345">
                    <a:moveTo>
                      <a:pt x="109" y="0"/>
                    </a:moveTo>
                    <a:lnTo>
                      <a:pt x="112" y="2"/>
                    </a:lnTo>
                    <a:lnTo>
                      <a:pt x="115" y="5"/>
                    </a:lnTo>
                    <a:lnTo>
                      <a:pt x="147" y="18"/>
                    </a:lnTo>
                    <a:lnTo>
                      <a:pt x="177" y="33"/>
                    </a:lnTo>
                    <a:lnTo>
                      <a:pt x="189" y="41"/>
                    </a:lnTo>
                    <a:lnTo>
                      <a:pt x="191" y="46"/>
                    </a:lnTo>
                    <a:lnTo>
                      <a:pt x="194" y="57"/>
                    </a:lnTo>
                    <a:lnTo>
                      <a:pt x="196" y="61"/>
                    </a:lnTo>
                    <a:lnTo>
                      <a:pt x="209" y="62"/>
                    </a:lnTo>
                    <a:lnTo>
                      <a:pt x="217" y="60"/>
                    </a:lnTo>
                    <a:lnTo>
                      <a:pt x="222" y="60"/>
                    </a:lnTo>
                    <a:lnTo>
                      <a:pt x="243" y="62"/>
                    </a:lnTo>
                    <a:lnTo>
                      <a:pt x="253" y="62"/>
                    </a:lnTo>
                    <a:lnTo>
                      <a:pt x="254" y="60"/>
                    </a:lnTo>
                    <a:lnTo>
                      <a:pt x="259" y="54"/>
                    </a:lnTo>
                    <a:lnTo>
                      <a:pt x="264" y="54"/>
                    </a:lnTo>
                    <a:lnTo>
                      <a:pt x="271" y="56"/>
                    </a:lnTo>
                    <a:lnTo>
                      <a:pt x="277" y="62"/>
                    </a:lnTo>
                    <a:lnTo>
                      <a:pt x="284" y="65"/>
                    </a:lnTo>
                    <a:lnTo>
                      <a:pt x="298" y="76"/>
                    </a:lnTo>
                    <a:lnTo>
                      <a:pt x="304" y="76"/>
                    </a:lnTo>
                    <a:lnTo>
                      <a:pt x="302" y="78"/>
                    </a:lnTo>
                    <a:lnTo>
                      <a:pt x="291" y="78"/>
                    </a:lnTo>
                    <a:lnTo>
                      <a:pt x="290" y="87"/>
                    </a:lnTo>
                    <a:lnTo>
                      <a:pt x="295" y="89"/>
                    </a:lnTo>
                    <a:lnTo>
                      <a:pt x="297" y="92"/>
                    </a:lnTo>
                    <a:lnTo>
                      <a:pt x="302" y="103"/>
                    </a:lnTo>
                    <a:lnTo>
                      <a:pt x="303" y="108"/>
                    </a:lnTo>
                    <a:lnTo>
                      <a:pt x="311" y="125"/>
                    </a:lnTo>
                    <a:lnTo>
                      <a:pt x="311" y="126"/>
                    </a:lnTo>
                    <a:lnTo>
                      <a:pt x="302" y="126"/>
                    </a:lnTo>
                    <a:lnTo>
                      <a:pt x="295" y="141"/>
                    </a:lnTo>
                    <a:lnTo>
                      <a:pt x="280" y="165"/>
                    </a:lnTo>
                    <a:lnTo>
                      <a:pt x="268" y="180"/>
                    </a:lnTo>
                    <a:lnTo>
                      <a:pt x="260" y="186"/>
                    </a:lnTo>
                    <a:lnTo>
                      <a:pt x="250" y="195"/>
                    </a:lnTo>
                    <a:lnTo>
                      <a:pt x="241" y="207"/>
                    </a:lnTo>
                    <a:lnTo>
                      <a:pt x="232" y="213"/>
                    </a:lnTo>
                    <a:lnTo>
                      <a:pt x="216" y="221"/>
                    </a:lnTo>
                    <a:lnTo>
                      <a:pt x="180" y="232"/>
                    </a:lnTo>
                    <a:lnTo>
                      <a:pt x="162" y="239"/>
                    </a:lnTo>
                    <a:lnTo>
                      <a:pt x="155" y="244"/>
                    </a:lnTo>
                    <a:lnTo>
                      <a:pt x="152" y="247"/>
                    </a:lnTo>
                    <a:lnTo>
                      <a:pt x="147" y="256"/>
                    </a:lnTo>
                    <a:lnTo>
                      <a:pt x="146" y="266"/>
                    </a:lnTo>
                    <a:lnTo>
                      <a:pt x="142" y="269"/>
                    </a:lnTo>
                    <a:lnTo>
                      <a:pt x="140" y="269"/>
                    </a:lnTo>
                    <a:lnTo>
                      <a:pt x="136" y="265"/>
                    </a:lnTo>
                    <a:lnTo>
                      <a:pt x="134" y="265"/>
                    </a:lnTo>
                    <a:lnTo>
                      <a:pt x="134" y="266"/>
                    </a:lnTo>
                    <a:lnTo>
                      <a:pt x="120" y="286"/>
                    </a:lnTo>
                    <a:lnTo>
                      <a:pt x="118" y="299"/>
                    </a:lnTo>
                    <a:lnTo>
                      <a:pt x="118" y="320"/>
                    </a:lnTo>
                    <a:lnTo>
                      <a:pt x="115" y="328"/>
                    </a:lnTo>
                    <a:lnTo>
                      <a:pt x="114" y="329"/>
                    </a:lnTo>
                    <a:lnTo>
                      <a:pt x="104" y="333"/>
                    </a:lnTo>
                    <a:lnTo>
                      <a:pt x="97" y="340"/>
                    </a:lnTo>
                    <a:lnTo>
                      <a:pt x="86" y="345"/>
                    </a:lnTo>
                    <a:lnTo>
                      <a:pt x="78" y="344"/>
                    </a:lnTo>
                    <a:lnTo>
                      <a:pt x="73" y="336"/>
                    </a:lnTo>
                    <a:lnTo>
                      <a:pt x="71" y="330"/>
                    </a:lnTo>
                    <a:lnTo>
                      <a:pt x="66" y="321"/>
                    </a:lnTo>
                    <a:lnTo>
                      <a:pt x="60" y="321"/>
                    </a:lnTo>
                    <a:lnTo>
                      <a:pt x="50" y="321"/>
                    </a:lnTo>
                    <a:lnTo>
                      <a:pt x="46" y="318"/>
                    </a:lnTo>
                    <a:lnTo>
                      <a:pt x="43" y="314"/>
                    </a:lnTo>
                    <a:lnTo>
                      <a:pt x="33" y="314"/>
                    </a:lnTo>
                    <a:lnTo>
                      <a:pt x="26" y="319"/>
                    </a:lnTo>
                    <a:lnTo>
                      <a:pt x="21" y="320"/>
                    </a:lnTo>
                    <a:lnTo>
                      <a:pt x="18" y="318"/>
                    </a:lnTo>
                    <a:lnTo>
                      <a:pt x="17" y="304"/>
                    </a:lnTo>
                    <a:lnTo>
                      <a:pt x="15" y="299"/>
                    </a:lnTo>
                    <a:lnTo>
                      <a:pt x="15" y="297"/>
                    </a:lnTo>
                    <a:lnTo>
                      <a:pt x="18" y="292"/>
                    </a:lnTo>
                    <a:lnTo>
                      <a:pt x="28" y="290"/>
                    </a:lnTo>
                    <a:lnTo>
                      <a:pt x="33" y="285"/>
                    </a:lnTo>
                    <a:lnTo>
                      <a:pt x="32" y="276"/>
                    </a:lnTo>
                    <a:lnTo>
                      <a:pt x="30" y="274"/>
                    </a:lnTo>
                    <a:lnTo>
                      <a:pt x="28" y="264"/>
                    </a:lnTo>
                    <a:lnTo>
                      <a:pt x="27" y="264"/>
                    </a:lnTo>
                    <a:lnTo>
                      <a:pt x="27" y="261"/>
                    </a:lnTo>
                    <a:lnTo>
                      <a:pt x="30" y="258"/>
                    </a:lnTo>
                    <a:lnTo>
                      <a:pt x="40" y="254"/>
                    </a:lnTo>
                    <a:lnTo>
                      <a:pt x="46" y="250"/>
                    </a:lnTo>
                    <a:lnTo>
                      <a:pt x="53" y="243"/>
                    </a:lnTo>
                    <a:lnTo>
                      <a:pt x="55" y="237"/>
                    </a:lnTo>
                    <a:lnTo>
                      <a:pt x="59" y="213"/>
                    </a:lnTo>
                    <a:lnTo>
                      <a:pt x="56" y="207"/>
                    </a:lnTo>
                    <a:lnTo>
                      <a:pt x="53" y="205"/>
                    </a:lnTo>
                    <a:lnTo>
                      <a:pt x="51" y="191"/>
                    </a:lnTo>
                    <a:lnTo>
                      <a:pt x="45" y="197"/>
                    </a:lnTo>
                    <a:lnTo>
                      <a:pt x="37" y="210"/>
                    </a:lnTo>
                    <a:lnTo>
                      <a:pt x="30" y="217"/>
                    </a:lnTo>
                    <a:lnTo>
                      <a:pt x="26" y="215"/>
                    </a:lnTo>
                    <a:lnTo>
                      <a:pt x="21" y="210"/>
                    </a:lnTo>
                    <a:lnTo>
                      <a:pt x="11" y="206"/>
                    </a:lnTo>
                    <a:lnTo>
                      <a:pt x="2" y="199"/>
                    </a:lnTo>
                    <a:lnTo>
                      <a:pt x="0" y="173"/>
                    </a:lnTo>
                    <a:lnTo>
                      <a:pt x="0" y="164"/>
                    </a:lnTo>
                    <a:lnTo>
                      <a:pt x="2" y="156"/>
                    </a:lnTo>
                    <a:lnTo>
                      <a:pt x="1" y="130"/>
                    </a:lnTo>
                    <a:lnTo>
                      <a:pt x="3" y="126"/>
                    </a:lnTo>
                    <a:lnTo>
                      <a:pt x="17" y="120"/>
                    </a:lnTo>
                    <a:lnTo>
                      <a:pt x="24" y="111"/>
                    </a:lnTo>
                    <a:lnTo>
                      <a:pt x="26" y="97"/>
                    </a:lnTo>
                    <a:lnTo>
                      <a:pt x="28" y="89"/>
                    </a:lnTo>
                    <a:lnTo>
                      <a:pt x="40" y="72"/>
                    </a:lnTo>
                    <a:lnTo>
                      <a:pt x="44" y="66"/>
                    </a:lnTo>
                    <a:lnTo>
                      <a:pt x="44" y="60"/>
                    </a:lnTo>
                    <a:lnTo>
                      <a:pt x="42" y="46"/>
                    </a:lnTo>
                    <a:lnTo>
                      <a:pt x="42" y="33"/>
                    </a:lnTo>
                    <a:lnTo>
                      <a:pt x="46" y="27"/>
                    </a:lnTo>
                    <a:lnTo>
                      <a:pt x="66" y="27"/>
                    </a:lnTo>
                    <a:lnTo>
                      <a:pt x="67" y="27"/>
                    </a:lnTo>
                    <a:lnTo>
                      <a:pt x="71" y="24"/>
                    </a:lnTo>
                    <a:lnTo>
                      <a:pt x="82" y="13"/>
                    </a:lnTo>
                    <a:lnTo>
                      <a:pt x="88" y="9"/>
                    </a:lnTo>
                    <a:lnTo>
                      <a:pt x="97" y="8"/>
                    </a:lnTo>
                    <a:lnTo>
                      <a:pt x="103" y="7"/>
                    </a:lnTo>
                    <a:lnTo>
                      <a:pt x="108" y="2"/>
                    </a:lnTo>
                    <a:lnTo>
                      <a:pt x="109" y="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27" name="Freeform 240"/>
              <p:cNvSpPr>
                <a:spLocks noChangeAspect="1"/>
              </p:cNvSpPr>
              <p:nvPr/>
            </p:nvSpPr>
            <p:spPr bwMode="gray">
              <a:xfrm>
                <a:off x="1828" y="2701"/>
                <a:ext cx="92" cy="98"/>
              </a:xfrm>
              <a:custGeom>
                <a:avLst/>
                <a:gdLst/>
                <a:ahLst/>
                <a:cxnLst>
                  <a:cxn ang="0">
                    <a:pos x="8" y="164"/>
                  </a:cxn>
                  <a:cxn ang="0">
                    <a:pos x="19" y="117"/>
                  </a:cxn>
                  <a:cxn ang="0">
                    <a:pos x="18" y="87"/>
                  </a:cxn>
                  <a:cxn ang="0">
                    <a:pos x="29" y="66"/>
                  </a:cxn>
                  <a:cxn ang="0">
                    <a:pos x="43" y="35"/>
                  </a:cxn>
                  <a:cxn ang="0">
                    <a:pos x="64" y="25"/>
                  </a:cxn>
                  <a:cxn ang="0">
                    <a:pos x="121" y="8"/>
                  </a:cxn>
                  <a:cxn ang="0">
                    <a:pos x="156" y="0"/>
                  </a:cxn>
                  <a:cxn ang="0">
                    <a:pos x="212" y="3"/>
                  </a:cxn>
                  <a:cxn ang="0">
                    <a:pos x="232" y="19"/>
                  </a:cxn>
                  <a:cxn ang="0">
                    <a:pos x="248" y="44"/>
                  </a:cxn>
                  <a:cxn ang="0">
                    <a:pos x="252" y="55"/>
                  </a:cxn>
                  <a:cxn ang="0">
                    <a:pos x="260" y="71"/>
                  </a:cxn>
                  <a:cxn ang="0">
                    <a:pos x="261" y="121"/>
                  </a:cxn>
                  <a:cxn ang="0">
                    <a:pos x="265" y="163"/>
                  </a:cxn>
                  <a:cxn ang="0">
                    <a:pos x="286" y="169"/>
                  </a:cxn>
                  <a:cxn ang="0">
                    <a:pos x="311" y="175"/>
                  </a:cxn>
                  <a:cxn ang="0">
                    <a:pos x="335" y="174"/>
                  </a:cxn>
                  <a:cxn ang="0">
                    <a:pos x="349" y="168"/>
                  </a:cxn>
                  <a:cxn ang="0">
                    <a:pos x="378" y="180"/>
                  </a:cxn>
                  <a:cxn ang="0">
                    <a:pos x="386" y="195"/>
                  </a:cxn>
                  <a:cxn ang="0">
                    <a:pos x="392" y="230"/>
                  </a:cxn>
                  <a:cxn ang="0">
                    <a:pos x="392" y="260"/>
                  </a:cxn>
                  <a:cxn ang="0">
                    <a:pos x="404" y="272"/>
                  </a:cxn>
                  <a:cxn ang="0">
                    <a:pos x="421" y="275"/>
                  </a:cxn>
                  <a:cxn ang="0">
                    <a:pos x="440" y="272"/>
                  </a:cxn>
                  <a:cxn ang="0">
                    <a:pos x="454" y="275"/>
                  </a:cxn>
                  <a:cxn ang="0">
                    <a:pos x="459" y="308"/>
                  </a:cxn>
                  <a:cxn ang="0">
                    <a:pos x="454" y="327"/>
                  </a:cxn>
                  <a:cxn ang="0">
                    <a:pos x="449" y="374"/>
                  </a:cxn>
                  <a:cxn ang="0">
                    <a:pos x="443" y="420"/>
                  </a:cxn>
                  <a:cxn ang="0">
                    <a:pos x="433" y="438"/>
                  </a:cxn>
                  <a:cxn ang="0">
                    <a:pos x="411" y="458"/>
                  </a:cxn>
                  <a:cxn ang="0">
                    <a:pos x="404" y="463"/>
                  </a:cxn>
                  <a:cxn ang="0">
                    <a:pos x="388" y="479"/>
                  </a:cxn>
                  <a:cxn ang="0">
                    <a:pos x="378" y="482"/>
                  </a:cxn>
                  <a:cxn ang="0">
                    <a:pos x="356" y="483"/>
                  </a:cxn>
                  <a:cxn ang="0">
                    <a:pos x="345" y="491"/>
                  </a:cxn>
                  <a:cxn ang="0">
                    <a:pos x="333" y="488"/>
                  </a:cxn>
                  <a:cxn ang="0">
                    <a:pos x="313" y="487"/>
                  </a:cxn>
                  <a:cxn ang="0">
                    <a:pos x="290" y="474"/>
                  </a:cxn>
                  <a:cxn ang="0">
                    <a:pos x="236" y="469"/>
                  </a:cxn>
                  <a:cxn ang="0">
                    <a:pos x="233" y="459"/>
                  </a:cxn>
                  <a:cxn ang="0">
                    <a:pos x="238" y="442"/>
                  </a:cxn>
                  <a:cxn ang="0">
                    <a:pos x="264" y="395"/>
                  </a:cxn>
                  <a:cxn ang="0">
                    <a:pos x="273" y="372"/>
                  </a:cxn>
                  <a:cxn ang="0">
                    <a:pos x="269" y="358"/>
                  </a:cxn>
                  <a:cxn ang="0">
                    <a:pos x="260" y="348"/>
                  </a:cxn>
                  <a:cxn ang="0">
                    <a:pos x="238" y="339"/>
                  </a:cxn>
                  <a:cxn ang="0">
                    <a:pos x="214" y="319"/>
                  </a:cxn>
                  <a:cxn ang="0">
                    <a:pos x="173" y="293"/>
                  </a:cxn>
                  <a:cxn ang="0">
                    <a:pos x="155" y="287"/>
                  </a:cxn>
                  <a:cxn ang="0">
                    <a:pos x="118" y="283"/>
                  </a:cxn>
                  <a:cxn ang="0">
                    <a:pos x="102" y="276"/>
                  </a:cxn>
                  <a:cxn ang="0">
                    <a:pos x="89" y="256"/>
                  </a:cxn>
                  <a:cxn ang="0">
                    <a:pos x="74" y="246"/>
                  </a:cxn>
                  <a:cxn ang="0">
                    <a:pos x="46" y="223"/>
                  </a:cxn>
                  <a:cxn ang="0">
                    <a:pos x="22" y="189"/>
                  </a:cxn>
                  <a:cxn ang="0">
                    <a:pos x="0" y="179"/>
                  </a:cxn>
                </a:cxnLst>
                <a:rect l="0" t="0" r="r" b="b"/>
                <a:pathLst>
                  <a:path w="459" h="491">
                    <a:moveTo>
                      <a:pt x="0" y="179"/>
                    </a:moveTo>
                    <a:lnTo>
                      <a:pt x="8" y="164"/>
                    </a:lnTo>
                    <a:lnTo>
                      <a:pt x="19" y="124"/>
                    </a:lnTo>
                    <a:lnTo>
                      <a:pt x="19" y="117"/>
                    </a:lnTo>
                    <a:lnTo>
                      <a:pt x="18" y="113"/>
                    </a:lnTo>
                    <a:lnTo>
                      <a:pt x="18" y="87"/>
                    </a:lnTo>
                    <a:lnTo>
                      <a:pt x="18" y="84"/>
                    </a:lnTo>
                    <a:lnTo>
                      <a:pt x="29" y="66"/>
                    </a:lnTo>
                    <a:lnTo>
                      <a:pt x="40" y="50"/>
                    </a:lnTo>
                    <a:lnTo>
                      <a:pt x="43" y="35"/>
                    </a:lnTo>
                    <a:lnTo>
                      <a:pt x="45" y="29"/>
                    </a:lnTo>
                    <a:lnTo>
                      <a:pt x="64" y="25"/>
                    </a:lnTo>
                    <a:lnTo>
                      <a:pt x="118" y="8"/>
                    </a:lnTo>
                    <a:lnTo>
                      <a:pt x="121" y="8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99" y="0"/>
                    </a:lnTo>
                    <a:lnTo>
                      <a:pt x="212" y="3"/>
                    </a:lnTo>
                    <a:lnTo>
                      <a:pt x="222" y="11"/>
                    </a:lnTo>
                    <a:lnTo>
                      <a:pt x="232" y="19"/>
                    </a:lnTo>
                    <a:lnTo>
                      <a:pt x="247" y="40"/>
                    </a:lnTo>
                    <a:lnTo>
                      <a:pt x="248" y="44"/>
                    </a:lnTo>
                    <a:lnTo>
                      <a:pt x="254" y="50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60" y="71"/>
                    </a:lnTo>
                    <a:lnTo>
                      <a:pt x="261" y="73"/>
                    </a:lnTo>
                    <a:lnTo>
                      <a:pt x="261" y="121"/>
                    </a:lnTo>
                    <a:lnTo>
                      <a:pt x="261" y="154"/>
                    </a:lnTo>
                    <a:lnTo>
                      <a:pt x="265" y="163"/>
                    </a:lnTo>
                    <a:lnTo>
                      <a:pt x="271" y="165"/>
                    </a:lnTo>
                    <a:lnTo>
                      <a:pt x="286" y="169"/>
                    </a:lnTo>
                    <a:lnTo>
                      <a:pt x="293" y="173"/>
                    </a:lnTo>
                    <a:lnTo>
                      <a:pt x="311" y="175"/>
                    </a:lnTo>
                    <a:lnTo>
                      <a:pt x="323" y="175"/>
                    </a:lnTo>
                    <a:lnTo>
                      <a:pt x="335" y="174"/>
                    </a:lnTo>
                    <a:lnTo>
                      <a:pt x="340" y="171"/>
                    </a:lnTo>
                    <a:lnTo>
                      <a:pt x="349" y="168"/>
                    </a:lnTo>
                    <a:lnTo>
                      <a:pt x="355" y="173"/>
                    </a:lnTo>
                    <a:lnTo>
                      <a:pt x="378" y="180"/>
                    </a:lnTo>
                    <a:lnTo>
                      <a:pt x="384" y="189"/>
                    </a:lnTo>
                    <a:lnTo>
                      <a:pt x="386" y="195"/>
                    </a:lnTo>
                    <a:lnTo>
                      <a:pt x="388" y="218"/>
                    </a:lnTo>
                    <a:lnTo>
                      <a:pt x="392" y="230"/>
                    </a:lnTo>
                    <a:lnTo>
                      <a:pt x="390" y="255"/>
                    </a:lnTo>
                    <a:lnTo>
                      <a:pt x="392" y="260"/>
                    </a:lnTo>
                    <a:lnTo>
                      <a:pt x="397" y="267"/>
                    </a:lnTo>
                    <a:lnTo>
                      <a:pt x="404" y="272"/>
                    </a:lnTo>
                    <a:lnTo>
                      <a:pt x="411" y="275"/>
                    </a:lnTo>
                    <a:lnTo>
                      <a:pt x="421" y="275"/>
                    </a:lnTo>
                    <a:lnTo>
                      <a:pt x="426" y="272"/>
                    </a:lnTo>
                    <a:lnTo>
                      <a:pt x="440" y="272"/>
                    </a:lnTo>
                    <a:lnTo>
                      <a:pt x="449" y="270"/>
                    </a:lnTo>
                    <a:lnTo>
                      <a:pt x="454" y="275"/>
                    </a:lnTo>
                    <a:lnTo>
                      <a:pt x="459" y="283"/>
                    </a:lnTo>
                    <a:lnTo>
                      <a:pt x="459" y="308"/>
                    </a:lnTo>
                    <a:lnTo>
                      <a:pt x="458" y="311"/>
                    </a:lnTo>
                    <a:lnTo>
                      <a:pt x="454" y="327"/>
                    </a:lnTo>
                    <a:lnTo>
                      <a:pt x="451" y="353"/>
                    </a:lnTo>
                    <a:lnTo>
                      <a:pt x="449" y="374"/>
                    </a:lnTo>
                    <a:lnTo>
                      <a:pt x="446" y="404"/>
                    </a:lnTo>
                    <a:lnTo>
                      <a:pt x="443" y="420"/>
                    </a:lnTo>
                    <a:lnTo>
                      <a:pt x="440" y="428"/>
                    </a:lnTo>
                    <a:lnTo>
                      <a:pt x="433" y="438"/>
                    </a:lnTo>
                    <a:lnTo>
                      <a:pt x="425" y="447"/>
                    </a:lnTo>
                    <a:lnTo>
                      <a:pt x="411" y="458"/>
                    </a:lnTo>
                    <a:lnTo>
                      <a:pt x="409" y="461"/>
                    </a:lnTo>
                    <a:lnTo>
                      <a:pt x="404" y="463"/>
                    </a:lnTo>
                    <a:lnTo>
                      <a:pt x="390" y="475"/>
                    </a:lnTo>
                    <a:lnTo>
                      <a:pt x="388" y="479"/>
                    </a:lnTo>
                    <a:lnTo>
                      <a:pt x="386" y="480"/>
                    </a:lnTo>
                    <a:lnTo>
                      <a:pt x="378" y="482"/>
                    </a:lnTo>
                    <a:lnTo>
                      <a:pt x="363" y="480"/>
                    </a:lnTo>
                    <a:lnTo>
                      <a:pt x="356" y="483"/>
                    </a:lnTo>
                    <a:lnTo>
                      <a:pt x="352" y="488"/>
                    </a:lnTo>
                    <a:lnTo>
                      <a:pt x="345" y="491"/>
                    </a:lnTo>
                    <a:lnTo>
                      <a:pt x="338" y="491"/>
                    </a:lnTo>
                    <a:lnTo>
                      <a:pt x="333" y="488"/>
                    </a:lnTo>
                    <a:lnTo>
                      <a:pt x="323" y="490"/>
                    </a:lnTo>
                    <a:lnTo>
                      <a:pt x="313" y="487"/>
                    </a:lnTo>
                    <a:lnTo>
                      <a:pt x="296" y="476"/>
                    </a:lnTo>
                    <a:lnTo>
                      <a:pt x="290" y="474"/>
                    </a:lnTo>
                    <a:lnTo>
                      <a:pt x="258" y="469"/>
                    </a:lnTo>
                    <a:lnTo>
                      <a:pt x="236" y="469"/>
                    </a:lnTo>
                    <a:lnTo>
                      <a:pt x="233" y="465"/>
                    </a:lnTo>
                    <a:lnTo>
                      <a:pt x="233" y="459"/>
                    </a:lnTo>
                    <a:lnTo>
                      <a:pt x="236" y="450"/>
                    </a:lnTo>
                    <a:lnTo>
                      <a:pt x="238" y="442"/>
                    </a:lnTo>
                    <a:lnTo>
                      <a:pt x="249" y="417"/>
                    </a:lnTo>
                    <a:lnTo>
                      <a:pt x="264" y="395"/>
                    </a:lnTo>
                    <a:lnTo>
                      <a:pt x="273" y="382"/>
                    </a:lnTo>
                    <a:lnTo>
                      <a:pt x="273" y="372"/>
                    </a:lnTo>
                    <a:lnTo>
                      <a:pt x="271" y="363"/>
                    </a:lnTo>
                    <a:lnTo>
                      <a:pt x="269" y="358"/>
                    </a:lnTo>
                    <a:lnTo>
                      <a:pt x="265" y="357"/>
                    </a:lnTo>
                    <a:lnTo>
                      <a:pt x="260" y="348"/>
                    </a:lnTo>
                    <a:lnTo>
                      <a:pt x="252" y="342"/>
                    </a:lnTo>
                    <a:lnTo>
                      <a:pt x="238" y="339"/>
                    </a:lnTo>
                    <a:lnTo>
                      <a:pt x="230" y="327"/>
                    </a:lnTo>
                    <a:lnTo>
                      <a:pt x="214" y="319"/>
                    </a:lnTo>
                    <a:lnTo>
                      <a:pt x="199" y="311"/>
                    </a:lnTo>
                    <a:lnTo>
                      <a:pt x="173" y="293"/>
                    </a:lnTo>
                    <a:lnTo>
                      <a:pt x="167" y="291"/>
                    </a:lnTo>
                    <a:lnTo>
                      <a:pt x="155" y="287"/>
                    </a:lnTo>
                    <a:lnTo>
                      <a:pt x="126" y="286"/>
                    </a:lnTo>
                    <a:lnTo>
                      <a:pt x="118" y="283"/>
                    </a:lnTo>
                    <a:lnTo>
                      <a:pt x="107" y="280"/>
                    </a:lnTo>
                    <a:lnTo>
                      <a:pt x="102" y="276"/>
                    </a:lnTo>
                    <a:lnTo>
                      <a:pt x="101" y="275"/>
                    </a:lnTo>
                    <a:lnTo>
                      <a:pt x="89" y="256"/>
                    </a:lnTo>
                    <a:lnTo>
                      <a:pt x="85" y="253"/>
                    </a:lnTo>
                    <a:lnTo>
                      <a:pt x="74" y="246"/>
                    </a:lnTo>
                    <a:lnTo>
                      <a:pt x="49" y="228"/>
                    </a:lnTo>
                    <a:lnTo>
                      <a:pt x="46" y="223"/>
                    </a:lnTo>
                    <a:lnTo>
                      <a:pt x="33" y="210"/>
                    </a:lnTo>
                    <a:lnTo>
                      <a:pt x="22" y="189"/>
                    </a:lnTo>
                    <a:lnTo>
                      <a:pt x="16" y="184"/>
                    </a:lnTo>
                    <a:lnTo>
                      <a:pt x="0" y="17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28" name="Freeform 241"/>
              <p:cNvSpPr>
                <a:spLocks noChangeAspect="1"/>
              </p:cNvSpPr>
              <p:nvPr/>
            </p:nvSpPr>
            <p:spPr bwMode="gray">
              <a:xfrm>
                <a:off x="1687" y="2681"/>
                <a:ext cx="93" cy="506"/>
              </a:xfrm>
              <a:custGeom>
                <a:avLst/>
                <a:gdLst/>
                <a:ahLst/>
                <a:cxnLst>
                  <a:cxn ang="0">
                    <a:pos x="375" y="93"/>
                  </a:cxn>
                  <a:cxn ang="0">
                    <a:pos x="368" y="149"/>
                  </a:cxn>
                  <a:cxn ang="0">
                    <a:pos x="398" y="209"/>
                  </a:cxn>
                  <a:cxn ang="0">
                    <a:pos x="429" y="311"/>
                  </a:cxn>
                  <a:cxn ang="0">
                    <a:pos x="436" y="385"/>
                  </a:cxn>
                  <a:cxn ang="0">
                    <a:pos x="387" y="508"/>
                  </a:cxn>
                  <a:cxn ang="0">
                    <a:pos x="329" y="628"/>
                  </a:cxn>
                  <a:cxn ang="0">
                    <a:pos x="300" y="766"/>
                  </a:cxn>
                  <a:cxn ang="0">
                    <a:pos x="284" y="863"/>
                  </a:cxn>
                  <a:cxn ang="0">
                    <a:pos x="298" y="1032"/>
                  </a:cxn>
                  <a:cxn ang="0">
                    <a:pos x="269" y="1148"/>
                  </a:cxn>
                  <a:cxn ang="0">
                    <a:pos x="242" y="1290"/>
                  </a:cxn>
                  <a:cxn ang="0">
                    <a:pos x="208" y="1440"/>
                  </a:cxn>
                  <a:cxn ang="0">
                    <a:pos x="190" y="1597"/>
                  </a:cxn>
                  <a:cxn ang="0">
                    <a:pos x="201" y="1739"/>
                  </a:cxn>
                  <a:cxn ang="0">
                    <a:pos x="214" y="1785"/>
                  </a:cxn>
                  <a:cxn ang="0">
                    <a:pos x="212" y="1915"/>
                  </a:cxn>
                  <a:cxn ang="0">
                    <a:pos x="171" y="2027"/>
                  </a:cxn>
                  <a:cxn ang="0">
                    <a:pos x="137" y="2139"/>
                  </a:cxn>
                  <a:cxn ang="0">
                    <a:pos x="129" y="2264"/>
                  </a:cxn>
                  <a:cxn ang="0">
                    <a:pos x="179" y="2283"/>
                  </a:cxn>
                  <a:cxn ang="0">
                    <a:pos x="306" y="2367"/>
                  </a:cxn>
                  <a:cxn ang="0">
                    <a:pos x="355" y="2386"/>
                  </a:cxn>
                  <a:cxn ang="0">
                    <a:pos x="268" y="2429"/>
                  </a:cxn>
                  <a:cxn ang="0">
                    <a:pos x="214" y="2525"/>
                  </a:cxn>
                  <a:cxn ang="0">
                    <a:pos x="208" y="2477"/>
                  </a:cxn>
                  <a:cxn ang="0">
                    <a:pos x="189" y="2413"/>
                  </a:cxn>
                  <a:cxn ang="0">
                    <a:pos x="171" y="2376"/>
                  </a:cxn>
                  <a:cxn ang="0">
                    <a:pos x="160" y="2345"/>
                  </a:cxn>
                  <a:cxn ang="0">
                    <a:pos x="125" y="2343"/>
                  </a:cxn>
                  <a:cxn ang="0">
                    <a:pos x="81" y="2285"/>
                  </a:cxn>
                  <a:cxn ang="0">
                    <a:pos x="79" y="2240"/>
                  </a:cxn>
                  <a:cxn ang="0">
                    <a:pos x="70" y="2173"/>
                  </a:cxn>
                  <a:cxn ang="0">
                    <a:pos x="93" y="2117"/>
                  </a:cxn>
                  <a:cxn ang="0">
                    <a:pos x="70" y="2076"/>
                  </a:cxn>
                  <a:cxn ang="0">
                    <a:pos x="59" y="2042"/>
                  </a:cxn>
                  <a:cxn ang="0">
                    <a:pos x="109" y="2032"/>
                  </a:cxn>
                  <a:cxn ang="0">
                    <a:pos x="63" y="1979"/>
                  </a:cxn>
                  <a:cxn ang="0">
                    <a:pos x="66" y="1920"/>
                  </a:cxn>
                  <a:cxn ang="0">
                    <a:pos x="15" y="1930"/>
                  </a:cxn>
                  <a:cxn ang="0">
                    <a:pos x="44" y="1871"/>
                  </a:cxn>
                  <a:cxn ang="0">
                    <a:pos x="72" y="1856"/>
                  </a:cxn>
                  <a:cxn ang="0">
                    <a:pos x="91" y="1888"/>
                  </a:cxn>
                  <a:cxn ang="0">
                    <a:pos x="118" y="1879"/>
                  </a:cxn>
                  <a:cxn ang="0">
                    <a:pos x="114" y="1849"/>
                  </a:cxn>
                  <a:cxn ang="0">
                    <a:pos x="117" y="1818"/>
                  </a:cxn>
                  <a:cxn ang="0">
                    <a:pos x="120" y="1806"/>
                  </a:cxn>
                  <a:cxn ang="0">
                    <a:pos x="149" y="1740"/>
                  </a:cxn>
                  <a:cxn ang="0">
                    <a:pos x="146" y="1691"/>
                  </a:cxn>
                  <a:cxn ang="0">
                    <a:pos x="158" y="1601"/>
                  </a:cxn>
                  <a:cxn ang="0">
                    <a:pos x="153" y="1558"/>
                  </a:cxn>
                  <a:cxn ang="0">
                    <a:pos x="141" y="1525"/>
                  </a:cxn>
                  <a:cxn ang="0">
                    <a:pos x="92" y="1504"/>
                  </a:cxn>
                  <a:cxn ang="0">
                    <a:pos x="115" y="1329"/>
                  </a:cxn>
                  <a:cxn ang="0">
                    <a:pos x="122" y="1219"/>
                  </a:cxn>
                  <a:cxn ang="0">
                    <a:pos x="166" y="1105"/>
                  </a:cxn>
                  <a:cxn ang="0">
                    <a:pos x="221" y="928"/>
                  </a:cxn>
                  <a:cxn ang="0">
                    <a:pos x="226" y="719"/>
                  </a:cxn>
                  <a:cxn ang="0">
                    <a:pos x="253" y="565"/>
                  </a:cxn>
                  <a:cxn ang="0">
                    <a:pos x="275" y="461"/>
                  </a:cxn>
                  <a:cxn ang="0">
                    <a:pos x="279" y="317"/>
                  </a:cxn>
                  <a:cxn ang="0">
                    <a:pos x="292" y="142"/>
                  </a:cxn>
                  <a:cxn ang="0">
                    <a:pos x="312" y="25"/>
                  </a:cxn>
                </a:cxnLst>
                <a:rect l="0" t="0" r="r" b="b"/>
                <a:pathLst>
                  <a:path w="463" h="2531">
                    <a:moveTo>
                      <a:pt x="325" y="0"/>
                    </a:moveTo>
                    <a:lnTo>
                      <a:pt x="328" y="0"/>
                    </a:lnTo>
                    <a:lnTo>
                      <a:pt x="339" y="14"/>
                    </a:lnTo>
                    <a:lnTo>
                      <a:pt x="343" y="18"/>
                    </a:lnTo>
                    <a:lnTo>
                      <a:pt x="350" y="27"/>
                    </a:lnTo>
                    <a:lnTo>
                      <a:pt x="350" y="37"/>
                    </a:lnTo>
                    <a:lnTo>
                      <a:pt x="354" y="69"/>
                    </a:lnTo>
                    <a:lnTo>
                      <a:pt x="357" y="78"/>
                    </a:lnTo>
                    <a:lnTo>
                      <a:pt x="362" y="83"/>
                    </a:lnTo>
                    <a:lnTo>
                      <a:pt x="375" y="93"/>
                    </a:lnTo>
                    <a:lnTo>
                      <a:pt x="382" y="100"/>
                    </a:lnTo>
                    <a:lnTo>
                      <a:pt x="383" y="110"/>
                    </a:lnTo>
                    <a:lnTo>
                      <a:pt x="379" y="115"/>
                    </a:lnTo>
                    <a:lnTo>
                      <a:pt x="378" y="121"/>
                    </a:lnTo>
                    <a:lnTo>
                      <a:pt x="382" y="127"/>
                    </a:lnTo>
                    <a:lnTo>
                      <a:pt x="382" y="131"/>
                    </a:lnTo>
                    <a:lnTo>
                      <a:pt x="379" y="132"/>
                    </a:lnTo>
                    <a:lnTo>
                      <a:pt x="372" y="136"/>
                    </a:lnTo>
                    <a:lnTo>
                      <a:pt x="371" y="137"/>
                    </a:lnTo>
                    <a:lnTo>
                      <a:pt x="368" y="149"/>
                    </a:lnTo>
                    <a:lnTo>
                      <a:pt x="368" y="155"/>
                    </a:lnTo>
                    <a:lnTo>
                      <a:pt x="376" y="159"/>
                    </a:lnTo>
                    <a:lnTo>
                      <a:pt x="379" y="164"/>
                    </a:lnTo>
                    <a:lnTo>
                      <a:pt x="379" y="172"/>
                    </a:lnTo>
                    <a:lnTo>
                      <a:pt x="379" y="180"/>
                    </a:lnTo>
                    <a:lnTo>
                      <a:pt x="382" y="183"/>
                    </a:lnTo>
                    <a:lnTo>
                      <a:pt x="387" y="185"/>
                    </a:lnTo>
                    <a:lnTo>
                      <a:pt x="394" y="192"/>
                    </a:lnTo>
                    <a:lnTo>
                      <a:pt x="395" y="196"/>
                    </a:lnTo>
                    <a:lnTo>
                      <a:pt x="398" y="209"/>
                    </a:lnTo>
                    <a:lnTo>
                      <a:pt x="398" y="218"/>
                    </a:lnTo>
                    <a:lnTo>
                      <a:pt x="404" y="228"/>
                    </a:lnTo>
                    <a:lnTo>
                      <a:pt x="407" y="250"/>
                    </a:lnTo>
                    <a:lnTo>
                      <a:pt x="407" y="268"/>
                    </a:lnTo>
                    <a:lnTo>
                      <a:pt x="411" y="290"/>
                    </a:lnTo>
                    <a:lnTo>
                      <a:pt x="411" y="294"/>
                    </a:lnTo>
                    <a:lnTo>
                      <a:pt x="415" y="306"/>
                    </a:lnTo>
                    <a:lnTo>
                      <a:pt x="415" y="308"/>
                    </a:lnTo>
                    <a:lnTo>
                      <a:pt x="422" y="311"/>
                    </a:lnTo>
                    <a:lnTo>
                      <a:pt x="429" y="311"/>
                    </a:lnTo>
                    <a:lnTo>
                      <a:pt x="441" y="311"/>
                    </a:lnTo>
                    <a:lnTo>
                      <a:pt x="447" y="309"/>
                    </a:lnTo>
                    <a:lnTo>
                      <a:pt x="457" y="309"/>
                    </a:lnTo>
                    <a:lnTo>
                      <a:pt x="457" y="311"/>
                    </a:lnTo>
                    <a:lnTo>
                      <a:pt x="458" y="311"/>
                    </a:lnTo>
                    <a:lnTo>
                      <a:pt x="458" y="314"/>
                    </a:lnTo>
                    <a:lnTo>
                      <a:pt x="463" y="319"/>
                    </a:lnTo>
                    <a:lnTo>
                      <a:pt x="463" y="331"/>
                    </a:lnTo>
                    <a:lnTo>
                      <a:pt x="454" y="378"/>
                    </a:lnTo>
                    <a:lnTo>
                      <a:pt x="436" y="385"/>
                    </a:lnTo>
                    <a:lnTo>
                      <a:pt x="388" y="407"/>
                    </a:lnTo>
                    <a:lnTo>
                      <a:pt x="387" y="414"/>
                    </a:lnTo>
                    <a:lnTo>
                      <a:pt x="387" y="422"/>
                    </a:lnTo>
                    <a:lnTo>
                      <a:pt x="389" y="432"/>
                    </a:lnTo>
                    <a:lnTo>
                      <a:pt x="389" y="441"/>
                    </a:lnTo>
                    <a:lnTo>
                      <a:pt x="383" y="449"/>
                    </a:lnTo>
                    <a:lnTo>
                      <a:pt x="382" y="451"/>
                    </a:lnTo>
                    <a:lnTo>
                      <a:pt x="382" y="467"/>
                    </a:lnTo>
                    <a:lnTo>
                      <a:pt x="387" y="482"/>
                    </a:lnTo>
                    <a:lnTo>
                      <a:pt x="387" y="508"/>
                    </a:lnTo>
                    <a:lnTo>
                      <a:pt x="389" y="519"/>
                    </a:lnTo>
                    <a:lnTo>
                      <a:pt x="393" y="534"/>
                    </a:lnTo>
                    <a:lnTo>
                      <a:pt x="395" y="548"/>
                    </a:lnTo>
                    <a:lnTo>
                      <a:pt x="394" y="551"/>
                    </a:lnTo>
                    <a:lnTo>
                      <a:pt x="389" y="554"/>
                    </a:lnTo>
                    <a:lnTo>
                      <a:pt x="379" y="558"/>
                    </a:lnTo>
                    <a:lnTo>
                      <a:pt x="364" y="573"/>
                    </a:lnTo>
                    <a:lnTo>
                      <a:pt x="361" y="575"/>
                    </a:lnTo>
                    <a:lnTo>
                      <a:pt x="354" y="600"/>
                    </a:lnTo>
                    <a:lnTo>
                      <a:pt x="329" y="628"/>
                    </a:lnTo>
                    <a:lnTo>
                      <a:pt x="323" y="654"/>
                    </a:lnTo>
                    <a:lnTo>
                      <a:pt x="318" y="675"/>
                    </a:lnTo>
                    <a:lnTo>
                      <a:pt x="317" y="682"/>
                    </a:lnTo>
                    <a:lnTo>
                      <a:pt x="311" y="696"/>
                    </a:lnTo>
                    <a:lnTo>
                      <a:pt x="308" y="704"/>
                    </a:lnTo>
                    <a:lnTo>
                      <a:pt x="307" y="729"/>
                    </a:lnTo>
                    <a:lnTo>
                      <a:pt x="308" y="739"/>
                    </a:lnTo>
                    <a:lnTo>
                      <a:pt x="308" y="749"/>
                    </a:lnTo>
                    <a:lnTo>
                      <a:pt x="305" y="762"/>
                    </a:lnTo>
                    <a:lnTo>
                      <a:pt x="300" y="766"/>
                    </a:lnTo>
                    <a:lnTo>
                      <a:pt x="300" y="769"/>
                    </a:lnTo>
                    <a:lnTo>
                      <a:pt x="298" y="776"/>
                    </a:lnTo>
                    <a:lnTo>
                      <a:pt x="292" y="782"/>
                    </a:lnTo>
                    <a:lnTo>
                      <a:pt x="289" y="796"/>
                    </a:lnTo>
                    <a:lnTo>
                      <a:pt x="281" y="811"/>
                    </a:lnTo>
                    <a:lnTo>
                      <a:pt x="280" y="814"/>
                    </a:lnTo>
                    <a:lnTo>
                      <a:pt x="276" y="825"/>
                    </a:lnTo>
                    <a:lnTo>
                      <a:pt x="274" y="841"/>
                    </a:lnTo>
                    <a:lnTo>
                      <a:pt x="274" y="854"/>
                    </a:lnTo>
                    <a:lnTo>
                      <a:pt x="284" y="863"/>
                    </a:lnTo>
                    <a:lnTo>
                      <a:pt x="284" y="892"/>
                    </a:lnTo>
                    <a:lnTo>
                      <a:pt x="296" y="925"/>
                    </a:lnTo>
                    <a:lnTo>
                      <a:pt x="297" y="935"/>
                    </a:lnTo>
                    <a:lnTo>
                      <a:pt x="296" y="947"/>
                    </a:lnTo>
                    <a:lnTo>
                      <a:pt x="303" y="955"/>
                    </a:lnTo>
                    <a:lnTo>
                      <a:pt x="306" y="960"/>
                    </a:lnTo>
                    <a:lnTo>
                      <a:pt x="309" y="979"/>
                    </a:lnTo>
                    <a:lnTo>
                      <a:pt x="311" y="997"/>
                    </a:lnTo>
                    <a:lnTo>
                      <a:pt x="311" y="1013"/>
                    </a:lnTo>
                    <a:lnTo>
                      <a:pt x="298" y="1032"/>
                    </a:lnTo>
                    <a:lnTo>
                      <a:pt x="292" y="1045"/>
                    </a:lnTo>
                    <a:lnTo>
                      <a:pt x="290" y="1052"/>
                    </a:lnTo>
                    <a:lnTo>
                      <a:pt x="286" y="1075"/>
                    </a:lnTo>
                    <a:lnTo>
                      <a:pt x="285" y="1078"/>
                    </a:lnTo>
                    <a:lnTo>
                      <a:pt x="274" y="1088"/>
                    </a:lnTo>
                    <a:lnTo>
                      <a:pt x="275" y="1117"/>
                    </a:lnTo>
                    <a:lnTo>
                      <a:pt x="278" y="1134"/>
                    </a:lnTo>
                    <a:lnTo>
                      <a:pt x="278" y="1142"/>
                    </a:lnTo>
                    <a:lnTo>
                      <a:pt x="275" y="1144"/>
                    </a:lnTo>
                    <a:lnTo>
                      <a:pt x="269" y="1148"/>
                    </a:lnTo>
                    <a:lnTo>
                      <a:pt x="266" y="1151"/>
                    </a:lnTo>
                    <a:lnTo>
                      <a:pt x="265" y="1159"/>
                    </a:lnTo>
                    <a:lnTo>
                      <a:pt x="263" y="1161"/>
                    </a:lnTo>
                    <a:lnTo>
                      <a:pt x="257" y="1161"/>
                    </a:lnTo>
                    <a:lnTo>
                      <a:pt x="253" y="1164"/>
                    </a:lnTo>
                    <a:lnTo>
                      <a:pt x="247" y="1172"/>
                    </a:lnTo>
                    <a:lnTo>
                      <a:pt x="242" y="1186"/>
                    </a:lnTo>
                    <a:lnTo>
                      <a:pt x="238" y="1225"/>
                    </a:lnTo>
                    <a:lnTo>
                      <a:pt x="238" y="1262"/>
                    </a:lnTo>
                    <a:lnTo>
                      <a:pt x="242" y="1290"/>
                    </a:lnTo>
                    <a:lnTo>
                      <a:pt x="247" y="1301"/>
                    </a:lnTo>
                    <a:lnTo>
                      <a:pt x="247" y="1314"/>
                    </a:lnTo>
                    <a:lnTo>
                      <a:pt x="243" y="1323"/>
                    </a:lnTo>
                    <a:lnTo>
                      <a:pt x="235" y="1332"/>
                    </a:lnTo>
                    <a:lnTo>
                      <a:pt x="230" y="1337"/>
                    </a:lnTo>
                    <a:lnTo>
                      <a:pt x="227" y="1343"/>
                    </a:lnTo>
                    <a:lnTo>
                      <a:pt x="225" y="1358"/>
                    </a:lnTo>
                    <a:lnTo>
                      <a:pt x="208" y="1419"/>
                    </a:lnTo>
                    <a:lnTo>
                      <a:pt x="206" y="1424"/>
                    </a:lnTo>
                    <a:lnTo>
                      <a:pt x="208" y="1440"/>
                    </a:lnTo>
                    <a:lnTo>
                      <a:pt x="199" y="1481"/>
                    </a:lnTo>
                    <a:lnTo>
                      <a:pt x="196" y="1510"/>
                    </a:lnTo>
                    <a:lnTo>
                      <a:pt x="200" y="1525"/>
                    </a:lnTo>
                    <a:lnTo>
                      <a:pt x="209" y="1533"/>
                    </a:lnTo>
                    <a:lnTo>
                      <a:pt x="210" y="1537"/>
                    </a:lnTo>
                    <a:lnTo>
                      <a:pt x="210" y="1549"/>
                    </a:lnTo>
                    <a:lnTo>
                      <a:pt x="209" y="1554"/>
                    </a:lnTo>
                    <a:lnTo>
                      <a:pt x="205" y="1563"/>
                    </a:lnTo>
                    <a:lnTo>
                      <a:pt x="195" y="1576"/>
                    </a:lnTo>
                    <a:lnTo>
                      <a:pt x="190" y="1597"/>
                    </a:lnTo>
                    <a:lnTo>
                      <a:pt x="190" y="1633"/>
                    </a:lnTo>
                    <a:lnTo>
                      <a:pt x="193" y="1639"/>
                    </a:lnTo>
                    <a:lnTo>
                      <a:pt x="196" y="1641"/>
                    </a:lnTo>
                    <a:lnTo>
                      <a:pt x="198" y="1646"/>
                    </a:lnTo>
                    <a:lnTo>
                      <a:pt x="196" y="1673"/>
                    </a:lnTo>
                    <a:lnTo>
                      <a:pt x="198" y="1678"/>
                    </a:lnTo>
                    <a:lnTo>
                      <a:pt x="203" y="1688"/>
                    </a:lnTo>
                    <a:lnTo>
                      <a:pt x="205" y="1703"/>
                    </a:lnTo>
                    <a:lnTo>
                      <a:pt x="201" y="1732"/>
                    </a:lnTo>
                    <a:lnTo>
                      <a:pt x="201" y="1739"/>
                    </a:lnTo>
                    <a:lnTo>
                      <a:pt x="209" y="1739"/>
                    </a:lnTo>
                    <a:lnTo>
                      <a:pt x="223" y="1742"/>
                    </a:lnTo>
                    <a:lnTo>
                      <a:pt x="231" y="1751"/>
                    </a:lnTo>
                    <a:lnTo>
                      <a:pt x="232" y="1759"/>
                    </a:lnTo>
                    <a:lnTo>
                      <a:pt x="230" y="1768"/>
                    </a:lnTo>
                    <a:lnTo>
                      <a:pt x="216" y="1769"/>
                    </a:lnTo>
                    <a:lnTo>
                      <a:pt x="200" y="1767"/>
                    </a:lnTo>
                    <a:lnTo>
                      <a:pt x="196" y="1769"/>
                    </a:lnTo>
                    <a:lnTo>
                      <a:pt x="200" y="1779"/>
                    </a:lnTo>
                    <a:lnTo>
                      <a:pt x="214" y="1785"/>
                    </a:lnTo>
                    <a:lnTo>
                      <a:pt x="223" y="1797"/>
                    </a:lnTo>
                    <a:lnTo>
                      <a:pt x="223" y="1807"/>
                    </a:lnTo>
                    <a:lnTo>
                      <a:pt x="219" y="1812"/>
                    </a:lnTo>
                    <a:lnTo>
                      <a:pt x="215" y="1817"/>
                    </a:lnTo>
                    <a:lnTo>
                      <a:pt x="214" y="1827"/>
                    </a:lnTo>
                    <a:lnTo>
                      <a:pt x="214" y="1853"/>
                    </a:lnTo>
                    <a:lnTo>
                      <a:pt x="212" y="1858"/>
                    </a:lnTo>
                    <a:lnTo>
                      <a:pt x="212" y="1871"/>
                    </a:lnTo>
                    <a:lnTo>
                      <a:pt x="214" y="1879"/>
                    </a:lnTo>
                    <a:lnTo>
                      <a:pt x="212" y="1915"/>
                    </a:lnTo>
                    <a:lnTo>
                      <a:pt x="206" y="1930"/>
                    </a:lnTo>
                    <a:lnTo>
                      <a:pt x="200" y="1945"/>
                    </a:lnTo>
                    <a:lnTo>
                      <a:pt x="199" y="1955"/>
                    </a:lnTo>
                    <a:lnTo>
                      <a:pt x="189" y="1973"/>
                    </a:lnTo>
                    <a:lnTo>
                      <a:pt x="176" y="1992"/>
                    </a:lnTo>
                    <a:lnTo>
                      <a:pt x="172" y="1998"/>
                    </a:lnTo>
                    <a:lnTo>
                      <a:pt x="171" y="2004"/>
                    </a:lnTo>
                    <a:lnTo>
                      <a:pt x="169" y="2019"/>
                    </a:lnTo>
                    <a:lnTo>
                      <a:pt x="171" y="2019"/>
                    </a:lnTo>
                    <a:lnTo>
                      <a:pt x="171" y="2027"/>
                    </a:lnTo>
                    <a:lnTo>
                      <a:pt x="173" y="2033"/>
                    </a:lnTo>
                    <a:lnTo>
                      <a:pt x="176" y="2044"/>
                    </a:lnTo>
                    <a:lnTo>
                      <a:pt x="176" y="2053"/>
                    </a:lnTo>
                    <a:lnTo>
                      <a:pt x="172" y="2055"/>
                    </a:lnTo>
                    <a:lnTo>
                      <a:pt x="171" y="2059"/>
                    </a:lnTo>
                    <a:lnTo>
                      <a:pt x="168" y="2080"/>
                    </a:lnTo>
                    <a:lnTo>
                      <a:pt x="165" y="2093"/>
                    </a:lnTo>
                    <a:lnTo>
                      <a:pt x="162" y="2098"/>
                    </a:lnTo>
                    <a:lnTo>
                      <a:pt x="151" y="2112"/>
                    </a:lnTo>
                    <a:lnTo>
                      <a:pt x="137" y="2139"/>
                    </a:lnTo>
                    <a:lnTo>
                      <a:pt x="133" y="2143"/>
                    </a:lnTo>
                    <a:lnTo>
                      <a:pt x="128" y="2154"/>
                    </a:lnTo>
                    <a:lnTo>
                      <a:pt x="120" y="2186"/>
                    </a:lnTo>
                    <a:lnTo>
                      <a:pt x="120" y="2198"/>
                    </a:lnTo>
                    <a:lnTo>
                      <a:pt x="119" y="2208"/>
                    </a:lnTo>
                    <a:lnTo>
                      <a:pt x="119" y="2238"/>
                    </a:lnTo>
                    <a:lnTo>
                      <a:pt x="120" y="2241"/>
                    </a:lnTo>
                    <a:lnTo>
                      <a:pt x="123" y="2256"/>
                    </a:lnTo>
                    <a:lnTo>
                      <a:pt x="125" y="2263"/>
                    </a:lnTo>
                    <a:lnTo>
                      <a:pt x="129" y="2264"/>
                    </a:lnTo>
                    <a:lnTo>
                      <a:pt x="133" y="2261"/>
                    </a:lnTo>
                    <a:lnTo>
                      <a:pt x="136" y="2253"/>
                    </a:lnTo>
                    <a:lnTo>
                      <a:pt x="144" y="2248"/>
                    </a:lnTo>
                    <a:lnTo>
                      <a:pt x="163" y="2252"/>
                    </a:lnTo>
                    <a:lnTo>
                      <a:pt x="168" y="2246"/>
                    </a:lnTo>
                    <a:lnTo>
                      <a:pt x="169" y="2246"/>
                    </a:lnTo>
                    <a:lnTo>
                      <a:pt x="173" y="2247"/>
                    </a:lnTo>
                    <a:lnTo>
                      <a:pt x="176" y="2249"/>
                    </a:lnTo>
                    <a:lnTo>
                      <a:pt x="178" y="2268"/>
                    </a:lnTo>
                    <a:lnTo>
                      <a:pt x="179" y="2283"/>
                    </a:lnTo>
                    <a:lnTo>
                      <a:pt x="178" y="2340"/>
                    </a:lnTo>
                    <a:lnTo>
                      <a:pt x="179" y="2345"/>
                    </a:lnTo>
                    <a:lnTo>
                      <a:pt x="185" y="2359"/>
                    </a:lnTo>
                    <a:lnTo>
                      <a:pt x="190" y="2364"/>
                    </a:lnTo>
                    <a:lnTo>
                      <a:pt x="204" y="2370"/>
                    </a:lnTo>
                    <a:lnTo>
                      <a:pt x="259" y="2370"/>
                    </a:lnTo>
                    <a:lnTo>
                      <a:pt x="264" y="2371"/>
                    </a:lnTo>
                    <a:lnTo>
                      <a:pt x="269" y="2371"/>
                    </a:lnTo>
                    <a:lnTo>
                      <a:pt x="289" y="2371"/>
                    </a:lnTo>
                    <a:lnTo>
                      <a:pt x="306" y="2367"/>
                    </a:lnTo>
                    <a:lnTo>
                      <a:pt x="317" y="2369"/>
                    </a:lnTo>
                    <a:lnTo>
                      <a:pt x="343" y="2377"/>
                    </a:lnTo>
                    <a:lnTo>
                      <a:pt x="375" y="2383"/>
                    </a:lnTo>
                    <a:lnTo>
                      <a:pt x="389" y="2391"/>
                    </a:lnTo>
                    <a:lnTo>
                      <a:pt x="394" y="2392"/>
                    </a:lnTo>
                    <a:lnTo>
                      <a:pt x="394" y="2396"/>
                    </a:lnTo>
                    <a:lnTo>
                      <a:pt x="391" y="2397"/>
                    </a:lnTo>
                    <a:lnTo>
                      <a:pt x="379" y="2393"/>
                    </a:lnTo>
                    <a:lnTo>
                      <a:pt x="368" y="2393"/>
                    </a:lnTo>
                    <a:lnTo>
                      <a:pt x="355" y="2386"/>
                    </a:lnTo>
                    <a:lnTo>
                      <a:pt x="348" y="2385"/>
                    </a:lnTo>
                    <a:lnTo>
                      <a:pt x="333" y="2392"/>
                    </a:lnTo>
                    <a:lnTo>
                      <a:pt x="330" y="2399"/>
                    </a:lnTo>
                    <a:lnTo>
                      <a:pt x="327" y="2405"/>
                    </a:lnTo>
                    <a:lnTo>
                      <a:pt x="311" y="2409"/>
                    </a:lnTo>
                    <a:lnTo>
                      <a:pt x="294" y="2419"/>
                    </a:lnTo>
                    <a:lnTo>
                      <a:pt x="290" y="2424"/>
                    </a:lnTo>
                    <a:lnTo>
                      <a:pt x="281" y="2426"/>
                    </a:lnTo>
                    <a:lnTo>
                      <a:pt x="275" y="2425"/>
                    </a:lnTo>
                    <a:lnTo>
                      <a:pt x="268" y="2429"/>
                    </a:lnTo>
                    <a:lnTo>
                      <a:pt x="259" y="2431"/>
                    </a:lnTo>
                    <a:lnTo>
                      <a:pt x="259" y="2455"/>
                    </a:lnTo>
                    <a:lnTo>
                      <a:pt x="253" y="2479"/>
                    </a:lnTo>
                    <a:lnTo>
                      <a:pt x="251" y="2512"/>
                    </a:lnTo>
                    <a:lnTo>
                      <a:pt x="249" y="2521"/>
                    </a:lnTo>
                    <a:lnTo>
                      <a:pt x="246" y="2527"/>
                    </a:lnTo>
                    <a:lnTo>
                      <a:pt x="243" y="2531"/>
                    </a:lnTo>
                    <a:lnTo>
                      <a:pt x="237" y="2531"/>
                    </a:lnTo>
                    <a:lnTo>
                      <a:pt x="222" y="2526"/>
                    </a:lnTo>
                    <a:lnTo>
                      <a:pt x="214" y="2525"/>
                    </a:lnTo>
                    <a:lnTo>
                      <a:pt x="194" y="2515"/>
                    </a:lnTo>
                    <a:lnTo>
                      <a:pt x="183" y="2505"/>
                    </a:lnTo>
                    <a:lnTo>
                      <a:pt x="178" y="2495"/>
                    </a:lnTo>
                    <a:lnTo>
                      <a:pt x="179" y="2485"/>
                    </a:lnTo>
                    <a:lnTo>
                      <a:pt x="188" y="2480"/>
                    </a:lnTo>
                    <a:lnTo>
                      <a:pt x="190" y="2488"/>
                    </a:lnTo>
                    <a:lnTo>
                      <a:pt x="189" y="2494"/>
                    </a:lnTo>
                    <a:lnTo>
                      <a:pt x="198" y="2490"/>
                    </a:lnTo>
                    <a:lnTo>
                      <a:pt x="201" y="2483"/>
                    </a:lnTo>
                    <a:lnTo>
                      <a:pt x="208" y="2477"/>
                    </a:lnTo>
                    <a:lnTo>
                      <a:pt x="220" y="2475"/>
                    </a:lnTo>
                    <a:lnTo>
                      <a:pt x="231" y="2468"/>
                    </a:lnTo>
                    <a:lnTo>
                      <a:pt x="238" y="2461"/>
                    </a:lnTo>
                    <a:lnTo>
                      <a:pt x="243" y="2450"/>
                    </a:lnTo>
                    <a:lnTo>
                      <a:pt x="244" y="2442"/>
                    </a:lnTo>
                    <a:lnTo>
                      <a:pt x="233" y="2436"/>
                    </a:lnTo>
                    <a:lnTo>
                      <a:pt x="227" y="2428"/>
                    </a:lnTo>
                    <a:lnTo>
                      <a:pt x="222" y="2417"/>
                    </a:lnTo>
                    <a:lnTo>
                      <a:pt x="211" y="2414"/>
                    </a:lnTo>
                    <a:lnTo>
                      <a:pt x="189" y="2413"/>
                    </a:lnTo>
                    <a:lnTo>
                      <a:pt x="176" y="2418"/>
                    </a:lnTo>
                    <a:lnTo>
                      <a:pt x="171" y="2424"/>
                    </a:lnTo>
                    <a:lnTo>
                      <a:pt x="171" y="2417"/>
                    </a:lnTo>
                    <a:lnTo>
                      <a:pt x="168" y="2412"/>
                    </a:lnTo>
                    <a:lnTo>
                      <a:pt x="153" y="2414"/>
                    </a:lnTo>
                    <a:lnTo>
                      <a:pt x="153" y="2409"/>
                    </a:lnTo>
                    <a:lnTo>
                      <a:pt x="156" y="2404"/>
                    </a:lnTo>
                    <a:lnTo>
                      <a:pt x="168" y="2398"/>
                    </a:lnTo>
                    <a:lnTo>
                      <a:pt x="171" y="2388"/>
                    </a:lnTo>
                    <a:lnTo>
                      <a:pt x="171" y="2376"/>
                    </a:lnTo>
                    <a:lnTo>
                      <a:pt x="160" y="2364"/>
                    </a:lnTo>
                    <a:lnTo>
                      <a:pt x="168" y="2360"/>
                    </a:lnTo>
                    <a:lnTo>
                      <a:pt x="169" y="2354"/>
                    </a:lnTo>
                    <a:lnTo>
                      <a:pt x="168" y="2345"/>
                    </a:lnTo>
                    <a:lnTo>
                      <a:pt x="160" y="2335"/>
                    </a:lnTo>
                    <a:lnTo>
                      <a:pt x="145" y="2322"/>
                    </a:lnTo>
                    <a:lnTo>
                      <a:pt x="134" y="2316"/>
                    </a:lnTo>
                    <a:lnTo>
                      <a:pt x="129" y="2316"/>
                    </a:lnTo>
                    <a:lnTo>
                      <a:pt x="160" y="2338"/>
                    </a:lnTo>
                    <a:lnTo>
                      <a:pt x="160" y="2345"/>
                    </a:lnTo>
                    <a:lnTo>
                      <a:pt x="153" y="2348"/>
                    </a:lnTo>
                    <a:lnTo>
                      <a:pt x="146" y="2344"/>
                    </a:lnTo>
                    <a:lnTo>
                      <a:pt x="137" y="2335"/>
                    </a:lnTo>
                    <a:lnTo>
                      <a:pt x="135" y="2338"/>
                    </a:lnTo>
                    <a:lnTo>
                      <a:pt x="141" y="2351"/>
                    </a:lnTo>
                    <a:lnTo>
                      <a:pt x="137" y="2361"/>
                    </a:lnTo>
                    <a:lnTo>
                      <a:pt x="133" y="2365"/>
                    </a:lnTo>
                    <a:lnTo>
                      <a:pt x="130" y="2360"/>
                    </a:lnTo>
                    <a:lnTo>
                      <a:pt x="126" y="2353"/>
                    </a:lnTo>
                    <a:lnTo>
                      <a:pt x="125" y="2343"/>
                    </a:lnTo>
                    <a:lnTo>
                      <a:pt x="119" y="2329"/>
                    </a:lnTo>
                    <a:lnTo>
                      <a:pt x="125" y="2344"/>
                    </a:lnTo>
                    <a:lnTo>
                      <a:pt x="126" y="2359"/>
                    </a:lnTo>
                    <a:lnTo>
                      <a:pt x="125" y="2371"/>
                    </a:lnTo>
                    <a:lnTo>
                      <a:pt x="119" y="2370"/>
                    </a:lnTo>
                    <a:lnTo>
                      <a:pt x="114" y="2367"/>
                    </a:lnTo>
                    <a:lnTo>
                      <a:pt x="110" y="2355"/>
                    </a:lnTo>
                    <a:lnTo>
                      <a:pt x="113" y="2332"/>
                    </a:lnTo>
                    <a:lnTo>
                      <a:pt x="106" y="2312"/>
                    </a:lnTo>
                    <a:lnTo>
                      <a:pt x="81" y="2285"/>
                    </a:lnTo>
                    <a:lnTo>
                      <a:pt x="79" y="2274"/>
                    </a:lnTo>
                    <a:lnTo>
                      <a:pt x="81" y="2267"/>
                    </a:lnTo>
                    <a:lnTo>
                      <a:pt x="92" y="2267"/>
                    </a:lnTo>
                    <a:lnTo>
                      <a:pt x="102" y="2263"/>
                    </a:lnTo>
                    <a:lnTo>
                      <a:pt x="101" y="2252"/>
                    </a:lnTo>
                    <a:lnTo>
                      <a:pt x="97" y="2249"/>
                    </a:lnTo>
                    <a:lnTo>
                      <a:pt x="94" y="2256"/>
                    </a:lnTo>
                    <a:lnTo>
                      <a:pt x="90" y="2256"/>
                    </a:lnTo>
                    <a:lnTo>
                      <a:pt x="83" y="2251"/>
                    </a:lnTo>
                    <a:lnTo>
                      <a:pt x="79" y="2240"/>
                    </a:lnTo>
                    <a:lnTo>
                      <a:pt x="82" y="2234"/>
                    </a:lnTo>
                    <a:lnTo>
                      <a:pt x="93" y="2237"/>
                    </a:lnTo>
                    <a:lnTo>
                      <a:pt x="92" y="2234"/>
                    </a:lnTo>
                    <a:lnTo>
                      <a:pt x="86" y="2227"/>
                    </a:lnTo>
                    <a:lnTo>
                      <a:pt x="74" y="2225"/>
                    </a:lnTo>
                    <a:lnTo>
                      <a:pt x="66" y="2221"/>
                    </a:lnTo>
                    <a:lnTo>
                      <a:pt x="60" y="2214"/>
                    </a:lnTo>
                    <a:lnTo>
                      <a:pt x="55" y="2204"/>
                    </a:lnTo>
                    <a:lnTo>
                      <a:pt x="69" y="2189"/>
                    </a:lnTo>
                    <a:lnTo>
                      <a:pt x="70" y="2173"/>
                    </a:lnTo>
                    <a:lnTo>
                      <a:pt x="72" y="2170"/>
                    </a:lnTo>
                    <a:lnTo>
                      <a:pt x="72" y="2164"/>
                    </a:lnTo>
                    <a:lnTo>
                      <a:pt x="87" y="2154"/>
                    </a:lnTo>
                    <a:lnTo>
                      <a:pt x="93" y="2156"/>
                    </a:lnTo>
                    <a:lnTo>
                      <a:pt x="97" y="2156"/>
                    </a:lnTo>
                    <a:lnTo>
                      <a:pt x="97" y="2154"/>
                    </a:lnTo>
                    <a:lnTo>
                      <a:pt x="92" y="2150"/>
                    </a:lnTo>
                    <a:lnTo>
                      <a:pt x="90" y="2144"/>
                    </a:lnTo>
                    <a:lnTo>
                      <a:pt x="97" y="2116"/>
                    </a:lnTo>
                    <a:lnTo>
                      <a:pt x="93" y="2117"/>
                    </a:lnTo>
                    <a:lnTo>
                      <a:pt x="85" y="2125"/>
                    </a:lnTo>
                    <a:lnTo>
                      <a:pt x="82" y="2134"/>
                    </a:lnTo>
                    <a:lnTo>
                      <a:pt x="77" y="2144"/>
                    </a:lnTo>
                    <a:lnTo>
                      <a:pt x="72" y="2141"/>
                    </a:lnTo>
                    <a:lnTo>
                      <a:pt x="70" y="2134"/>
                    </a:lnTo>
                    <a:lnTo>
                      <a:pt x="69" y="2119"/>
                    </a:lnTo>
                    <a:lnTo>
                      <a:pt x="69" y="2089"/>
                    </a:lnTo>
                    <a:lnTo>
                      <a:pt x="72" y="2082"/>
                    </a:lnTo>
                    <a:lnTo>
                      <a:pt x="77" y="2084"/>
                    </a:lnTo>
                    <a:lnTo>
                      <a:pt x="70" y="2076"/>
                    </a:lnTo>
                    <a:lnTo>
                      <a:pt x="72" y="2065"/>
                    </a:lnTo>
                    <a:lnTo>
                      <a:pt x="88" y="2064"/>
                    </a:lnTo>
                    <a:lnTo>
                      <a:pt x="98" y="2073"/>
                    </a:lnTo>
                    <a:lnTo>
                      <a:pt x="96" y="2064"/>
                    </a:lnTo>
                    <a:lnTo>
                      <a:pt x="93" y="2052"/>
                    </a:lnTo>
                    <a:lnTo>
                      <a:pt x="90" y="2057"/>
                    </a:lnTo>
                    <a:lnTo>
                      <a:pt x="69" y="2062"/>
                    </a:lnTo>
                    <a:lnTo>
                      <a:pt x="65" y="2058"/>
                    </a:lnTo>
                    <a:lnTo>
                      <a:pt x="63" y="2048"/>
                    </a:lnTo>
                    <a:lnTo>
                      <a:pt x="59" y="2042"/>
                    </a:lnTo>
                    <a:lnTo>
                      <a:pt x="59" y="2021"/>
                    </a:lnTo>
                    <a:lnTo>
                      <a:pt x="66" y="2022"/>
                    </a:lnTo>
                    <a:lnTo>
                      <a:pt x="72" y="2032"/>
                    </a:lnTo>
                    <a:lnTo>
                      <a:pt x="76" y="2042"/>
                    </a:lnTo>
                    <a:lnTo>
                      <a:pt x="75" y="2027"/>
                    </a:lnTo>
                    <a:lnTo>
                      <a:pt x="79" y="2025"/>
                    </a:lnTo>
                    <a:lnTo>
                      <a:pt x="99" y="2028"/>
                    </a:lnTo>
                    <a:lnTo>
                      <a:pt x="115" y="2041"/>
                    </a:lnTo>
                    <a:lnTo>
                      <a:pt x="122" y="2041"/>
                    </a:lnTo>
                    <a:lnTo>
                      <a:pt x="109" y="2032"/>
                    </a:lnTo>
                    <a:lnTo>
                      <a:pt x="102" y="2019"/>
                    </a:lnTo>
                    <a:lnTo>
                      <a:pt x="99" y="2005"/>
                    </a:lnTo>
                    <a:lnTo>
                      <a:pt x="97" y="1999"/>
                    </a:lnTo>
                    <a:lnTo>
                      <a:pt x="94" y="2006"/>
                    </a:lnTo>
                    <a:lnTo>
                      <a:pt x="81" y="2005"/>
                    </a:lnTo>
                    <a:lnTo>
                      <a:pt x="76" y="2000"/>
                    </a:lnTo>
                    <a:lnTo>
                      <a:pt x="77" y="1995"/>
                    </a:lnTo>
                    <a:lnTo>
                      <a:pt x="85" y="1989"/>
                    </a:lnTo>
                    <a:lnTo>
                      <a:pt x="76" y="1987"/>
                    </a:lnTo>
                    <a:lnTo>
                      <a:pt x="63" y="1979"/>
                    </a:lnTo>
                    <a:lnTo>
                      <a:pt x="60" y="1976"/>
                    </a:lnTo>
                    <a:lnTo>
                      <a:pt x="65" y="1966"/>
                    </a:lnTo>
                    <a:lnTo>
                      <a:pt x="76" y="1961"/>
                    </a:lnTo>
                    <a:lnTo>
                      <a:pt x="85" y="1958"/>
                    </a:lnTo>
                    <a:lnTo>
                      <a:pt x="77" y="1951"/>
                    </a:lnTo>
                    <a:lnTo>
                      <a:pt x="87" y="1941"/>
                    </a:lnTo>
                    <a:lnTo>
                      <a:pt x="83" y="1939"/>
                    </a:lnTo>
                    <a:lnTo>
                      <a:pt x="81" y="1931"/>
                    </a:lnTo>
                    <a:lnTo>
                      <a:pt x="74" y="1925"/>
                    </a:lnTo>
                    <a:lnTo>
                      <a:pt x="66" y="1920"/>
                    </a:lnTo>
                    <a:lnTo>
                      <a:pt x="59" y="1920"/>
                    </a:lnTo>
                    <a:lnTo>
                      <a:pt x="54" y="1926"/>
                    </a:lnTo>
                    <a:lnTo>
                      <a:pt x="48" y="1929"/>
                    </a:lnTo>
                    <a:lnTo>
                      <a:pt x="33" y="1922"/>
                    </a:lnTo>
                    <a:lnTo>
                      <a:pt x="28" y="1914"/>
                    </a:lnTo>
                    <a:lnTo>
                      <a:pt x="22" y="1909"/>
                    </a:lnTo>
                    <a:lnTo>
                      <a:pt x="13" y="1914"/>
                    </a:lnTo>
                    <a:lnTo>
                      <a:pt x="7" y="1919"/>
                    </a:lnTo>
                    <a:lnTo>
                      <a:pt x="12" y="1923"/>
                    </a:lnTo>
                    <a:lnTo>
                      <a:pt x="15" y="1930"/>
                    </a:lnTo>
                    <a:lnTo>
                      <a:pt x="12" y="1939"/>
                    </a:lnTo>
                    <a:lnTo>
                      <a:pt x="1" y="1937"/>
                    </a:lnTo>
                    <a:lnTo>
                      <a:pt x="0" y="1929"/>
                    </a:lnTo>
                    <a:lnTo>
                      <a:pt x="4" y="1908"/>
                    </a:lnTo>
                    <a:lnTo>
                      <a:pt x="12" y="1903"/>
                    </a:lnTo>
                    <a:lnTo>
                      <a:pt x="20" y="1896"/>
                    </a:lnTo>
                    <a:lnTo>
                      <a:pt x="27" y="1885"/>
                    </a:lnTo>
                    <a:lnTo>
                      <a:pt x="36" y="1883"/>
                    </a:lnTo>
                    <a:lnTo>
                      <a:pt x="44" y="1879"/>
                    </a:lnTo>
                    <a:lnTo>
                      <a:pt x="44" y="1871"/>
                    </a:lnTo>
                    <a:lnTo>
                      <a:pt x="42" y="1870"/>
                    </a:lnTo>
                    <a:lnTo>
                      <a:pt x="36" y="1871"/>
                    </a:lnTo>
                    <a:lnTo>
                      <a:pt x="32" y="1869"/>
                    </a:lnTo>
                    <a:lnTo>
                      <a:pt x="29" y="1865"/>
                    </a:lnTo>
                    <a:lnTo>
                      <a:pt x="29" y="1856"/>
                    </a:lnTo>
                    <a:lnTo>
                      <a:pt x="47" y="1853"/>
                    </a:lnTo>
                    <a:lnTo>
                      <a:pt x="55" y="1855"/>
                    </a:lnTo>
                    <a:lnTo>
                      <a:pt x="59" y="1859"/>
                    </a:lnTo>
                    <a:lnTo>
                      <a:pt x="66" y="1853"/>
                    </a:lnTo>
                    <a:lnTo>
                      <a:pt x="72" y="1856"/>
                    </a:lnTo>
                    <a:lnTo>
                      <a:pt x="79" y="1860"/>
                    </a:lnTo>
                    <a:lnTo>
                      <a:pt x="76" y="1867"/>
                    </a:lnTo>
                    <a:lnTo>
                      <a:pt x="77" y="1874"/>
                    </a:lnTo>
                    <a:lnTo>
                      <a:pt x="82" y="1869"/>
                    </a:lnTo>
                    <a:lnTo>
                      <a:pt x="82" y="1876"/>
                    </a:lnTo>
                    <a:lnTo>
                      <a:pt x="76" y="1883"/>
                    </a:lnTo>
                    <a:lnTo>
                      <a:pt x="74" y="1890"/>
                    </a:lnTo>
                    <a:lnTo>
                      <a:pt x="79" y="1897"/>
                    </a:lnTo>
                    <a:lnTo>
                      <a:pt x="86" y="1898"/>
                    </a:lnTo>
                    <a:lnTo>
                      <a:pt x="91" y="1888"/>
                    </a:lnTo>
                    <a:lnTo>
                      <a:pt x="96" y="1882"/>
                    </a:lnTo>
                    <a:lnTo>
                      <a:pt x="97" y="1888"/>
                    </a:lnTo>
                    <a:lnTo>
                      <a:pt x="94" y="1899"/>
                    </a:lnTo>
                    <a:lnTo>
                      <a:pt x="94" y="1906"/>
                    </a:lnTo>
                    <a:lnTo>
                      <a:pt x="99" y="1903"/>
                    </a:lnTo>
                    <a:lnTo>
                      <a:pt x="101" y="1896"/>
                    </a:lnTo>
                    <a:lnTo>
                      <a:pt x="104" y="1892"/>
                    </a:lnTo>
                    <a:lnTo>
                      <a:pt x="112" y="1886"/>
                    </a:lnTo>
                    <a:lnTo>
                      <a:pt x="118" y="1882"/>
                    </a:lnTo>
                    <a:lnTo>
                      <a:pt x="118" y="1879"/>
                    </a:lnTo>
                    <a:lnTo>
                      <a:pt x="120" y="1870"/>
                    </a:lnTo>
                    <a:lnTo>
                      <a:pt x="125" y="1859"/>
                    </a:lnTo>
                    <a:lnTo>
                      <a:pt x="125" y="1852"/>
                    </a:lnTo>
                    <a:lnTo>
                      <a:pt x="120" y="1855"/>
                    </a:lnTo>
                    <a:lnTo>
                      <a:pt x="117" y="1860"/>
                    </a:lnTo>
                    <a:lnTo>
                      <a:pt x="115" y="1866"/>
                    </a:lnTo>
                    <a:lnTo>
                      <a:pt x="108" y="1880"/>
                    </a:lnTo>
                    <a:lnTo>
                      <a:pt x="110" y="1855"/>
                    </a:lnTo>
                    <a:lnTo>
                      <a:pt x="113" y="1850"/>
                    </a:lnTo>
                    <a:lnTo>
                      <a:pt x="114" y="1849"/>
                    </a:lnTo>
                    <a:lnTo>
                      <a:pt x="128" y="1847"/>
                    </a:lnTo>
                    <a:lnTo>
                      <a:pt x="119" y="1844"/>
                    </a:lnTo>
                    <a:lnTo>
                      <a:pt x="119" y="1839"/>
                    </a:lnTo>
                    <a:lnTo>
                      <a:pt x="124" y="1834"/>
                    </a:lnTo>
                    <a:lnTo>
                      <a:pt x="131" y="1831"/>
                    </a:lnTo>
                    <a:lnTo>
                      <a:pt x="131" y="1827"/>
                    </a:lnTo>
                    <a:lnTo>
                      <a:pt x="124" y="1828"/>
                    </a:lnTo>
                    <a:lnTo>
                      <a:pt x="112" y="1833"/>
                    </a:lnTo>
                    <a:lnTo>
                      <a:pt x="113" y="1823"/>
                    </a:lnTo>
                    <a:lnTo>
                      <a:pt x="117" y="1818"/>
                    </a:lnTo>
                    <a:lnTo>
                      <a:pt x="122" y="1813"/>
                    </a:lnTo>
                    <a:lnTo>
                      <a:pt x="126" y="1812"/>
                    </a:lnTo>
                    <a:lnTo>
                      <a:pt x="134" y="1818"/>
                    </a:lnTo>
                    <a:lnTo>
                      <a:pt x="140" y="1821"/>
                    </a:lnTo>
                    <a:lnTo>
                      <a:pt x="144" y="1824"/>
                    </a:lnTo>
                    <a:lnTo>
                      <a:pt x="150" y="1823"/>
                    </a:lnTo>
                    <a:lnTo>
                      <a:pt x="150" y="1816"/>
                    </a:lnTo>
                    <a:lnTo>
                      <a:pt x="142" y="1816"/>
                    </a:lnTo>
                    <a:lnTo>
                      <a:pt x="129" y="1807"/>
                    </a:lnTo>
                    <a:lnTo>
                      <a:pt x="120" y="1806"/>
                    </a:lnTo>
                    <a:lnTo>
                      <a:pt x="122" y="1795"/>
                    </a:lnTo>
                    <a:lnTo>
                      <a:pt x="122" y="1789"/>
                    </a:lnTo>
                    <a:lnTo>
                      <a:pt x="126" y="1786"/>
                    </a:lnTo>
                    <a:lnTo>
                      <a:pt x="136" y="1786"/>
                    </a:lnTo>
                    <a:lnTo>
                      <a:pt x="145" y="1784"/>
                    </a:lnTo>
                    <a:lnTo>
                      <a:pt x="156" y="1773"/>
                    </a:lnTo>
                    <a:lnTo>
                      <a:pt x="157" y="1767"/>
                    </a:lnTo>
                    <a:lnTo>
                      <a:pt x="157" y="1750"/>
                    </a:lnTo>
                    <a:lnTo>
                      <a:pt x="153" y="1742"/>
                    </a:lnTo>
                    <a:lnTo>
                      <a:pt x="149" y="1740"/>
                    </a:lnTo>
                    <a:lnTo>
                      <a:pt x="136" y="1729"/>
                    </a:lnTo>
                    <a:lnTo>
                      <a:pt x="130" y="1726"/>
                    </a:lnTo>
                    <a:lnTo>
                      <a:pt x="126" y="1723"/>
                    </a:lnTo>
                    <a:lnTo>
                      <a:pt x="126" y="1720"/>
                    </a:lnTo>
                    <a:lnTo>
                      <a:pt x="128" y="1720"/>
                    </a:lnTo>
                    <a:lnTo>
                      <a:pt x="129" y="1718"/>
                    </a:lnTo>
                    <a:lnTo>
                      <a:pt x="135" y="1711"/>
                    </a:lnTo>
                    <a:lnTo>
                      <a:pt x="137" y="1704"/>
                    </a:lnTo>
                    <a:lnTo>
                      <a:pt x="141" y="1697"/>
                    </a:lnTo>
                    <a:lnTo>
                      <a:pt x="146" y="1691"/>
                    </a:lnTo>
                    <a:lnTo>
                      <a:pt x="144" y="1686"/>
                    </a:lnTo>
                    <a:lnTo>
                      <a:pt x="146" y="1680"/>
                    </a:lnTo>
                    <a:lnTo>
                      <a:pt x="140" y="1675"/>
                    </a:lnTo>
                    <a:lnTo>
                      <a:pt x="139" y="1667"/>
                    </a:lnTo>
                    <a:lnTo>
                      <a:pt x="140" y="1661"/>
                    </a:lnTo>
                    <a:lnTo>
                      <a:pt x="142" y="1656"/>
                    </a:lnTo>
                    <a:lnTo>
                      <a:pt x="149" y="1651"/>
                    </a:lnTo>
                    <a:lnTo>
                      <a:pt x="153" y="1633"/>
                    </a:lnTo>
                    <a:lnTo>
                      <a:pt x="151" y="1612"/>
                    </a:lnTo>
                    <a:lnTo>
                      <a:pt x="158" y="1601"/>
                    </a:lnTo>
                    <a:lnTo>
                      <a:pt x="166" y="1603"/>
                    </a:lnTo>
                    <a:lnTo>
                      <a:pt x="161" y="1597"/>
                    </a:lnTo>
                    <a:lnTo>
                      <a:pt x="155" y="1587"/>
                    </a:lnTo>
                    <a:lnTo>
                      <a:pt x="160" y="1578"/>
                    </a:lnTo>
                    <a:lnTo>
                      <a:pt x="167" y="1580"/>
                    </a:lnTo>
                    <a:lnTo>
                      <a:pt x="172" y="1594"/>
                    </a:lnTo>
                    <a:lnTo>
                      <a:pt x="172" y="1583"/>
                    </a:lnTo>
                    <a:lnTo>
                      <a:pt x="171" y="1562"/>
                    </a:lnTo>
                    <a:lnTo>
                      <a:pt x="162" y="1562"/>
                    </a:lnTo>
                    <a:lnTo>
                      <a:pt x="153" y="1558"/>
                    </a:lnTo>
                    <a:lnTo>
                      <a:pt x="156" y="1548"/>
                    </a:lnTo>
                    <a:lnTo>
                      <a:pt x="166" y="1541"/>
                    </a:lnTo>
                    <a:lnTo>
                      <a:pt x="172" y="1540"/>
                    </a:lnTo>
                    <a:lnTo>
                      <a:pt x="178" y="1533"/>
                    </a:lnTo>
                    <a:lnTo>
                      <a:pt x="178" y="1532"/>
                    </a:lnTo>
                    <a:lnTo>
                      <a:pt x="169" y="1536"/>
                    </a:lnTo>
                    <a:lnTo>
                      <a:pt x="163" y="1536"/>
                    </a:lnTo>
                    <a:lnTo>
                      <a:pt x="157" y="1533"/>
                    </a:lnTo>
                    <a:lnTo>
                      <a:pt x="151" y="1525"/>
                    </a:lnTo>
                    <a:lnTo>
                      <a:pt x="141" y="1525"/>
                    </a:lnTo>
                    <a:lnTo>
                      <a:pt x="135" y="1528"/>
                    </a:lnTo>
                    <a:lnTo>
                      <a:pt x="134" y="1535"/>
                    </a:lnTo>
                    <a:lnTo>
                      <a:pt x="130" y="1540"/>
                    </a:lnTo>
                    <a:lnTo>
                      <a:pt x="117" y="1543"/>
                    </a:lnTo>
                    <a:lnTo>
                      <a:pt x="103" y="1537"/>
                    </a:lnTo>
                    <a:lnTo>
                      <a:pt x="104" y="1531"/>
                    </a:lnTo>
                    <a:lnTo>
                      <a:pt x="101" y="1525"/>
                    </a:lnTo>
                    <a:lnTo>
                      <a:pt x="97" y="1524"/>
                    </a:lnTo>
                    <a:lnTo>
                      <a:pt x="93" y="1516"/>
                    </a:lnTo>
                    <a:lnTo>
                      <a:pt x="92" y="1504"/>
                    </a:lnTo>
                    <a:lnTo>
                      <a:pt x="93" y="1489"/>
                    </a:lnTo>
                    <a:lnTo>
                      <a:pt x="96" y="1466"/>
                    </a:lnTo>
                    <a:lnTo>
                      <a:pt x="101" y="1454"/>
                    </a:lnTo>
                    <a:lnTo>
                      <a:pt x="102" y="1407"/>
                    </a:lnTo>
                    <a:lnTo>
                      <a:pt x="112" y="1402"/>
                    </a:lnTo>
                    <a:lnTo>
                      <a:pt x="113" y="1396"/>
                    </a:lnTo>
                    <a:lnTo>
                      <a:pt x="118" y="1390"/>
                    </a:lnTo>
                    <a:lnTo>
                      <a:pt x="122" y="1379"/>
                    </a:lnTo>
                    <a:lnTo>
                      <a:pt x="120" y="1349"/>
                    </a:lnTo>
                    <a:lnTo>
                      <a:pt x="115" y="1329"/>
                    </a:lnTo>
                    <a:lnTo>
                      <a:pt x="108" y="1314"/>
                    </a:lnTo>
                    <a:lnTo>
                      <a:pt x="108" y="1311"/>
                    </a:lnTo>
                    <a:lnTo>
                      <a:pt x="109" y="1311"/>
                    </a:lnTo>
                    <a:lnTo>
                      <a:pt x="112" y="1285"/>
                    </a:lnTo>
                    <a:lnTo>
                      <a:pt x="109" y="1274"/>
                    </a:lnTo>
                    <a:lnTo>
                      <a:pt x="104" y="1261"/>
                    </a:lnTo>
                    <a:lnTo>
                      <a:pt x="106" y="1244"/>
                    </a:lnTo>
                    <a:lnTo>
                      <a:pt x="106" y="1225"/>
                    </a:lnTo>
                    <a:lnTo>
                      <a:pt x="113" y="1215"/>
                    </a:lnTo>
                    <a:lnTo>
                      <a:pt x="122" y="1219"/>
                    </a:lnTo>
                    <a:lnTo>
                      <a:pt x="130" y="1215"/>
                    </a:lnTo>
                    <a:lnTo>
                      <a:pt x="129" y="1182"/>
                    </a:lnTo>
                    <a:lnTo>
                      <a:pt x="134" y="1178"/>
                    </a:lnTo>
                    <a:lnTo>
                      <a:pt x="137" y="1182"/>
                    </a:lnTo>
                    <a:lnTo>
                      <a:pt x="141" y="1180"/>
                    </a:lnTo>
                    <a:lnTo>
                      <a:pt x="149" y="1161"/>
                    </a:lnTo>
                    <a:lnTo>
                      <a:pt x="152" y="1139"/>
                    </a:lnTo>
                    <a:lnTo>
                      <a:pt x="158" y="1132"/>
                    </a:lnTo>
                    <a:lnTo>
                      <a:pt x="162" y="1116"/>
                    </a:lnTo>
                    <a:lnTo>
                      <a:pt x="166" y="1105"/>
                    </a:lnTo>
                    <a:lnTo>
                      <a:pt x="182" y="1076"/>
                    </a:lnTo>
                    <a:lnTo>
                      <a:pt x="183" y="1068"/>
                    </a:lnTo>
                    <a:lnTo>
                      <a:pt x="194" y="1037"/>
                    </a:lnTo>
                    <a:lnTo>
                      <a:pt x="195" y="1025"/>
                    </a:lnTo>
                    <a:lnTo>
                      <a:pt x="196" y="1024"/>
                    </a:lnTo>
                    <a:lnTo>
                      <a:pt x="204" y="994"/>
                    </a:lnTo>
                    <a:lnTo>
                      <a:pt x="210" y="987"/>
                    </a:lnTo>
                    <a:lnTo>
                      <a:pt x="210" y="950"/>
                    </a:lnTo>
                    <a:lnTo>
                      <a:pt x="217" y="939"/>
                    </a:lnTo>
                    <a:lnTo>
                      <a:pt x="221" y="928"/>
                    </a:lnTo>
                    <a:lnTo>
                      <a:pt x="221" y="903"/>
                    </a:lnTo>
                    <a:lnTo>
                      <a:pt x="216" y="882"/>
                    </a:lnTo>
                    <a:lnTo>
                      <a:pt x="215" y="855"/>
                    </a:lnTo>
                    <a:lnTo>
                      <a:pt x="210" y="821"/>
                    </a:lnTo>
                    <a:lnTo>
                      <a:pt x="209" y="789"/>
                    </a:lnTo>
                    <a:lnTo>
                      <a:pt x="211" y="763"/>
                    </a:lnTo>
                    <a:lnTo>
                      <a:pt x="223" y="756"/>
                    </a:lnTo>
                    <a:lnTo>
                      <a:pt x="228" y="737"/>
                    </a:lnTo>
                    <a:lnTo>
                      <a:pt x="226" y="731"/>
                    </a:lnTo>
                    <a:lnTo>
                      <a:pt x="226" y="719"/>
                    </a:lnTo>
                    <a:lnTo>
                      <a:pt x="219" y="698"/>
                    </a:lnTo>
                    <a:lnTo>
                      <a:pt x="216" y="694"/>
                    </a:lnTo>
                    <a:lnTo>
                      <a:pt x="217" y="685"/>
                    </a:lnTo>
                    <a:lnTo>
                      <a:pt x="220" y="678"/>
                    </a:lnTo>
                    <a:lnTo>
                      <a:pt x="231" y="664"/>
                    </a:lnTo>
                    <a:lnTo>
                      <a:pt x="236" y="643"/>
                    </a:lnTo>
                    <a:lnTo>
                      <a:pt x="242" y="606"/>
                    </a:lnTo>
                    <a:lnTo>
                      <a:pt x="251" y="591"/>
                    </a:lnTo>
                    <a:lnTo>
                      <a:pt x="251" y="572"/>
                    </a:lnTo>
                    <a:lnTo>
                      <a:pt x="253" y="565"/>
                    </a:lnTo>
                    <a:lnTo>
                      <a:pt x="257" y="562"/>
                    </a:lnTo>
                    <a:lnTo>
                      <a:pt x="262" y="548"/>
                    </a:lnTo>
                    <a:lnTo>
                      <a:pt x="263" y="530"/>
                    </a:lnTo>
                    <a:lnTo>
                      <a:pt x="265" y="521"/>
                    </a:lnTo>
                    <a:lnTo>
                      <a:pt x="265" y="511"/>
                    </a:lnTo>
                    <a:lnTo>
                      <a:pt x="262" y="497"/>
                    </a:lnTo>
                    <a:lnTo>
                      <a:pt x="262" y="483"/>
                    </a:lnTo>
                    <a:lnTo>
                      <a:pt x="264" y="475"/>
                    </a:lnTo>
                    <a:lnTo>
                      <a:pt x="268" y="467"/>
                    </a:lnTo>
                    <a:lnTo>
                      <a:pt x="275" y="461"/>
                    </a:lnTo>
                    <a:lnTo>
                      <a:pt x="275" y="452"/>
                    </a:lnTo>
                    <a:lnTo>
                      <a:pt x="275" y="438"/>
                    </a:lnTo>
                    <a:lnTo>
                      <a:pt x="274" y="423"/>
                    </a:lnTo>
                    <a:lnTo>
                      <a:pt x="274" y="375"/>
                    </a:lnTo>
                    <a:lnTo>
                      <a:pt x="276" y="363"/>
                    </a:lnTo>
                    <a:lnTo>
                      <a:pt x="276" y="351"/>
                    </a:lnTo>
                    <a:lnTo>
                      <a:pt x="270" y="343"/>
                    </a:lnTo>
                    <a:lnTo>
                      <a:pt x="270" y="337"/>
                    </a:lnTo>
                    <a:lnTo>
                      <a:pt x="274" y="324"/>
                    </a:lnTo>
                    <a:lnTo>
                      <a:pt x="279" y="317"/>
                    </a:lnTo>
                    <a:lnTo>
                      <a:pt x="284" y="317"/>
                    </a:lnTo>
                    <a:lnTo>
                      <a:pt x="286" y="310"/>
                    </a:lnTo>
                    <a:lnTo>
                      <a:pt x="289" y="268"/>
                    </a:lnTo>
                    <a:lnTo>
                      <a:pt x="292" y="256"/>
                    </a:lnTo>
                    <a:lnTo>
                      <a:pt x="292" y="244"/>
                    </a:lnTo>
                    <a:lnTo>
                      <a:pt x="296" y="233"/>
                    </a:lnTo>
                    <a:lnTo>
                      <a:pt x="297" y="224"/>
                    </a:lnTo>
                    <a:lnTo>
                      <a:pt x="296" y="222"/>
                    </a:lnTo>
                    <a:lnTo>
                      <a:pt x="290" y="195"/>
                    </a:lnTo>
                    <a:lnTo>
                      <a:pt x="292" y="142"/>
                    </a:lnTo>
                    <a:lnTo>
                      <a:pt x="290" y="132"/>
                    </a:lnTo>
                    <a:lnTo>
                      <a:pt x="287" y="122"/>
                    </a:lnTo>
                    <a:lnTo>
                      <a:pt x="285" y="95"/>
                    </a:lnTo>
                    <a:lnTo>
                      <a:pt x="279" y="57"/>
                    </a:lnTo>
                    <a:lnTo>
                      <a:pt x="274" y="39"/>
                    </a:lnTo>
                    <a:lnTo>
                      <a:pt x="284" y="30"/>
                    </a:lnTo>
                    <a:lnTo>
                      <a:pt x="286" y="30"/>
                    </a:lnTo>
                    <a:lnTo>
                      <a:pt x="303" y="29"/>
                    </a:lnTo>
                    <a:lnTo>
                      <a:pt x="311" y="26"/>
                    </a:lnTo>
                    <a:lnTo>
                      <a:pt x="312" y="25"/>
                    </a:lnTo>
                    <a:lnTo>
                      <a:pt x="313" y="16"/>
                    </a:lnTo>
                    <a:lnTo>
                      <a:pt x="318" y="7"/>
                    </a:lnTo>
                    <a:lnTo>
                      <a:pt x="323" y="2"/>
                    </a:lnTo>
                    <a:lnTo>
                      <a:pt x="325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29" name="Freeform 242"/>
              <p:cNvSpPr>
                <a:spLocks noChangeAspect="1"/>
              </p:cNvSpPr>
              <p:nvPr/>
            </p:nvSpPr>
            <p:spPr bwMode="gray">
              <a:xfrm>
                <a:off x="1733" y="3162"/>
                <a:ext cx="31" cy="47"/>
              </a:xfrm>
              <a:custGeom>
                <a:avLst/>
                <a:gdLst/>
                <a:ahLst/>
                <a:cxnLst>
                  <a:cxn ang="0">
                    <a:pos x="141" y="225"/>
                  </a:cxn>
                  <a:cxn ang="0">
                    <a:pos x="135" y="231"/>
                  </a:cxn>
                  <a:cxn ang="0">
                    <a:pos x="115" y="225"/>
                  </a:cxn>
                  <a:cxn ang="0">
                    <a:pos x="77" y="221"/>
                  </a:cxn>
                  <a:cxn ang="0">
                    <a:pos x="61" y="225"/>
                  </a:cxn>
                  <a:cxn ang="0">
                    <a:pos x="35" y="220"/>
                  </a:cxn>
                  <a:cxn ang="0">
                    <a:pos x="30" y="215"/>
                  </a:cxn>
                  <a:cxn ang="0">
                    <a:pos x="23" y="213"/>
                  </a:cxn>
                  <a:cxn ang="0">
                    <a:pos x="30" y="205"/>
                  </a:cxn>
                  <a:cxn ang="0">
                    <a:pos x="12" y="205"/>
                  </a:cxn>
                  <a:cxn ang="0">
                    <a:pos x="5" y="202"/>
                  </a:cxn>
                  <a:cxn ang="0">
                    <a:pos x="0" y="189"/>
                  </a:cxn>
                  <a:cxn ang="0">
                    <a:pos x="16" y="181"/>
                  </a:cxn>
                  <a:cxn ang="0">
                    <a:pos x="29" y="176"/>
                  </a:cxn>
                  <a:cxn ang="0">
                    <a:pos x="36" y="176"/>
                  </a:cxn>
                  <a:cxn ang="0">
                    <a:pos x="23" y="160"/>
                  </a:cxn>
                  <a:cxn ang="0">
                    <a:pos x="38" y="165"/>
                  </a:cxn>
                  <a:cxn ang="0">
                    <a:pos x="64" y="184"/>
                  </a:cxn>
                  <a:cxn ang="0">
                    <a:pos x="73" y="178"/>
                  </a:cxn>
                  <a:cxn ang="0">
                    <a:pos x="62" y="171"/>
                  </a:cxn>
                  <a:cxn ang="0">
                    <a:pos x="81" y="178"/>
                  </a:cxn>
                  <a:cxn ang="0">
                    <a:pos x="92" y="170"/>
                  </a:cxn>
                  <a:cxn ang="0">
                    <a:pos x="100" y="176"/>
                  </a:cxn>
                  <a:cxn ang="0">
                    <a:pos x="106" y="167"/>
                  </a:cxn>
                  <a:cxn ang="0">
                    <a:pos x="72" y="151"/>
                  </a:cxn>
                  <a:cxn ang="0">
                    <a:pos x="70" y="113"/>
                  </a:cxn>
                  <a:cxn ang="0">
                    <a:pos x="82" y="108"/>
                  </a:cxn>
                  <a:cxn ang="0">
                    <a:pos x="111" y="89"/>
                  </a:cxn>
                  <a:cxn ang="0">
                    <a:pos x="99" y="79"/>
                  </a:cxn>
                  <a:cxn ang="0">
                    <a:pos x="66" y="90"/>
                  </a:cxn>
                  <a:cxn ang="0">
                    <a:pos x="49" y="73"/>
                  </a:cxn>
                  <a:cxn ang="0">
                    <a:pos x="50" y="51"/>
                  </a:cxn>
                  <a:cxn ang="0">
                    <a:pos x="60" y="53"/>
                  </a:cxn>
                  <a:cxn ang="0">
                    <a:pos x="68" y="43"/>
                  </a:cxn>
                  <a:cxn ang="0">
                    <a:pos x="62" y="30"/>
                  </a:cxn>
                  <a:cxn ang="0">
                    <a:pos x="67" y="25"/>
                  </a:cxn>
                  <a:cxn ang="0">
                    <a:pos x="78" y="29"/>
                  </a:cxn>
                  <a:cxn ang="0">
                    <a:pos x="94" y="5"/>
                  </a:cxn>
                  <a:cxn ang="0">
                    <a:pos x="115" y="16"/>
                  </a:cxn>
                  <a:cxn ang="0">
                    <a:pos x="135" y="15"/>
                  </a:cxn>
                  <a:cxn ang="0">
                    <a:pos x="148" y="17"/>
                  </a:cxn>
                  <a:cxn ang="0">
                    <a:pos x="152" y="213"/>
                  </a:cxn>
                </a:cxnLst>
                <a:rect l="0" t="0" r="r" b="b"/>
                <a:pathLst>
                  <a:path w="152" h="235">
                    <a:moveTo>
                      <a:pt x="152" y="225"/>
                    </a:moveTo>
                    <a:lnTo>
                      <a:pt x="141" y="225"/>
                    </a:lnTo>
                    <a:lnTo>
                      <a:pt x="143" y="231"/>
                    </a:lnTo>
                    <a:lnTo>
                      <a:pt x="135" y="231"/>
                    </a:lnTo>
                    <a:lnTo>
                      <a:pt x="129" y="235"/>
                    </a:lnTo>
                    <a:lnTo>
                      <a:pt x="115" y="225"/>
                    </a:lnTo>
                    <a:lnTo>
                      <a:pt x="99" y="221"/>
                    </a:lnTo>
                    <a:lnTo>
                      <a:pt x="77" y="221"/>
                    </a:lnTo>
                    <a:lnTo>
                      <a:pt x="75" y="225"/>
                    </a:lnTo>
                    <a:lnTo>
                      <a:pt x="61" y="225"/>
                    </a:lnTo>
                    <a:lnTo>
                      <a:pt x="41" y="216"/>
                    </a:lnTo>
                    <a:lnTo>
                      <a:pt x="35" y="220"/>
                    </a:lnTo>
                    <a:lnTo>
                      <a:pt x="25" y="219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23" y="213"/>
                    </a:lnTo>
                    <a:lnTo>
                      <a:pt x="24" y="209"/>
                    </a:lnTo>
                    <a:lnTo>
                      <a:pt x="30" y="205"/>
                    </a:lnTo>
                    <a:lnTo>
                      <a:pt x="16" y="202"/>
                    </a:lnTo>
                    <a:lnTo>
                      <a:pt x="12" y="205"/>
                    </a:lnTo>
                    <a:lnTo>
                      <a:pt x="3" y="205"/>
                    </a:lnTo>
                    <a:lnTo>
                      <a:pt x="5" y="202"/>
                    </a:lnTo>
                    <a:lnTo>
                      <a:pt x="5" y="194"/>
                    </a:lnTo>
                    <a:lnTo>
                      <a:pt x="0" y="189"/>
                    </a:lnTo>
                    <a:lnTo>
                      <a:pt x="16" y="186"/>
                    </a:lnTo>
                    <a:lnTo>
                      <a:pt x="16" y="181"/>
                    </a:lnTo>
                    <a:lnTo>
                      <a:pt x="24" y="181"/>
                    </a:lnTo>
                    <a:lnTo>
                      <a:pt x="29" y="176"/>
                    </a:lnTo>
                    <a:lnTo>
                      <a:pt x="34" y="177"/>
                    </a:lnTo>
                    <a:lnTo>
                      <a:pt x="36" y="176"/>
                    </a:lnTo>
                    <a:lnTo>
                      <a:pt x="34" y="167"/>
                    </a:lnTo>
                    <a:lnTo>
                      <a:pt x="23" y="160"/>
                    </a:lnTo>
                    <a:lnTo>
                      <a:pt x="23" y="151"/>
                    </a:lnTo>
                    <a:lnTo>
                      <a:pt x="38" y="165"/>
                    </a:lnTo>
                    <a:lnTo>
                      <a:pt x="59" y="177"/>
                    </a:lnTo>
                    <a:lnTo>
                      <a:pt x="64" y="184"/>
                    </a:lnTo>
                    <a:lnTo>
                      <a:pt x="67" y="181"/>
                    </a:lnTo>
                    <a:lnTo>
                      <a:pt x="73" y="178"/>
                    </a:lnTo>
                    <a:lnTo>
                      <a:pt x="64" y="176"/>
                    </a:lnTo>
                    <a:lnTo>
                      <a:pt x="62" y="171"/>
                    </a:lnTo>
                    <a:lnTo>
                      <a:pt x="68" y="165"/>
                    </a:lnTo>
                    <a:lnTo>
                      <a:pt x="81" y="178"/>
                    </a:lnTo>
                    <a:lnTo>
                      <a:pt x="82" y="167"/>
                    </a:lnTo>
                    <a:lnTo>
                      <a:pt x="92" y="170"/>
                    </a:lnTo>
                    <a:lnTo>
                      <a:pt x="99" y="181"/>
                    </a:lnTo>
                    <a:lnTo>
                      <a:pt x="100" y="176"/>
                    </a:lnTo>
                    <a:lnTo>
                      <a:pt x="110" y="176"/>
                    </a:lnTo>
                    <a:lnTo>
                      <a:pt x="106" y="167"/>
                    </a:lnTo>
                    <a:lnTo>
                      <a:pt x="75" y="156"/>
                    </a:lnTo>
                    <a:lnTo>
                      <a:pt x="72" y="151"/>
                    </a:lnTo>
                    <a:lnTo>
                      <a:pt x="67" y="121"/>
                    </a:lnTo>
                    <a:lnTo>
                      <a:pt x="70" y="113"/>
                    </a:lnTo>
                    <a:lnTo>
                      <a:pt x="79" y="113"/>
                    </a:lnTo>
                    <a:lnTo>
                      <a:pt x="82" y="108"/>
                    </a:lnTo>
                    <a:lnTo>
                      <a:pt x="109" y="101"/>
                    </a:lnTo>
                    <a:lnTo>
                      <a:pt x="111" y="89"/>
                    </a:lnTo>
                    <a:lnTo>
                      <a:pt x="106" y="80"/>
                    </a:lnTo>
                    <a:lnTo>
                      <a:pt x="99" y="79"/>
                    </a:lnTo>
                    <a:lnTo>
                      <a:pt x="87" y="80"/>
                    </a:lnTo>
                    <a:lnTo>
                      <a:pt x="66" y="90"/>
                    </a:lnTo>
                    <a:lnTo>
                      <a:pt x="52" y="80"/>
                    </a:lnTo>
                    <a:lnTo>
                      <a:pt x="49" y="73"/>
                    </a:lnTo>
                    <a:lnTo>
                      <a:pt x="50" y="62"/>
                    </a:lnTo>
                    <a:lnTo>
                      <a:pt x="50" y="51"/>
                    </a:lnTo>
                    <a:lnTo>
                      <a:pt x="55" y="48"/>
                    </a:lnTo>
                    <a:lnTo>
                      <a:pt x="60" y="53"/>
                    </a:lnTo>
                    <a:lnTo>
                      <a:pt x="66" y="52"/>
                    </a:lnTo>
                    <a:lnTo>
                      <a:pt x="68" y="43"/>
                    </a:lnTo>
                    <a:lnTo>
                      <a:pt x="64" y="36"/>
                    </a:lnTo>
                    <a:lnTo>
                      <a:pt x="62" y="30"/>
                    </a:lnTo>
                    <a:lnTo>
                      <a:pt x="52" y="27"/>
                    </a:lnTo>
                    <a:lnTo>
                      <a:pt x="67" y="25"/>
                    </a:lnTo>
                    <a:lnTo>
                      <a:pt x="75" y="31"/>
                    </a:lnTo>
                    <a:lnTo>
                      <a:pt x="78" y="29"/>
                    </a:lnTo>
                    <a:lnTo>
                      <a:pt x="88" y="25"/>
                    </a:lnTo>
                    <a:lnTo>
                      <a:pt x="94" y="5"/>
                    </a:lnTo>
                    <a:lnTo>
                      <a:pt x="106" y="0"/>
                    </a:lnTo>
                    <a:lnTo>
                      <a:pt x="115" y="16"/>
                    </a:lnTo>
                    <a:lnTo>
                      <a:pt x="124" y="17"/>
                    </a:lnTo>
                    <a:lnTo>
                      <a:pt x="135" y="15"/>
                    </a:lnTo>
                    <a:lnTo>
                      <a:pt x="143" y="8"/>
                    </a:lnTo>
                    <a:lnTo>
                      <a:pt x="148" y="17"/>
                    </a:lnTo>
                    <a:lnTo>
                      <a:pt x="151" y="209"/>
                    </a:lnTo>
                    <a:lnTo>
                      <a:pt x="152" y="213"/>
                    </a:lnTo>
                    <a:lnTo>
                      <a:pt x="152" y="2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0" name="Freeform 243"/>
              <p:cNvSpPr>
                <a:spLocks noChangeAspect="1"/>
              </p:cNvSpPr>
              <p:nvPr/>
            </p:nvSpPr>
            <p:spPr bwMode="gray">
              <a:xfrm>
                <a:off x="1964" y="2482"/>
                <a:ext cx="6" cy="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9"/>
                  </a:cxn>
                  <a:cxn ang="0">
                    <a:pos x="0" y="15"/>
                  </a:cxn>
                  <a:cxn ang="0">
                    <a:pos x="6" y="22"/>
                  </a:cxn>
                  <a:cxn ang="0">
                    <a:pos x="16" y="23"/>
                  </a:cxn>
                  <a:cxn ang="0">
                    <a:pos x="23" y="27"/>
                  </a:cxn>
                  <a:cxn ang="0">
                    <a:pos x="31" y="26"/>
                  </a:cxn>
                  <a:cxn ang="0">
                    <a:pos x="32" y="19"/>
                  </a:cxn>
                  <a:cxn ang="0">
                    <a:pos x="26" y="14"/>
                  </a:cxn>
                  <a:cxn ang="0">
                    <a:pos x="19" y="12"/>
                  </a:cxn>
                  <a:cxn ang="0">
                    <a:pos x="11" y="7"/>
                  </a:cxn>
                  <a:cxn ang="0">
                    <a:pos x="7" y="0"/>
                  </a:cxn>
                </a:cxnLst>
                <a:rect l="0" t="0" r="r" b="b"/>
                <a:pathLst>
                  <a:path w="32" h="27">
                    <a:moveTo>
                      <a:pt x="7" y="0"/>
                    </a:moveTo>
                    <a:lnTo>
                      <a:pt x="0" y="9"/>
                    </a:lnTo>
                    <a:lnTo>
                      <a:pt x="0" y="15"/>
                    </a:lnTo>
                    <a:lnTo>
                      <a:pt x="6" y="22"/>
                    </a:lnTo>
                    <a:lnTo>
                      <a:pt x="16" y="23"/>
                    </a:lnTo>
                    <a:lnTo>
                      <a:pt x="23" y="27"/>
                    </a:lnTo>
                    <a:lnTo>
                      <a:pt x="31" y="26"/>
                    </a:lnTo>
                    <a:lnTo>
                      <a:pt x="32" y="19"/>
                    </a:lnTo>
                    <a:lnTo>
                      <a:pt x="26" y="14"/>
                    </a:lnTo>
                    <a:lnTo>
                      <a:pt x="19" y="12"/>
                    </a:lnTo>
                    <a:lnTo>
                      <a:pt x="11" y="7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1" name="Freeform 244"/>
              <p:cNvSpPr>
                <a:spLocks noChangeAspect="1"/>
              </p:cNvSpPr>
              <p:nvPr/>
            </p:nvSpPr>
            <p:spPr bwMode="gray">
              <a:xfrm>
                <a:off x="1971" y="2487"/>
                <a:ext cx="4" cy="2"/>
              </a:xfrm>
              <a:custGeom>
                <a:avLst/>
                <a:gdLst/>
                <a:ahLst/>
                <a:cxnLst>
                  <a:cxn ang="0">
                    <a:pos x="17" y="8"/>
                  </a:cxn>
                  <a:cxn ang="0">
                    <a:pos x="11" y="12"/>
                  </a:cxn>
                  <a:cxn ang="0">
                    <a:pos x="1" y="12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1" y="6"/>
                  </a:cxn>
                  <a:cxn ang="0">
                    <a:pos x="2" y="6"/>
                  </a:cxn>
                  <a:cxn ang="0">
                    <a:pos x="8" y="1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8" y="1"/>
                  </a:cxn>
                  <a:cxn ang="0">
                    <a:pos x="18" y="6"/>
                  </a:cxn>
                  <a:cxn ang="0">
                    <a:pos x="17" y="8"/>
                  </a:cxn>
                </a:cxnLst>
                <a:rect l="0" t="0" r="r" b="b"/>
                <a:pathLst>
                  <a:path w="18" h="12">
                    <a:moveTo>
                      <a:pt x="17" y="8"/>
                    </a:moveTo>
                    <a:lnTo>
                      <a:pt x="11" y="12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8" y="1"/>
                    </a:lnTo>
                    <a:lnTo>
                      <a:pt x="18" y="6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2" name="Freeform 245"/>
              <p:cNvSpPr>
                <a:spLocks noChangeAspect="1"/>
              </p:cNvSpPr>
              <p:nvPr/>
            </p:nvSpPr>
            <p:spPr bwMode="gray">
              <a:xfrm>
                <a:off x="1962" y="2489"/>
                <a:ext cx="23" cy="17"/>
              </a:xfrm>
              <a:custGeom>
                <a:avLst/>
                <a:gdLst/>
                <a:ahLst/>
                <a:cxnLst>
                  <a:cxn ang="0">
                    <a:pos x="116" y="9"/>
                  </a:cxn>
                  <a:cxn ang="0">
                    <a:pos x="116" y="33"/>
                  </a:cxn>
                  <a:cxn ang="0">
                    <a:pos x="116" y="38"/>
                  </a:cxn>
                  <a:cxn ang="0">
                    <a:pos x="96" y="64"/>
                  </a:cxn>
                  <a:cxn ang="0">
                    <a:pos x="82" y="75"/>
                  </a:cxn>
                  <a:cxn ang="0">
                    <a:pos x="70" y="80"/>
                  </a:cxn>
                  <a:cxn ang="0">
                    <a:pos x="42" y="87"/>
                  </a:cxn>
                  <a:cxn ang="0">
                    <a:pos x="37" y="86"/>
                  </a:cxn>
                  <a:cxn ang="0">
                    <a:pos x="16" y="86"/>
                  </a:cxn>
                  <a:cxn ang="0">
                    <a:pos x="7" y="82"/>
                  </a:cxn>
                  <a:cxn ang="0">
                    <a:pos x="4" y="77"/>
                  </a:cxn>
                  <a:cxn ang="0">
                    <a:pos x="4" y="64"/>
                  </a:cxn>
                  <a:cxn ang="0">
                    <a:pos x="3" y="54"/>
                  </a:cxn>
                  <a:cxn ang="0">
                    <a:pos x="3" y="48"/>
                  </a:cxn>
                  <a:cxn ang="0">
                    <a:pos x="0" y="39"/>
                  </a:cxn>
                  <a:cxn ang="0">
                    <a:pos x="0" y="16"/>
                  </a:cxn>
                  <a:cxn ang="0">
                    <a:pos x="4" y="11"/>
                  </a:cxn>
                  <a:cxn ang="0">
                    <a:pos x="14" y="7"/>
                  </a:cxn>
                  <a:cxn ang="0">
                    <a:pos x="15" y="4"/>
                  </a:cxn>
                  <a:cxn ang="0">
                    <a:pos x="25" y="1"/>
                  </a:cxn>
                  <a:cxn ang="0">
                    <a:pos x="37" y="1"/>
                  </a:cxn>
                  <a:cxn ang="0">
                    <a:pos x="43" y="1"/>
                  </a:cxn>
                  <a:cxn ang="0">
                    <a:pos x="55" y="5"/>
                  </a:cxn>
                  <a:cxn ang="0">
                    <a:pos x="63" y="5"/>
                  </a:cxn>
                  <a:cxn ang="0">
                    <a:pos x="76" y="1"/>
                  </a:cxn>
                  <a:cxn ang="0">
                    <a:pos x="95" y="0"/>
                  </a:cxn>
                  <a:cxn ang="0">
                    <a:pos x="107" y="1"/>
                  </a:cxn>
                  <a:cxn ang="0">
                    <a:pos x="111" y="4"/>
                  </a:cxn>
                  <a:cxn ang="0">
                    <a:pos x="114" y="7"/>
                  </a:cxn>
                  <a:cxn ang="0">
                    <a:pos x="114" y="9"/>
                  </a:cxn>
                  <a:cxn ang="0">
                    <a:pos x="116" y="9"/>
                  </a:cxn>
                </a:cxnLst>
                <a:rect l="0" t="0" r="r" b="b"/>
                <a:pathLst>
                  <a:path w="116" h="87">
                    <a:moveTo>
                      <a:pt x="116" y="9"/>
                    </a:moveTo>
                    <a:lnTo>
                      <a:pt x="116" y="33"/>
                    </a:lnTo>
                    <a:lnTo>
                      <a:pt x="116" y="38"/>
                    </a:lnTo>
                    <a:lnTo>
                      <a:pt x="96" y="64"/>
                    </a:lnTo>
                    <a:lnTo>
                      <a:pt x="82" y="75"/>
                    </a:lnTo>
                    <a:lnTo>
                      <a:pt x="70" y="80"/>
                    </a:lnTo>
                    <a:lnTo>
                      <a:pt x="42" y="87"/>
                    </a:lnTo>
                    <a:lnTo>
                      <a:pt x="37" y="86"/>
                    </a:lnTo>
                    <a:lnTo>
                      <a:pt x="16" y="86"/>
                    </a:lnTo>
                    <a:lnTo>
                      <a:pt x="7" y="82"/>
                    </a:lnTo>
                    <a:lnTo>
                      <a:pt x="4" y="77"/>
                    </a:lnTo>
                    <a:lnTo>
                      <a:pt x="4" y="64"/>
                    </a:lnTo>
                    <a:lnTo>
                      <a:pt x="3" y="54"/>
                    </a:lnTo>
                    <a:lnTo>
                      <a:pt x="3" y="48"/>
                    </a:lnTo>
                    <a:lnTo>
                      <a:pt x="0" y="39"/>
                    </a:lnTo>
                    <a:lnTo>
                      <a:pt x="0" y="16"/>
                    </a:lnTo>
                    <a:lnTo>
                      <a:pt x="4" y="11"/>
                    </a:lnTo>
                    <a:lnTo>
                      <a:pt x="14" y="7"/>
                    </a:lnTo>
                    <a:lnTo>
                      <a:pt x="15" y="4"/>
                    </a:lnTo>
                    <a:lnTo>
                      <a:pt x="25" y="1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55" y="5"/>
                    </a:lnTo>
                    <a:lnTo>
                      <a:pt x="63" y="5"/>
                    </a:lnTo>
                    <a:lnTo>
                      <a:pt x="76" y="1"/>
                    </a:lnTo>
                    <a:lnTo>
                      <a:pt x="95" y="0"/>
                    </a:lnTo>
                    <a:lnTo>
                      <a:pt x="107" y="1"/>
                    </a:lnTo>
                    <a:lnTo>
                      <a:pt x="111" y="4"/>
                    </a:lnTo>
                    <a:lnTo>
                      <a:pt x="114" y="7"/>
                    </a:lnTo>
                    <a:lnTo>
                      <a:pt x="114" y="9"/>
                    </a:lnTo>
                    <a:lnTo>
                      <a:pt x="116" y="9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3" name="Freeform 246"/>
              <p:cNvSpPr>
                <a:spLocks noChangeAspect="1"/>
              </p:cNvSpPr>
              <p:nvPr/>
            </p:nvSpPr>
            <p:spPr bwMode="gray">
              <a:xfrm>
                <a:off x="1955" y="2487"/>
                <a:ext cx="7" cy="8"/>
              </a:xfrm>
              <a:custGeom>
                <a:avLst/>
                <a:gdLst/>
                <a:ahLst/>
                <a:cxnLst>
                  <a:cxn ang="0">
                    <a:pos x="31" y="16"/>
                  </a:cxn>
                  <a:cxn ang="0">
                    <a:pos x="31" y="18"/>
                  </a:cxn>
                  <a:cxn ang="0">
                    <a:pos x="24" y="25"/>
                  </a:cxn>
                  <a:cxn ang="0">
                    <a:pos x="24" y="27"/>
                  </a:cxn>
                  <a:cxn ang="0">
                    <a:pos x="13" y="38"/>
                  </a:cxn>
                  <a:cxn ang="0">
                    <a:pos x="5" y="38"/>
                  </a:cxn>
                  <a:cxn ang="0">
                    <a:pos x="5" y="34"/>
                  </a:cxn>
                  <a:cxn ang="0">
                    <a:pos x="0" y="30"/>
                  </a:cxn>
                  <a:cxn ang="0">
                    <a:pos x="0" y="27"/>
                  </a:cxn>
                  <a:cxn ang="0">
                    <a:pos x="2" y="22"/>
                  </a:cxn>
                  <a:cxn ang="0">
                    <a:pos x="9" y="15"/>
                  </a:cxn>
                  <a:cxn ang="0">
                    <a:pos x="10" y="10"/>
                  </a:cxn>
                  <a:cxn ang="0">
                    <a:pos x="11" y="6"/>
                  </a:cxn>
                  <a:cxn ang="0">
                    <a:pos x="15" y="5"/>
                  </a:cxn>
                  <a:cxn ang="0">
                    <a:pos x="24" y="3"/>
                  </a:cxn>
                  <a:cxn ang="0">
                    <a:pos x="24" y="2"/>
                  </a:cxn>
                  <a:cxn ang="0">
                    <a:pos x="31" y="0"/>
                  </a:cxn>
                  <a:cxn ang="0">
                    <a:pos x="31" y="3"/>
                  </a:cxn>
                  <a:cxn ang="0">
                    <a:pos x="24" y="6"/>
                  </a:cxn>
                  <a:cxn ang="0">
                    <a:pos x="20" y="10"/>
                  </a:cxn>
                  <a:cxn ang="0">
                    <a:pos x="20" y="13"/>
                  </a:cxn>
                  <a:cxn ang="0">
                    <a:pos x="30" y="11"/>
                  </a:cxn>
                  <a:cxn ang="0">
                    <a:pos x="30" y="15"/>
                  </a:cxn>
                  <a:cxn ang="0">
                    <a:pos x="31" y="16"/>
                  </a:cxn>
                </a:cxnLst>
                <a:rect l="0" t="0" r="r" b="b"/>
                <a:pathLst>
                  <a:path w="31" h="38">
                    <a:moveTo>
                      <a:pt x="31" y="16"/>
                    </a:moveTo>
                    <a:lnTo>
                      <a:pt x="31" y="18"/>
                    </a:lnTo>
                    <a:lnTo>
                      <a:pt x="24" y="25"/>
                    </a:lnTo>
                    <a:lnTo>
                      <a:pt x="24" y="27"/>
                    </a:lnTo>
                    <a:lnTo>
                      <a:pt x="13" y="38"/>
                    </a:lnTo>
                    <a:lnTo>
                      <a:pt x="5" y="38"/>
                    </a:lnTo>
                    <a:lnTo>
                      <a:pt x="5" y="34"/>
                    </a:lnTo>
                    <a:lnTo>
                      <a:pt x="0" y="30"/>
                    </a:lnTo>
                    <a:lnTo>
                      <a:pt x="0" y="27"/>
                    </a:lnTo>
                    <a:lnTo>
                      <a:pt x="2" y="22"/>
                    </a:lnTo>
                    <a:lnTo>
                      <a:pt x="9" y="15"/>
                    </a:lnTo>
                    <a:lnTo>
                      <a:pt x="10" y="10"/>
                    </a:lnTo>
                    <a:lnTo>
                      <a:pt x="11" y="6"/>
                    </a:lnTo>
                    <a:lnTo>
                      <a:pt x="15" y="5"/>
                    </a:lnTo>
                    <a:lnTo>
                      <a:pt x="24" y="3"/>
                    </a:lnTo>
                    <a:lnTo>
                      <a:pt x="24" y="2"/>
                    </a:lnTo>
                    <a:lnTo>
                      <a:pt x="31" y="0"/>
                    </a:lnTo>
                    <a:lnTo>
                      <a:pt x="31" y="3"/>
                    </a:lnTo>
                    <a:lnTo>
                      <a:pt x="24" y="6"/>
                    </a:lnTo>
                    <a:lnTo>
                      <a:pt x="20" y="10"/>
                    </a:lnTo>
                    <a:lnTo>
                      <a:pt x="20" y="13"/>
                    </a:lnTo>
                    <a:lnTo>
                      <a:pt x="30" y="11"/>
                    </a:lnTo>
                    <a:lnTo>
                      <a:pt x="30" y="15"/>
                    </a:lnTo>
                    <a:lnTo>
                      <a:pt x="31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4" name="Freeform 247"/>
              <p:cNvSpPr>
                <a:spLocks noChangeAspect="1"/>
              </p:cNvSpPr>
              <p:nvPr/>
            </p:nvSpPr>
            <p:spPr bwMode="gray">
              <a:xfrm>
                <a:off x="1967" y="2482"/>
                <a:ext cx="1" cy="1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6" y="5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0" y="7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5" y="0"/>
                  </a:cxn>
                </a:cxnLst>
                <a:rect l="0" t="0" r="r" b="b"/>
                <a:pathLst>
                  <a:path w="6" h="7">
                    <a:moveTo>
                      <a:pt x="5" y="0"/>
                    </a:moveTo>
                    <a:lnTo>
                      <a:pt x="6" y="5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5" name="Freeform 248"/>
              <p:cNvSpPr>
                <a:spLocks noChangeAspect="1"/>
              </p:cNvSpPr>
              <p:nvPr/>
            </p:nvSpPr>
            <p:spPr bwMode="gray">
              <a:xfrm>
                <a:off x="1963" y="2487"/>
                <a:ext cx="2" cy="1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8" y="2"/>
                  </a:cxn>
                  <a:cxn ang="0">
                    <a:pos x="8" y="6"/>
                  </a:cxn>
                  <a:cxn ang="0">
                    <a:pos x="3" y="6"/>
                  </a:cxn>
                  <a:cxn ang="0">
                    <a:pos x="0" y="1"/>
                  </a:cxn>
                  <a:cxn ang="0">
                    <a:pos x="7" y="0"/>
                  </a:cxn>
                </a:cxnLst>
                <a:rect l="0" t="0" r="r" b="b"/>
                <a:pathLst>
                  <a:path w="8" h="6">
                    <a:moveTo>
                      <a:pt x="7" y="0"/>
                    </a:moveTo>
                    <a:lnTo>
                      <a:pt x="8" y="2"/>
                    </a:lnTo>
                    <a:lnTo>
                      <a:pt x="8" y="6"/>
                    </a:lnTo>
                    <a:lnTo>
                      <a:pt x="3" y="6"/>
                    </a:lnTo>
                    <a:lnTo>
                      <a:pt x="0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6" name="Freeform 249"/>
              <p:cNvSpPr>
                <a:spLocks noChangeAspect="1"/>
              </p:cNvSpPr>
              <p:nvPr/>
            </p:nvSpPr>
            <p:spPr bwMode="gray">
              <a:xfrm>
                <a:off x="1706" y="2430"/>
                <a:ext cx="427" cy="448"/>
              </a:xfrm>
              <a:custGeom>
                <a:avLst/>
                <a:gdLst/>
                <a:ahLst/>
                <a:cxnLst>
                  <a:cxn ang="0">
                    <a:pos x="598" y="69"/>
                  </a:cxn>
                  <a:cxn ang="0">
                    <a:pos x="523" y="81"/>
                  </a:cxn>
                  <a:cxn ang="0">
                    <a:pos x="572" y="165"/>
                  </a:cxn>
                  <a:cxn ang="0">
                    <a:pos x="503" y="211"/>
                  </a:cxn>
                  <a:cxn ang="0">
                    <a:pos x="408" y="243"/>
                  </a:cxn>
                  <a:cxn ang="0">
                    <a:pos x="317" y="186"/>
                  </a:cxn>
                  <a:cxn ang="0">
                    <a:pos x="225" y="231"/>
                  </a:cxn>
                  <a:cxn ang="0">
                    <a:pos x="210" y="254"/>
                  </a:cxn>
                  <a:cxn ang="0">
                    <a:pos x="220" y="460"/>
                  </a:cxn>
                  <a:cxn ang="0">
                    <a:pos x="83" y="554"/>
                  </a:cxn>
                  <a:cxn ang="0">
                    <a:pos x="0" y="698"/>
                  </a:cxn>
                  <a:cxn ang="0">
                    <a:pos x="82" y="806"/>
                  </a:cxn>
                  <a:cxn ang="0">
                    <a:pos x="180" y="853"/>
                  </a:cxn>
                  <a:cxn ang="0">
                    <a:pos x="303" y="883"/>
                  </a:cxn>
                  <a:cxn ang="0">
                    <a:pos x="468" y="840"/>
                  </a:cxn>
                  <a:cxn ang="0">
                    <a:pos x="573" y="973"/>
                  </a:cxn>
                  <a:cxn ang="0">
                    <a:pos x="720" y="1039"/>
                  </a:cxn>
                  <a:cxn ang="0">
                    <a:pos x="749" y="1181"/>
                  </a:cxn>
                  <a:cxn ang="0">
                    <a:pos x="863" y="1243"/>
                  </a:cxn>
                  <a:cxn ang="0">
                    <a:pos x="872" y="1398"/>
                  </a:cxn>
                  <a:cxn ang="0">
                    <a:pos x="901" y="1526"/>
                  </a:cxn>
                  <a:cxn ang="0">
                    <a:pos x="1000" y="1613"/>
                  </a:cxn>
                  <a:cxn ang="0">
                    <a:pos x="1059" y="1706"/>
                  </a:cxn>
                  <a:cxn ang="0">
                    <a:pos x="1054" y="1841"/>
                  </a:cxn>
                  <a:cxn ang="0">
                    <a:pos x="904" y="2000"/>
                  </a:cxn>
                  <a:cxn ang="0">
                    <a:pos x="973" y="2055"/>
                  </a:cxn>
                  <a:cxn ang="0">
                    <a:pos x="1052" y="2092"/>
                  </a:cxn>
                  <a:cxn ang="0">
                    <a:pos x="1126" y="2180"/>
                  </a:cxn>
                  <a:cxn ang="0">
                    <a:pos x="1156" y="2196"/>
                  </a:cxn>
                  <a:cxn ang="0">
                    <a:pos x="1275" y="2045"/>
                  </a:cxn>
                  <a:cxn ang="0">
                    <a:pos x="1377" y="1895"/>
                  </a:cxn>
                  <a:cxn ang="0">
                    <a:pos x="1376" y="1762"/>
                  </a:cxn>
                  <a:cxn ang="0">
                    <a:pos x="1474" y="1650"/>
                  </a:cxn>
                  <a:cxn ang="0">
                    <a:pos x="1598" y="1588"/>
                  </a:cxn>
                  <a:cxn ang="0">
                    <a:pos x="1657" y="1570"/>
                  </a:cxn>
                  <a:cxn ang="0">
                    <a:pos x="1787" y="1512"/>
                  </a:cxn>
                  <a:cxn ang="0">
                    <a:pos x="1868" y="1305"/>
                  </a:cxn>
                  <a:cxn ang="0">
                    <a:pos x="1901" y="1102"/>
                  </a:cxn>
                  <a:cxn ang="0">
                    <a:pos x="1975" y="947"/>
                  </a:cxn>
                  <a:cxn ang="0">
                    <a:pos x="2115" y="776"/>
                  </a:cxn>
                  <a:cxn ang="0">
                    <a:pos x="2040" y="565"/>
                  </a:cxn>
                  <a:cxn ang="0">
                    <a:pos x="1896" y="463"/>
                  </a:cxn>
                  <a:cxn ang="0">
                    <a:pos x="1659" y="413"/>
                  </a:cxn>
                  <a:cxn ang="0">
                    <a:pos x="1605" y="404"/>
                  </a:cxn>
                  <a:cxn ang="0">
                    <a:pos x="1561" y="364"/>
                  </a:cxn>
                  <a:cxn ang="0">
                    <a:pos x="1403" y="342"/>
                  </a:cxn>
                  <a:cxn ang="0">
                    <a:pos x="1344" y="419"/>
                  </a:cxn>
                  <a:cxn ang="0">
                    <a:pos x="1277" y="387"/>
                  </a:cxn>
                  <a:cxn ang="0">
                    <a:pos x="1238" y="381"/>
                  </a:cxn>
                  <a:cxn ang="0">
                    <a:pos x="1261" y="339"/>
                  </a:cxn>
                  <a:cxn ang="0">
                    <a:pos x="1231" y="308"/>
                  </a:cxn>
                  <a:cxn ang="0">
                    <a:pos x="1312" y="195"/>
                  </a:cxn>
                  <a:cxn ang="0">
                    <a:pos x="1247" y="69"/>
                  </a:cxn>
                  <a:cxn ang="0">
                    <a:pos x="1141" y="170"/>
                  </a:cxn>
                  <a:cxn ang="0">
                    <a:pos x="1034" y="149"/>
                  </a:cxn>
                  <a:cxn ang="0">
                    <a:pos x="921" y="177"/>
                  </a:cxn>
                  <a:cxn ang="0">
                    <a:pos x="812" y="213"/>
                  </a:cxn>
                  <a:cxn ang="0">
                    <a:pos x="774" y="96"/>
                  </a:cxn>
                  <a:cxn ang="0">
                    <a:pos x="755" y="0"/>
                  </a:cxn>
                </a:cxnLst>
                <a:rect l="0" t="0" r="r" b="b"/>
                <a:pathLst>
                  <a:path w="2135" h="2241">
                    <a:moveTo>
                      <a:pt x="725" y="3"/>
                    </a:moveTo>
                    <a:lnTo>
                      <a:pt x="725" y="15"/>
                    </a:lnTo>
                    <a:lnTo>
                      <a:pt x="713" y="28"/>
                    </a:lnTo>
                    <a:lnTo>
                      <a:pt x="706" y="35"/>
                    </a:lnTo>
                    <a:lnTo>
                      <a:pt x="702" y="37"/>
                    </a:lnTo>
                    <a:lnTo>
                      <a:pt x="686" y="38"/>
                    </a:lnTo>
                    <a:lnTo>
                      <a:pt x="680" y="42"/>
                    </a:lnTo>
                    <a:lnTo>
                      <a:pt x="672" y="46"/>
                    </a:lnTo>
                    <a:lnTo>
                      <a:pt x="666" y="54"/>
                    </a:lnTo>
                    <a:lnTo>
                      <a:pt x="661" y="57"/>
                    </a:lnTo>
                    <a:lnTo>
                      <a:pt x="632" y="59"/>
                    </a:lnTo>
                    <a:lnTo>
                      <a:pt x="616" y="63"/>
                    </a:lnTo>
                    <a:lnTo>
                      <a:pt x="598" y="69"/>
                    </a:lnTo>
                    <a:lnTo>
                      <a:pt x="594" y="73"/>
                    </a:lnTo>
                    <a:lnTo>
                      <a:pt x="593" y="74"/>
                    </a:lnTo>
                    <a:lnTo>
                      <a:pt x="568" y="73"/>
                    </a:lnTo>
                    <a:lnTo>
                      <a:pt x="550" y="68"/>
                    </a:lnTo>
                    <a:lnTo>
                      <a:pt x="529" y="55"/>
                    </a:lnTo>
                    <a:lnTo>
                      <a:pt x="507" y="53"/>
                    </a:lnTo>
                    <a:lnTo>
                      <a:pt x="500" y="51"/>
                    </a:lnTo>
                    <a:lnTo>
                      <a:pt x="496" y="51"/>
                    </a:lnTo>
                    <a:lnTo>
                      <a:pt x="495" y="51"/>
                    </a:lnTo>
                    <a:lnTo>
                      <a:pt x="496" y="60"/>
                    </a:lnTo>
                    <a:lnTo>
                      <a:pt x="500" y="69"/>
                    </a:lnTo>
                    <a:lnTo>
                      <a:pt x="511" y="74"/>
                    </a:lnTo>
                    <a:lnTo>
                      <a:pt x="523" y="81"/>
                    </a:lnTo>
                    <a:lnTo>
                      <a:pt x="525" y="84"/>
                    </a:lnTo>
                    <a:lnTo>
                      <a:pt x="524" y="96"/>
                    </a:lnTo>
                    <a:lnTo>
                      <a:pt x="521" y="109"/>
                    </a:lnTo>
                    <a:lnTo>
                      <a:pt x="521" y="116"/>
                    </a:lnTo>
                    <a:lnTo>
                      <a:pt x="522" y="121"/>
                    </a:lnTo>
                    <a:lnTo>
                      <a:pt x="527" y="138"/>
                    </a:lnTo>
                    <a:lnTo>
                      <a:pt x="528" y="146"/>
                    </a:lnTo>
                    <a:lnTo>
                      <a:pt x="530" y="152"/>
                    </a:lnTo>
                    <a:lnTo>
                      <a:pt x="545" y="155"/>
                    </a:lnTo>
                    <a:lnTo>
                      <a:pt x="548" y="156"/>
                    </a:lnTo>
                    <a:lnTo>
                      <a:pt x="572" y="155"/>
                    </a:lnTo>
                    <a:lnTo>
                      <a:pt x="572" y="164"/>
                    </a:lnTo>
                    <a:lnTo>
                      <a:pt x="572" y="165"/>
                    </a:lnTo>
                    <a:lnTo>
                      <a:pt x="570" y="168"/>
                    </a:lnTo>
                    <a:lnTo>
                      <a:pt x="559" y="170"/>
                    </a:lnTo>
                    <a:lnTo>
                      <a:pt x="551" y="173"/>
                    </a:lnTo>
                    <a:lnTo>
                      <a:pt x="550" y="176"/>
                    </a:lnTo>
                    <a:lnTo>
                      <a:pt x="545" y="179"/>
                    </a:lnTo>
                    <a:lnTo>
                      <a:pt x="537" y="179"/>
                    </a:lnTo>
                    <a:lnTo>
                      <a:pt x="532" y="187"/>
                    </a:lnTo>
                    <a:lnTo>
                      <a:pt x="527" y="202"/>
                    </a:lnTo>
                    <a:lnTo>
                      <a:pt x="522" y="205"/>
                    </a:lnTo>
                    <a:lnTo>
                      <a:pt x="517" y="207"/>
                    </a:lnTo>
                    <a:lnTo>
                      <a:pt x="512" y="207"/>
                    </a:lnTo>
                    <a:lnTo>
                      <a:pt x="506" y="210"/>
                    </a:lnTo>
                    <a:lnTo>
                      <a:pt x="503" y="211"/>
                    </a:lnTo>
                    <a:lnTo>
                      <a:pt x="501" y="216"/>
                    </a:lnTo>
                    <a:lnTo>
                      <a:pt x="492" y="216"/>
                    </a:lnTo>
                    <a:lnTo>
                      <a:pt x="480" y="221"/>
                    </a:lnTo>
                    <a:lnTo>
                      <a:pt x="478" y="221"/>
                    </a:lnTo>
                    <a:lnTo>
                      <a:pt x="470" y="225"/>
                    </a:lnTo>
                    <a:lnTo>
                      <a:pt x="462" y="229"/>
                    </a:lnTo>
                    <a:lnTo>
                      <a:pt x="457" y="232"/>
                    </a:lnTo>
                    <a:lnTo>
                      <a:pt x="449" y="240"/>
                    </a:lnTo>
                    <a:lnTo>
                      <a:pt x="447" y="241"/>
                    </a:lnTo>
                    <a:lnTo>
                      <a:pt x="428" y="245"/>
                    </a:lnTo>
                    <a:lnTo>
                      <a:pt x="411" y="245"/>
                    </a:lnTo>
                    <a:lnTo>
                      <a:pt x="409" y="243"/>
                    </a:lnTo>
                    <a:lnTo>
                      <a:pt x="408" y="243"/>
                    </a:lnTo>
                    <a:lnTo>
                      <a:pt x="394" y="235"/>
                    </a:lnTo>
                    <a:lnTo>
                      <a:pt x="390" y="231"/>
                    </a:lnTo>
                    <a:lnTo>
                      <a:pt x="387" y="226"/>
                    </a:lnTo>
                    <a:lnTo>
                      <a:pt x="384" y="221"/>
                    </a:lnTo>
                    <a:lnTo>
                      <a:pt x="379" y="214"/>
                    </a:lnTo>
                    <a:lnTo>
                      <a:pt x="379" y="216"/>
                    </a:lnTo>
                    <a:lnTo>
                      <a:pt x="368" y="221"/>
                    </a:lnTo>
                    <a:lnTo>
                      <a:pt x="362" y="192"/>
                    </a:lnTo>
                    <a:lnTo>
                      <a:pt x="354" y="181"/>
                    </a:lnTo>
                    <a:lnTo>
                      <a:pt x="349" y="176"/>
                    </a:lnTo>
                    <a:lnTo>
                      <a:pt x="338" y="176"/>
                    </a:lnTo>
                    <a:lnTo>
                      <a:pt x="319" y="186"/>
                    </a:lnTo>
                    <a:lnTo>
                      <a:pt x="317" y="186"/>
                    </a:lnTo>
                    <a:lnTo>
                      <a:pt x="313" y="179"/>
                    </a:lnTo>
                    <a:lnTo>
                      <a:pt x="309" y="177"/>
                    </a:lnTo>
                    <a:lnTo>
                      <a:pt x="307" y="177"/>
                    </a:lnTo>
                    <a:lnTo>
                      <a:pt x="303" y="182"/>
                    </a:lnTo>
                    <a:lnTo>
                      <a:pt x="302" y="188"/>
                    </a:lnTo>
                    <a:lnTo>
                      <a:pt x="298" y="192"/>
                    </a:lnTo>
                    <a:lnTo>
                      <a:pt x="218" y="192"/>
                    </a:lnTo>
                    <a:lnTo>
                      <a:pt x="217" y="191"/>
                    </a:lnTo>
                    <a:lnTo>
                      <a:pt x="217" y="222"/>
                    </a:lnTo>
                    <a:lnTo>
                      <a:pt x="217" y="222"/>
                    </a:lnTo>
                    <a:lnTo>
                      <a:pt x="217" y="225"/>
                    </a:lnTo>
                    <a:lnTo>
                      <a:pt x="221" y="226"/>
                    </a:lnTo>
                    <a:lnTo>
                      <a:pt x="225" y="231"/>
                    </a:lnTo>
                    <a:lnTo>
                      <a:pt x="232" y="231"/>
                    </a:lnTo>
                    <a:lnTo>
                      <a:pt x="234" y="229"/>
                    </a:lnTo>
                    <a:lnTo>
                      <a:pt x="244" y="227"/>
                    </a:lnTo>
                    <a:lnTo>
                      <a:pt x="249" y="235"/>
                    </a:lnTo>
                    <a:lnTo>
                      <a:pt x="250" y="242"/>
                    </a:lnTo>
                    <a:lnTo>
                      <a:pt x="254" y="252"/>
                    </a:lnTo>
                    <a:lnTo>
                      <a:pt x="254" y="253"/>
                    </a:lnTo>
                    <a:lnTo>
                      <a:pt x="249" y="254"/>
                    </a:lnTo>
                    <a:lnTo>
                      <a:pt x="248" y="252"/>
                    </a:lnTo>
                    <a:lnTo>
                      <a:pt x="244" y="251"/>
                    </a:lnTo>
                    <a:lnTo>
                      <a:pt x="234" y="249"/>
                    </a:lnTo>
                    <a:lnTo>
                      <a:pt x="227" y="252"/>
                    </a:lnTo>
                    <a:lnTo>
                      <a:pt x="210" y="254"/>
                    </a:lnTo>
                    <a:lnTo>
                      <a:pt x="205" y="257"/>
                    </a:lnTo>
                    <a:lnTo>
                      <a:pt x="205" y="295"/>
                    </a:lnTo>
                    <a:lnTo>
                      <a:pt x="210" y="300"/>
                    </a:lnTo>
                    <a:lnTo>
                      <a:pt x="222" y="310"/>
                    </a:lnTo>
                    <a:lnTo>
                      <a:pt x="228" y="316"/>
                    </a:lnTo>
                    <a:lnTo>
                      <a:pt x="233" y="326"/>
                    </a:lnTo>
                    <a:lnTo>
                      <a:pt x="240" y="354"/>
                    </a:lnTo>
                    <a:lnTo>
                      <a:pt x="239" y="360"/>
                    </a:lnTo>
                    <a:lnTo>
                      <a:pt x="238" y="370"/>
                    </a:lnTo>
                    <a:lnTo>
                      <a:pt x="228" y="433"/>
                    </a:lnTo>
                    <a:lnTo>
                      <a:pt x="227" y="434"/>
                    </a:lnTo>
                    <a:lnTo>
                      <a:pt x="223" y="452"/>
                    </a:lnTo>
                    <a:lnTo>
                      <a:pt x="220" y="460"/>
                    </a:lnTo>
                    <a:lnTo>
                      <a:pt x="218" y="472"/>
                    </a:lnTo>
                    <a:lnTo>
                      <a:pt x="217" y="475"/>
                    </a:lnTo>
                    <a:lnTo>
                      <a:pt x="216" y="483"/>
                    </a:lnTo>
                    <a:lnTo>
                      <a:pt x="213" y="498"/>
                    </a:lnTo>
                    <a:lnTo>
                      <a:pt x="211" y="504"/>
                    </a:lnTo>
                    <a:lnTo>
                      <a:pt x="210" y="511"/>
                    </a:lnTo>
                    <a:lnTo>
                      <a:pt x="209" y="514"/>
                    </a:lnTo>
                    <a:lnTo>
                      <a:pt x="202" y="517"/>
                    </a:lnTo>
                    <a:lnTo>
                      <a:pt x="182" y="516"/>
                    </a:lnTo>
                    <a:lnTo>
                      <a:pt x="169" y="521"/>
                    </a:lnTo>
                    <a:lnTo>
                      <a:pt x="118" y="536"/>
                    </a:lnTo>
                    <a:lnTo>
                      <a:pt x="99" y="543"/>
                    </a:lnTo>
                    <a:lnTo>
                      <a:pt x="83" y="554"/>
                    </a:lnTo>
                    <a:lnTo>
                      <a:pt x="72" y="563"/>
                    </a:lnTo>
                    <a:lnTo>
                      <a:pt x="59" y="579"/>
                    </a:lnTo>
                    <a:lnTo>
                      <a:pt x="50" y="591"/>
                    </a:lnTo>
                    <a:lnTo>
                      <a:pt x="41" y="607"/>
                    </a:lnTo>
                    <a:lnTo>
                      <a:pt x="39" y="613"/>
                    </a:lnTo>
                    <a:lnTo>
                      <a:pt x="39" y="643"/>
                    </a:lnTo>
                    <a:lnTo>
                      <a:pt x="30" y="644"/>
                    </a:lnTo>
                    <a:lnTo>
                      <a:pt x="21" y="646"/>
                    </a:lnTo>
                    <a:lnTo>
                      <a:pt x="17" y="651"/>
                    </a:lnTo>
                    <a:lnTo>
                      <a:pt x="13" y="668"/>
                    </a:lnTo>
                    <a:lnTo>
                      <a:pt x="1" y="690"/>
                    </a:lnTo>
                    <a:lnTo>
                      <a:pt x="0" y="694"/>
                    </a:lnTo>
                    <a:lnTo>
                      <a:pt x="0" y="698"/>
                    </a:lnTo>
                    <a:lnTo>
                      <a:pt x="11" y="721"/>
                    </a:lnTo>
                    <a:lnTo>
                      <a:pt x="13" y="733"/>
                    </a:lnTo>
                    <a:lnTo>
                      <a:pt x="14" y="737"/>
                    </a:lnTo>
                    <a:lnTo>
                      <a:pt x="23" y="748"/>
                    </a:lnTo>
                    <a:lnTo>
                      <a:pt x="27" y="756"/>
                    </a:lnTo>
                    <a:lnTo>
                      <a:pt x="39" y="769"/>
                    </a:lnTo>
                    <a:lnTo>
                      <a:pt x="49" y="775"/>
                    </a:lnTo>
                    <a:lnTo>
                      <a:pt x="50" y="784"/>
                    </a:lnTo>
                    <a:lnTo>
                      <a:pt x="44" y="794"/>
                    </a:lnTo>
                    <a:lnTo>
                      <a:pt x="45" y="797"/>
                    </a:lnTo>
                    <a:lnTo>
                      <a:pt x="57" y="801"/>
                    </a:lnTo>
                    <a:lnTo>
                      <a:pt x="77" y="802"/>
                    </a:lnTo>
                    <a:lnTo>
                      <a:pt x="82" y="806"/>
                    </a:lnTo>
                    <a:lnTo>
                      <a:pt x="86" y="811"/>
                    </a:lnTo>
                    <a:lnTo>
                      <a:pt x="88" y="822"/>
                    </a:lnTo>
                    <a:lnTo>
                      <a:pt x="91" y="826"/>
                    </a:lnTo>
                    <a:lnTo>
                      <a:pt x="104" y="829"/>
                    </a:lnTo>
                    <a:lnTo>
                      <a:pt x="119" y="830"/>
                    </a:lnTo>
                    <a:lnTo>
                      <a:pt x="127" y="829"/>
                    </a:lnTo>
                    <a:lnTo>
                      <a:pt x="145" y="819"/>
                    </a:lnTo>
                    <a:lnTo>
                      <a:pt x="167" y="803"/>
                    </a:lnTo>
                    <a:lnTo>
                      <a:pt x="177" y="794"/>
                    </a:lnTo>
                    <a:lnTo>
                      <a:pt x="180" y="792"/>
                    </a:lnTo>
                    <a:lnTo>
                      <a:pt x="180" y="795"/>
                    </a:lnTo>
                    <a:lnTo>
                      <a:pt x="180" y="849"/>
                    </a:lnTo>
                    <a:lnTo>
                      <a:pt x="180" y="853"/>
                    </a:lnTo>
                    <a:lnTo>
                      <a:pt x="180" y="882"/>
                    </a:lnTo>
                    <a:lnTo>
                      <a:pt x="183" y="886"/>
                    </a:lnTo>
                    <a:lnTo>
                      <a:pt x="189" y="889"/>
                    </a:lnTo>
                    <a:lnTo>
                      <a:pt x="194" y="889"/>
                    </a:lnTo>
                    <a:lnTo>
                      <a:pt x="201" y="887"/>
                    </a:lnTo>
                    <a:lnTo>
                      <a:pt x="201" y="887"/>
                    </a:lnTo>
                    <a:lnTo>
                      <a:pt x="209" y="883"/>
                    </a:lnTo>
                    <a:lnTo>
                      <a:pt x="226" y="882"/>
                    </a:lnTo>
                    <a:lnTo>
                      <a:pt x="228" y="880"/>
                    </a:lnTo>
                    <a:lnTo>
                      <a:pt x="236" y="880"/>
                    </a:lnTo>
                    <a:lnTo>
                      <a:pt x="254" y="886"/>
                    </a:lnTo>
                    <a:lnTo>
                      <a:pt x="295" y="887"/>
                    </a:lnTo>
                    <a:lnTo>
                      <a:pt x="303" y="883"/>
                    </a:lnTo>
                    <a:lnTo>
                      <a:pt x="308" y="880"/>
                    </a:lnTo>
                    <a:lnTo>
                      <a:pt x="334" y="871"/>
                    </a:lnTo>
                    <a:lnTo>
                      <a:pt x="341" y="867"/>
                    </a:lnTo>
                    <a:lnTo>
                      <a:pt x="366" y="845"/>
                    </a:lnTo>
                    <a:lnTo>
                      <a:pt x="383" y="826"/>
                    </a:lnTo>
                    <a:lnTo>
                      <a:pt x="389" y="819"/>
                    </a:lnTo>
                    <a:lnTo>
                      <a:pt x="405" y="816"/>
                    </a:lnTo>
                    <a:lnTo>
                      <a:pt x="411" y="816"/>
                    </a:lnTo>
                    <a:lnTo>
                      <a:pt x="438" y="812"/>
                    </a:lnTo>
                    <a:lnTo>
                      <a:pt x="457" y="813"/>
                    </a:lnTo>
                    <a:lnTo>
                      <a:pt x="460" y="816"/>
                    </a:lnTo>
                    <a:lnTo>
                      <a:pt x="465" y="823"/>
                    </a:lnTo>
                    <a:lnTo>
                      <a:pt x="468" y="840"/>
                    </a:lnTo>
                    <a:lnTo>
                      <a:pt x="468" y="872"/>
                    </a:lnTo>
                    <a:lnTo>
                      <a:pt x="467" y="882"/>
                    </a:lnTo>
                    <a:lnTo>
                      <a:pt x="462" y="889"/>
                    </a:lnTo>
                    <a:lnTo>
                      <a:pt x="460" y="893"/>
                    </a:lnTo>
                    <a:lnTo>
                      <a:pt x="459" y="900"/>
                    </a:lnTo>
                    <a:lnTo>
                      <a:pt x="465" y="924"/>
                    </a:lnTo>
                    <a:lnTo>
                      <a:pt x="474" y="937"/>
                    </a:lnTo>
                    <a:lnTo>
                      <a:pt x="481" y="943"/>
                    </a:lnTo>
                    <a:lnTo>
                      <a:pt x="508" y="963"/>
                    </a:lnTo>
                    <a:lnTo>
                      <a:pt x="521" y="967"/>
                    </a:lnTo>
                    <a:lnTo>
                      <a:pt x="538" y="969"/>
                    </a:lnTo>
                    <a:lnTo>
                      <a:pt x="557" y="969"/>
                    </a:lnTo>
                    <a:lnTo>
                      <a:pt x="573" y="973"/>
                    </a:lnTo>
                    <a:lnTo>
                      <a:pt x="580" y="979"/>
                    </a:lnTo>
                    <a:lnTo>
                      <a:pt x="582" y="983"/>
                    </a:lnTo>
                    <a:lnTo>
                      <a:pt x="589" y="991"/>
                    </a:lnTo>
                    <a:lnTo>
                      <a:pt x="597" y="995"/>
                    </a:lnTo>
                    <a:lnTo>
                      <a:pt x="635" y="1005"/>
                    </a:lnTo>
                    <a:lnTo>
                      <a:pt x="651" y="1020"/>
                    </a:lnTo>
                    <a:lnTo>
                      <a:pt x="656" y="1023"/>
                    </a:lnTo>
                    <a:lnTo>
                      <a:pt x="666" y="1023"/>
                    </a:lnTo>
                    <a:lnTo>
                      <a:pt x="675" y="1021"/>
                    </a:lnTo>
                    <a:lnTo>
                      <a:pt x="680" y="1021"/>
                    </a:lnTo>
                    <a:lnTo>
                      <a:pt x="693" y="1023"/>
                    </a:lnTo>
                    <a:lnTo>
                      <a:pt x="712" y="1034"/>
                    </a:lnTo>
                    <a:lnTo>
                      <a:pt x="720" y="1039"/>
                    </a:lnTo>
                    <a:lnTo>
                      <a:pt x="726" y="1050"/>
                    </a:lnTo>
                    <a:lnTo>
                      <a:pt x="731" y="1065"/>
                    </a:lnTo>
                    <a:lnTo>
                      <a:pt x="732" y="1080"/>
                    </a:lnTo>
                    <a:lnTo>
                      <a:pt x="736" y="1088"/>
                    </a:lnTo>
                    <a:lnTo>
                      <a:pt x="739" y="1093"/>
                    </a:lnTo>
                    <a:lnTo>
                      <a:pt x="739" y="1102"/>
                    </a:lnTo>
                    <a:lnTo>
                      <a:pt x="737" y="1119"/>
                    </a:lnTo>
                    <a:lnTo>
                      <a:pt x="729" y="1120"/>
                    </a:lnTo>
                    <a:lnTo>
                      <a:pt x="729" y="1124"/>
                    </a:lnTo>
                    <a:lnTo>
                      <a:pt x="729" y="1129"/>
                    </a:lnTo>
                    <a:lnTo>
                      <a:pt x="736" y="1145"/>
                    </a:lnTo>
                    <a:lnTo>
                      <a:pt x="743" y="1168"/>
                    </a:lnTo>
                    <a:lnTo>
                      <a:pt x="749" y="1181"/>
                    </a:lnTo>
                    <a:lnTo>
                      <a:pt x="764" y="1181"/>
                    </a:lnTo>
                    <a:lnTo>
                      <a:pt x="775" y="1182"/>
                    </a:lnTo>
                    <a:lnTo>
                      <a:pt x="788" y="1182"/>
                    </a:lnTo>
                    <a:lnTo>
                      <a:pt x="793" y="1184"/>
                    </a:lnTo>
                    <a:lnTo>
                      <a:pt x="836" y="1184"/>
                    </a:lnTo>
                    <a:lnTo>
                      <a:pt x="841" y="1185"/>
                    </a:lnTo>
                    <a:lnTo>
                      <a:pt x="844" y="1188"/>
                    </a:lnTo>
                    <a:lnTo>
                      <a:pt x="846" y="1193"/>
                    </a:lnTo>
                    <a:lnTo>
                      <a:pt x="844" y="1203"/>
                    </a:lnTo>
                    <a:lnTo>
                      <a:pt x="841" y="1211"/>
                    </a:lnTo>
                    <a:lnTo>
                      <a:pt x="841" y="1217"/>
                    </a:lnTo>
                    <a:lnTo>
                      <a:pt x="846" y="1237"/>
                    </a:lnTo>
                    <a:lnTo>
                      <a:pt x="863" y="1243"/>
                    </a:lnTo>
                    <a:lnTo>
                      <a:pt x="866" y="1246"/>
                    </a:lnTo>
                    <a:lnTo>
                      <a:pt x="871" y="1260"/>
                    </a:lnTo>
                    <a:lnTo>
                      <a:pt x="881" y="1279"/>
                    </a:lnTo>
                    <a:lnTo>
                      <a:pt x="883" y="1289"/>
                    </a:lnTo>
                    <a:lnTo>
                      <a:pt x="883" y="1312"/>
                    </a:lnTo>
                    <a:lnTo>
                      <a:pt x="882" y="1341"/>
                    </a:lnTo>
                    <a:lnTo>
                      <a:pt x="881" y="1345"/>
                    </a:lnTo>
                    <a:lnTo>
                      <a:pt x="876" y="1356"/>
                    </a:lnTo>
                    <a:lnTo>
                      <a:pt x="871" y="1367"/>
                    </a:lnTo>
                    <a:lnTo>
                      <a:pt x="869" y="1373"/>
                    </a:lnTo>
                    <a:lnTo>
                      <a:pt x="869" y="1381"/>
                    </a:lnTo>
                    <a:lnTo>
                      <a:pt x="871" y="1386"/>
                    </a:lnTo>
                    <a:lnTo>
                      <a:pt x="872" y="1398"/>
                    </a:lnTo>
                    <a:lnTo>
                      <a:pt x="871" y="1399"/>
                    </a:lnTo>
                    <a:lnTo>
                      <a:pt x="863" y="1402"/>
                    </a:lnTo>
                    <a:lnTo>
                      <a:pt x="862" y="1403"/>
                    </a:lnTo>
                    <a:lnTo>
                      <a:pt x="861" y="1408"/>
                    </a:lnTo>
                    <a:lnTo>
                      <a:pt x="861" y="1410"/>
                    </a:lnTo>
                    <a:lnTo>
                      <a:pt x="868" y="1424"/>
                    </a:lnTo>
                    <a:lnTo>
                      <a:pt x="869" y="1426"/>
                    </a:lnTo>
                    <a:lnTo>
                      <a:pt x="871" y="1474"/>
                    </a:lnTo>
                    <a:lnTo>
                      <a:pt x="869" y="1507"/>
                    </a:lnTo>
                    <a:lnTo>
                      <a:pt x="873" y="1516"/>
                    </a:lnTo>
                    <a:lnTo>
                      <a:pt x="879" y="1518"/>
                    </a:lnTo>
                    <a:lnTo>
                      <a:pt x="894" y="1522"/>
                    </a:lnTo>
                    <a:lnTo>
                      <a:pt x="901" y="1526"/>
                    </a:lnTo>
                    <a:lnTo>
                      <a:pt x="919" y="1528"/>
                    </a:lnTo>
                    <a:lnTo>
                      <a:pt x="931" y="1528"/>
                    </a:lnTo>
                    <a:lnTo>
                      <a:pt x="943" y="1527"/>
                    </a:lnTo>
                    <a:lnTo>
                      <a:pt x="948" y="1524"/>
                    </a:lnTo>
                    <a:lnTo>
                      <a:pt x="957" y="1521"/>
                    </a:lnTo>
                    <a:lnTo>
                      <a:pt x="963" y="1526"/>
                    </a:lnTo>
                    <a:lnTo>
                      <a:pt x="986" y="1533"/>
                    </a:lnTo>
                    <a:lnTo>
                      <a:pt x="992" y="1542"/>
                    </a:lnTo>
                    <a:lnTo>
                      <a:pt x="994" y="1548"/>
                    </a:lnTo>
                    <a:lnTo>
                      <a:pt x="996" y="1571"/>
                    </a:lnTo>
                    <a:lnTo>
                      <a:pt x="1000" y="1583"/>
                    </a:lnTo>
                    <a:lnTo>
                      <a:pt x="998" y="1608"/>
                    </a:lnTo>
                    <a:lnTo>
                      <a:pt x="1000" y="1613"/>
                    </a:lnTo>
                    <a:lnTo>
                      <a:pt x="1006" y="1620"/>
                    </a:lnTo>
                    <a:lnTo>
                      <a:pt x="1013" y="1625"/>
                    </a:lnTo>
                    <a:lnTo>
                      <a:pt x="1019" y="1628"/>
                    </a:lnTo>
                    <a:lnTo>
                      <a:pt x="1029" y="1628"/>
                    </a:lnTo>
                    <a:lnTo>
                      <a:pt x="1035" y="1625"/>
                    </a:lnTo>
                    <a:lnTo>
                      <a:pt x="1048" y="1625"/>
                    </a:lnTo>
                    <a:lnTo>
                      <a:pt x="1057" y="1623"/>
                    </a:lnTo>
                    <a:lnTo>
                      <a:pt x="1062" y="1628"/>
                    </a:lnTo>
                    <a:lnTo>
                      <a:pt x="1067" y="1636"/>
                    </a:lnTo>
                    <a:lnTo>
                      <a:pt x="1067" y="1661"/>
                    </a:lnTo>
                    <a:lnTo>
                      <a:pt x="1066" y="1664"/>
                    </a:lnTo>
                    <a:lnTo>
                      <a:pt x="1062" y="1680"/>
                    </a:lnTo>
                    <a:lnTo>
                      <a:pt x="1059" y="1706"/>
                    </a:lnTo>
                    <a:lnTo>
                      <a:pt x="1057" y="1726"/>
                    </a:lnTo>
                    <a:lnTo>
                      <a:pt x="1066" y="1726"/>
                    </a:lnTo>
                    <a:lnTo>
                      <a:pt x="1070" y="1725"/>
                    </a:lnTo>
                    <a:lnTo>
                      <a:pt x="1084" y="1725"/>
                    </a:lnTo>
                    <a:lnTo>
                      <a:pt x="1091" y="1732"/>
                    </a:lnTo>
                    <a:lnTo>
                      <a:pt x="1103" y="1771"/>
                    </a:lnTo>
                    <a:lnTo>
                      <a:pt x="1103" y="1803"/>
                    </a:lnTo>
                    <a:lnTo>
                      <a:pt x="1102" y="1814"/>
                    </a:lnTo>
                    <a:lnTo>
                      <a:pt x="1099" y="1818"/>
                    </a:lnTo>
                    <a:lnTo>
                      <a:pt x="1097" y="1822"/>
                    </a:lnTo>
                    <a:lnTo>
                      <a:pt x="1073" y="1838"/>
                    </a:lnTo>
                    <a:lnTo>
                      <a:pt x="1066" y="1840"/>
                    </a:lnTo>
                    <a:lnTo>
                      <a:pt x="1054" y="1841"/>
                    </a:lnTo>
                    <a:lnTo>
                      <a:pt x="1046" y="1845"/>
                    </a:lnTo>
                    <a:lnTo>
                      <a:pt x="1037" y="1857"/>
                    </a:lnTo>
                    <a:lnTo>
                      <a:pt x="1028" y="1867"/>
                    </a:lnTo>
                    <a:lnTo>
                      <a:pt x="984" y="1905"/>
                    </a:lnTo>
                    <a:lnTo>
                      <a:pt x="982" y="1909"/>
                    </a:lnTo>
                    <a:lnTo>
                      <a:pt x="978" y="1916"/>
                    </a:lnTo>
                    <a:lnTo>
                      <a:pt x="958" y="1941"/>
                    </a:lnTo>
                    <a:lnTo>
                      <a:pt x="955" y="1947"/>
                    </a:lnTo>
                    <a:lnTo>
                      <a:pt x="937" y="1968"/>
                    </a:lnTo>
                    <a:lnTo>
                      <a:pt x="922" y="1980"/>
                    </a:lnTo>
                    <a:lnTo>
                      <a:pt x="915" y="1989"/>
                    </a:lnTo>
                    <a:lnTo>
                      <a:pt x="906" y="1995"/>
                    </a:lnTo>
                    <a:lnTo>
                      <a:pt x="904" y="2000"/>
                    </a:lnTo>
                    <a:lnTo>
                      <a:pt x="895" y="2010"/>
                    </a:lnTo>
                    <a:lnTo>
                      <a:pt x="885" y="2015"/>
                    </a:lnTo>
                    <a:lnTo>
                      <a:pt x="904" y="2017"/>
                    </a:lnTo>
                    <a:lnTo>
                      <a:pt x="911" y="2013"/>
                    </a:lnTo>
                    <a:lnTo>
                      <a:pt x="915" y="2007"/>
                    </a:lnTo>
                    <a:lnTo>
                      <a:pt x="920" y="2005"/>
                    </a:lnTo>
                    <a:lnTo>
                      <a:pt x="925" y="2005"/>
                    </a:lnTo>
                    <a:lnTo>
                      <a:pt x="931" y="2007"/>
                    </a:lnTo>
                    <a:lnTo>
                      <a:pt x="943" y="2017"/>
                    </a:lnTo>
                    <a:lnTo>
                      <a:pt x="948" y="2022"/>
                    </a:lnTo>
                    <a:lnTo>
                      <a:pt x="959" y="2032"/>
                    </a:lnTo>
                    <a:lnTo>
                      <a:pt x="968" y="2040"/>
                    </a:lnTo>
                    <a:lnTo>
                      <a:pt x="973" y="2055"/>
                    </a:lnTo>
                    <a:lnTo>
                      <a:pt x="974" y="2064"/>
                    </a:lnTo>
                    <a:lnTo>
                      <a:pt x="982" y="2065"/>
                    </a:lnTo>
                    <a:lnTo>
                      <a:pt x="986" y="2064"/>
                    </a:lnTo>
                    <a:lnTo>
                      <a:pt x="1000" y="2053"/>
                    </a:lnTo>
                    <a:lnTo>
                      <a:pt x="1005" y="2056"/>
                    </a:lnTo>
                    <a:lnTo>
                      <a:pt x="1006" y="2060"/>
                    </a:lnTo>
                    <a:lnTo>
                      <a:pt x="1011" y="2070"/>
                    </a:lnTo>
                    <a:lnTo>
                      <a:pt x="1018" y="2078"/>
                    </a:lnTo>
                    <a:lnTo>
                      <a:pt x="1021" y="2081"/>
                    </a:lnTo>
                    <a:lnTo>
                      <a:pt x="1025" y="2082"/>
                    </a:lnTo>
                    <a:lnTo>
                      <a:pt x="1033" y="2082"/>
                    </a:lnTo>
                    <a:lnTo>
                      <a:pt x="1040" y="2091"/>
                    </a:lnTo>
                    <a:lnTo>
                      <a:pt x="1052" y="2092"/>
                    </a:lnTo>
                    <a:lnTo>
                      <a:pt x="1055" y="2096"/>
                    </a:lnTo>
                    <a:lnTo>
                      <a:pt x="1062" y="2107"/>
                    </a:lnTo>
                    <a:lnTo>
                      <a:pt x="1068" y="2112"/>
                    </a:lnTo>
                    <a:lnTo>
                      <a:pt x="1077" y="2117"/>
                    </a:lnTo>
                    <a:lnTo>
                      <a:pt x="1082" y="2118"/>
                    </a:lnTo>
                    <a:lnTo>
                      <a:pt x="1097" y="2125"/>
                    </a:lnTo>
                    <a:lnTo>
                      <a:pt x="1100" y="2131"/>
                    </a:lnTo>
                    <a:lnTo>
                      <a:pt x="1104" y="2150"/>
                    </a:lnTo>
                    <a:lnTo>
                      <a:pt x="1107" y="2153"/>
                    </a:lnTo>
                    <a:lnTo>
                      <a:pt x="1127" y="2168"/>
                    </a:lnTo>
                    <a:lnTo>
                      <a:pt x="1132" y="2177"/>
                    </a:lnTo>
                    <a:lnTo>
                      <a:pt x="1131" y="2179"/>
                    </a:lnTo>
                    <a:lnTo>
                      <a:pt x="1126" y="2180"/>
                    </a:lnTo>
                    <a:lnTo>
                      <a:pt x="1124" y="2188"/>
                    </a:lnTo>
                    <a:lnTo>
                      <a:pt x="1121" y="2189"/>
                    </a:lnTo>
                    <a:lnTo>
                      <a:pt x="1116" y="2196"/>
                    </a:lnTo>
                    <a:lnTo>
                      <a:pt x="1114" y="2204"/>
                    </a:lnTo>
                    <a:lnTo>
                      <a:pt x="1114" y="2220"/>
                    </a:lnTo>
                    <a:lnTo>
                      <a:pt x="1111" y="2234"/>
                    </a:lnTo>
                    <a:lnTo>
                      <a:pt x="1113" y="2236"/>
                    </a:lnTo>
                    <a:lnTo>
                      <a:pt x="1116" y="2241"/>
                    </a:lnTo>
                    <a:lnTo>
                      <a:pt x="1116" y="2237"/>
                    </a:lnTo>
                    <a:lnTo>
                      <a:pt x="1121" y="2232"/>
                    </a:lnTo>
                    <a:lnTo>
                      <a:pt x="1130" y="2227"/>
                    </a:lnTo>
                    <a:lnTo>
                      <a:pt x="1145" y="2215"/>
                    </a:lnTo>
                    <a:lnTo>
                      <a:pt x="1156" y="2196"/>
                    </a:lnTo>
                    <a:lnTo>
                      <a:pt x="1167" y="2184"/>
                    </a:lnTo>
                    <a:lnTo>
                      <a:pt x="1173" y="2156"/>
                    </a:lnTo>
                    <a:lnTo>
                      <a:pt x="1178" y="2148"/>
                    </a:lnTo>
                    <a:lnTo>
                      <a:pt x="1193" y="2132"/>
                    </a:lnTo>
                    <a:lnTo>
                      <a:pt x="1199" y="2129"/>
                    </a:lnTo>
                    <a:lnTo>
                      <a:pt x="1221" y="2112"/>
                    </a:lnTo>
                    <a:lnTo>
                      <a:pt x="1229" y="2108"/>
                    </a:lnTo>
                    <a:lnTo>
                      <a:pt x="1238" y="2102"/>
                    </a:lnTo>
                    <a:lnTo>
                      <a:pt x="1244" y="2096"/>
                    </a:lnTo>
                    <a:lnTo>
                      <a:pt x="1247" y="2088"/>
                    </a:lnTo>
                    <a:lnTo>
                      <a:pt x="1253" y="2078"/>
                    </a:lnTo>
                    <a:lnTo>
                      <a:pt x="1267" y="2059"/>
                    </a:lnTo>
                    <a:lnTo>
                      <a:pt x="1275" y="2045"/>
                    </a:lnTo>
                    <a:lnTo>
                      <a:pt x="1286" y="2032"/>
                    </a:lnTo>
                    <a:lnTo>
                      <a:pt x="1291" y="2010"/>
                    </a:lnTo>
                    <a:lnTo>
                      <a:pt x="1303" y="1981"/>
                    </a:lnTo>
                    <a:lnTo>
                      <a:pt x="1309" y="1973"/>
                    </a:lnTo>
                    <a:lnTo>
                      <a:pt x="1314" y="1963"/>
                    </a:lnTo>
                    <a:lnTo>
                      <a:pt x="1318" y="1956"/>
                    </a:lnTo>
                    <a:lnTo>
                      <a:pt x="1324" y="1951"/>
                    </a:lnTo>
                    <a:lnTo>
                      <a:pt x="1339" y="1930"/>
                    </a:lnTo>
                    <a:lnTo>
                      <a:pt x="1346" y="1922"/>
                    </a:lnTo>
                    <a:lnTo>
                      <a:pt x="1352" y="1919"/>
                    </a:lnTo>
                    <a:lnTo>
                      <a:pt x="1363" y="1915"/>
                    </a:lnTo>
                    <a:lnTo>
                      <a:pt x="1368" y="1902"/>
                    </a:lnTo>
                    <a:lnTo>
                      <a:pt x="1377" y="1895"/>
                    </a:lnTo>
                    <a:lnTo>
                      <a:pt x="1380" y="1873"/>
                    </a:lnTo>
                    <a:lnTo>
                      <a:pt x="1382" y="1834"/>
                    </a:lnTo>
                    <a:lnTo>
                      <a:pt x="1384" y="1829"/>
                    </a:lnTo>
                    <a:lnTo>
                      <a:pt x="1390" y="1829"/>
                    </a:lnTo>
                    <a:lnTo>
                      <a:pt x="1392" y="1825"/>
                    </a:lnTo>
                    <a:lnTo>
                      <a:pt x="1389" y="1820"/>
                    </a:lnTo>
                    <a:lnTo>
                      <a:pt x="1382" y="1813"/>
                    </a:lnTo>
                    <a:lnTo>
                      <a:pt x="1380" y="1809"/>
                    </a:lnTo>
                    <a:lnTo>
                      <a:pt x="1380" y="1795"/>
                    </a:lnTo>
                    <a:lnTo>
                      <a:pt x="1378" y="1792"/>
                    </a:lnTo>
                    <a:lnTo>
                      <a:pt x="1378" y="1777"/>
                    </a:lnTo>
                    <a:lnTo>
                      <a:pt x="1376" y="1769"/>
                    </a:lnTo>
                    <a:lnTo>
                      <a:pt x="1376" y="1762"/>
                    </a:lnTo>
                    <a:lnTo>
                      <a:pt x="1378" y="1758"/>
                    </a:lnTo>
                    <a:lnTo>
                      <a:pt x="1380" y="1752"/>
                    </a:lnTo>
                    <a:lnTo>
                      <a:pt x="1380" y="1742"/>
                    </a:lnTo>
                    <a:lnTo>
                      <a:pt x="1390" y="1726"/>
                    </a:lnTo>
                    <a:lnTo>
                      <a:pt x="1395" y="1719"/>
                    </a:lnTo>
                    <a:lnTo>
                      <a:pt x="1409" y="1706"/>
                    </a:lnTo>
                    <a:lnTo>
                      <a:pt x="1428" y="1684"/>
                    </a:lnTo>
                    <a:lnTo>
                      <a:pt x="1431" y="1684"/>
                    </a:lnTo>
                    <a:lnTo>
                      <a:pt x="1436" y="1680"/>
                    </a:lnTo>
                    <a:lnTo>
                      <a:pt x="1446" y="1672"/>
                    </a:lnTo>
                    <a:lnTo>
                      <a:pt x="1459" y="1662"/>
                    </a:lnTo>
                    <a:lnTo>
                      <a:pt x="1464" y="1656"/>
                    </a:lnTo>
                    <a:lnTo>
                      <a:pt x="1474" y="1650"/>
                    </a:lnTo>
                    <a:lnTo>
                      <a:pt x="1487" y="1636"/>
                    </a:lnTo>
                    <a:lnTo>
                      <a:pt x="1501" y="1628"/>
                    </a:lnTo>
                    <a:lnTo>
                      <a:pt x="1511" y="1628"/>
                    </a:lnTo>
                    <a:lnTo>
                      <a:pt x="1516" y="1625"/>
                    </a:lnTo>
                    <a:lnTo>
                      <a:pt x="1522" y="1618"/>
                    </a:lnTo>
                    <a:lnTo>
                      <a:pt x="1533" y="1614"/>
                    </a:lnTo>
                    <a:lnTo>
                      <a:pt x="1550" y="1614"/>
                    </a:lnTo>
                    <a:lnTo>
                      <a:pt x="1561" y="1606"/>
                    </a:lnTo>
                    <a:lnTo>
                      <a:pt x="1565" y="1604"/>
                    </a:lnTo>
                    <a:lnTo>
                      <a:pt x="1573" y="1593"/>
                    </a:lnTo>
                    <a:lnTo>
                      <a:pt x="1578" y="1591"/>
                    </a:lnTo>
                    <a:lnTo>
                      <a:pt x="1591" y="1588"/>
                    </a:lnTo>
                    <a:lnTo>
                      <a:pt x="1598" y="1588"/>
                    </a:lnTo>
                    <a:lnTo>
                      <a:pt x="1600" y="1585"/>
                    </a:lnTo>
                    <a:lnTo>
                      <a:pt x="1600" y="1581"/>
                    </a:lnTo>
                    <a:lnTo>
                      <a:pt x="1597" y="1579"/>
                    </a:lnTo>
                    <a:lnTo>
                      <a:pt x="1597" y="1576"/>
                    </a:lnTo>
                    <a:lnTo>
                      <a:pt x="1605" y="1569"/>
                    </a:lnTo>
                    <a:lnTo>
                      <a:pt x="1608" y="1569"/>
                    </a:lnTo>
                    <a:lnTo>
                      <a:pt x="1608" y="1567"/>
                    </a:lnTo>
                    <a:lnTo>
                      <a:pt x="1609" y="1571"/>
                    </a:lnTo>
                    <a:lnTo>
                      <a:pt x="1615" y="1572"/>
                    </a:lnTo>
                    <a:lnTo>
                      <a:pt x="1638" y="1566"/>
                    </a:lnTo>
                    <a:lnTo>
                      <a:pt x="1643" y="1566"/>
                    </a:lnTo>
                    <a:lnTo>
                      <a:pt x="1647" y="1569"/>
                    </a:lnTo>
                    <a:lnTo>
                      <a:pt x="1657" y="1570"/>
                    </a:lnTo>
                    <a:lnTo>
                      <a:pt x="1673" y="1564"/>
                    </a:lnTo>
                    <a:lnTo>
                      <a:pt x="1680" y="1564"/>
                    </a:lnTo>
                    <a:lnTo>
                      <a:pt x="1686" y="1566"/>
                    </a:lnTo>
                    <a:lnTo>
                      <a:pt x="1697" y="1567"/>
                    </a:lnTo>
                    <a:lnTo>
                      <a:pt x="1708" y="1567"/>
                    </a:lnTo>
                    <a:lnTo>
                      <a:pt x="1732" y="1564"/>
                    </a:lnTo>
                    <a:lnTo>
                      <a:pt x="1736" y="1563"/>
                    </a:lnTo>
                    <a:lnTo>
                      <a:pt x="1740" y="1554"/>
                    </a:lnTo>
                    <a:lnTo>
                      <a:pt x="1743" y="1542"/>
                    </a:lnTo>
                    <a:lnTo>
                      <a:pt x="1751" y="1533"/>
                    </a:lnTo>
                    <a:lnTo>
                      <a:pt x="1759" y="1529"/>
                    </a:lnTo>
                    <a:lnTo>
                      <a:pt x="1778" y="1521"/>
                    </a:lnTo>
                    <a:lnTo>
                      <a:pt x="1787" y="1512"/>
                    </a:lnTo>
                    <a:lnTo>
                      <a:pt x="1791" y="1505"/>
                    </a:lnTo>
                    <a:lnTo>
                      <a:pt x="1792" y="1497"/>
                    </a:lnTo>
                    <a:lnTo>
                      <a:pt x="1793" y="1483"/>
                    </a:lnTo>
                    <a:lnTo>
                      <a:pt x="1796" y="1469"/>
                    </a:lnTo>
                    <a:lnTo>
                      <a:pt x="1808" y="1452"/>
                    </a:lnTo>
                    <a:lnTo>
                      <a:pt x="1825" y="1431"/>
                    </a:lnTo>
                    <a:lnTo>
                      <a:pt x="1834" y="1416"/>
                    </a:lnTo>
                    <a:lnTo>
                      <a:pt x="1845" y="1388"/>
                    </a:lnTo>
                    <a:lnTo>
                      <a:pt x="1858" y="1373"/>
                    </a:lnTo>
                    <a:lnTo>
                      <a:pt x="1864" y="1365"/>
                    </a:lnTo>
                    <a:lnTo>
                      <a:pt x="1867" y="1335"/>
                    </a:lnTo>
                    <a:lnTo>
                      <a:pt x="1867" y="1318"/>
                    </a:lnTo>
                    <a:lnTo>
                      <a:pt x="1868" y="1305"/>
                    </a:lnTo>
                    <a:lnTo>
                      <a:pt x="1872" y="1291"/>
                    </a:lnTo>
                    <a:lnTo>
                      <a:pt x="1878" y="1282"/>
                    </a:lnTo>
                    <a:lnTo>
                      <a:pt x="1890" y="1268"/>
                    </a:lnTo>
                    <a:lnTo>
                      <a:pt x="1894" y="1260"/>
                    </a:lnTo>
                    <a:lnTo>
                      <a:pt x="1894" y="1244"/>
                    </a:lnTo>
                    <a:lnTo>
                      <a:pt x="1898" y="1206"/>
                    </a:lnTo>
                    <a:lnTo>
                      <a:pt x="1900" y="1199"/>
                    </a:lnTo>
                    <a:lnTo>
                      <a:pt x="1904" y="1173"/>
                    </a:lnTo>
                    <a:lnTo>
                      <a:pt x="1907" y="1156"/>
                    </a:lnTo>
                    <a:lnTo>
                      <a:pt x="1906" y="1144"/>
                    </a:lnTo>
                    <a:lnTo>
                      <a:pt x="1904" y="1134"/>
                    </a:lnTo>
                    <a:lnTo>
                      <a:pt x="1904" y="1111"/>
                    </a:lnTo>
                    <a:lnTo>
                      <a:pt x="1901" y="1102"/>
                    </a:lnTo>
                    <a:lnTo>
                      <a:pt x="1901" y="1080"/>
                    </a:lnTo>
                    <a:lnTo>
                      <a:pt x="1904" y="1052"/>
                    </a:lnTo>
                    <a:lnTo>
                      <a:pt x="1907" y="1034"/>
                    </a:lnTo>
                    <a:lnTo>
                      <a:pt x="1907" y="1022"/>
                    </a:lnTo>
                    <a:lnTo>
                      <a:pt x="1910" y="1009"/>
                    </a:lnTo>
                    <a:lnTo>
                      <a:pt x="1911" y="1006"/>
                    </a:lnTo>
                    <a:lnTo>
                      <a:pt x="1922" y="995"/>
                    </a:lnTo>
                    <a:lnTo>
                      <a:pt x="1926" y="995"/>
                    </a:lnTo>
                    <a:lnTo>
                      <a:pt x="1935" y="998"/>
                    </a:lnTo>
                    <a:lnTo>
                      <a:pt x="1937" y="998"/>
                    </a:lnTo>
                    <a:lnTo>
                      <a:pt x="1952" y="984"/>
                    </a:lnTo>
                    <a:lnTo>
                      <a:pt x="1963" y="969"/>
                    </a:lnTo>
                    <a:lnTo>
                      <a:pt x="1975" y="947"/>
                    </a:lnTo>
                    <a:lnTo>
                      <a:pt x="1981" y="929"/>
                    </a:lnTo>
                    <a:lnTo>
                      <a:pt x="1989" y="914"/>
                    </a:lnTo>
                    <a:lnTo>
                      <a:pt x="1997" y="902"/>
                    </a:lnTo>
                    <a:lnTo>
                      <a:pt x="2013" y="889"/>
                    </a:lnTo>
                    <a:lnTo>
                      <a:pt x="2018" y="881"/>
                    </a:lnTo>
                    <a:lnTo>
                      <a:pt x="2028" y="871"/>
                    </a:lnTo>
                    <a:lnTo>
                      <a:pt x="2049" y="860"/>
                    </a:lnTo>
                    <a:lnTo>
                      <a:pt x="2055" y="853"/>
                    </a:lnTo>
                    <a:lnTo>
                      <a:pt x="2063" y="840"/>
                    </a:lnTo>
                    <a:lnTo>
                      <a:pt x="2076" y="824"/>
                    </a:lnTo>
                    <a:lnTo>
                      <a:pt x="2094" y="805"/>
                    </a:lnTo>
                    <a:lnTo>
                      <a:pt x="2111" y="779"/>
                    </a:lnTo>
                    <a:lnTo>
                      <a:pt x="2115" y="776"/>
                    </a:lnTo>
                    <a:lnTo>
                      <a:pt x="2120" y="767"/>
                    </a:lnTo>
                    <a:lnTo>
                      <a:pt x="2120" y="767"/>
                    </a:lnTo>
                    <a:lnTo>
                      <a:pt x="2130" y="724"/>
                    </a:lnTo>
                    <a:lnTo>
                      <a:pt x="2132" y="709"/>
                    </a:lnTo>
                    <a:lnTo>
                      <a:pt x="2135" y="673"/>
                    </a:lnTo>
                    <a:lnTo>
                      <a:pt x="2135" y="650"/>
                    </a:lnTo>
                    <a:lnTo>
                      <a:pt x="2126" y="629"/>
                    </a:lnTo>
                    <a:lnTo>
                      <a:pt x="2120" y="597"/>
                    </a:lnTo>
                    <a:lnTo>
                      <a:pt x="2111" y="582"/>
                    </a:lnTo>
                    <a:lnTo>
                      <a:pt x="2102" y="570"/>
                    </a:lnTo>
                    <a:lnTo>
                      <a:pt x="2093" y="565"/>
                    </a:lnTo>
                    <a:lnTo>
                      <a:pt x="2046" y="565"/>
                    </a:lnTo>
                    <a:lnTo>
                      <a:pt x="2040" y="565"/>
                    </a:lnTo>
                    <a:lnTo>
                      <a:pt x="2034" y="564"/>
                    </a:lnTo>
                    <a:lnTo>
                      <a:pt x="2030" y="560"/>
                    </a:lnTo>
                    <a:lnTo>
                      <a:pt x="2022" y="558"/>
                    </a:lnTo>
                    <a:lnTo>
                      <a:pt x="2014" y="558"/>
                    </a:lnTo>
                    <a:lnTo>
                      <a:pt x="2009" y="550"/>
                    </a:lnTo>
                    <a:lnTo>
                      <a:pt x="2000" y="542"/>
                    </a:lnTo>
                    <a:lnTo>
                      <a:pt x="1993" y="538"/>
                    </a:lnTo>
                    <a:lnTo>
                      <a:pt x="1985" y="534"/>
                    </a:lnTo>
                    <a:lnTo>
                      <a:pt x="1971" y="526"/>
                    </a:lnTo>
                    <a:lnTo>
                      <a:pt x="1942" y="496"/>
                    </a:lnTo>
                    <a:lnTo>
                      <a:pt x="1930" y="485"/>
                    </a:lnTo>
                    <a:lnTo>
                      <a:pt x="1915" y="474"/>
                    </a:lnTo>
                    <a:lnTo>
                      <a:pt x="1896" y="463"/>
                    </a:lnTo>
                    <a:lnTo>
                      <a:pt x="1883" y="455"/>
                    </a:lnTo>
                    <a:lnTo>
                      <a:pt x="1872" y="448"/>
                    </a:lnTo>
                    <a:lnTo>
                      <a:pt x="1860" y="445"/>
                    </a:lnTo>
                    <a:lnTo>
                      <a:pt x="1808" y="444"/>
                    </a:lnTo>
                    <a:lnTo>
                      <a:pt x="1799" y="445"/>
                    </a:lnTo>
                    <a:lnTo>
                      <a:pt x="1790" y="445"/>
                    </a:lnTo>
                    <a:lnTo>
                      <a:pt x="1760" y="444"/>
                    </a:lnTo>
                    <a:lnTo>
                      <a:pt x="1751" y="442"/>
                    </a:lnTo>
                    <a:lnTo>
                      <a:pt x="1731" y="437"/>
                    </a:lnTo>
                    <a:lnTo>
                      <a:pt x="1678" y="420"/>
                    </a:lnTo>
                    <a:lnTo>
                      <a:pt x="1668" y="420"/>
                    </a:lnTo>
                    <a:lnTo>
                      <a:pt x="1665" y="420"/>
                    </a:lnTo>
                    <a:lnTo>
                      <a:pt x="1659" y="413"/>
                    </a:lnTo>
                    <a:lnTo>
                      <a:pt x="1652" y="417"/>
                    </a:lnTo>
                    <a:lnTo>
                      <a:pt x="1645" y="423"/>
                    </a:lnTo>
                    <a:lnTo>
                      <a:pt x="1636" y="426"/>
                    </a:lnTo>
                    <a:lnTo>
                      <a:pt x="1620" y="433"/>
                    </a:lnTo>
                    <a:lnTo>
                      <a:pt x="1611" y="434"/>
                    </a:lnTo>
                    <a:lnTo>
                      <a:pt x="1610" y="428"/>
                    </a:lnTo>
                    <a:lnTo>
                      <a:pt x="1613" y="421"/>
                    </a:lnTo>
                    <a:lnTo>
                      <a:pt x="1619" y="415"/>
                    </a:lnTo>
                    <a:lnTo>
                      <a:pt x="1619" y="410"/>
                    </a:lnTo>
                    <a:lnTo>
                      <a:pt x="1616" y="405"/>
                    </a:lnTo>
                    <a:lnTo>
                      <a:pt x="1611" y="403"/>
                    </a:lnTo>
                    <a:lnTo>
                      <a:pt x="1609" y="403"/>
                    </a:lnTo>
                    <a:lnTo>
                      <a:pt x="1605" y="404"/>
                    </a:lnTo>
                    <a:lnTo>
                      <a:pt x="1602" y="404"/>
                    </a:lnTo>
                    <a:lnTo>
                      <a:pt x="1600" y="403"/>
                    </a:lnTo>
                    <a:lnTo>
                      <a:pt x="1600" y="399"/>
                    </a:lnTo>
                    <a:lnTo>
                      <a:pt x="1604" y="397"/>
                    </a:lnTo>
                    <a:lnTo>
                      <a:pt x="1605" y="387"/>
                    </a:lnTo>
                    <a:lnTo>
                      <a:pt x="1598" y="375"/>
                    </a:lnTo>
                    <a:lnTo>
                      <a:pt x="1587" y="366"/>
                    </a:lnTo>
                    <a:lnTo>
                      <a:pt x="1582" y="367"/>
                    </a:lnTo>
                    <a:lnTo>
                      <a:pt x="1576" y="370"/>
                    </a:lnTo>
                    <a:lnTo>
                      <a:pt x="1570" y="375"/>
                    </a:lnTo>
                    <a:lnTo>
                      <a:pt x="1564" y="378"/>
                    </a:lnTo>
                    <a:lnTo>
                      <a:pt x="1564" y="369"/>
                    </a:lnTo>
                    <a:lnTo>
                      <a:pt x="1561" y="364"/>
                    </a:lnTo>
                    <a:lnTo>
                      <a:pt x="1555" y="355"/>
                    </a:lnTo>
                    <a:lnTo>
                      <a:pt x="1543" y="353"/>
                    </a:lnTo>
                    <a:lnTo>
                      <a:pt x="1533" y="347"/>
                    </a:lnTo>
                    <a:lnTo>
                      <a:pt x="1522" y="345"/>
                    </a:lnTo>
                    <a:lnTo>
                      <a:pt x="1517" y="340"/>
                    </a:lnTo>
                    <a:lnTo>
                      <a:pt x="1502" y="340"/>
                    </a:lnTo>
                    <a:lnTo>
                      <a:pt x="1497" y="339"/>
                    </a:lnTo>
                    <a:lnTo>
                      <a:pt x="1465" y="322"/>
                    </a:lnTo>
                    <a:lnTo>
                      <a:pt x="1454" y="318"/>
                    </a:lnTo>
                    <a:lnTo>
                      <a:pt x="1425" y="320"/>
                    </a:lnTo>
                    <a:lnTo>
                      <a:pt x="1416" y="324"/>
                    </a:lnTo>
                    <a:lnTo>
                      <a:pt x="1409" y="339"/>
                    </a:lnTo>
                    <a:lnTo>
                      <a:pt x="1403" y="342"/>
                    </a:lnTo>
                    <a:lnTo>
                      <a:pt x="1399" y="350"/>
                    </a:lnTo>
                    <a:lnTo>
                      <a:pt x="1396" y="359"/>
                    </a:lnTo>
                    <a:lnTo>
                      <a:pt x="1392" y="366"/>
                    </a:lnTo>
                    <a:lnTo>
                      <a:pt x="1383" y="366"/>
                    </a:lnTo>
                    <a:lnTo>
                      <a:pt x="1374" y="370"/>
                    </a:lnTo>
                    <a:lnTo>
                      <a:pt x="1371" y="371"/>
                    </a:lnTo>
                    <a:lnTo>
                      <a:pt x="1365" y="376"/>
                    </a:lnTo>
                    <a:lnTo>
                      <a:pt x="1358" y="396"/>
                    </a:lnTo>
                    <a:lnTo>
                      <a:pt x="1355" y="403"/>
                    </a:lnTo>
                    <a:lnTo>
                      <a:pt x="1352" y="404"/>
                    </a:lnTo>
                    <a:lnTo>
                      <a:pt x="1351" y="408"/>
                    </a:lnTo>
                    <a:lnTo>
                      <a:pt x="1349" y="418"/>
                    </a:lnTo>
                    <a:lnTo>
                      <a:pt x="1344" y="419"/>
                    </a:lnTo>
                    <a:lnTo>
                      <a:pt x="1344" y="419"/>
                    </a:lnTo>
                    <a:lnTo>
                      <a:pt x="1341" y="412"/>
                    </a:lnTo>
                    <a:lnTo>
                      <a:pt x="1341" y="401"/>
                    </a:lnTo>
                    <a:lnTo>
                      <a:pt x="1345" y="386"/>
                    </a:lnTo>
                    <a:lnTo>
                      <a:pt x="1342" y="386"/>
                    </a:lnTo>
                    <a:lnTo>
                      <a:pt x="1334" y="386"/>
                    </a:lnTo>
                    <a:lnTo>
                      <a:pt x="1326" y="388"/>
                    </a:lnTo>
                    <a:lnTo>
                      <a:pt x="1319" y="387"/>
                    </a:lnTo>
                    <a:lnTo>
                      <a:pt x="1296" y="388"/>
                    </a:lnTo>
                    <a:lnTo>
                      <a:pt x="1287" y="387"/>
                    </a:lnTo>
                    <a:lnTo>
                      <a:pt x="1286" y="388"/>
                    </a:lnTo>
                    <a:lnTo>
                      <a:pt x="1280" y="388"/>
                    </a:lnTo>
                    <a:lnTo>
                      <a:pt x="1277" y="387"/>
                    </a:lnTo>
                    <a:lnTo>
                      <a:pt x="1271" y="387"/>
                    </a:lnTo>
                    <a:lnTo>
                      <a:pt x="1256" y="392"/>
                    </a:lnTo>
                    <a:lnTo>
                      <a:pt x="1250" y="392"/>
                    </a:lnTo>
                    <a:lnTo>
                      <a:pt x="1238" y="387"/>
                    </a:lnTo>
                    <a:lnTo>
                      <a:pt x="1234" y="387"/>
                    </a:lnTo>
                    <a:lnTo>
                      <a:pt x="1232" y="388"/>
                    </a:lnTo>
                    <a:lnTo>
                      <a:pt x="1229" y="397"/>
                    </a:lnTo>
                    <a:lnTo>
                      <a:pt x="1228" y="399"/>
                    </a:lnTo>
                    <a:lnTo>
                      <a:pt x="1226" y="397"/>
                    </a:lnTo>
                    <a:lnTo>
                      <a:pt x="1224" y="390"/>
                    </a:lnTo>
                    <a:lnTo>
                      <a:pt x="1226" y="387"/>
                    </a:lnTo>
                    <a:lnTo>
                      <a:pt x="1232" y="381"/>
                    </a:lnTo>
                    <a:lnTo>
                      <a:pt x="1238" y="381"/>
                    </a:lnTo>
                    <a:lnTo>
                      <a:pt x="1247" y="385"/>
                    </a:lnTo>
                    <a:lnTo>
                      <a:pt x="1259" y="386"/>
                    </a:lnTo>
                    <a:lnTo>
                      <a:pt x="1269" y="382"/>
                    </a:lnTo>
                    <a:lnTo>
                      <a:pt x="1271" y="380"/>
                    </a:lnTo>
                    <a:lnTo>
                      <a:pt x="1272" y="377"/>
                    </a:lnTo>
                    <a:lnTo>
                      <a:pt x="1272" y="355"/>
                    </a:lnTo>
                    <a:lnTo>
                      <a:pt x="1271" y="353"/>
                    </a:lnTo>
                    <a:lnTo>
                      <a:pt x="1265" y="353"/>
                    </a:lnTo>
                    <a:lnTo>
                      <a:pt x="1264" y="349"/>
                    </a:lnTo>
                    <a:lnTo>
                      <a:pt x="1258" y="345"/>
                    </a:lnTo>
                    <a:lnTo>
                      <a:pt x="1256" y="344"/>
                    </a:lnTo>
                    <a:lnTo>
                      <a:pt x="1256" y="340"/>
                    </a:lnTo>
                    <a:lnTo>
                      <a:pt x="1261" y="339"/>
                    </a:lnTo>
                    <a:lnTo>
                      <a:pt x="1266" y="334"/>
                    </a:lnTo>
                    <a:lnTo>
                      <a:pt x="1267" y="329"/>
                    </a:lnTo>
                    <a:lnTo>
                      <a:pt x="1261" y="329"/>
                    </a:lnTo>
                    <a:lnTo>
                      <a:pt x="1258" y="332"/>
                    </a:lnTo>
                    <a:lnTo>
                      <a:pt x="1254" y="332"/>
                    </a:lnTo>
                    <a:lnTo>
                      <a:pt x="1249" y="340"/>
                    </a:lnTo>
                    <a:lnTo>
                      <a:pt x="1247" y="348"/>
                    </a:lnTo>
                    <a:lnTo>
                      <a:pt x="1236" y="348"/>
                    </a:lnTo>
                    <a:lnTo>
                      <a:pt x="1234" y="345"/>
                    </a:lnTo>
                    <a:lnTo>
                      <a:pt x="1234" y="343"/>
                    </a:lnTo>
                    <a:lnTo>
                      <a:pt x="1234" y="327"/>
                    </a:lnTo>
                    <a:lnTo>
                      <a:pt x="1231" y="317"/>
                    </a:lnTo>
                    <a:lnTo>
                      <a:pt x="1231" y="308"/>
                    </a:lnTo>
                    <a:lnTo>
                      <a:pt x="1232" y="306"/>
                    </a:lnTo>
                    <a:lnTo>
                      <a:pt x="1238" y="299"/>
                    </a:lnTo>
                    <a:lnTo>
                      <a:pt x="1243" y="292"/>
                    </a:lnTo>
                    <a:lnTo>
                      <a:pt x="1253" y="281"/>
                    </a:lnTo>
                    <a:lnTo>
                      <a:pt x="1266" y="267"/>
                    </a:lnTo>
                    <a:lnTo>
                      <a:pt x="1283" y="254"/>
                    </a:lnTo>
                    <a:lnTo>
                      <a:pt x="1291" y="242"/>
                    </a:lnTo>
                    <a:lnTo>
                      <a:pt x="1297" y="238"/>
                    </a:lnTo>
                    <a:lnTo>
                      <a:pt x="1303" y="232"/>
                    </a:lnTo>
                    <a:lnTo>
                      <a:pt x="1306" y="222"/>
                    </a:lnTo>
                    <a:lnTo>
                      <a:pt x="1306" y="218"/>
                    </a:lnTo>
                    <a:lnTo>
                      <a:pt x="1312" y="199"/>
                    </a:lnTo>
                    <a:lnTo>
                      <a:pt x="1312" y="195"/>
                    </a:lnTo>
                    <a:lnTo>
                      <a:pt x="1308" y="192"/>
                    </a:lnTo>
                    <a:lnTo>
                      <a:pt x="1301" y="192"/>
                    </a:lnTo>
                    <a:lnTo>
                      <a:pt x="1285" y="187"/>
                    </a:lnTo>
                    <a:lnTo>
                      <a:pt x="1279" y="175"/>
                    </a:lnTo>
                    <a:lnTo>
                      <a:pt x="1272" y="152"/>
                    </a:lnTo>
                    <a:lnTo>
                      <a:pt x="1271" y="150"/>
                    </a:lnTo>
                    <a:lnTo>
                      <a:pt x="1269" y="138"/>
                    </a:lnTo>
                    <a:lnTo>
                      <a:pt x="1264" y="129"/>
                    </a:lnTo>
                    <a:lnTo>
                      <a:pt x="1260" y="116"/>
                    </a:lnTo>
                    <a:lnTo>
                      <a:pt x="1256" y="105"/>
                    </a:lnTo>
                    <a:lnTo>
                      <a:pt x="1253" y="91"/>
                    </a:lnTo>
                    <a:lnTo>
                      <a:pt x="1253" y="80"/>
                    </a:lnTo>
                    <a:lnTo>
                      <a:pt x="1247" y="69"/>
                    </a:lnTo>
                    <a:lnTo>
                      <a:pt x="1237" y="57"/>
                    </a:lnTo>
                    <a:lnTo>
                      <a:pt x="1232" y="53"/>
                    </a:lnTo>
                    <a:lnTo>
                      <a:pt x="1229" y="54"/>
                    </a:lnTo>
                    <a:lnTo>
                      <a:pt x="1227" y="62"/>
                    </a:lnTo>
                    <a:lnTo>
                      <a:pt x="1222" y="63"/>
                    </a:lnTo>
                    <a:lnTo>
                      <a:pt x="1209" y="76"/>
                    </a:lnTo>
                    <a:lnTo>
                      <a:pt x="1206" y="84"/>
                    </a:lnTo>
                    <a:lnTo>
                      <a:pt x="1193" y="102"/>
                    </a:lnTo>
                    <a:lnTo>
                      <a:pt x="1183" y="114"/>
                    </a:lnTo>
                    <a:lnTo>
                      <a:pt x="1179" y="121"/>
                    </a:lnTo>
                    <a:lnTo>
                      <a:pt x="1170" y="143"/>
                    </a:lnTo>
                    <a:lnTo>
                      <a:pt x="1143" y="167"/>
                    </a:lnTo>
                    <a:lnTo>
                      <a:pt x="1141" y="170"/>
                    </a:lnTo>
                    <a:lnTo>
                      <a:pt x="1136" y="172"/>
                    </a:lnTo>
                    <a:lnTo>
                      <a:pt x="1126" y="172"/>
                    </a:lnTo>
                    <a:lnTo>
                      <a:pt x="1119" y="168"/>
                    </a:lnTo>
                    <a:lnTo>
                      <a:pt x="1113" y="168"/>
                    </a:lnTo>
                    <a:lnTo>
                      <a:pt x="1109" y="170"/>
                    </a:lnTo>
                    <a:lnTo>
                      <a:pt x="1093" y="177"/>
                    </a:lnTo>
                    <a:lnTo>
                      <a:pt x="1087" y="177"/>
                    </a:lnTo>
                    <a:lnTo>
                      <a:pt x="1084" y="176"/>
                    </a:lnTo>
                    <a:lnTo>
                      <a:pt x="1075" y="170"/>
                    </a:lnTo>
                    <a:lnTo>
                      <a:pt x="1065" y="159"/>
                    </a:lnTo>
                    <a:lnTo>
                      <a:pt x="1059" y="157"/>
                    </a:lnTo>
                    <a:lnTo>
                      <a:pt x="1055" y="155"/>
                    </a:lnTo>
                    <a:lnTo>
                      <a:pt x="1034" y="149"/>
                    </a:lnTo>
                    <a:lnTo>
                      <a:pt x="1012" y="155"/>
                    </a:lnTo>
                    <a:lnTo>
                      <a:pt x="1008" y="155"/>
                    </a:lnTo>
                    <a:lnTo>
                      <a:pt x="998" y="152"/>
                    </a:lnTo>
                    <a:lnTo>
                      <a:pt x="991" y="152"/>
                    </a:lnTo>
                    <a:lnTo>
                      <a:pt x="985" y="155"/>
                    </a:lnTo>
                    <a:lnTo>
                      <a:pt x="986" y="179"/>
                    </a:lnTo>
                    <a:lnTo>
                      <a:pt x="982" y="183"/>
                    </a:lnTo>
                    <a:lnTo>
                      <a:pt x="965" y="183"/>
                    </a:lnTo>
                    <a:lnTo>
                      <a:pt x="953" y="178"/>
                    </a:lnTo>
                    <a:lnTo>
                      <a:pt x="942" y="179"/>
                    </a:lnTo>
                    <a:lnTo>
                      <a:pt x="928" y="181"/>
                    </a:lnTo>
                    <a:lnTo>
                      <a:pt x="922" y="178"/>
                    </a:lnTo>
                    <a:lnTo>
                      <a:pt x="921" y="177"/>
                    </a:lnTo>
                    <a:lnTo>
                      <a:pt x="917" y="176"/>
                    </a:lnTo>
                    <a:lnTo>
                      <a:pt x="912" y="176"/>
                    </a:lnTo>
                    <a:lnTo>
                      <a:pt x="901" y="182"/>
                    </a:lnTo>
                    <a:lnTo>
                      <a:pt x="893" y="192"/>
                    </a:lnTo>
                    <a:lnTo>
                      <a:pt x="879" y="192"/>
                    </a:lnTo>
                    <a:lnTo>
                      <a:pt x="871" y="195"/>
                    </a:lnTo>
                    <a:lnTo>
                      <a:pt x="866" y="200"/>
                    </a:lnTo>
                    <a:lnTo>
                      <a:pt x="855" y="200"/>
                    </a:lnTo>
                    <a:lnTo>
                      <a:pt x="846" y="203"/>
                    </a:lnTo>
                    <a:lnTo>
                      <a:pt x="840" y="213"/>
                    </a:lnTo>
                    <a:lnTo>
                      <a:pt x="835" y="215"/>
                    </a:lnTo>
                    <a:lnTo>
                      <a:pt x="822" y="215"/>
                    </a:lnTo>
                    <a:lnTo>
                      <a:pt x="812" y="213"/>
                    </a:lnTo>
                    <a:lnTo>
                      <a:pt x="796" y="203"/>
                    </a:lnTo>
                    <a:lnTo>
                      <a:pt x="790" y="198"/>
                    </a:lnTo>
                    <a:lnTo>
                      <a:pt x="786" y="192"/>
                    </a:lnTo>
                    <a:lnTo>
                      <a:pt x="783" y="191"/>
                    </a:lnTo>
                    <a:lnTo>
                      <a:pt x="779" y="186"/>
                    </a:lnTo>
                    <a:lnTo>
                      <a:pt x="777" y="183"/>
                    </a:lnTo>
                    <a:lnTo>
                      <a:pt x="779" y="170"/>
                    </a:lnTo>
                    <a:lnTo>
                      <a:pt x="777" y="161"/>
                    </a:lnTo>
                    <a:lnTo>
                      <a:pt x="766" y="151"/>
                    </a:lnTo>
                    <a:lnTo>
                      <a:pt x="765" y="148"/>
                    </a:lnTo>
                    <a:lnTo>
                      <a:pt x="765" y="117"/>
                    </a:lnTo>
                    <a:lnTo>
                      <a:pt x="771" y="103"/>
                    </a:lnTo>
                    <a:lnTo>
                      <a:pt x="774" y="96"/>
                    </a:lnTo>
                    <a:lnTo>
                      <a:pt x="774" y="86"/>
                    </a:lnTo>
                    <a:lnTo>
                      <a:pt x="783" y="73"/>
                    </a:lnTo>
                    <a:lnTo>
                      <a:pt x="785" y="70"/>
                    </a:lnTo>
                    <a:lnTo>
                      <a:pt x="783" y="63"/>
                    </a:lnTo>
                    <a:lnTo>
                      <a:pt x="779" y="57"/>
                    </a:lnTo>
                    <a:lnTo>
                      <a:pt x="779" y="42"/>
                    </a:lnTo>
                    <a:lnTo>
                      <a:pt x="767" y="38"/>
                    </a:lnTo>
                    <a:lnTo>
                      <a:pt x="765" y="37"/>
                    </a:lnTo>
                    <a:lnTo>
                      <a:pt x="756" y="36"/>
                    </a:lnTo>
                    <a:lnTo>
                      <a:pt x="760" y="22"/>
                    </a:lnTo>
                    <a:lnTo>
                      <a:pt x="760" y="15"/>
                    </a:lnTo>
                    <a:lnTo>
                      <a:pt x="760" y="9"/>
                    </a:lnTo>
                    <a:lnTo>
                      <a:pt x="755" y="0"/>
                    </a:lnTo>
                    <a:lnTo>
                      <a:pt x="747" y="0"/>
                    </a:lnTo>
                    <a:lnTo>
                      <a:pt x="734" y="4"/>
                    </a:lnTo>
                    <a:lnTo>
                      <a:pt x="725" y="3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7" name="Freeform 250"/>
              <p:cNvSpPr>
                <a:spLocks noChangeAspect="1"/>
              </p:cNvSpPr>
              <p:nvPr/>
            </p:nvSpPr>
            <p:spPr bwMode="gray">
              <a:xfrm>
                <a:off x="1650" y="2350"/>
                <a:ext cx="132" cy="182"/>
              </a:xfrm>
              <a:custGeom>
                <a:avLst/>
                <a:gdLst/>
                <a:ahLst/>
                <a:cxnLst>
                  <a:cxn ang="0">
                    <a:pos x="404" y="0"/>
                  </a:cxn>
                  <a:cxn ang="0">
                    <a:pos x="380" y="12"/>
                  </a:cxn>
                  <a:cxn ang="0">
                    <a:pos x="314" y="58"/>
                  </a:cxn>
                  <a:cxn ang="0">
                    <a:pos x="260" y="65"/>
                  </a:cxn>
                  <a:cxn ang="0">
                    <a:pos x="244" y="82"/>
                  </a:cxn>
                  <a:cxn ang="0">
                    <a:pos x="187" y="102"/>
                  </a:cxn>
                  <a:cxn ang="0">
                    <a:pos x="158" y="170"/>
                  </a:cxn>
                  <a:cxn ang="0">
                    <a:pos x="115" y="213"/>
                  </a:cxn>
                  <a:cxn ang="0">
                    <a:pos x="113" y="242"/>
                  </a:cxn>
                  <a:cxn ang="0">
                    <a:pos x="88" y="226"/>
                  </a:cxn>
                  <a:cxn ang="0">
                    <a:pos x="91" y="251"/>
                  </a:cxn>
                  <a:cxn ang="0">
                    <a:pos x="60" y="278"/>
                  </a:cxn>
                  <a:cxn ang="0">
                    <a:pos x="81" y="320"/>
                  </a:cxn>
                  <a:cxn ang="0">
                    <a:pos x="83" y="380"/>
                  </a:cxn>
                  <a:cxn ang="0">
                    <a:pos x="83" y="462"/>
                  </a:cxn>
                  <a:cxn ang="0">
                    <a:pos x="111" y="472"/>
                  </a:cxn>
                  <a:cxn ang="0">
                    <a:pos x="71" y="533"/>
                  </a:cxn>
                  <a:cxn ang="0">
                    <a:pos x="20" y="560"/>
                  </a:cxn>
                  <a:cxn ang="0">
                    <a:pos x="0" y="596"/>
                  </a:cxn>
                  <a:cxn ang="0">
                    <a:pos x="44" y="629"/>
                  </a:cxn>
                  <a:cxn ang="0">
                    <a:pos x="106" y="673"/>
                  </a:cxn>
                  <a:cxn ang="0">
                    <a:pos x="156" y="665"/>
                  </a:cxn>
                  <a:cxn ang="0">
                    <a:pos x="201" y="687"/>
                  </a:cxn>
                  <a:cxn ang="0">
                    <a:pos x="238" y="708"/>
                  </a:cxn>
                  <a:cxn ang="0">
                    <a:pos x="273" y="743"/>
                  </a:cxn>
                  <a:cxn ang="0">
                    <a:pos x="297" y="776"/>
                  </a:cxn>
                  <a:cxn ang="0">
                    <a:pos x="319" y="811"/>
                  </a:cxn>
                  <a:cxn ang="0">
                    <a:pos x="365" y="821"/>
                  </a:cxn>
                  <a:cxn ang="0">
                    <a:pos x="389" y="807"/>
                  </a:cxn>
                  <a:cxn ang="0">
                    <a:pos x="435" y="807"/>
                  </a:cxn>
                  <a:cxn ang="0">
                    <a:pos x="488" y="842"/>
                  </a:cxn>
                  <a:cxn ang="0">
                    <a:pos x="459" y="892"/>
                  </a:cxn>
                  <a:cxn ang="0">
                    <a:pos x="494" y="909"/>
                  </a:cxn>
                  <a:cxn ang="0">
                    <a:pos x="504" y="858"/>
                  </a:cxn>
                  <a:cxn ang="0">
                    <a:pos x="524" y="752"/>
                  </a:cxn>
                  <a:cxn ang="0">
                    <a:pos x="489" y="655"/>
                  </a:cxn>
                  <a:cxn ang="0">
                    <a:pos x="532" y="652"/>
                  </a:cxn>
                  <a:cxn ang="0">
                    <a:pos x="518" y="627"/>
                  </a:cxn>
                  <a:cxn ang="0">
                    <a:pos x="501" y="620"/>
                  </a:cxn>
                  <a:cxn ang="0">
                    <a:pos x="591" y="575"/>
                  </a:cxn>
                  <a:cxn ang="0">
                    <a:pos x="633" y="574"/>
                  </a:cxn>
                  <a:cxn ang="0">
                    <a:pos x="658" y="603"/>
                  </a:cxn>
                  <a:cxn ang="0">
                    <a:pos x="626" y="516"/>
                  </a:cxn>
                  <a:cxn ang="0">
                    <a:pos x="640" y="493"/>
                  </a:cxn>
                  <a:cxn ang="0">
                    <a:pos x="615" y="453"/>
                  </a:cxn>
                  <a:cxn ang="0">
                    <a:pos x="615" y="403"/>
                  </a:cxn>
                  <a:cxn ang="0">
                    <a:pos x="633" y="353"/>
                  </a:cxn>
                  <a:cxn ang="0">
                    <a:pos x="583" y="353"/>
                  </a:cxn>
                  <a:cxn ang="0">
                    <a:pos x="544" y="348"/>
                  </a:cxn>
                  <a:cxn ang="0">
                    <a:pos x="494" y="307"/>
                  </a:cxn>
                  <a:cxn ang="0">
                    <a:pos x="443" y="294"/>
                  </a:cxn>
                  <a:cxn ang="0">
                    <a:pos x="376" y="283"/>
                  </a:cxn>
                  <a:cxn ang="0">
                    <a:pos x="353" y="223"/>
                  </a:cxn>
                  <a:cxn ang="0">
                    <a:pos x="334" y="180"/>
                  </a:cxn>
                  <a:cxn ang="0">
                    <a:pos x="375" y="62"/>
                  </a:cxn>
                </a:cxnLst>
                <a:rect l="0" t="0" r="r" b="b"/>
                <a:pathLst>
                  <a:path w="663" h="909">
                    <a:moveTo>
                      <a:pt x="419" y="33"/>
                    </a:moveTo>
                    <a:lnTo>
                      <a:pt x="424" y="28"/>
                    </a:lnTo>
                    <a:lnTo>
                      <a:pt x="429" y="21"/>
                    </a:lnTo>
                    <a:lnTo>
                      <a:pt x="427" y="12"/>
                    </a:lnTo>
                    <a:lnTo>
                      <a:pt x="418" y="6"/>
                    </a:lnTo>
                    <a:lnTo>
                      <a:pt x="404" y="0"/>
                    </a:lnTo>
                    <a:lnTo>
                      <a:pt x="396" y="5"/>
                    </a:lnTo>
                    <a:lnTo>
                      <a:pt x="393" y="5"/>
                    </a:lnTo>
                    <a:lnTo>
                      <a:pt x="391" y="5"/>
                    </a:lnTo>
                    <a:lnTo>
                      <a:pt x="391" y="14"/>
                    </a:lnTo>
                    <a:lnTo>
                      <a:pt x="386" y="14"/>
                    </a:lnTo>
                    <a:lnTo>
                      <a:pt x="380" y="12"/>
                    </a:lnTo>
                    <a:lnTo>
                      <a:pt x="378" y="16"/>
                    </a:lnTo>
                    <a:lnTo>
                      <a:pt x="377" y="24"/>
                    </a:lnTo>
                    <a:lnTo>
                      <a:pt x="372" y="31"/>
                    </a:lnTo>
                    <a:lnTo>
                      <a:pt x="366" y="35"/>
                    </a:lnTo>
                    <a:lnTo>
                      <a:pt x="341" y="43"/>
                    </a:lnTo>
                    <a:lnTo>
                      <a:pt x="314" y="58"/>
                    </a:lnTo>
                    <a:lnTo>
                      <a:pt x="310" y="60"/>
                    </a:lnTo>
                    <a:lnTo>
                      <a:pt x="289" y="65"/>
                    </a:lnTo>
                    <a:lnTo>
                      <a:pt x="281" y="65"/>
                    </a:lnTo>
                    <a:lnTo>
                      <a:pt x="271" y="63"/>
                    </a:lnTo>
                    <a:lnTo>
                      <a:pt x="263" y="63"/>
                    </a:lnTo>
                    <a:lnTo>
                      <a:pt x="260" y="65"/>
                    </a:lnTo>
                    <a:lnTo>
                      <a:pt x="257" y="70"/>
                    </a:lnTo>
                    <a:lnTo>
                      <a:pt x="253" y="81"/>
                    </a:lnTo>
                    <a:lnTo>
                      <a:pt x="249" y="90"/>
                    </a:lnTo>
                    <a:lnTo>
                      <a:pt x="247" y="91"/>
                    </a:lnTo>
                    <a:lnTo>
                      <a:pt x="244" y="91"/>
                    </a:lnTo>
                    <a:lnTo>
                      <a:pt x="244" y="82"/>
                    </a:lnTo>
                    <a:lnTo>
                      <a:pt x="242" y="80"/>
                    </a:lnTo>
                    <a:lnTo>
                      <a:pt x="231" y="80"/>
                    </a:lnTo>
                    <a:lnTo>
                      <a:pt x="220" y="80"/>
                    </a:lnTo>
                    <a:lnTo>
                      <a:pt x="216" y="80"/>
                    </a:lnTo>
                    <a:lnTo>
                      <a:pt x="194" y="96"/>
                    </a:lnTo>
                    <a:lnTo>
                      <a:pt x="187" y="102"/>
                    </a:lnTo>
                    <a:lnTo>
                      <a:pt x="185" y="107"/>
                    </a:lnTo>
                    <a:lnTo>
                      <a:pt x="183" y="128"/>
                    </a:lnTo>
                    <a:lnTo>
                      <a:pt x="181" y="144"/>
                    </a:lnTo>
                    <a:lnTo>
                      <a:pt x="179" y="160"/>
                    </a:lnTo>
                    <a:lnTo>
                      <a:pt x="173" y="166"/>
                    </a:lnTo>
                    <a:lnTo>
                      <a:pt x="158" y="170"/>
                    </a:lnTo>
                    <a:lnTo>
                      <a:pt x="155" y="173"/>
                    </a:lnTo>
                    <a:lnTo>
                      <a:pt x="146" y="188"/>
                    </a:lnTo>
                    <a:lnTo>
                      <a:pt x="142" y="192"/>
                    </a:lnTo>
                    <a:lnTo>
                      <a:pt x="135" y="198"/>
                    </a:lnTo>
                    <a:lnTo>
                      <a:pt x="117" y="209"/>
                    </a:lnTo>
                    <a:lnTo>
                      <a:pt x="115" y="213"/>
                    </a:lnTo>
                    <a:lnTo>
                      <a:pt x="117" y="216"/>
                    </a:lnTo>
                    <a:lnTo>
                      <a:pt x="118" y="219"/>
                    </a:lnTo>
                    <a:lnTo>
                      <a:pt x="122" y="238"/>
                    </a:lnTo>
                    <a:lnTo>
                      <a:pt x="119" y="245"/>
                    </a:lnTo>
                    <a:lnTo>
                      <a:pt x="118" y="246"/>
                    </a:lnTo>
                    <a:lnTo>
                      <a:pt x="113" y="242"/>
                    </a:lnTo>
                    <a:lnTo>
                      <a:pt x="103" y="229"/>
                    </a:lnTo>
                    <a:lnTo>
                      <a:pt x="86" y="209"/>
                    </a:lnTo>
                    <a:lnTo>
                      <a:pt x="85" y="213"/>
                    </a:lnTo>
                    <a:lnTo>
                      <a:pt x="83" y="221"/>
                    </a:lnTo>
                    <a:lnTo>
                      <a:pt x="83" y="223"/>
                    </a:lnTo>
                    <a:lnTo>
                      <a:pt x="88" y="226"/>
                    </a:lnTo>
                    <a:lnTo>
                      <a:pt x="92" y="232"/>
                    </a:lnTo>
                    <a:lnTo>
                      <a:pt x="92" y="238"/>
                    </a:lnTo>
                    <a:lnTo>
                      <a:pt x="93" y="240"/>
                    </a:lnTo>
                    <a:lnTo>
                      <a:pt x="97" y="242"/>
                    </a:lnTo>
                    <a:lnTo>
                      <a:pt x="97" y="246"/>
                    </a:lnTo>
                    <a:lnTo>
                      <a:pt x="91" y="251"/>
                    </a:lnTo>
                    <a:lnTo>
                      <a:pt x="81" y="264"/>
                    </a:lnTo>
                    <a:lnTo>
                      <a:pt x="77" y="267"/>
                    </a:lnTo>
                    <a:lnTo>
                      <a:pt x="72" y="263"/>
                    </a:lnTo>
                    <a:lnTo>
                      <a:pt x="69" y="264"/>
                    </a:lnTo>
                    <a:lnTo>
                      <a:pt x="69" y="272"/>
                    </a:lnTo>
                    <a:lnTo>
                      <a:pt x="60" y="278"/>
                    </a:lnTo>
                    <a:lnTo>
                      <a:pt x="60" y="283"/>
                    </a:lnTo>
                    <a:lnTo>
                      <a:pt x="59" y="283"/>
                    </a:lnTo>
                    <a:lnTo>
                      <a:pt x="61" y="288"/>
                    </a:lnTo>
                    <a:lnTo>
                      <a:pt x="66" y="306"/>
                    </a:lnTo>
                    <a:lnTo>
                      <a:pt x="70" y="311"/>
                    </a:lnTo>
                    <a:lnTo>
                      <a:pt x="81" y="320"/>
                    </a:lnTo>
                    <a:lnTo>
                      <a:pt x="86" y="327"/>
                    </a:lnTo>
                    <a:lnTo>
                      <a:pt x="87" y="331"/>
                    </a:lnTo>
                    <a:lnTo>
                      <a:pt x="85" y="353"/>
                    </a:lnTo>
                    <a:lnTo>
                      <a:pt x="88" y="367"/>
                    </a:lnTo>
                    <a:lnTo>
                      <a:pt x="88" y="372"/>
                    </a:lnTo>
                    <a:lnTo>
                      <a:pt x="83" y="380"/>
                    </a:lnTo>
                    <a:lnTo>
                      <a:pt x="81" y="386"/>
                    </a:lnTo>
                    <a:lnTo>
                      <a:pt x="85" y="412"/>
                    </a:lnTo>
                    <a:lnTo>
                      <a:pt x="90" y="431"/>
                    </a:lnTo>
                    <a:lnTo>
                      <a:pt x="90" y="439"/>
                    </a:lnTo>
                    <a:lnTo>
                      <a:pt x="85" y="455"/>
                    </a:lnTo>
                    <a:lnTo>
                      <a:pt x="83" y="462"/>
                    </a:lnTo>
                    <a:lnTo>
                      <a:pt x="85" y="469"/>
                    </a:lnTo>
                    <a:lnTo>
                      <a:pt x="92" y="472"/>
                    </a:lnTo>
                    <a:lnTo>
                      <a:pt x="98" y="473"/>
                    </a:lnTo>
                    <a:lnTo>
                      <a:pt x="103" y="472"/>
                    </a:lnTo>
                    <a:lnTo>
                      <a:pt x="111" y="467"/>
                    </a:lnTo>
                    <a:lnTo>
                      <a:pt x="111" y="472"/>
                    </a:lnTo>
                    <a:lnTo>
                      <a:pt x="111" y="474"/>
                    </a:lnTo>
                    <a:lnTo>
                      <a:pt x="107" y="479"/>
                    </a:lnTo>
                    <a:lnTo>
                      <a:pt x="95" y="490"/>
                    </a:lnTo>
                    <a:lnTo>
                      <a:pt x="81" y="507"/>
                    </a:lnTo>
                    <a:lnTo>
                      <a:pt x="74" y="531"/>
                    </a:lnTo>
                    <a:lnTo>
                      <a:pt x="71" y="533"/>
                    </a:lnTo>
                    <a:lnTo>
                      <a:pt x="69" y="536"/>
                    </a:lnTo>
                    <a:lnTo>
                      <a:pt x="54" y="541"/>
                    </a:lnTo>
                    <a:lnTo>
                      <a:pt x="40" y="539"/>
                    </a:lnTo>
                    <a:lnTo>
                      <a:pt x="37" y="541"/>
                    </a:lnTo>
                    <a:lnTo>
                      <a:pt x="26" y="547"/>
                    </a:lnTo>
                    <a:lnTo>
                      <a:pt x="20" y="560"/>
                    </a:lnTo>
                    <a:lnTo>
                      <a:pt x="18" y="569"/>
                    </a:lnTo>
                    <a:lnTo>
                      <a:pt x="21" y="577"/>
                    </a:lnTo>
                    <a:lnTo>
                      <a:pt x="20" y="584"/>
                    </a:lnTo>
                    <a:lnTo>
                      <a:pt x="7" y="585"/>
                    </a:lnTo>
                    <a:lnTo>
                      <a:pt x="4" y="590"/>
                    </a:lnTo>
                    <a:lnTo>
                      <a:pt x="0" y="596"/>
                    </a:lnTo>
                    <a:lnTo>
                      <a:pt x="0" y="601"/>
                    </a:lnTo>
                    <a:lnTo>
                      <a:pt x="5" y="607"/>
                    </a:lnTo>
                    <a:lnTo>
                      <a:pt x="6" y="611"/>
                    </a:lnTo>
                    <a:lnTo>
                      <a:pt x="9" y="613"/>
                    </a:lnTo>
                    <a:lnTo>
                      <a:pt x="12" y="616"/>
                    </a:lnTo>
                    <a:lnTo>
                      <a:pt x="44" y="629"/>
                    </a:lnTo>
                    <a:lnTo>
                      <a:pt x="74" y="644"/>
                    </a:lnTo>
                    <a:lnTo>
                      <a:pt x="86" y="652"/>
                    </a:lnTo>
                    <a:lnTo>
                      <a:pt x="88" y="657"/>
                    </a:lnTo>
                    <a:lnTo>
                      <a:pt x="91" y="668"/>
                    </a:lnTo>
                    <a:lnTo>
                      <a:pt x="93" y="672"/>
                    </a:lnTo>
                    <a:lnTo>
                      <a:pt x="106" y="673"/>
                    </a:lnTo>
                    <a:lnTo>
                      <a:pt x="114" y="671"/>
                    </a:lnTo>
                    <a:lnTo>
                      <a:pt x="119" y="671"/>
                    </a:lnTo>
                    <a:lnTo>
                      <a:pt x="140" y="673"/>
                    </a:lnTo>
                    <a:lnTo>
                      <a:pt x="150" y="673"/>
                    </a:lnTo>
                    <a:lnTo>
                      <a:pt x="151" y="671"/>
                    </a:lnTo>
                    <a:lnTo>
                      <a:pt x="156" y="665"/>
                    </a:lnTo>
                    <a:lnTo>
                      <a:pt x="161" y="665"/>
                    </a:lnTo>
                    <a:lnTo>
                      <a:pt x="168" y="667"/>
                    </a:lnTo>
                    <a:lnTo>
                      <a:pt x="174" y="673"/>
                    </a:lnTo>
                    <a:lnTo>
                      <a:pt x="181" y="676"/>
                    </a:lnTo>
                    <a:lnTo>
                      <a:pt x="195" y="687"/>
                    </a:lnTo>
                    <a:lnTo>
                      <a:pt x="201" y="687"/>
                    </a:lnTo>
                    <a:lnTo>
                      <a:pt x="205" y="687"/>
                    </a:lnTo>
                    <a:lnTo>
                      <a:pt x="215" y="690"/>
                    </a:lnTo>
                    <a:lnTo>
                      <a:pt x="224" y="693"/>
                    </a:lnTo>
                    <a:lnTo>
                      <a:pt x="230" y="695"/>
                    </a:lnTo>
                    <a:lnTo>
                      <a:pt x="235" y="704"/>
                    </a:lnTo>
                    <a:lnTo>
                      <a:pt x="238" y="708"/>
                    </a:lnTo>
                    <a:lnTo>
                      <a:pt x="248" y="711"/>
                    </a:lnTo>
                    <a:lnTo>
                      <a:pt x="253" y="725"/>
                    </a:lnTo>
                    <a:lnTo>
                      <a:pt x="258" y="733"/>
                    </a:lnTo>
                    <a:lnTo>
                      <a:pt x="264" y="737"/>
                    </a:lnTo>
                    <a:lnTo>
                      <a:pt x="267" y="742"/>
                    </a:lnTo>
                    <a:lnTo>
                      <a:pt x="273" y="743"/>
                    </a:lnTo>
                    <a:lnTo>
                      <a:pt x="278" y="743"/>
                    </a:lnTo>
                    <a:lnTo>
                      <a:pt x="284" y="746"/>
                    </a:lnTo>
                    <a:lnTo>
                      <a:pt x="289" y="749"/>
                    </a:lnTo>
                    <a:lnTo>
                      <a:pt x="292" y="756"/>
                    </a:lnTo>
                    <a:lnTo>
                      <a:pt x="294" y="768"/>
                    </a:lnTo>
                    <a:lnTo>
                      <a:pt x="297" y="776"/>
                    </a:lnTo>
                    <a:lnTo>
                      <a:pt x="298" y="780"/>
                    </a:lnTo>
                    <a:lnTo>
                      <a:pt x="302" y="783"/>
                    </a:lnTo>
                    <a:lnTo>
                      <a:pt x="311" y="783"/>
                    </a:lnTo>
                    <a:lnTo>
                      <a:pt x="316" y="784"/>
                    </a:lnTo>
                    <a:lnTo>
                      <a:pt x="316" y="806"/>
                    </a:lnTo>
                    <a:lnTo>
                      <a:pt x="319" y="811"/>
                    </a:lnTo>
                    <a:lnTo>
                      <a:pt x="324" y="816"/>
                    </a:lnTo>
                    <a:lnTo>
                      <a:pt x="334" y="817"/>
                    </a:lnTo>
                    <a:lnTo>
                      <a:pt x="339" y="816"/>
                    </a:lnTo>
                    <a:lnTo>
                      <a:pt x="353" y="817"/>
                    </a:lnTo>
                    <a:lnTo>
                      <a:pt x="361" y="821"/>
                    </a:lnTo>
                    <a:lnTo>
                      <a:pt x="365" y="821"/>
                    </a:lnTo>
                    <a:lnTo>
                      <a:pt x="372" y="819"/>
                    </a:lnTo>
                    <a:lnTo>
                      <a:pt x="376" y="817"/>
                    </a:lnTo>
                    <a:lnTo>
                      <a:pt x="378" y="813"/>
                    </a:lnTo>
                    <a:lnTo>
                      <a:pt x="382" y="812"/>
                    </a:lnTo>
                    <a:lnTo>
                      <a:pt x="386" y="808"/>
                    </a:lnTo>
                    <a:lnTo>
                      <a:pt x="389" y="807"/>
                    </a:lnTo>
                    <a:lnTo>
                      <a:pt x="398" y="807"/>
                    </a:lnTo>
                    <a:lnTo>
                      <a:pt x="405" y="808"/>
                    </a:lnTo>
                    <a:lnTo>
                      <a:pt x="410" y="813"/>
                    </a:lnTo>
                    <a:lnTo>
                      <a:pt x="418" y="815"/>
                    </a:lnTo>
                    <a:lnTo>
                      <a:pt x="426" y="813"/>
                    </a:lnTo>
                    <a:lnTo>
                      <a:pt x="435" y="807"/>
                    </a:lnTo>
                    <a:lnTo>
                      <a:pt x="437" y="807"/>
                    </a:lnTo>
                    <a:lnTo>
                      <a:pt x="445" y="808"/>
                    </a:lnTo>
                    <a:lnTo>
                      <a:pt x="461" y="815"/>
                    </a:lnTo>
                    <a:lnTo>
                      <a:pt x="477" y="824"/>
                    </a:lnTo>
                    <a:lnTo>
                      <a:pt x="488" y="837"/>
                    </a:lnTo>
                    <a:lnTo>
                      <a:pt x="488" y="842"/>
                    </a:lnTo>
                    <a:lnTo>
                      <a:pt x="484" y="849"/>
                    </a:lnTo>
                    <a:lnTo>
                      <a:pt x="478" y="856"/>
                    </a:lnTo>
                    <a:lnTo>
                      <a:pt x="466" y="869"/>
                    </a:lnTo>
                    <a:lnTo>
                      <a:pt x="458" y="880"/>
                    </a:lnTo>
                    <a:lnTo>
                      <a:pt x="458" y="889"/>
                    </a:lnTo>
                    <a:lnTo>
                      <a:pt x="459" y="892"/>
                    </a:lnTo>
                    <a:lnTo>
                      <a:pt x="464" y="893"/>
                    </a:lnTo>
                    <a:lnTo>
                      <a:pt x="469" y="892"/>
                    </a:lnTo>
                    <a:lnTo>
                      <a:pt x="473" y="893"/>
                    </a:lnTo>
                    <a:lnTo>
                      <a:pt x="478" y="897"/>
                    </a:lnTo>
                    <a:lnTo>
                      <a:pt x="486" y="908"/>
                    </a:lnTo>
                    <a:lnTo>
                      <a:pt x="494" y="909"/>
                    </a:lnTo>
                    <a:lnTo>
                      <a:pt x="495" y="902"/>
                    </a:lnTo>
                    <a:lnTo>
                      <a:pt x="497" y="896"/>
                    </a:lnTo>
                    <a:lnTo>
                      <a:pt x="499" y="881"/>
                    </a:lnTo>
                    <a:lnTo>
                      <a:pt x="501" y="873"/>
                    </a:lnTo>
                    <a:lnTo>
                      <a:pt x="502" y="870"/>
                    </a:lnTo>
                    <a:lnTo>
                      <a:pt x="504" y="858"/>
                    </a:lnTo>
                    <a:lnTo>
                      <a:pt x="506" y="850"/>
                    </a:lnTo>
                    <a:lnTo>
                      <a:pt x="511" y="832"/>
                    </a:lnTo>
                    <a:lnTo>
                      <a:pt x="512" y="831"/>
                    </a:lnTo>
                    <a:lnTo>
                      <a:pt x="522" y="768"/>
                    </a:lnTo>
                    <a:lnTo>
                      <a:pt x="523" y="758"/>
                    </a:lnTo>
                    <a:lnTo>
                      <a:pt x="524" y="752"/>
                    </a:lnTo>
                    <a:lnTo>
                      <a:pt x="517" y="724"/>
                    </a:lnTo>
                    <a:lnTo>
                      <a:pt x="512" y="714"/>
                    </a:lnTo>
                    <a:lnTo>
                      <a:pt x="506" y="708"/>
                    </a:lnTo>
                    <a:lnTo>
                      <a:pt x="494" y="698"/>
                    </a:lnTo>
                    <a:lnTo>
                      <a:pt x="489" y="693"/>
                    </a:lnTo>
                    <a:lnTo>
                      <a:pt x="489" y="655"/>
                    </a:lnTo>
                    <a:lnTo>
                      <a:pt x="494" y="652"/>
                    </a:lnTo>
                    <a:lnTo>
                      <a:pt x="511" y="650"/>
                    </a:lnTo>
                    <a:lnTo>
                      <a:pt x="517" y="647"/>
                    </a:lnTo>
                    <a:lnTo>
                      <a:pt x="528" y="649"/>
                    </a:lnTo>
                    <a:lnTo>
                      <a:pt x="532" y="650"/>
                    </a:lnTo>
                    <a:lnTo>
                      <a:pt x="532" y="652"/>
                    </a:lnTo>
                    <a:lnTo>
                      <a:pt x="538" y="651"/>
                    </a:lnTo>
                    <a:lnTo>
                      <a:pt x="538" y="650"/>
                    </a:lnTo>
                    <a:lnTo>
                      <a:pt x="534" y="640"/>
                    </a:lnTo>
                    <a:lnTo>
                      <a:pt x="533" y="633"/>
                    </a:lnTo>
                    <a:lnTo>
                      <a:pt x="528" y="625"/>
                    </a:lnTo>
                    <a:lnTo>
                      <a:pt x="518" y="627"/>
                    </a:lnTo>
                    <a:lnTo>
                      <a:pt x="516" y="629"/>
                    </a:lnTo>
                    <a:lnTo>
                      <a:pt x="509" y="629"/>
                    </a:lnTo>
                    <a:lnTo>
                      <a:pt x="505" y="624"/>
                    </a:lnTo>
                    <a:lnTo>
                      <a:pt x="501" y="623"/>
                    </a:lnTo>
                    <a:lnTo>
                      <a:pt x="501" y="620"/>
                    </a:lnTo>
                    <a:lnTo>
                      <a:pt x="501" y="620"/>
                    </a:lnTo>
                    <a:lnTo>
                      <a:pt x="501" y="589"/>
                    </a:lnTo>
                    <a:lnTo>
                      <a:pt x="502" y="590"/>
                    </a:lnTo>
                    <a:lnTo>
                      <a:pt x="582" y="590"/>
                    </a:lnTo>
                    <a:lnTo>
                      <a:pt x="586" y="586"/>
                    </a:lnTo>
                    <a:lnTo>
                      <a:pt x="587" y="580"/>
                    </a:lnTo>
                    <a:lnTo>
                      <a:pt x="591" y="575"/>
                    </a:lnTo>
                    <a:lnTo>
                      <a:pt x="593" y="575"/>
                    </a:lnTo>
                    <a:lnTo>
                      <a:pt x="597" y="577"/>
                    </a:lnTo>
                    <a:lnTo>
                      <a:pt x="601" y="584"/>
                    </a:lnTo>
                    <a:lnTo>
                      <a:pt x="603" y="584"/>
                    </a:lnTo>
                    <a:lnTo>
                      <a:pt x="622" y="574"/>
                    </a:lnTo>
                    <a:lnTo>
                      <a:pt x="633" y="574"/>
                    </a:lnTo>
                    <a:lnTo>
                      <a:pt x="638" y="579"/>
                    </a:lnTo>
                    <a:lnTo>
                      <a:pt x="646" y="590"/>
                    </a:lnTo>
                    <a:lnTo>
                      <a:pt x="652" y="619"/>
                    </a:lnTo>
                    <a:lnTo>
                      <a:pt x="662" y="614"/>
                    </a:lnTo>
                    <a:lnTo>
                      <a:pt x="663" y="612"/>
                    </a:lnTo>
                    <a:lnTo>
                      <a:pt x="658" y="603"/>
                    </a:lnTo>
                    <a:lnTo>
                      <a:pt x="656" y="592"/>
                    </a:lnTo>
                    <a:lnTo>
                      <a:pt x="640" y="555"/>
                    </a:lnTo>
                    <a:lnTo>
                      <a:pt x="631" y="544"/>
                    </a:lnTo>
                    <a:lnTo>
                      <a:pt x="614" y="531"/>
                    </a:lnTo>
                    <a:lnTo>
                      <a:pt x="614" y="527"/>
                    </a:lnTo>
                    <a:lnTo>
                      <a:pt x="626" y="516"/>
                    </a:lnTo>
                    <a:lnTo>
                      <a:pt x="631" y="509"/>
                    </a:lnTo>
                    <a:lnTo>
                      <a:pt x="634" y="507"/>
                    </a:lnTo>
                    <a:lnTo>
                      <a:pt x="638" y="504"/>
                    </a:lnTo>
                    <a:lnTo>
                      <a:pt x="640" y="503"/>
                    </a:lnTo>
                    <a:lnTo>
                      <a:pt x="641" y="500"/>
                    </a:lnTo>
                    <a:lnTo>
                      <a:pt x="640" y="493"/>
                    </a:lnTo>
                    <a:lnTo>
                      <a:pt x="638" y="488"/>
                    </a:lnTo>
                    <a:lnTo>
                      <a:pt x="633" y="479"/>
                    </a:lnTo>
                    <a:lnTo>
                      <a:pt x="625" y="471"/>
                    </a:lnTo>
                    <a:lnTo>
                      <a:pt x="618" y="466"/>
                    </a:lnTo>
                    <a:lnTo>
                      <a:pt x="617" y="463"/>
                    </a:lnTo>
                    <a:lnTo>
                      <a:pt x="615" y="453"/>
                    </a:lnTo>
                    <a:lnTo>
                      <a:pt x="613" y="447"/>
                    </a:lnTo>
                    <a:lnTo>
                      <a:pt x="613" y="439"/>
                    </a:lnTo>
                    <a:lnTo>
                      <a:pt x="609" y="431"/>
                    </a:lnTo>
                    <a:lnTo>
                      <a:pt x="609" y="419"/>
                    </a:lnTo>
                    <a:lnTo>
                      <a:pt x="613" y="413"/>
                    </a:lnTo>
                    <a:lnTo>
                      <a:pt x="615" y="403"/>
                    </a:lnTo>
                    <a:lnTo>
                      <a:pt x="615" y="392"/>
                    </a:lnTo>
                    <a:lnTo>
                      <a:pt x="624" y="382"/>
                    </a:lnTo>
                    <a:lnTo>
                      <a:pt x="624" y="369"/>
                    </a:lnTo>
                    <a:lnTo>
                      <a:pt x="626" y="364"/>
                    </a:lnTo>
                    <a:lnTo>
                      <a:pt x="633" y="358"/>
                    </a:lnTo>
                    <a:lnTo>
                      <a:pt x="633" y="353"/>
                    </a:lnTo>
                    <a:lnTo>
                      <a:pt x="630" y="344"/>
                    </a:lnTo>
                    <a:lnTo>
                      <a:pt x="628" y="342"/>
                    </a:lnTo>
                    <a:lnTo>
                      <a:pt x="624" y="342"/>
                    </a:lnTo>
                    <a:lnTo>
                      <a:pt x="614" y="342"/>
                    </a:lnTo>
                    <a:lnTo>
                      <a:pt x="595" y="350"/>
                    </a:lnTo>
                    <a:lnTo>
                      <a:pt x="583" y="353"/>
                    </a:lnTo>
                    <a:lnTo>
                      <a:pt x="576" y="353"/>
                    </a:lnTo>
                    <a:lnTo>
                      <a:pt x="567" y="350"/>
                    </a:lnTo>
                    <a:lnTo>
                      <a:pt x="563" y="349"/>
                    </a:lnTo>
                    <a:lnTo>
                      <a:pt x="558" y="347"/>
                    </a:lnTo>
                    <a:lnTo>
                      <a:pt x="552" y="345"/>
                    </a:lnTo>
                    <a:lnTo>
                      <a:pt x="544" y="348"/>
                    </a:lnTo>
                    <a:lnTo>
                      <a:pt x="542" y="350"/>
                    </a:lnTo>
                    <a:lnTo>
                      <a:pt x="536" y="350"/>
                    </a:lnTo>
                    <a:lnTo>
                      <a:pt x="527" y="350"/>
                    </a:lnTo>
                    <a:lnTo>
                      <a:pt x="523" y="348"/>
                    </a:lnTo>
                    <a:lnTo>
                      <a:pt x="522" y="348"/>
                    </a:lnTo>
                    <a:lnTo>
                      <a:pt x="494" y="307"/>
                    </a:lnTo>
                    <a:lnTo>
                      <a:pt x="493" y="305"/>
                    </a:lnTo>
                    <a:lnTo>
                      <a:pt x="490" y="302"/>
                    </a:lnTo>
                    <a:lnTo>
                      <a:pt x="479" y="301"/>
                    </a:lnTo>
                    <a:lnTo>
                      <a:pt x="473" y="297"/>
                    </a:lnTo>
                    <a:lnTo>
                      <a:pt x="461" y="293"/>
                    </a:lnTo>
                    <a:lnTo>
                      <a:pt x="443" y="294"/>
                    </a:lnTo>
                    <a:lnTo>
                      <a:pt x="425" y="299"/>
                    </a:lnTo>
                    <a:lnTo>
                      <a:pt x="415" y="300"/>
                    </a:lnTo>
                    <a:lnTo>
                      <a:pt x="400" y="299"/>
                    </a:lnTo>
                    <a:lnTo>
                      <a:pt x="383" y="291"/>
                    </a:lnTo>
                    <a:lnTo>
                      <a:pt x="380" y="284"/>
                    </a:lnTo>
                    <a:lnTo>
                      <a:pt x="376" y="283"/>
                    </a:lnTo>
                    <a:lnTo>
                      <a:pt x="364" y="277"/>
                    </a:lnTo>
                    <a:lnTo>
                      <a:pt x="362" y="274"/>
                    </a:lnTo>
                    <a:lnTo>
                      <a:pt x="362" y="241"/>
                    </a:lnTo>
                    <a:lnTo>
                      <a:pt x="360" y="232"/>
                    </a:lnTo>
                    <a:lnTo>
                      <a:pt x="357" y="226"/>
                    </a:lnTo>
                    <a:lnTo>
                      <a:pt x="353" y="223"/>
                    </a:lnTo>
                    <a:lnTo>
                      <a:pt x="351" y="220"/>
                    </a:lnTo>
                    <a:lnTo>
                      <a:pt x="344" y="211"/>
                    </a:lnTo>
                    <a:lnTo>
                      <a:pt x="341" y="208"/>
                    </a:lnTo>
                    <a:lnTo>
                      <a:pt x="338" y="188"/>
                    </a:lnTo>
                    <a:lnTo>
                      <a:pt x="335" y="182"/>
                    </a:lnTo>
                    <a:lnTo>
                      <a:pt x="334" y="180"/>
                    </a:lnTo>
                    <a:lnTo>
                      <a:pt x="310" y="181"/>
                    </a:lnTo>
                    <a:lnTo>
                      <a:pt x="316" y="167"/>
                    </a:lnTo>
                    <a:lnTo>
                      <a:pt x="324" y="152"/>
                    </a:lnTo>
                    <a:lnTo>
                      <a:pt x="337" y="107"/>
                    </a:lnTo>
                    <a:lnTo>
                      <a:pt x="350" y="85"/>
                    </a:lnTo>
                    <a:lnTo>
                      <a:pt x="375" y="62"/>
                    </a:lnTo>
                    <a:lnTo>
                      <a:pt x="378" y="57"/>
                    </a:lnTo>
                    <a:lnTo>
                      <a:pt x="383" y="47"/>
                    </a:lnTo>
                    <a:lnTo>
                      <a:pt x="389" y="41"/>
                    </a:lnTo>
                    <a:lnTo>
                      <a:pt x="404" y="35"/>
                    </a:lnTo>
                    <a:lnTo>
                      <a:pt x="419" y="33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8" name="Freeform 251"/>
              <p:cNvSpPr>
                <a:spLocks noChangeAspect="1"/>
              </p:cNvSpPr>
              <p:nvPr/>
            </p:nvSpPr>
            <p:spPr bwMode="gray">
              <a:xfrm>
                <a:off x="1751" y="2592"/>
                <a:ext cx="132" cy="151"/>
              </a:xfrm>
              <a:custGeom>
                <a:avLst/>
                <a:gdLst/>
                <a:ahLst/>
                <a:cxnLst>
                  <a:cxn ang="0">
                    <a:pos x="29" y="74"/>
                  </a:cxn>
                  <a:cxn ang="0">
                    <a:pos x="109" y="59"/>
                  </a:cxn>
                  <a:cxn ang="0">
                    <a:pos x="164" y="7"/>
                  </a:cxn>
                  <a:cxn ang="0">
                    <a:pos x="232" y="1"/>
                  </a:cxn>
                  <a:cxn ang="0">
                    <a:pos x="243" y="60"/>
                  </a:cxn>
                  <a:cxn ang="0">
                    <a:pos x="234" y="88"/>
                  </a:cxn>
                  <a:cxn ang="0">
                    <a:pos x="283" y="151"/>
                  </a:cxn>
                  <a:cxn ang="0">
                    <a:pos x="348" y="161"/>
                  </a:cxn>
                  <a:cxn ang="0">
                    <a:pos x="372" y="183"/>
                  </a:cxn>
                  <a:cxn ang="0">
                    <a:pos x="441" y="211"/>
                  </a:cxn>
                  <a:cxn ang="0">
                    <a:pos x="487" y="222"/>
                  </a:cxn>
                  <a:cxn ang="0">
                    <a:pos x="507" y="268"/>
                  </a:cxn>
                  <a:cxn ang="0">
                    <a:pos x="512" y="307"/>
                  </a:cxn>
                  <a:cxn ang="0">
                    <a:pos x="511" y="334"/>
                  </a:cxn>
                  <a:cxn ang="0">
                    <a:pos x="550" y="370"/>
                  </a:cxn>
                  <a:cxn ang="0">
                    <a:pos x="616" y="373"/>
                  </a:cxn>
                  <a:cxn ang="0">
                    <a:pos x="616" y="399"/>
                  </a:cxn>
                  <a:cxn ang="0">
                    <a:pos x="641" y="434"/>
                  </a:cxn>
                  <a:cxn ang="0">
                    <a:pos x="658" y="500"/>
                  </a:cxn>
                  <a:cxn ang="0">
                    <a:pos x="644" y="555"/>
                  </a:cxn>
                  <a:cxn ang="0">
                    <a:pos x="647" y="586"/>
                  </a:cxn>
                  <a:cxn ang="0">
                    <a:pos x="631" y="585"/>
                  </a:cxn>
                  <a:cxn ang="0">
                    <a:pos x="595" y="544"/>
                  </a:cxn>
                  <a:cxn ang="0">
                    <a:pos x="504" y="549"/>
                  </a:cxn>
                  <a:cxn ang="0">
                    <a:pos x="426" y="576"/>
                  </a:cxn>
                  <a:cxn ang="0">
                    <a:pos x="401" y="628"/>
                  </a:cxn>
                  <a:cxn ang="0">
                    <a:pos x="391" y="705"/>
                  </a:cxn>
                  <a:cxn ang="0">
                    <a:pos x="362" y="706"/>
                  </a:cxn>
                  <a:cxn ang="0">
                    <a:pos x="315" y="701"/>
                  </a:cxn>
                  <a:cxn ang="0">
                    <a:pos x="297" y="735"/>
                  </a:cxn>
                  <a:cxn ang="0">
                    <a:pos x="281" y="726"/>
                  </a:cxn>
                  <a:cxn ang="0">
                    <a:pos x="250" y="710"/>
                  </a:cxn>
                  <a:cxn ang="0">
                    <a:pos x="202" y="695"/>
                  </a:cxn>
                  <a:cxn ang="0">
                    <a:pos x="176" y="708"/>
                  </a:cxn>
                  <a:cxn ang="0">
                    <a:pos x="149" y="737"/>
                  </a:cxn>
                  <a:cxn ang="0">
                    <a:pos x="126" y="752"/>
                  </a:cxn>
                  <a:cxn ang="0">
                    <a:pos x="94" y="751"/>
                  </a:cxn>
                  <a:cxn ang="0">
                    <a:pos x="86" y="711"/>
                  </a:cxn>
                  <a:cxn ang="0">
                    <a:pos x="77" y="652"/>
                  </a:cxn>
                  <a:cxn ang="0">
                    <a:pos x="61" y="626"/>
                  </a:cxn>
                  <a:cxn ang="0">
                    <a:pos x="55" y="602"/>
                  </a:cxn>
                  <a:cxn ang="0">
                    <a:pos x="51" y="579"/>
                  </a:cxn>
                  <a:cxn ang="0">
                    <a:pos x="57" y="564"/>
                  </a:cxn>
                  <a:cxn ang="0">
                    <a:pos x="54" y="536"/>
                  </a:cxn>
                  <a:cxn ang="0">
                    <a:pos x="29" y="480"/>
                  </a:cxn>
                  <a:cxn ang="0">
                    <a:pos x="7" y="443"/>
                  </a:cxn>
                  <a:cxn ang="0">
                    <a:pos x="1" y="431"/>
                  </a:cxn>
                  <a:cxn ang="0">
                    <a:pos x="36" y="373"/>
                  </a:cxn>
                  <a:cxn ang="0">
                    <a:pos x="20" y="357"/>
                  </a:cxn>
                  <a:cxn ang="0">
                    <a:pos x="17" y="328"/>
                  </a:cxn>
                  <a:cxn ang="0">
                    <a:pos x="29" y="303"/>
                  </a:cxn>
                  <a:cxn ang="0">
                    <a:pos x="22" y="276"/>
                  </a:cxn>
                  <a:cxn ang="0">
                    <a:pos x="33" y="231"/>
                  </a:cxn>
                  <a:cxn ang="0">
                    <a:pos x="40" y="166"/>
                  </a:cxn>
                  <a:cxn ang="0">
                    <a:pos x="35" y="129"/>
                  </a:cxn>
                </a:cxnLst>
                <a:rect l="0" t="0" r="r" b="b"/>
                <a:pathLst>
                  <a:path w="658" h="754">
                    <a:moveTo>
                      <a:pt x="1" y="70"/>
                    </a:moveTo>
                    <a:lnTo>
                      <a:pt x="3" y="68"/>
                    </a:lnTo>
                    <a:lnTo>
                      <a:pt x="11" y="68"/>
                    </a:lnTo>
                    <a:lnTo>
                      <a:pt x="29" y="74"/>
                    </a:lnTo>
                    <a:lnTo>
                      <a:pt x="70" y="75"/>
                    </a:lnTo>
                    <a:lnTo>
                      <a:pt x="78" y="71"/>
                    </a:lnTo>
                    <a:lnTo>
                      <a:pt x="83" y="68"/>
                    </a:lnTo>
                    <a:lnTo>
                      <a:pt x="109" y="59"/>
                    </a:lnTo>
                    <a:lnTo>
                      <a:pt x="116" y="55"/>
                    </a:lnTo>
                    <a:lnTo>
                      <a:pt x="141" y="33"/>
                    </a:lnTo>
                    <a:lnTo>
                      <a:pt x="158" y="14"/>
                    </a:lnTo>
                    <a:lnTo>
                      <a:pt x="164" y="7"/>
                    </a:lnTo>
                    <a:lnTo>
                      <a:pt x="180" y="4"/>
                    </a:lnTo>
                    <a:lnTo>
                      <a:pt x="186" y="4"/>
                    </a:lnTo>
                    <a:lnTo>
                      <a:pt x="213" y="0"/>
                    </a:lnTo>
                    <a:lnTo>
                      <a:pt x="232" y="1"/>
                    </a:lnTo>
                    <a:lnTo>
                      <a:pt x="235" y="4"/>
                    </a:lnTo>
                    <a:lnTo>
                      <a:pt x="240" y="11"/>
                    </a:lnTo>
                    <a:lnTo>
                      <a:pt x="243" y="28"/>
                    </a:lnTo>
                    <a:lnTo>
                      <a:pt x="243" y="60"/>
                    </a:lnTo>
                    <a:lnTo>
                      <a:pt x="242" y="70"/>
                    </a:lnTo>
                    <a:lnTo>
                      <a:pt x="237" y="77"/>
                    </a:lnTo>
                    <a:lnTo>
                      <a:pt x="235" y="81"/>
                    </a:lnTo>
                    <a:lnTo>
                      <a:pt x="234" y="88"/>
                    </a:lnTo>
                    <a:lnTo>
                      <a:pt x="240" y="112"/>
                    </a:lnTo>
                    <a:lnTo>
                      <a:pt x="249" y="125"/>
                    </a:lnTo>
                    <a:lnTo>
                      <a:pt x="256" y="131"/>
                    </a:lnTo>
                    <a:lnTo>
                      <a:pt x="283" y="151"/>
                    </a:lnTo>
                    <a:lnTo>
                      <a:pt x="296" y="155"/>
                    </a:lnTo>
                    <a:lnTo>
                      <a:pt x="313" y="157"/>
                    </a:lnTo>
                    <a:lnTo>
                      <a:pt x="332" y="157"/>
                    </a:lnTo>
                    <a:lnTo>
                      <a:pt x="348" y="161"/>
                    </a:lnTo>
                    <a:lnTo>
                      <a:pt x="355" y="167"/>
                    </a:lnTo>
                    <a:lnTo>
                      <a:pt x="356" y="171"/>
                    </a:lnTo>
                    <a:lnTo>
                      <a:pt x="363" y="179"/>
                    </a:lnTo>
                    <a:lnTo>
                      <a:pt x="372" y="183"/>
                    </a:lnTo>
                    <a:lnTo>
                      <a:pt x="410" y="193"/>
                    </a:lnTo>
                    <a:lnTo>
                      <a:pt x="426" y="208"/>
                    </a:lnTo>
                    <a:lnTo>
                      <a:pt x="431" y="211"/>
                    </a:lnTo>
                    <a:lnTo>
                      <a:pt x="441" y="211"/>
                    </a:lnTo>
                    <a:lnTo>
                      <a:pt x="450" y="209"/>
                    </a:lnTo>
                    <a:lnTo>
                      <a:pt x="455" y="209"/>
                    </a:lnTo>
                    <a:lnTo>
                      <a:pt x="468" y="211"/>
                    </a:lnTo>
                    <a:lnTo>
                      <a:pt x="487" y="222"/>
                    </a:lnTo>
                    <a:lnTo>
                      <a:pt x="493" y="227"/>
                    </a:lnTo>
                    <a:lnTo>
                      <a:pt x="501" y="238"/>
                    </a:lnTo>
                    <a:lnTo>
                      <a:pt x="506" y="253"/>
                    </a:lnTo>
                    <a:lnTo>
                      <a:pt x="507" y="268"/>
                    </a:lnTo>
                    <a:lnTo>
                      <a:pt x="511" y="276"/>
                    </a:lnTo>
                    <a:lnTo>
                      <a:pt x="514" y="281"/>
                    </a:lnTo>
                    <a:lnTo>
                      <a:pt x="514" y="290"/>
                    </a:lnTo>
                    <a:lnTo>
                      <a:pt x="512" y="307"/>
                    </a:lnTo>
                    <a:lnTo>
                      <a:pt x="503" y="308"/>
                    </a:lnTo>
                    <a:lnTo>
                      <a:pt x="503" y="312"/>
                    </a:lnTo>
                    <a:lnTo>
                      <a:pt x="504" y="317"/>
                    </a:lnTo>
                    <a:lnTo>
                      <a:pt x="511" y="334"/>
                    </a:lnTo>
                    <a:lnTo>
                      <a:pt x="518" y="356"/>
                    </a:lnTo>
                    <a:lnTo>
                      <a:pt x="524" y="369"/>
                    </a:lnTo>
                    <a:lnTo>
                      <a:pt x="539" y="369"/>
                    </a:lnTo>
                    <a:lnTo>
                      <a:pt x="550" y="370"/>
                    </a:lnTo>
                    <a:lnTo>
                      <a:pt x="563" y="370"/>
                    </a:lnTo>
                    <a:lnTo>
                      <a:pt x="568" y="372"/>
                    </a:lnTo>
                    <a:lnTo>
                      <a:pt x="611" y="372"/>
                    </a:lnTo>
                    <a:lnTo>
                      <a:pt x="616" y="373"/>
                    </a:lnTo>
                    <a:lnTo>
                      <a:pt x="619" y="376"/>
                    </a:lnTo>
                    <a:lnTo>
                      <a:pt x="620" y="381"/>
                    </a:lnTo>
                    <a:lnTo>
                      <a:pt x="619" y="391"/>
                    </a:lnTo>
                    <a:lnTo>
                      <a:pt x="616" y="399"/>
                    </a:lnTo>
                    <a:lnTo>
                      <a:pt x="616" y="405"/>
                    </a:lnTo>
                    <a:lnTo>
                      <a:pt x="620" y="425"/>
                    </a:lnTo>
                    <a:lnTo>
                      <a:pt x="638" y="431"/>
                    </a:lnTo>
                    <a:lnTo>
                      <a:pt x="641" y="434"/>
                    </a:lnTo>
                    <a:lnTo>
                      <a:pt x="644" y="448"/>
                    </a:lnTo>
                    <a:lnTo>
                      <a:pt x="656" y="467"/>
                    </a:lnTo>
                    <a:lnTo>
                      <a:pt x="658" y="477"/>
                    </a:lnTo>
                    <a:lnTo>
                      <a:pt x="658" y="500"/>
                    </a:lnTo>
                    <a:lnTo>
                      <a:pt x="657" y="529"/>
                    </a:lnTo>
                    <a:lnTo>
                      <a:pt x="656" y="533"/>
                    </a:lnTo>
                    <a:lnTo>
                      <a:pt x="649" y="544"/>
                    </a:lnTo>
                    <a:lnTo>
                      <a:pt x="644" y="555"/>
                    </a:lnTo>
                    <a:lnTo>
                      <a:pt x="644" y="561"/>
                    </a:lnTo>
                    <a:lnTo>
                      <a:pt x="644" y="569"/>
                    </a:lnTo>
                    <a:lnTo>
                      <a:pt x="646" y="574"/>
                    </a:lnTo>
                    <a:lnTo>
                      <a:pt x="647" y="586"/>
                    </a:lnTo>
                    <a:lnTo>
                      <a:pt x="646" y="587"/>
                    </a:lnTo>
                    <a:lnTo>
                      <a:pt x="638" y="590"/>
                    </a:lnTo>
                    <a:lnTo>
                      <a:pt x="637" y="591"/>
                    </a:lnTo>
                    <a:lnTo>
                      <a:pt x="631" y="585"/>
                    </a:lnTo>
                    <a:lnTo>
                      <a:pt x="630" y="581"/>
                    </a:lnTo>
                    <a:lnTo>
                      <a:pt x="615" y="560"/>
                    </a:lnTo>
                    <a:lnTo>
                      <a:pt x="605" y="552"/>
                    </a:lnTo>
                    <a:lnTo>
                      <a:pt x="595" y="544"/>
                    </a:lnTo>
                    <a:lnTo>
                      <a:pt x="582" y="541"/>
                    </a:lnTo>
                    <a:lnTo>
                      <a:pt x="539" y="541"/>
                    </a:lnTo>
                    <a:lnTo>
                      <a:pt x="535" y="541"/>
                    </a:lnTo>
                    <a:lnTo>
                      <a:pt x="504" y="549"/>
                    </a:lnTo>
                    <a:lnTo>
                      <a:pt x="501" y="549"/>
                    </a:lnTo>
                    <a:lnTo>
                      <a:pt x="447" y="566"/>
                    </a:lnTo>
                    <a:lnTo>
                      <a:pt x="428" y="570"/>
                    </a:lnTo>
                    <a:lnTo>
                      <a:pt x="426" y="576"/>
                    </a:lnTo>
                    <a:lnTo>
                      <a:pt x="423" y="591"/>
                    </a:lnTo>
                    <a:lnTo>
                      <a:pt x="412" y="607"/>
                    </a:lnTo>
                    <a:lnTo>
                      <a:pt x="401" y="625"/>
                    </a:lnTo>
                    <a:lnTo>
                      <a:pt x="401" y="628"/>
                    </a:lnTo>
                    <a:lnTo>
                      <a:pt x="401" y="654"/>
                    </a:lnTo>
                    <a:lnTo>
                      <a:pt x="402" y="658"/>
                    </a:lnTo>
                    <a:lnTo>
                      <a:pt x="402" y="665"/>
                    </a:lnTo>
                    <a:lnTo>
                      <a:pt x="391" y="705"/>
                    </a:lnTo>
                    <a:lnTo>
                      <a:pt x="383" y="720"/>
                    </a:lnTo>
                    <a:lnTo>
                      <a:pt x="375" y="716"/>
                    </a:lnTo>
                    <a:lnTo>
                      <a:pt x="369" y="711"/>
                    </a:lnTo>
                    <a:lnTo>
                      <a:pt x="362" y="706"/>
                    </a:lnTo>
                    <a:lnTo>
                      <a:pt x="359" y="705"/>
                    </a:lnTo>
                    <a:lnTo>
                      <a:pt x="351" y="704"/>
                    </a:lnTo>
                    <a:lnTo>
                      <a:pt x="334" y="704"/>
                    </a:lnTo>
                    <a:lnTo>
                      <a:pt x="315" y="701"/>
                    </a:lnTo>
                    <a:lnTo>
                      <a:pt x="307" y="701"/>
                    </a:lnTo>
                    <a:lnTo>
                      <a:pt x="304" y="705"/>
                    </a:lnTo>
                    <a:lnTo>
                      <a:pt x="300" y="724"/>
                    </a:lnTo>
                    <a:lnTo>
                      <a:pt x="297" y="735"/>
                    </a:lnTo>
                    <a:lnTo>
                      <a:pt x="296" y="741"/>
                    </a:lnTo>
                    <a:lnTo>
                      <a:pt x="293" y="741"/>
                    </a:lnTo>
                    <a:lnTo>
                      <a:pt x="282" y="730"/>
                    </a:lnTo>
                    <a:lnTo>
                      <a:pt x="281" y="726"/>
                    </a:lnTo>
                    <a:lnTo>
                      <a:pt x="278" y="725"/>
                    </a:lnTo>
                    <a:lnTo>
                      <a:pt x="275" y="719"/>
                    </a:lnTo>
                    <a:lnTo>
                      <a:pt x="271" y="715"/>
                    </a:lnTo>
                    <a:lnTo>
                      <a:pt x="250" y="710"/>
                    </a:lnTo>
                    <a:lnTo>
                      <a:pt x="245" y="710"/>
                    </a:lnTo>
                    <a:lnTo>
                      <a:pt x="237" y="708"/>
                    </a:lnTo>
                    <a:lnTo>
                      <a:pt x="211" y="708"/>
                    </a:lnTo>
                    <a:lnTo>
                      <a:pt x="202" y="695"/>
                    </a:lnTo>
                    <a:lnTo>
                      <a:pt x="196" y="689"/>
                    </a:lnTo>
                    <a:lnTo>
                      <a:pt x="192" y="689"/>
                    </a:lnTo>
                    <a:lnTo>
                      <a:pt x="189" y="690"/>
                    </a:lnTo>
                    <a:lnTo>
                      <a:pt x="176" y="708"/>
                    </a:lnTo>
                    <a:lnTo>
                      <a:pt x="165" y="716"/>
                    </a:lnTo>
                    <a:lnTo>
                      <a:pt x="157" y="725"/>
                    </a:lnTo>
                    <a:lnTo>
                      <a:pt x="151" y="733"/>
                    </a:lnTo>
                    <a:lnTo>
                      <a:pt x="149" y="737"/>
                    </a:lnTo>
                    <a:lnTo>
                      <a:pt x="143" y="747"/>
                    </a:lnTo>
                    <a:lnTo>
                      <a:pt x="138" y="752"/>
                    </a:lnTo>
                    <a:lnTo>
                      <a:pt x="136" y="752"/>
                    </a:lnTo>
                    <a:lnTo>
                      <a:pt x="126" y="752"/>
                    </a:lnTo>
                    <a:lnTo>
                      <a:pt x="120" y="754"/>
                    </a:lnTo>
                    <a:lnTo>
                      <a:pt x="108" y="754"/>
                    </a:lnTo>
                    <a:lnTo>
                      <a:pt x="101" y="754"/>
                    </a:lnTo>
                    <a:lnTo>
                      <a:pt x="94" y="751"/>
                    </a:lnTo>
                    <a:lnTo>
                      <a:pt x="94" y="749"/>
                    </a:lnTo>
                    <a:lnTo>
                      <a:pt x="90" y="737"/>
                    </a:lnTo>
                    <a:lnTo>
                      <a:pt x="90" y="733"/>
                    </a:lnTo>
                    <a:lnTo>
                      <a:pt x="86" y="711"/>
                    </a:lnTo>
                    <a:lnTo>
                      <a:pt x="86" y="693"/>
                    </a:lnTo>
                    <a:lnTo>
                      <a:pt x="83" y="671"/>
                    </a:lnTo>
                    <a:lnTo>
                      <a:pt x="77" y="661"/>
                    </a:lnTo>
                    <a:lnTo>
                      <a:pt x="77" y="652"/>
                    </a:lnTo>
                    <a:lnTo>
                      <a:pt x="74" y="639"/>
                    </a:lnTo>
                    <a:lnTo>
                      <a:pt x="73" y="635"/>
                    </a:lnTo>
                    <a:lnTo>
                      <a:pt x="66" y="628"/>
                    </a:lnTo>
                    <a:lnTo>
                      <a:pt x="61" y="626"/>
                    </a:lnTo>
                    <a:lnTo>
                      <a:pt x="58" y="623"/>
                    </a:lnTo>
                    <a:lnTo>
                      <a:pt x="58" y="615"/>
                    </a:lnTo>
                    <a:lnTo>
                      <a:pt x="58" y="607"/>
                    </a:lnTo>
                    <a:lnTo>
                      <a:pt x="55" y="602"/>
                    </a:lnTo>
                    <a:lnTo>
                      <a:pt x="47" y="598"/>
                    </a:lnTo>
                    <a:lnTo>
                      <a:pt x="47" y="592"/>
                    </a:lnTo>
                    <a:lnTo>
                      <a:pt x="50" y="580"/>
                    </a:lnTo>
                    <a:lnTo>
                      <a:pt x="51" y="579"/>
                    </a:lnTo>
                    <a:lnTo>
                      <a:pt x="58" y="575"/>
                    </a:lnTo>
                    <a:lnTo>
                      <a:pt x="61" y="574"/>
                    </a:lnTo>
                    <a:lnTo>
                      <a:pt x="61" y="570"/>
                    </a:lnTo>
                    <a:lnTo>
                      <a:pt x="57" y="564"/>
                    </a:lnTo>
                    <a:lnTo>
                      <a:pt x="58" y="558"/>
                    </a:lnTo>
                    <a:lnTo>
                      <a:pt x="62" y="553"/>
                    </a:lnTo>
                    <a:lnTo>
                      <a:pt x="61" y="543"/>
                    </a:lnTo>
                    <a:lnTo>
                      <a:pt x="54" y="536"/>
                    </a:lnTo>
                    <a:lnTo>
                      <a:pt x="41" y="526"/>
                    </a:lnTo>
                    <a:lnTo>
                      <a:pt x="36" y="521"/>
                    </a:lnTo>
                    <a:lnTo>
                      <a:pt x="33" y="512"/>
                    </a:lnTo>
                    <a:lnTo>
                      <a:pt x="29" y="480"/>
                    </a:lnTo>
                    <a:lnTo>
                      <a:pt x="29" y="470"/>
                    </a:lnTo>
                    <a:lnTo>
                      <a:pt x="22" y="461"/>
                    </a:lnTo>
                    <a:lnTo>
                      <a:pt x="18" y="457"/>
                    </a:lnTo>
                    <a:lnTo>
                      <a:pt x="7" y="443"/>
                    </a:lnTo>
                    <a:lnTo>
                      <a:pt x="4" y="443"/>
                    </a:lnTo>
                    <a:lnTo>
                      <a:pt x="2" y="439"/>
                    </a:lnTo>
                    <a:lnTo>
                      <a:pt x="0" y="437"/>
                    </a:lnTo>
                    <a:lnTo>
                      <a:pt x="1" y="431"/>
                    </a:lnTo>
                    <a:lnTo>
                      <a:pt x="12" y="412"/>
                    </a:lnTo>
                    <a:lnTo>
                      <a:pt x="23" y="400"/>
                    </a:lnTo>
                    <a:lnTo>
                      <a:pt x="35" y="383"/>
                    </a:lnTo>
                    <a:lnTo>
                      <a:pt x="36" y="373"/>
                    </a:lnTo>
                    <a:lnTo>
                      <a:pt x="35" y="370"/>
                    </a:lnTo>
                    <a:lnTo>
                      <a:pt x="29" y="365"/>
                    </a:lnTo>
                    <a:lnTo>
                      <a:pt x="24" y="362"/>
                    </a:lnTo>
                    <a:lnTo>
                      <a:pt x="20" y="357"/>
                    </a:lnTo>
                    <a:lnTo>
                      <a:pt x="18" y="356"/>
                    </a:lnTo>
                    <a:lnTo>
                      <a:pt x="17" y="350"/>
                    </a:lnTo>
                    <a:lnTo>
                      <a:pt x="15" y="342"/>
                    </a:lnTo>
                    <a:lnTo>
                      <a:pt x="17" y="328"/>
                    </a:lnTo>
                    <a:lnTo>
                      <a:pt x="22" y="319"/>
                    </a:lnTo>
                    <a:lnTo>
                      <a:pt x="27" y="316"/>
                    </a:lnTo>
                    <a:lnTo>
                      <a:pt x="29" y="308"/>
                    </a:lnTo>
                    <a:lnTo>
                      <a:pt x="29" y="303"/>
                    </a:lnTo>
                    <a:lnTo>
                      <a:pt x="27" y="297"/>
                    </a:lnTo>
                    <a:lnTo>
                      <a:pt x="18" y="286"/>
                    </a:lnTo>
                    <a:lnTo>
                      <a:pt x="18" y="283"/>
                    </a:lnTo>
                    <a:lnTo>
                      <a:pt x="22" y="276"/>
                    </a:lnTo>
                    <a:lnTo>
                      <a:pt x="35" y="270"/>
                    </a:lnTo>
                    <a:lnTo>
                      <a:pt x="36" y="268"/>
                    </a:lnTo>
                    <a:lnTo>
                      <a:pt x="36" y="249"/>
                    </a:lnTo>
                    <a:lnTo>
                      <a:pt x="33" y="231"/>
                    </a:lnTo>
                    <a:lnTo>
                      <a:pt x="33" y="220"/>
                    </a:lnTo>
                    <a:lnTo>
                      <a:pt x="35" y="201"/>
                    </a:lnTo>
                    <a:lnTo>
                      <a:pt x="35" y="177"/>
                    </a:lnTo>
                    <a:lnTo>
                      <a:pt x="40" y="166"/>
                    </a:lnTo>
                    <a:lnTo>
                      <a:pt x="47" y="157"/>
                    </a:lnTo>
                    <a:lnTo>
                      <a:pt x="50" y="155"/>
                    </a:lnTo>
                    <a:lnTo>
                      <a:pt x="50" y="152"/>
                    </a:lnTo>
                    <a:lnTo>
                      <a:pt x="35" y="129"/>
                    </a:lnTo>
                    <a:lnTo>
                      <a:pt x="1" y="7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39" name="Freeform 252"/>
              <p:cNvSpPr>
                <a:spLocks noChangeAspect="1"/>
              </p:cNvSpPr>
              <p:nvPr/>
            </p:nvSpPr>
            <p:spPr bwMode="gray">
              <a:xfrm>
                <a:off x="1874" y="2831"/>
                <a:ext cx="59" cy="63"/>
              </a:xfrm>
              <a:custGeom>
                <a:avLst/>
                <a:gdLst/>
                <a:ahLst/>
                <a:cxnLst>
                  <a:cxn ang="0">
                    <a:pos x="2" y="252"/>
                  </a:cxn>
                  <a:cxn ang="0">
                    <a:pos x="26" y="272"/>
                  </a:cxn>
                  <a:cxn ang="0">
                    <a:pos x="56" y="283"/>
                  </a:cxn>
                  <a:cxn ang="0">
                    <a:pos x="91" y="297"/>
                  </a:cxn>
                  <a:cxn ang="0">
                    <a:pos x="115" y="304"/>
                  </a:cxn>
                  <a:cxn ang="0">
                    <a:pos x="129" y="310"/>
                  </a:cxn>
                  <a:cxn ang="0">
                    <a:pos x="162" y="307"/>
                  </a:cxn>
                  <a:cxn ang="0">
                    <a:pos x="197" y="314"/>
                  </a:cxn>
                  <a:cxn ang="0">
                    <a:pos x="225" y="303"/>
                  </a:cxn>
                  <a:cxn ang="0">
                    <a:pos x="246" y="283"/>
                  </a:cxn>
                  <a:cxn ang="0">
                    <a:pos x="253" y="272"/>
                  </a:cxn>
                  <a:cxn ang="0">
                    <a:pos x="268" y="253"/>
                  </a:cxn>
                  <a:cxn ang="0">
                    <a:pos x="276" y="236"/>
                  </a:cxn>
                  <a:cxn ang="0">
                    <a:pos x="271" y="229"/>
                  </a:cxn>
                  <a:cxn ang="0">
                    <a:pos x="274" y="199"/>
                  </a:cxn>
                  <a:cxn ang="0">
                    <a:pos x="281" y="184"/>
                  </a:cxn>
                  <a:cxn ang="0">
                    <a:pos x="286" y="175"/>
                  </a:cxn>
                  <a:cxn ang="0">
                    <a:pos x="292" y="172"/>
                  </a:cxn>
                  <a:cxn ang="0">
                    <a:pos x="267" y="148"/>
                  </a:cxn>
                  <a:cxn ang="0">
                    <a:pos x="260" y="126"/>
                  </a:cxn>
                  <a:cxn ang="0">
                    <a:pos x="242" y="113"/>
                  </a:cxn>
                  <a:cxn ang="0">
                    <a:pos x="228" y="108"/>
                  </a:cxn>
                  <a:cxn ang="0">
                    <a:pos x="215" y="91"/>
                  </a:cxn>
                  <a:cxn ang="0">
                    <a:pos x="200" y="86"/>
                  </a:cxn>
                  <a:cxn ang="0">
                    <a:pos x="185" y="77"/>
                  </a:cxn>
                  <a:cxn ang="0">
                    <a:pos x="178" y="73"/>
                  </a:cxn>
                  <a:cxn ang="0">
                    <a:pos x="166" y="55"/>
                  </a:cxn>
                  <a:cxn ang="0">
                    <a:pos x="160" y="48"/>
                  </a:cxn>
                  <a:cxn ang="0">
                    <a:pos x="142" y="60"/>
                  </a:cxn>
                  <a:cxn ang="0">
                    <a:pos x="133" y="50"/>
                  </a:cxn>
                  <a:cxn ang="0">
                    <a:pos x="119" y="27"/>
                  </a:cxn>
                  <a:cxn ang="0">
                    <a:pos x="103" y="12"/>
                  </a:cxn>
                  <a:cxn ang="0">
                    <a:pos x="85" y="0"/>
                  </a:cxn>
                  <a:cxn ang="0">
                    <a:pos x="75" y="2"/>
                  </a:cxn>
                  <a:cxn ang="0">
                    <a:pos x="64" y="12"/>
                  </a:cxn>
                  <a:cxn ang="0">
                    <a:pos x="44" y="16"/>
                  </a:cxn>
                  <a:cxn ang="0">
                    <a:pos x="33" y="27"/>
                  </a:cxn>
                  <a:cxn ang="0">
                    <a:pos x="31" y="72"/>
                  </a:cxn>
                  <a:cxn ang="0">
                    <a:pos x="29" y="97"/>
                  </a:cxn>
                  <a:cxn ang="0">
                    <a:pos x="20" y="172"/>
                  </a:cxn>
                  <a:cxn ang="0">
                    <a:pos x="16" y="188"/>
                  </a:cxn>
                  <a:cxn ang="0">
                    <a:pos x="5" y="210"/>
                  </a:cxn>
                  <a:cxn ang="0">
                    <a:pos x="0" y="252"/>
                  </a:cxn>
                </a:cxnLst>
                <a:rect l="0" t="0" r="r" b="b"/>
                <a:pathLst>
                  <a:path w="292" h="314">
                    <a:moveTo>
                      <a:pt x="0" y="252"/>
                    </a:moveTo>
                    <a:lnTo>
                      <a:pt x="2" y="252"/>
                    </a:lnTo>
                    <a:lnTo>
                      <a:pt x="9" y="253"/>
                    </a:lnTo>
                    <a:lnTo>
                      <a:pt x="26" y="272"/>
                    </a:lnTo>
                    <a:lnTo>
                      <a:pt x="29" y="281"/>
                    </a:lnTo>
                    <a:lnTo>
                      <a:pt x="56" y="283"/>
                    </a:lnTo>
                    <a:lnTo>
                      <a:pt x="66" y="283"/>
                    </a:lnTo>
                    <a:lnTo>
                      <a:pt x="91" y="297"/>
                    </a:lnTo>
                    <a:lnTo>
                      <a:pt x="104" y="302"/>
                    </a:lnTo>
                    <a:lnTo>
                      <a:pt x="115" y="304"/>
                    </a:lnTo>
                    <a:lnTo>
                      <a:pt x="123" y="309"/>
                    </a:lnTo>
                    <a:lnTo>
                      <a:pt x="129" y="310"/>
                    </a:lnTo>
                    <a:lnTo>
                      <a:pt x="149" y="307"/>
                    </a:lnTo>
                    <a:lnTo>
                      <a:pt x="162" y="307"/>
                    </a:lnTo>
                    <a:lnTo>
                      <a:pt x="183" y="310"/>
                    </a:lnTo>
                    <a:lnTo>
                      <a:pt x="197" y="314"/>
                    </a:lnTo>
                    <a:lnTo>
                      <a:pt x="212" y="309"/>
                    </a:lnTo>
                    <a:lnTo>
                      <a:pt x="225" y="303"/>
                    </a:lnTo>
                    <a:lnTo>
                      <a:pt x="236" y="295"/>
                    </a:lnTo>
                    <a:lnTo>
                      <a:pt x="246" y="283"/>
                    </a:lnTo>
                    <a:lnTo>
                      <a:pt x="249" y="281"/>
                    </a:lnTo>
                    <a:lnTo>
                      <a:pt x="253" y="272"/>
                    </a:lnTo>
                    <a:lnTo>
                      <a:pt x="260" y="265"/>
                    </a:lnTo>
                    <a:lnTo>
                      <a:pt x="268" y="253"/>
                    </a:lnTo>
                    <a:lnTo>
                      <a:pt x="271" y="240"/>
                    </a:lnTo>
                    <a:lnTo>
                      <a:pt x="276" y="236"/>
                    </a:lnTo>
                    <a:lnTo>
                      <a:pt x="273" y="231"/>
                    </a:lnTo>
                    <a:lnTo>
                      <a:pt x="271" y="229"/>
                    </a:lnTo>
                    <a:lnTo>
                      <a:pt x="274" y="215"/>
                    </a:lnTo>
                    <a:lnTo>
                      <a:pt x="274" y="199"/>
                    </a:lnTo>
                    <a:lnTo>
                      <a:pt x="276" y="191"/>
                    </a:lnTo>
                    <a:lnTo>
                      <a:pt x="281" y="184"/>
                    </a:lnTo>
                    <a:lnTo>
                      <a:pt x="284" y="183"/>
                    </a:lnTo>
                    <a:lnTo>
                      <a:pt x="286" y="175"/>
                    </a:lnTo>
                    <a:lnTo>
                      <a:pt x="291" y="174"/>
                    </a:lnTo>
                    <a:lnTo>
                      <a:pt x="292" y="172"/>
                    </a:lnTo>
                    <a:lnTo>
                      <a:pt x="287" y="163"/>
                    </a:lnTo>
                    <a:lnTo>
                      <a:pt x="267" y="148"/>
                    </a:lnTo>
                    <a:lnTo>
                      <a:pt x="264" y="145"/>
                    </a:lnTo>
                    <a:lnTo>
                      <a:pt x="260" y="126"/>
                    </a:lnTo>
                    <a:lnTo>
                      <a:pt x="257" y="120"/>
                    </a:lnTo>
                    <a:lnTo>
                      <a:pt x="242" y="113"/>
                    </a:lnTo>
                    <a:lnTo>
                      <a:pt x="237" y="112"/>
                    </a:lnTo>
                    <a:lnTo>
                      <a:pt x="228" y="108"/>
                    </a:lnTo>
                    <a:lnTo>
                      <a:pt x="222" y="102"/>
                    </a:lnTo>
                    <a:lnTo>
                      <a:pt x="215" y="91"/>
                    </a:lnTo>
                    <a:lnTo>
                      <a:pt x="212" y="87"/>
                    </a:lnTo>
                    <a:lnTo>
                      <a:pt x="200" y="86"/>
                    </a:lnTo>
                    <a:lnTo>
                      <a:pt x="193" y="77"/>
                    </a:lnTo>
                    <a:lnTo>
                      <a:pt x="185" y="77"/>
                    </a:lnTo>
                    <a:lnTo>
                      <a:pt x="181" y="76"/>
                    </a:lnTo>
                    <a:lnTo>
                      <a:pt x="178" y="73"/>
                    </a:lnTo>
                    <a:lnTo>
                      <a:pt x="171" y="65"/>
                    </a:lnTo>
                    <a:lnTo>
                      <a:pt x="166" y="55"/>
                    </a:lnTo>
                    <a:lnTo>
                      <a:pt x="165" y="51"/>
                    </a:lnTo>
                    <a:lnTo>
                      <a:pt x="160" y="48"/>
                    </a:lnTo>
                    <a:lnTo>
                      <a:pt x="146" y="59"/>
                    </a:lnTo>
                    <a:lnTo>
                      <a:pt x="142" y="60"/>
                    </a:lnTo>
                    <a:lnTo>
                      <a:pt x="134" y="59"/>
                    </a:lnTo>
                    <a:lnTo>
                      <a:pt x="133" y="50"/>
                    </a:lnTo>
                    <a:lnTo>
                      <a:pt x="128" y="35"/>
                    </a:lnTo>
                    <a:lnTo>
                      <a:pt x="119" y="27"/>
                    </a:lnTo>
                    <a:lnTo>
                      <a:pt x="108" y="17"/>
                    </a:lnTo>
                    <a:lnTo>
                      <a:pt x="103" y="12"/>
                    </a:lnTo>
                    <a:lnTo>
                      <a:pt x="91" y="2"/>
                    </a:lnTo>
                    <a:lnTo>
                      <a:pt x="85" y="0"/>
                    </a:lnTo>
                    <a:lnTo>
                      <a:pt x="80" y="0"/>
                    </a:lnTo>
                    <a:lnTo>
                      <a:pt x="75" y="2"/>
                    </a:lnTo>
                    <a:lnTo>
                      <a:pt x="71" y="8"/>
                    </a:lnTo>
                    <a:lnTo>
                      <a:pt x="64" y="12"/>
                    </a:lnTo>
                    <a:lnTo>
                      <a:pt x="45" y="10"/>
                    </a:lnTo>
                    <a:lnTo>
                      <a:pt x="44" y="16"/>
                    </a:lnTo>
                    <a:lnTo>
                      <a:pt x="34" y="24"/>
                    </a:lnTo>
                    <a:lnTo>
                      <a:pt x="33" y="27"/>
                    </a:lnTo>
                    <a:lnTo>
                      <a:pt x="34" y="50"/>
                    </a:lnTo>
                    <a:lnTo>
                      <a:pt x="31" y="72"/>
                    </a:lnTo>
                    <a:lnTo>
                      <a:pt x="31" y="87"/>
                    </a:lnTo>
                    <a:lnTo>
                      <a:pt x="29" y="97"/>
                    </a:lnTo>
                    <a:lnTo>
                      <a:pt x="20" y="121"/>
                    </a:lnTo>
                    <a:lnTo>
                      <a:pt x="20" y="172"/>
                    </a:lnTo>
                    <a:lnTo>
                      <a:pt x="18" y="182"/>
                    </a:lnTo>
                    <a:lnTo>
                      <a:pt x="16" y="188"/>
                    </a:lnTo>
                    <a:lnTo>
                      <a:pt x="9" y="201"/>
                    </a:lnTo>
                    <a:lnTo>
                      <a:pt x="5" y="210"/>
                    </a:lnTo>
                    <a:lnTo>
                      <a:pt x="1" y="236"/>
                    </a:lnTo>
                    <a:lnTo>
                      <a:pt x="0" y="25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0" name="Freeform 253"/>
              <p:cNvSpPr>
                <a:spLocks noChangeAspect="1"/>
              </p:cNvSpPr>
              <p:nvPr/>
            </p:nvSpPr>
            <p:spPr bwMode="gray">
              <a:xfrm>
                <a:off x="1844" y="2396"/>
                <a:ext cx="53" cy="77"/>
              </a:xfrm>
              <a:custGeom>
                <a:avLst/>
                <a:gdLst/>
                <a:ahLst/>
                <a:cxnLst>
                  <a:cxn ang="0">
                    <a:pos x="89" y="0"/>
                  </a:cxn>
                  <a:cxn ang="0">
                    <a:pos x="141" y="41"/>
                  </a:cxn>
                  <a:cxn ang="0">
                    <a:pos x="152" y="83"/>
                  </a:cxn>
                  <a:cxn ang="0">
                    <a:pos x="172" y="84"/>
                  </a:cxn>
                  <a:cxn ang="0">
                    <a:pos x="195" y="94"/>
                  </a:cxn>
                  <a:cxn ang="0">
                    <a:pos x="211" y="112"/>
                  </a:cxn>
                  <a:cxn ang="0">
                    <a:pos x="232" y="139"/>
                  </a:cxn>
                  <a:cxn ang="0">
                    <a:pos x="217" y="159"/>
                  </a:cxn>
                  <a:cxn ang="0">
                    <a:pos x="220" y="165"/>
                  </a:cxn>
                  <a:cxn ang="0">
                    <a:pos x="212" y="182"/>
                  </a:cxn>
                  <a:cxn ang="0">
                    <a:pos x="189" y="186"/>
                  </a:cxn>
                  <a:cxn ang="0">
                    <a:pos x="183" y="193"/>
                  </a:cxn>
                  <a:cxn ang="0">
                    <a:pos x="174" y="228"/>
                  </a:cxn>
                  <a:cxn ang="0">
                    <a:pos x="189" y="255"/>
                  </a:cxn>
                  <a:cxn ang="0">
                    <a:pos x="200" y="268"/>
                  </a:cxn>
                  <a:cxn ang="0">
                    <a:pos x="217" y="273"/>
                  </a:cxn>
                  <a:cxn ang="0">
                    <a:pos x="226" y="289"/>
                  </a:cxn>
                  <a:cxn ang="0">
                    <a:pos x="233" y="311"/>
                  </a:cxn>
                  <a:cxn ang="0">
                    <a:pos x="263" y="347"/>
                  </a:cxn>
                  <a:cxn ang="0">
                    <a:pos x="254" y="350"/>
                  </a:cxn>
                  <a:cxn ang="0">
                    <a:pos x="233" y="348"/>
                  </a:cxn>
                  <a:cxn ang="0">
                    <a:pos x="213" y="353"/>
                  </a:cxn>
                  <a:cxn ang="0">
                    <a:pos x="183" y="366"/>
                  </a:cxn>
                  <a:cxn ang="0">
                    <a:pos x="158" y="374"/>
                  </a:cxn>
                  <a:cxn ang="0">
                    <a:pos x="134" y="386"/>
                  </a:cxn>
                  <a:cxn ang="0">
                    <a:pos x="102" y="369"/>
                  </a:cxn>
                  <a:cxn ang="0">
                    <a:pos x="91" y="357"/>
                  </a:cxn>
                  <a:cxn ang="0">
                    <a:pos x="89" y="332"/>
                  </a:cxn>
                  <a:cxn ang="0">
                    <a:pos x="77" y="288"/>
                  </a:cxn>
                  <a:cxn ang="0">
                    <a:pos x="86" y="257"/>
                  </a:cxn>
                  <a:cxn ang="0">
                    <a:pos x="95" y="234"/>
                  </a:cxn>
                  <a:cxn ang="0">
                    <a:pos x="79" y="209"/>
                  </a:cxn>
                  <a:cxn ang="0">
                    <a:pos x="72" y="193"/>
                  </a:cxn>
                  <a:cxn ang="0">
                    <a:pos x="67" y="171"/>
                  </a:cxn>
                  <a:cxn ang="0">
                    <a:pos x="37" y="174"/>
                  </a:cxn>
                  <a:cxn ang="0">
                    <a:pos x="27" y="163"/>
                  </a:cxn>
                  <a:cxn ang="0">
                    <a:pos x="0" y="128"/>
                  </a:cxn>
                  <a:cxn ang="0">
                    <a:pos x="1" y="121"/>
                  </a:cxn>
                  <a:cxn ang="0">
                    <a:pos x="11" y="91"/>
                  </a:cxn>
                  <a:cxn ang="0">
                    <a:pos x="40" y="75"/>
                  </a:cxn>
                  <a:cxn ang="0">
                    <a:pos x="38" y="64"/>
                  </a:cxn>
                  <a:cxn ang="0">
                    <a:pos x="24" y="52"/>
                  </a:cxn>
                  <a:cxn ang="0">
                    <a:pos x="29" y="35"/>
                  </a:cxn>
                  <a:cxn ang="0">
                    <a:pos x="46" y="26"/>
                  </a:cxn>
                  <a:cxn ang="0">
                    <a:pos x="72" y="13"/>
                  </a:cxn>
                  <a:cxn ang="0">
                    <a:pos x="81" y="2"/>
                  </a:cxn>
                </a:cxnLst>
                <a:rect l="0" t="0" r="r" b="b"/>
                <a:pathLst>
                  <a:path w="265" h="386">
                    <a:moveTo>
                      <a:pt x="81" y="2"/>
                    </a:moveTo>
                    <a:lnTo>
                      <a:pt x="87" y="3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108" y="10"/>
                    </a:lnTo>
                    <a:lnTo>
                      <a:pt x="141" y="41"/>
                    </a:lnTo>
                    <a:lnTo>
                      <a:pt x="150" y="53"/>
                    </a:lnTo>
                    <a:lnTo>
                      <a:pt x="151" y="59"/>
                    </a:lnTo>
                    <a:lnTo>
                      <a:pt x="152" y="83"/>
                    </a:lnTo>
                    <a:lnTo>
                      <a:pt x="156" y="84"/>
                    </a:lnTo>
                    <a:lnTo>
                      <a:pt x="162" y="84"/>
                    </a:lnTo>
                    <a:lnTo>
                      <a:pt x="172" y="84"/>
                    </a:lnTo>
                    <a:lnTo>
                      <a:pt x="179" y="85"/>
                    </a:lnTo>
                    <a:lnTo>
                      <a:pt x="183" y="88"/>
                    </a:lnTo>
                    <a:lnTo>
                      <a:pt x="195" y="94"/>
                    </a:lnTo>
                    <a:lnTo>
                      <a:pt x="197" y="96"/>
                    </a:lnTo>
                    <a:lnTo>
                      <a:pt x="202" y="104"/>
                    </a:lnTo>
                    <a:lnTo>
                      <a:pt x="211" y="112"/>
                    </a:lnTo>
                    <a:lnTo>
                      <a:pt x="222" y="120"/>
                    </a:lnTo>
                    <a:lnTo>
                      <a:pt x="228" y="136"/>
                    </a:lnTo>
                    <a:lnTo>
                      <a:pt x="232" y="139"/>
                    </a:lnTo>
                    <a:lnTo>
                      <a:pt x="231" y="142"/>
                    </a:lnTo>
                    <a:lnTo>
                      <a:pt x="224" y="148"/>
                    </a:lnTo>
                    <a:lnTo>
                      <a:pt x="217" y="159"/>
                    </a:lnTo>
                    <a:lnTo>
                      <a:pt x="216" y="163"/>
                    </a:lnTo>
                    <a:lnTo>
                      <a:pt x="218" y="165"/>
                    </a:lnTo>
                    <a:lnTo>
                      <a:pt x="220" y="165"/>
                    </a:lnTo>
                    <a:lnTo>
                      <a:pt x="220" y="172"/>
                    </a:lnTo>
                    <a:lnTo>
                      <a:pt x="213" y="179"/>
                    </a:lnTo>
                    <a:lnTo>
                      <a:pt x="212" y="182"/>
                    </a:lnTo>
                    <a:lnTo>
                      <a:pt x="205" y="183"/>
                    </a:lnTo>
                    <a:lnTo>
                      <a:pt x="196" y="183"/>
                    </a:lnTo>
                    <a:lnTo>
                      <a:pt x="189" y="186"/>
                    </a:lnTo>
                    <a:lnTo>
                      <a:pt x="185" y="188"/>
                    </a:lnTo>
                    <a:lnTo>
                      <a:pt x="184" y="191"/>
                    </a:lnTo>
                    <a:lnTo>
                      <a:pt x="183" y="193"/>
                    </a:lnTo>
                    <a:lnTo>
                      <a:pt x="181" y="208"/>
                    </a:lnTo>
                    <a:lnTo>
                      <a:pt x="178" y="217"/>
                    </a:lnTo>
                    <a:lnTo>
                      <a:pt x="174" y="228"/>
                    </a:lnTo>
                    <a:lnTo>
                      <a:pt x="174" y="234"/>
                    </a:lnTo>
                    <a:lnTo>
                      <a:pt x="180" y="240"/>
                    </a:lnTo>
                    <a:lnTo>
                      <a:pt x="189" y="255"/>
                    </a:lnTo>
                    <a:lnTo>
                      <a:pt x="191" y="256"/>
                    </a:lnTo>
                    <a:lnTo>
                      <a:pt x="200" y="263"/>
                    </a:lnTo>
                    <a:lnTo>
                      <a:pt x="200" y="268"/>
                    </a:lnTo>
                    <a:lnTo>
                      <a:pt x="204" y="272"/>
                    </a:lnTo>
                    <a:lnTo>
                      <a:pt x="205" y="273"/>
                    </a:lnTo>
                    <a:lnTo>
                      <a:pt x="217" y="273"/>
                    </a:lnTo>
                    <a:lnTo>
                      <a:pt x="220" y="276"/>
                    </a:lnTo>
                    <a:lnTo>
                      <a:pt x="221" y="284"/>
                    </a:lnTo>
                    <a:lnTo>
                      <a:pt x="226" y="289"/>
                    </a:lnTo>
                    <a:lnTo>
                      <a:pt x="226" y="299"/>
                    </a:lnTo>
                    <a:lnTo>
                      <a:pt x="232" y="305"/>
                    </a:lnTo>
                    <a:lnTo>
                      <a:pt x="233" y="311"/>
                    </a:lnTo>
                    <a:lnTo>
                      <a:pt x="239" y="321"/>
                    </a:lnTo>
                    <a:lnTo>
                      <a:pt x="253" y="338"/>
                    </a:lnTo>
                    <a:lnTo>
                      <a:pt x="263" y="347"/>
                    </a:lnTo>
                    <a:lnTo>
                      <a:pt x="265" y="347"/>
                    </a:lnTo>
                    <a:lnTo>
                      <a:pt x="265" y="349"/>
                    </a:lnTo>
                    <a:lnTo>
                      <a:pt x="254" y="350"/>
                    </a:lnTo>
                    <a:lnTo>
                      <a:pt x="240" y="352"/>
                    </a:lnTo>
                    <a:lnTo>
                      <a:pt x="234" y="349"/>
                    </a:lnTo>
                    <a:lnTo>
                      <a:pt x="233" y="348"/>
                    </a:lnTo>
                    <a:lnTo>
                      <a:pt x="229" y="347"/>
                    </a:lnTo>
                    <a:lnTo>
                      <a:pt x="224" y="347"/>
                    </a:lnTo>
                    <a:lnTo>
                      <a:pt x="213" y="353"/>
                    </a:lnTo>
                    <a:lnTo>
                      <a:pt x="205" y="363"/>
                    </a:lnTo>
                    <a:lnTo>
                      <a:pt x="191" y="363"/>
                    </a:lnTo>
                    <a:lnTo>
                      <a:pt x="183" y="366"/>
                    </a:lnTo>
                    <a:lnTo>
                      <a:pt x="178" y="371"/>
                    </a:lnTo>
                    <a:lnTo>
                      <a:pt x="167" y="371"/>
                    </a:lnTo>
                    <a:lnTo>
                      <a:pt x="158" y="374"/>
                    </a:lnTo>
                    <a:lnTo>
                      <a:pt x="152" y="384"/>
                    </a:lnTo>
                    <a:lnTo>
                      <a:pt x="147" y="386"/>
                    </a:lnTo>
                    <a:lnTo>
                      <a:pt x="134" y="386"/>
                    </a:lnTo>
                    <a:lnTo>
                      <a:pt x="124" y="384"/>
                    </a:lnTo>
                    <a:lnTo>
                      <a:pt x="108" y="374"/>
                    </a:lnTo>
                    <a:lnTo>
                      <a:pt x="102" y="369"/>
                    </a:lnTo>
                    <a:lnTo>
                      <a:pt x="98" y="363"/>
                    </a:lnTo>
                    <a:lnTo>
                      <a:pt x="95" y="362"/>
                    </a:lnTo>
                    <a:lnTo>
                      <a:pt x="91" y="357"/>
                    </a:lnTo>
                    <a:lnTo>
                      <a:pt x="89" y="354"/>
                    </a:lnTo>
                    <a:lnTo>
                      <a:pt x="91" y="341"/>
                    </a:lnTo>
                    <a:lnTo>
                      <a:pt x="89" y="332"/>
                    </a:lnTo>
                    <a:lnTo>
                      <a:pt x="78" y="322"/>
                    </a:lnTo>
                    <a:lnTo>
                      <a:pt x="77" y="319"/>
                    </a:lnTo>
                    <a:lnTo>
                      <a:pt x="77" y="288"/>
                    </a:lnTo>
                    <a:lnTo>
                      <a:pt x="83" y="274"/>
                    </a:lnTo>
                    <a:lnTo>
                      <a:pt x="86" y="267"/>
                    </a:lnTo>
                    <a:lnTo>
                      <a:pt x="86" y="257"/>
                    </a:lnTo>
                    <a:lnTo>
                      <a:pt x="95" y="244"/>
                    </a:lnTo>
                    <a:lnTo>
                      <a:pt x="97" y="241"/>
                    </a:lnTo>
                    <a:lnTo>
                      <a:pt x="95" y="234"/>
                    </a:lnTo>
                    <a:lnTo>
                      <a:pt x="91" y="228"/>
                    </a:lnTo>
                    <a:lnTo>
                      <a:pt x="91" y="213"/>
                    </a:lnTo>
                    <a:lnTo>
                      <a:pt x="79" y="209"/>
                    </a:lnTo>
                    <a:lnTo>
                      <a:pt x="77" y="208"/>
                    </a:lnTo>
                    <a:lnTo>
                      <a:pt x="68" y="207"/>
                    </a:lnTo>
                    <a:lnTo>
                      <a:pt x="72" y="193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67" y="171"/>
                    </a:lnTo>
                    <a:lnTo>
                      <a:pt x="59" y="171"/>
                    </a:lnTo>
                    <a:lnTo>
                      <a:pt x="46" y="175"/>
                    </a:lnTo>
                    <a:lnTo>
                      <a:pt x="37" y="174"/>
                    </a:lnTo>
                    <a:lnTo>
                      <a:pt x="37" y="171"/>
                    </a:lnTo>
                    <a:lnTo>
                      <a:pt x="33" y="169"/>
                    </a:lnTo>
                    <a:lnTo>
                      <a:pt x="27" y="163"/>
                    </a:lnTo>
                    <a:lnTo>
                      <a:pt x="23" y="155"/>
                    </a:lnTo>
                    <a:lnTo>
                      <a:pt x="12" y="144"/>
                    </a:lnTo>
                    <a:lnTo>
                      <a:pt x="0" y="128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1" y="121"/>
                    </a:lnTo>
                    <a:lnTo>
                      <a:pt x="7" y="112"/>
                    </a:lnTo>
                    <a:lnTo>
                      <a:pt x="11" y="106"/>
                    </a:lnTo>
                    <a:lnTo>
                      <a:pt x="11" y="91"/>
                    </a:lnTo>
                    <a:lnTo>
                      <a:pt x="12" y="89"/>
                    </a:lnTo>
                    <a:lnTo>
                      <a:pt x="29" y="83"/>
                    </a:lnTo>
                    <a:lnTo>
                      <a:pt x="40" y="75"/>
                    </a:lnTo>
                    <a:lnTo>
                      <a:pt x="45" y="69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2" y="66"/>
                    </a:lnTo>
                    <a:lnTo>
                      <a:pt x="27" y="64"/>
                    </a:lnTo>
                    <a:lnTo>
                      <a:pt x="24" y="52"/>
                    </a:lnTo>
                    <a:lnTo>
                      <a:pt x="24" y="43"/>
                    </a:lnTo>
                    <a:lnTo>
                      <a:pt x="27" y="37"/>
                    </a:lnTo>
                    <a:lnTo>
                      <a:pt x="29" y="35"/>
                    </a:lnTo>
                    <a:lnTo>
                      <a:pt x="40" y="32"/>
                    </a:lnTo>
                    <a:lnTo>
                      <a:pt x="43" y="30"/>
                    </a:lnTo>
                    <a:lnTo>
                      <a:pt x="46" y="26"/>
                    </a:lnTo>
                    <a:lnTo>
                      <a:pt x="62" y="19"/>
                    </a:lnTo>
                    <a:lnTo>
                      <a:pt x="66" y="16"/>
                    </a:lnTo>
                    <a:lnTo>
                      <a:pt x="72" y="13"/>
                    </a:lnTo>
                    <a:lnTo>
                      <a:pt x="77" y="13"/>
                    </a:lnTo>
                    <a:lnTo>
                      <a:pt x="81" y="10"/>
                    </a:lnTo>
                    <a:lnTo>
                      <a:pt x="81" y="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1" name="Freeform 254"/>
              <p:cNvSpPr>
                <a:spLocks noChangeAspect="1"/>
              </p:cNvSpPr>
              <p:nvPr/>
            </p:nvSpPr>
            <p:spPr bwMode="gray">
              <a:xfrm>
                <a:off x="1919" y="2425"/>
                <a:ext cx="32" cy="40"/>
              </a:xfrm>
              <a:custGeom>
                <a:avLst/>
                <a:gdLst/>
                <a:ahLst/>
                <a:cxnLst>
                  <a:cxn ang="0">
                    <a:pos x="0" y="182"/>
                  </a:cxn>
                  <a:cxn ang="0">
                    <a:pos x="13" y="169"/>
                  </a:cxn>
                  <a:cxn ang="0">
                    <a:pos x="15" y="166"/>
                  </a:cxn>
                  <a:cxn ang="0">
                    <a:pos x="17" y="147"/>
                  </a:cxn>
                  <a:cxn ang="0">
                    <a:pos x="22" y="125"/>
                  </a:cxn>
                  <a:cxn ang="0">
                    <a:pos x="23" y="110"/>
                  </a:cxn>
                  <a:cxn ang="0">
                    <a:pos x="18" y="102"/>
                  </a:cxn>
                  <a:cxn ang="0">
                    <a:pos x="17" y="101"/>
                  </a:cxn>
                  <a:cxn ang="0">
                    <a:pos x="17" y="99"/>
                  </a:cxn>
                  <a:cxn ang="0">
                    <a:pos x="8" y="86"/>
                  </a:cxn>
                  <a:cxn ang="0">
                    <a:pos x="5" y="75"/>
                  </a:cxn>
                  <a:cxn ang="0">
                    <a:pos x="3" y="56"/>
                  </a:cxn>
                  <a:cxn ang="0">
                    <a:pos x="3" y="34"/>
                  </a:cxn>
                  <a:cxn ang="0">
                    <a:pos x="7" y="24"/>
                  </a:cxn>
                  <a:cxn ang="0">
                    <a:pos x="15" y="18"/>
                  </a:cxn>
                  <a:cxn ang="0">
                    <a:pos x="19" y="12"/>
                  </a:cxn>
                  <a:cxn ang="0">
                    <a:pos x="19" y="10"/>
                  </a:cxn>
                  <a:cxn ang="0">
                    <a:pos x="22" y="7"/>
                  </a:cxn>
                  <a:cxn ang="0">
                    <a:pos x="28" y="5"/>
                  </a:cxn>
                  <a:cxn ang="0">
                    <a:pos x="32" y="1"/>
                  </a:cxn>
                  <a:cxn ang="0">
                    <a:pos x="35" y="0"/>
                  </a:cxn>
                  <a:cxn ang="0">
                    <a:pos x="49" y="8"/>
                  </a:cxn>
                  <a:cxn ang="0">
                    <a:pos x="61" y="13"/>
                  </a:cxn>
                  <a:cxn ang="0">
                    <a:pos x="73" y="19"/>
                  </a:cxn>
                  <a:cxn ang="0">
                    <a:pos x="85" y="21"/>
                  </a:cxn>
                  <a:cxn ang="0">
                    <a:pos x="98" y="28"/>
                  </a:cxn>
                  <a:cxn ang="0">
                    <a:pos x="113" y="39"/>
                  </a:cxn>
                  <a:cxn ang="0">
                    <a:pos x="116" y="40"/>
                  </a:cxn>
                  <a:cxn ang="0">
                    <a:pos x="130" y="53"/>
                  </a:cxn>
                  <a:cxn ang="0">
                    <a:pos x="135" y="59"/>
                  </a:cxn>
                  <a:cxn ang="0">
                    <a:pos x="146" y="65"/>
                  </a:cxn>
                  <a:cxn ang="0">
                    <a:pos x="156" y="75"/>
                  </a:cxn>
                  <a:cxn ang="0">
                    <a:pos x="156" y="86"/>
                  </a:cxn>
                  <a:cxn ang="0">
                    <a:pos x="157" y="86"/>
                  </a:cxn>
                  <a:cxn ang="0">
                    <a:pos x="144" y="99"/>
                  </a:cxn>
                  <a:cxn ang="0">
                    <a:pos x="141" y="107"/>
                  </a:cxn>
                  <a:cxn ang="0">
                    <a:pos x="128" y="125"/>
                  </a:cxn>
                  <a:cxn ang="0">
                    <a:pos x="118" y="137"/>
                  </a:cxn>
                  <a:cxn ang="0">
                    <a:pos x="114" y="144"/>
                  </a:cxn>
                  <a:cxn ang="0">
                    <a:pos x="105" y="166"/>
                  </a:cxn>
                  <a:cxn ang="0">
                    <a:pos x="78" y="190"/>
                  </a:cxn>
                  <a:cxn ang="0">
                    <a:pos x="76" y="193"/>
                  </a:cxn>
                  <a:cxn ang="0">
                    <a:pos x="71" y="195"/>
                  </a:cxn>
                  <a:cxn ang="0">
                    <a:pos x="61" y="195"/>
                  </a:cxn>
                  <a:cxn ang="0">
                    <a:pos x="54" y="191"/>
                  </a:cxn>
                  <a:cxn ang="0">
                    <a:pos x="48" y="191"/>
                  </a:cxn>
                  <a:cxn ang="0">
                    <a:pos x="44" y="193"/>
                  </a:cxn>
                  <a:cxn ang="0">
                    <a:pos x="28" y="200"/>
                  </a:cxn>
                  <a:cxn ang="0">
                    <a:pos x="22" y="200"/>
                  </a:cxn>
                  <a:cxn ang="0">
                    <a:pos x="19" y="199"/>
                  </a:cxn>
                  <a:cxn ang="0">
                    <a:pos x="10" y="193"/>
                  </a:cxn>
                  <a:cxn ang="0">
                    <a:pos x="0" y="182"/>
                  </a:cxn>
                </a:cxnLst>
                <a:rect l="0" t="0" r="r" b="b"/>
                <a:pathLst>
                  <a:path w="157" h="200">
                    <a:moveTo>
                      <a:pt x="0" y="182"/>
                    </a:moveTo>
                    <a:lnTo>
                      <a:pt x="13" y="169"/>
                    </a:lnTo>
                    <a:lnTo>
                      <a:pt x="15" y="166"/>
                    </a:lnTo>
                    <a:lnTo>
                      <a:pt x="17" y="147"/>
                    </a:lnTo>
                    <a:lnTo>
                      <a:pt x="22" y="125"/>
                    </a:lnTo>
                    <a:lnTo>
                      <a:pt x="23" y="110"/>
                    </a:lnTo>
                    <a:lnTo>
                      <a:pt x="18" y="102"/>
                    </a:lnTo>
                    <a:lnTo>
                      <a:pt x="17" y="101"/>
                    </a:lnTo>
                    <a:lnTo>
                      <a:pt x="17" y="99"/>
                    </a:lnTo>
                    <a:lnTo>
                      <a:pt x="8" y="86"/>
                    </a:lnTo>
                    <a:lnTo>
                      <a:pt x="5" y="75"/>
                    </a:lnTo>
                    <a:lnTo>
                      <a:pt x="3" y="56"/>
                    </a:lnTo>
                    <a:lnTo>
                      <a:pt x="3" y="34"/>
                    </a:lnTo>
                    <a:lnTo>
                      <a:pt x="7" y="24"/>
                    </a:lnTo>
                    <a:lnTo>
                      <a:pt x="15" y="18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22" y="7"/>
                    </a:lnTo>
                    <a:lnTo>
                      <a:pt x="28" y="5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49" y="8"/>
                    </a:lnTo>
                    <a:lnTo>
                      <a:pt x="61" y="13"/>
                    </a:lnTo>
                    <a:lnTo>
                      <a:pt x="73" y="19"/>
                    </a:lnTo>
                    <a:lnTo>
                      <a:pt x="85" y="21"/>
                    </a:lnTo>
                    <a:lnTo>
                      <a:pt x="98" y="28"/>
                    </a:lnTo>
                    <a:lnTo>
                      <a:pt x="113" y="39"/>
                    </a:lnTo>
                    <a:lnTo>
                      <a:pt x="116" y="40"/>
                    </a:lnTo>
                    <a:lnTo>
                      <a:pt x="130" y="53"/>
                    </a:lnTo>
                    <a:lnTo>
                      <a:pt x="135" y="59"/>
                    </a:lnTo>
                    <a:lnTo>
                      <a:pt x="146" y="65"/>
                    </a:lnTo>
                    <a:lnTo>
                      <a:pt x="156" y="75"/>
                    </a:lnTo>
                    <a:lnTo>
                      <a:pt x="156" y="86"/>
                    </a:lnTo>
                    <a:lnTo>
                      <a:pt x="157" y="86"/>
                    </a:lnTo>
                    <a:lnTo>
                      <a:pt x="144" y="99"/>
                    </a:lnTo>
                    <a:lnTo>
                      <a:pt x="141" y="107"/>
                    </a:lnTo>
                    <a:lnTo>
                      <a:pt x="128" y="125"/>
                    </a:lnTo>
                    <a:lnTo>
                      <a:pt x="118" y="137"/>
                    </a:lnTo>
                    <a:lnTo>
                      <a:pt x="114" y="144"/>
                    </a:lnTo>
                    <a:lnTo>
                      <a:pt x="105" y="166"/>
                    </a:lnTo>
                    <a:lnTo>
                      <a:pt x="78" y="190"/>
                    </a:lnTo>
                    <a:lnTo>
                      <a:pt x="76" y="193"/>
                    </a:lnTo>
                    <a:lnTo>
                      <a:pt x="71" y="195"/>
                    </a:lnTo>
                    <a:lnTo>
                      <a:pt x="61" y="195"/>
                    </a:lnTo>
                    <a:lnTo>
                      <a:pt x="54" y="191"/>
                    </a:lnTo>
                    <a:lnTo>
                      <a:pt x="48" y="191"/>
                    </a:lnTo>
                    <a:lnTo>
                      <a:pt x="44" y="193"/>
                    </a:lnTo>
                    <a:lnTo>
                      <a:pt x="28" y="200"/>
                    </a:lnTo>
                    <a:lnTo>
                      <a:pt x="22" y="200"/>
                    </a:lnTo>
                    <a:lnTo>
                      <a:pt x="19" y="199"/>
                    </a:lnTo>
                    <a:lnTo>
                      <a:pt x="10" y="193"/>
                    </a:lnTo>
                    <a:lnTo>
                      <a:pt x="0" y="182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2" name="Freeform 255"/>
              <p:cNvSpPr>
                <a:spLocks noChangeAspect="1"/>
              </p:cNvSpPr>
              <p:nvPr/>
            </p:nvSpPr>
            <p:spPr bwMode="gray">
              <a:xfrm>
                <a:off x="1624" y="2488"/>
                <a:ext cx="137" cy="201"/>
              </a:xfrm>
              <a:custGeom>
                <a:avLst/>
                <a:gdLst/>
                <a:ahLst/>
                <a:cxnLst>
                  <a:cxn ang="0">
                    <a:pos x="319" y="13"/>
                  </a:cxn>
                  <a:cxn ang="0">
                    <a:pos x="335" y="50"/>
                  </a:cxn>
                  <a:cxn ang="0">
                    <a:pos x="284" y="110"/>
                  </a:cxn>
                  <a:cxn ang="0">
                    <a:pos x="204" y="156"/>
                  </a:cxn>
                  <a:cxn ang="0">
                    <a:pos x="170" y="190"/>
                  </a:cxn>
                  <a:cxn ang="0">
                    <a:pos x="159" y="190"/>
                  </a:cxn>
                  <a:cxn ang="0">
                    <a:pos x="138" y="253"/>
                  </a:cxn>
                  <a:cxn ang="0">
                    <a:pos x="97" y="260"/>
                  </a:cxn>
                  <a:cxn ang="0">
                    <a:pos x="72" y="242"/>
                  </a:cxn>
                  <a:cxn ang="0">
                    <a:pos x="43" y="242"/>
                  </a:cxn>
                  <a:cxn ang="0">
                    <a:pos x="52" y="214"/>
                  </a:cxn>
                  <a:cxn ang="0">
                    <a:pos x="51" y="188"/>
                  </a:cxn>
                  <a:cxn ang="0">
                    <a:pos x="3" y="231"/>
                  </a:cxn>
                  <a:cxn ang="0">
                    <a:pos x="9" y="271"/>
                  </a:cxn>
                  <a:cxn ang="0">
                    <a:pos x="21" y="308"/>
                  </a:cxn>
                  <a:cxn ang="0">
                    <a:pos x="51" y="350"/>
                  </a:cxn>
                  <a:cxn ang="0">
                    <a:pos x="89" y="387"/>
                  </a:cxn>
                  <a:cxn ang="0">
                    <a:pos x="140" y="478"/>
                  </a:cxn>
                  <a:cxn ang="0">
                    <a:pos x="188" y="578"/>
                  </a:cxn>
                  <a:cxn ang="0">
                    <a:pos x="212" y="632"/>
                  </a:cxn>
                  <a:cxn ang="0">
                    <a:pos x="256" y="711"/>
                  </a:cxn>
                  <a:cxn ang="0">
                    <a:pos x="267" y="764"/>
                  </a:cxn>
                  <a:cxn ang="0">
                    <a:pos x="298" y="807"/>
                  </a:cxn>
                  <a:cxn ang="0">
                    <a:pos x="391" y="874"/>
                  </a:cxn>
                  <a:cxn ang="0">
                    <a:pos x="481" y="922"/>
                  </a:cxn>
                  <a:cxn ang="0">
                    <a:pos x="532" y="957"/>
                  </a:cxn>
                  <a:cxn ang="0">
                    <a:pos x="584" y="1001"/>
                  </a:cxn>
                  <a:cxn ang="0">
                    <a:pos x="620" y="995"/>
                  </a:cxn>
                  <a:cxn ang="0">
                    <a:pos x="638" y="968"/>
                  </a:cxn>
                  <a:cxn ang="0">
                    <a:pos x="649" y="935"/>
                  </a:cxn>
                  <a:cxn ang="0">
                    <a:pos x="665" y="888"/>
                  </a:cxn>
                  <a:cxn ang="0">
                    <a:pos x="651" y="865"/>
                  </a:cxn>
                  <a:cxn ang="0">
                    <a:pos x="665" y="826"/>
                  </a:cxn>
                  <a:cxn ang="0">
                    <a:pos x="671" y="793"/>
                  </a:cxn>
                  <a:cxn ang="0">
                    <a:pos x="671" y="724"/>
                  </a:cxn>
                  <a:cxn ang="0">
                    <a:pos x="686" y="675"/>
                  </a:cxn>
                  <a:cxn ang="0">
                    <a:pos x="612" y="598"/>
                  </a:cxn>
                  <a:cxn ang="0">
                    <a:pos x="591" y="564"/>
                  </a:cxn>
                  <a:cxn ang="0">
                    <a:pos x="578" y="514"/>
                  </a:cxn>
                  <a:cxn ang="0">
                    <a:pos x="502" y="537"/>
                  </a:cxn>
                  <a:cxn ang="0">
                    <a:pos x="468" y="512"/>
                  </a:cxn>
                  <a:cxn ang="0">
                    <a:pos x="450" y="480"/>
                  </a:cxn>
                  <a:cxn ang="0">
                    <a:pos x="422" y="432"/>
                  </a:cxn>
                  <a:cxn ang="0">
                    <a:pos x="428" y="362"/>
                  </a:cxn>
                  <a:cxn ang="0">
                    <a:pos x="452" y="318"/>
                  </a:cxn>
                  <a:cxn ang="0">
                    <a:pos x="510" y="254"/>
                  </a:cxn>
                  <a:cxn ang="0">
                    <a:pos x="620" y="225"/>
                  </a:cxn>
                  <a:cxn ang="0">
                    <a:pos x="596" y="205"/>
                  </a:cxn>
                  <a:cxn ang="0">
                    <a:pos x="593" y="182"/>
                  </a:cxn>
                  <a:cxn ang="0">
                    <a:pos x="605" y="137"/>
                  </a:cxn>
                  <a:cxn ang="0">
                    <a:pos x="553" y="126"/>
                  </a:cxn>
                  <a:cxn ang="0">
                    <a:pos x="516" y="120"/>
                  </a:cxn>
                  <a:cxn ang="0">
                    <a:pos x="499" y="132"/>
                  </a:cxn>
                  <a:cxn ang="0">
                    <a:pos x="461" y="130"/>
                  </a:cxn>
                  <a:cxn ang="0">
                    <a:pos x="438" y="96"/>
                  </a:cxn>
                  <a:cxn ang="0">
                    <a:pos x="419" y="69"/>
                  </a:cxn>
                  <a:cxn ang="0">
                    <a:pos x="394" y="55"/>
                  </a:cxn>
                  <a:cxn ang="0">
                    <a:pos x="366" y="21"/>
                  </a:cxn>
                  <a:cxn ang="0">
                    <a:pos x="332" y="0"/>
                  </a:cxn>
                </a:cxnLst>
                <a:rect l="0" t="0" r="r" b="b"/>
                <a:pathLst>
                  <a:path w="686" h="1005">
                    <a:moveTo>
                      <a:pt x="328" y="0"/>
                    </a:moveTo>
                    <a:lnTo>
                      <a:pt x="326" y="2"/>
                    </a:lnTo>
                    <a:lnTo>
                      <a:pt x="315" y="2"/>
                    </a:lnTo>
                    <a:lnTo>
                      <a:pt x="314" y="11"/>
                    </a:lnTo>
                    <a:lnTo>
                      <a:pt x="319" y="13"/>
                    </a:lnTo>
                    <a:lnTo>
                      <a:pt x="321" y="16"/>
                    </a:lnTo>
                    <a:lnTo>
                      <a:pt x="326" y="27"/>
                    </a:lnTo>
                    <a:lnTo>
                      <a:pt x="327" y="32"/>
                    </a:lnTo>
                    <a:lnTo>
                      <a:pt x="335" y="49"/>
                    </a:lnTo>
                    <a:lnTo>
                      <a:pt x="335" y="50"/>
                    </a:lnTo>
                    <a:lnTo>
                      <a:pt x="326" y="50"/>
                    </a:lnTo>
                    <a:lnTo>
                      <a:pt x="319" y="65"/>
                    </a:lnTo>
                    <a:lnTo>
                      <a:pt x="305" y="89"/>
                    </a:lnTo>
                    <a:lnTo>
                      <a:pt x="292" y="104"/>
                    </a:lnTo>
                    <a:lnTo>
                      <a:pt x="284" y="110"/>
                    </a:lnTo>
                    <a:lnTo>
                      <a:pt x="274" y="119"/>
                    </a:lnTo>
                    <a:lnTo>
                      <a:pt x="265" y="131"/>
                    </a:lnTo>
                    <a:lnTo>
                      <a:pt x="256" y="137"/>
                    </a:lnTo>
                    <a:lnTo>
                      <a:pt x="240" y="145"/>
                    </a:lnTo>
                    <a:lnTo>
                      <a:pt x="204" y="156"/>
                    </a:lnTo>
                    <a:lnTo>
                      <a:pt x="186" y="163"/>
                    </a:lnTo>
                    <a:lnTo>
                      <a:pt x="179" y="168"/>
                    </a:lnTo>
                    <a:lnTo>
                      <a:pt x="176" y="171"/>
                    </a:lnTo>
                    <a:lnTo>
                      <a:pt x="171" y="180"/>
                    </a:lnTo>
                    <a:lnTo>
                      <a:pt x="170" y="190"/>
                    </a:lnTo>
                    <a:lnTo>
                      <a:pt x="166" y="193"/>
                    </a:lnTo>
                    <a:lnTo>
                      <a:pt x="164" y="193"/>
                    </a:lnTo>
                    <a:lnTo>
                      <a:pt x="160" y="189"/>
                    </a:lnTo>
                    <a:lnTo>
                      <a:pt x="159" y="189"/>
                    </a:lnTo>
                    <a:lnTo>
                      <a:pt x="159" y="190"/>
                    </a:lnTo>
                    <a:lnTo>
                      <a:pt x="144" y="210"/>
                    </a:lnTo>
                    <a:lnTo>
                      <a:pt x="142" y="223"/>
                    </a:lnTo>
                    <a:lnTo>
                      <a:pt x="142" y="244"/>
                    </a:lnTo>
                    <a:lnTo>
                      <a:pt x="139" y="252"/>
                    </a:lnTo>
                    <a:lnTo>
                      <a:pt x="138" y="253"/>
                    </a:lnTo>
                    <a:lnTo>
                      <a:pt x="128" y="257"/>
                    </a:lnTo>
                    <a:lnTo>
                      <a:pt x="121" y="264"/>
                    </a:lnTo>
                    <a:lnTo>
                      <a:pt x="110" y="269"/>
                    </a:lnTo>
                    <a:lnTo>
                      <a:pt x="102" y="268"/>
                    </a:lnTo>
                    <a:lnTo>
                      <a:pt x="97" y="260"/>
                    </a:lnTo>
                    <a:lnTo>
                      <a:pt x="95" y="254"/>
                    </a:lnTo>
                    <a:lnTo>
                      <a:pt x="90" y="245"/>
                    </a:lnTo>
                    <a:lnTo>
                      <a:pt x="84" y="245"/>
                    </a:lnTo>
                    <a:lnTo>
                      <a:pt x="74" y="245"/>
                    </a:lnTo>
                    <a:lnTo>
                      <a:pt x="72" y="242"/>
                    </a:lnTo>
                    <a:lnTo>
                      <a:pt x="67" y="238"/>
                    </a:lnTo>
                    <a:lnTo>
                      <a:pt x="58" y="238"/>
                    </a:lnTo>
                    <a:lnTo>
                      <a:pt x="50" y="243"/>
                    </a:lnTo>
                    <a:lnTo>
                      <a:pt x="45" y="244"/>
                    </a:lnTo>
                    <a:lnTo>
                      <a:pt x="43" y="242"/>
                    </a:lnTo>
                    <a:lnTo>
                      <a:pt x="41" y="228"/>
                    </a:lnTo>
                    <a:lnTo>
                      <a:pt x="39" y="223"/>
                    </a:lnTo>
                    <a:lnTo>
                      <a:pt x="39" y="221"/>
                    </a:lnTo>
                    <a:lnTo>
                      <a:pt x="42" y="216"/>
                    </a:lnTo>
                    <a:lnTo>
                      <a:pt x="52" y="214"/>
                    </a:lnTo>
                    <a:lnTo>
                      <a:pt x="57" y="209"/>
                    </a:lnTo>
                    <a:lnTo>
                      <a:pt x="56" y="200"/>
                    </a:lnTo>
                    <a:lnTo>
                      <a:pt x="54" y="198"/>
                    </a:lnTo>
                    <a:lnTo>
                      <a:pt x="52" y="188"/>
                    </a:lnTo>
                    <a:lnTo>
                      <a:pt x="51" y="188"/>
                    </a:lnTo>
                    <a:lnTo>
                      <a:pt x="51" y="185"/>
                    </a:lnTo>
                    <a:lnTo>
                      <a:pt x="43" y="193"/>
                    </a:lnTo>
                    <a:lnTo>
                      <a:pt x="32" y="200"/>
                    </a:lnTo>
                    <a:lnTo>
                      <a:pt x="18" y="216"/>
                    </a:lnTo>
                    <a:lnTo>
                      <a:pt x="3" y="231"/>
                    </a:lnTo>
                    <a:lnTo>
                      <a:pt x="2" y="236"/>
                    </a:lnTo>
                    <a:lnTo>
                      <a:pt x="0" y="245"/>
                    </a:lnTo>
                    <a:lnTo>
                      <a:pt x="3" y="260"/>
                    </a:lnTo>
                    <a:lnTo>
                      <a:pt x="4" y="263"/>
                    </a:lnTo>
                    <a:lnTo>
                      <a:pt x="9" y="271"/>
                    </a:lnTo>
                    <a:lnTo>
                      <a:pt x="10" y="284"/>
                    </a:lnTo>
                    <a:lnTo>
                      <a:pt x="19" y="292"/>
                    </a:lnTo>
                    <a:lnTo>
                      <a:pt x="24" y="298"/>
                    </a:lnTo>
                    <a:lnTo>
                      <a:pt x="24" y="302"/>
                    </a:lnTo>
                    <a:lnTo>
                      <a:pt x="21" y="308"/>
                    </a:lnTo>
                    <a:lnTo>
                      <a:pt x="11" y="318"/>
                    </a:lnTo>
                    <a:lnTo>
                      <a:pt x="14" y="323"/>
                    </a:lnTo>
                    <a:lnTo>
                      <a:pt x="29" y="333"/>
                    </a:lnTo>
                    <a:lnTo>
                      <a:pt x="37" y="340"/>
                    </a:lnTo>
                    <a:lnTo>
                      <a:pt x="51" y="350"/>
                    </a:lnTo>
                    <a:lnTo>
                      <a:pt x="58" y="355"/>
                    </a:lnTo>
                    <a:lnTo>
                      <a:pt x="73" y="367"/>
                    </a:lnTo>
                    <a:lnTo>
                      <a:pt x="80" y="379"/>
                    </a:lnTo>
                    <a:lnTo>
                      <a:pt x="83" y="379"/>
                    </a:lnTo>
                    <a:lnTo>
                      <a:pt x="89" y="387"/>
                    </a:lnTo>
                    <a:lnTo>
                      <a:pt x="97" y="413"/>
                    </a:lnTo>
                    <a:lnTo>
                      <a:pt x="102" y="422"/>
                    </a:lnTo>
                    <a:lnTo>
                      <a:pt x="133" y="452"/>
                    </a:lnTo>
                    <a:lnTo>
                      <a:pt x="139" y="467"/>
                    </a:lnTo>
                    <a:lnTo>
                      <a:pt x="140" y="478"/>
                    </a:lnTo>
                    <a:lnTo>
                      <a:pt x="143" y="484"/>
                    </a:lnTo>
                    <a:lnTo>
                      <a:pt x="155" y="507"/>
                    </a:lnTo>
                    <a:lnTo>
                      <a:pt x="161" y="522"/>
                    </a:lnTo>
                    <a:lnTo>
                      <a:pt x="170" y="549"/>
                    </a:lnTo>
                    <a:lnTo>
                      <a:pt x="188" y="578"/>
                    </a:lnTo>
                    <a:lnTo>
                      <a:pt x="191" y="584"/>
                    </a:lnTo>
                    <a:lnTo>
                      <a:pt x="193" y="608"/>
                    </a:lnTo>
                    <a:lnTo>
                      <a:pt x="199" y="624"/>
                    </a:lnTo>
                    <a:lnTo>
                      <a:pt x="204" y="629"/>
                    </a:lnTo>
                    <a:lnTo>
                      <a:pt x="212" y="632"/>
                    </a:lnTo>
                    <a:lnTo>
                      <a:pt x="217" y="639"/>
                    </a:lnTo>
                    <a:lnTo>
                      <a:pt x="225" y="659"/>
                    </a:lnTo>
                    <a:lnTo>
                      <a:pt x="239" y="678"/>
                    </a:lnTo>
                    <a:lnTo>
                      <a:pt x="249" y="693"/>
                    </a:lnTo>
                    <a:lnTo>
                      <a:pt x="256" y="711"/>
                    </a:lnTo>
                    <a:lnTo>
                      <a:pt x="269" y="726"/>
                    </a:lnTo>
                    <a:lnTo>
                      <a:pt x="274" y="742"/>
                    </a:lnTo>
                    <a:lnTo>
                      <a:pt x="277" y="754"/>
                    </a:lnTo>
                    <a:lnTo>
                      <a:pt x="271" y="758"/>
                    </a:lnTo>
                    <a:lnTo>
                      <a:pt x="267" y="764"/>
                    </a:lnTo>
                    <a:lnTo>
                      <a:pt x="269" y="776"/>
                    </a:lnTo>
                    <a:lnTo>
                      <a:pt x="272" y="780"/>
                    </a:lnTo>
                    <a:lnTo>
                      <a:pt x="283" y="791"/>
                    </a:lnTo>
                    <a:lnTo>
                      <a:pt x="290" y="802"/>
                    </a:lnTo>
                    <a:lnTo>
                      <a:pt x="298" y="807"/>
                    </a:lnTo>
                    <a:lnTo>
                      <a:pt x="317" y="828"/>
                    </a:lnTo>
                    <a:lnTo>
                      <a:pt x="327" y="834"/>
                    </a:lnTo>
                    <a:lnTo>
                      <a:pt x="335" y="842"/>
                    </a:lnTo>
                    <a:lnTo>
                      <a:pt x="359" y="858"/>
                    </a:lnTo>
                    <a:lnTo>
                      <a:pt x="391" y="874"/>
                    </a:lnTo>
                    <a:lnTo>
                      <a:pt x="411" y="890"/>
                    </a:lnTo>
                    <a:lnTo>
                      <a:pt x="414" y="892"/>
                    </a:lnTo>
                    <a:lnTo>
                      <a:pt x="455" y="908"/>
                    </a:lnTo>
                    <a:lnTo>
                      <a:pt x="478" y="921"/>
                    </a:lnTo>
                    <a:lnTo>
                      <a:pt x="481" y="922"/>
                    </a:lnTo>
                    <a:lnTo>
                      <a:pt x="486" y="922"/>
                    </a:lnTo>
                    <a:lnTo>
                      <a:pt x="491" y="923"/>
                    </a:lnTo>
                    <a:lnTo>
                      <a:pt x="513" y="941"/>
                    </a:lnTo>
                    <a:lnTo>
                      <a:pt x="525" y="948"/>
                    </a:lnTo>
                    <a:lnTo>
                      <a:pt x="532" y="957"/>
                    </a:lnTo>
                    <a:lnTo>
                      <a:pt x="541" y="964"/>
                    </a:lnTo>
                    <a:lnTo>
                      <a:pt x="551" y="974"/>
                    </a:lnTo>
                    <a:lnTo>
                      <a:pt x="562" y="989"/>
                    </a:lnTo>
                    <a:lnTo>
                      <a:pt x="574" y="995"/>
                    </a:lnTo>
                    <a:lnTo>
                      <a:pt x="584" y="1001"/>
                    </a:lnTo>
                    <a:lnTo>
                      <a:pt x="585" y="1001"/>
                    </a:lnTo>
                    <a:lnTo>
                      <a:pt x="589" y="1005"/>
                    </a:lnTo>
                    <a:lnTo>
                      <a:pt x="599" y="996"/>
                    </a:lnTo>
                    <a:lnTo>
                      <a:pt x="601" y="996"/>
                    </a:lnTo>
                    <a:lnTo>
                      <a:pt x="620" y="995"/>
                    </a:lnTo>
                    <a:lnTo>
                      <a:pt x="626" y="992"/>
                    </a:lnTo>
                    <a:lnTo>
                      <a:pt x="627" y="991"/>
                    </a:lnTo>
                    <a:lnTo>
                      <a:pt x="628" y="982"/>
                    </a:lnTo>
                    <a:lnTo>
                      <a:pt x="634" y="973"/>
                    </a:lnTo>
                    <a:lnTo>
                      <a:pt x="638" y="968"/>
                    </a:lnTo>
                    <a:lnTo>
                      <a:pt x="642" y="966"/>
                    </a:lnTo>
                    <a:lnTo>
                      <a:pt x="638" y="960"/>
                    </a:lnTo>
                    <a:lnTo>
                      <a:pt x="636" y="960"/>
                    </a:lnTo>
                    <a:lnTo>
                      <a:pt x="637" y="954"/>
                    </a:lnTo>
                    <a:lnTo>
                      <a:pt x="649" y="935"/>
                    </a:lnTo>
                    <a:lnTo>
                      <a:pt x="659" y="923"/>
                    </a:lnTo>
                    <a:lnTo>
                      <a:pt x="671" y="906"/>
                    </a:lnTo>
                    <a:lnTo>
                      <a:pt x="672" y="896"/>
                    </a:lnTo>
                    <a:lnTo>
                      <a:pt x="671" y="893"/>
                    </a:lnTo>
                    <a:lnTo>
                      <a:pt x="665" y="888"/>
                    </a:lnTo>
                    <a:lnTo>
                      <a:pt x="660" y="885"/>
                    </a:lnTo>
                    <a:lnTo>
                      <a:pt x="656" y="880"/>
                    </a:lnTo>
                    <a:lnTo>
                      <a:pt x="654" y="879"/>
                    </a:lnTo>
                    <a:lnTo>
                      <a:pt x="653" y="873"/>
                    </a:lnTo>
                    <a:lnTo>
                      <a:pt x="651" y="865"/>
                    </a:lnTo>
                    <a:lnTo>
                      <a:pt x="653" y="851"/>
                    </a:lnTo>
                    <a:lnTo>
                      <a:pt x="658" y="842"/>
                    </a:lnTo>
                    <a:lnTo>
                      <a:pt x="663" y="839"/>
                    </a:lnTo>
                    <a:lnTo>
                      <a:pt x="665" y="831"/>
                    </a:lnTo>
                    <a:lnTo>
                      <a:pt x="665" y="826"/>
                    </a:lnTo>
                    <a:lnTo>
                      <a:pt x="664" y="820"/>
                    </a:lnTo>
                    <a:lnTo>
                      <a:pt x="654" y="809"/>
                    </a:lnTo>
                    <a:lnTo>
                      <a:pt x="654" y="806"/>
                    </a:lnTo>
                    <a:lnTo>
                      <a:pt x="658" y="799"/>
                    </a:lnTo>
                    <a:lnTo>
                      <a:pt x="671" y="793"/>
                    </a:lnTo>
                    <a:lnTo>
                      <a:pt x="672" y="791"/>
                    </a:lnTo>
                    <a:lnTo>
                      <a:pt x="672" y="772"/>
                    </a:lnTo>
                    <a:lnTo>
                      <a:pt x="669" y="754"/>
                    </a:lnTo>
                    <a:lnTo>
                      <a:pt x="669" y="743"/>
                    </a:lnTo>
                    <a:lnTo>
                      <a:pt x="671" y="724"/>
                    </a:lnTo>
                    <a:lnTo>
                      <a:pt x="671" y="700"/>
                    </a:lnTo>
                    <a:lnTo>
                      <a:pt x="676" y="689"/>
                    </a:lnTo>
                    <a:lnTo>
                      <a:pt x="683" y="680"/>
                    </a:lnTo>
                    <a:lnTo>
                      <a:pt x="686" y="678"/>
                    </a:lnTo>
                    <a:lnTo>
                      <a:pt x="686" y="675"/>
                    </a:lnTo>
                    <a:lnTo>
                      <a:pt x="671" y="652"/>
                    </a:lnTo>
                    <a:lnTo>
                      <a:pt x="637" y="593"/>
                    </a:lnTo>
                    <a:lnTo>
                      <a:pt x="620" y="594"/>
                    </a:lnTo>
                    <a:lnTo>
                      <a:pt x="612" y="598"/>
                    </a:lnTo>
                    <a:lnTo>
                      <a:pt x="612" y="598"/>
                    </a:lnTo>
                    <a:lnTo>
                      <a:pt x="605" y="600"/>
                    </a:lnTo>
                    <a:lnTo>
                      <a:pt x="600" y="600"/>
                    </a:lnTo>
                    <a:lnTo>
                      <a:pt x="594" y="597"/>
                    </a:lnTo>
                    <a:lnTo>
                      <a:pt x="591" y="593"/>
                    </a:lnTo>
                    <a:lnTo>
                      <a:pt x="591" y="564"/>
                    </a:lnTo>
                    <a:lnTo>
                      <a:pt x="591" y="560"/>
                    </a:lnTo>
                    <a:lnTo>
                      <a:pt x="591" y="506"/>
                    </a:lnTo>
                    <a:lnTo>
                      <a:pt x="591" y="503"/>
                    </a:lnTo>
                    <a:lnTo>
                      <a:pt x="588" y="505"/>
                    </a:lnTo>
                    <a:lnTo>
                      <a:pt x="578" y="514"/>
                    </a:lnTo>
                    <a:lnTo>
                      <a:pt x="556" y="530"/>
                    </a:lnTo>
                    <a:lnTo>
                      <a:pt x="538" y="540"/>
                    </a:lnTo>
                    <a:lnTo>
                      <a:pt x="530" y="541"/>
                    </a:lnTo>
                    <a:lnTo>
                      <a:pt x="515" y="540"/>
                    </a:lnTo>
                    <a:lnTo>
                      <a:pt x="502" y="537"/>
                    </a:lnTo>
                    <a:lnTo>
                      <a:pt x="499" y="533"/>
                    </a:lnTo>
                    <a:lnTo>
                      <a:pt x="497" y="522"/>
                    </a:lnTo>
                    <a:lnTo>
                      <a:pt x="493" y="517"/>
                    </a:lnTo>
                    <a:lnTo>
                      <a:pt x="488" y="513"/>
                    </a:lnTo>
                    <a:lnTo>
                      <a:pt x="468" y="512"/>
                    </a:lnTo>
                    <a:lnTo>
                      <a:pt x="456" y="508"/>
                    </a:lnTo>
                    <a:lnTo>
                      <a:pt x="455" y="505"/>
                    </a:lnTo>
                    <a:lnTo>
                      <a:pt x="461" y="495"/>
                    </a:lnTo>
                    <a:lnTo>
                      <a:pt x="460" y="486"/>
                    </a:lnTo>
                    <a:lnTo>
                      <a:pt x="450" y="480"/>
                    </a:lnTo>
                    <a:lnTo>
                      <a:pt x="438" y="467"/>
                    </a:lnTo>
                    <a:lnTo>
                      <a:pt x="434" y="459"/>
                    </a:lnTo>
                    <a:lnTo>
                      <a:pt x="425" y="448"/>
                    </a:lnTo>
                    <a:lnTo>
                      <a:pt x="424" y="444"/>
                    </a:lnTo>
                    <a:lnTo>
                      <a:pt x="422" y="432"/>
                    </a:lnTo>
                    <a:lnTo>
                      <a:pt x="411" y="409"/>
                    </a:lnTo>
                    <a:lnTo>
                      <a:pt x="411" y="405"/>
                    </a:lnTo>
                    <a:lnTo>
                      <a:pt x="412" y="401"/>
                    </a:lnTo>
                    <a:lnTo>
                      <a:pt x="424" y="379"/>
                    </a:lnTo>
                    <a:lnTo>
                      <a:pt x="428" y="362"/>
                    </a:lnTo>
                    <a:lnTo>
                      <a:pt x="432" y="357"/>
                    </a:lnTo>
                    <a:lnTo>
                      <a:pt x="441" y="355"/>
                    </a:lnTo>
                    <a:lnTo>
                      <a:pt x="450" y="354"/>
                    </a:lnTo>
                    <a:lnTo>
                      <a:pt x="450" y="324"/>
                    </a:lnTo>
                    <a:lnTo>
                      <a:pt x="452" y="318"/>
                    </a:lnTo>
                    <a:lnTo>
                      <a:pt x="461" y="302"/>
                    </a:lnTo>
                    <a:lnTo>
                      <a:pt x="470" y="290"/>
                    </a:lnTo>
                    <a:lnTo>
                      <a:pt x="483" y="274"/>
                    </a:lnTo>
                    <a:lnTo>
                      <a:pt x="494" y="265"/>
                    </a:lnTo>
                    <a:lnTo>
                      <a:pt x="510" y="254"/>
                    </a:lnTo>
                    <a:lnTo>
                      <a:pt x="529" y="247"/>
                    </a:lnTo>
                    <a:lnTo>
                      <a:pt x="580" y="232"/>
                    </a:lnTo>
                    <a:lnTo>
                      <a:pt x="593" y="227"/>
                    </a:lnTo>
                    <a:lnTo>
                      <a:pt x="613" y="228"/>
                    </a:lnTo>
                    <a:lnTo>
                      <a:pt x="620" y="225"/>
                    </a:lnTo>
                    <a:lnTo>
                      <a:pt x="621" y="222"/>
                    </a:lnTo>
                    <a:lnTo>
                      <a:pt x="613" y="221"/>
                    </a:lnTo>
                    <a:lnTo>
                      <a:pt x="605" y="210"/>
                    </a:lnTo>
                    <a:lnTo>
                      <a:pt x="600" y="206"/>
                    </a:lnTo>
                    <a:lnTo>
                      <a:pt x="596" y="205"/>
                    </a:lnTo>
                    <a:lnTo>
                      <a:pt x="591" y="206"/>
                    </a:lnTo>
                    <a:lnTo>
                      <a:pt x="586" y="205"/>
                    </a:lnTo>
                    <a:lnTo>
                      <a:pt x="585" y="202"/>
                    </a:lnTo>
                    <a:lnTo>
                      <a:pt x="585" y="193"/>
                    </a:lnTo>
                    <a:lnTo>
                      <a:pt x="593" y="182"/>
                    </a:lnTo>
                    <a:lnTo>
                      <a:pt x="605" y="169"/>
                    </a:lnTo>
                    <a:lnTo>
                      <a:pt x="611" y="162"/>
                    </a:lnTo>
                    <a:lnTo>
                      <a:pt x="615" y="155"/>
                    </a:lnTo>
                    <a:lnTo>
                      <a:pt x="615" y="150"/>
                    </a:lnTo>
                    <a:lnTo>
                      <a:pt x="605" y="137"/>
                    </a:lnTo>
                    <a:lnTo>
                      <a:pt x="588" y="128"/>
                    </a:lnTo>
                    <a:lnTo>
                      <a:pt x="572" y="121"/>
                    </a:lnTo>
                    <a:lnTo>
                      <a:pt x="564" y="120"/>
                    </a:lnTo>
                    <a:lnTo>
                      <a:pt x="562" y="120"/>
                    </a:lnTo>
                    <a:lnTo>
                      <a:pt x="553" y="126"/>
                    </a:lnTo>
                    <a:lnTo>
                      <a:pt x="545" y="128"/>
                    </a:lnTo>
                    <a:lnTo>
                      <a:pt x="537" y="126"/>
                    </a:lnTo>
                    <a:lnTo>
                      <a:pt x="532" y="121"/>
                    </a:lnTo>
                    <a:lnTo>
                      <a:pt x="525" y="120"/>
                    </a:lnTo>
                    <a:lnTo>
                      <a:pt x="516" y="120"/>
                    </a:lnTo>
                    <a:lnTo>
                      <a:pt x="513" y="121"/>
                    </a:lnTo>
                    <a:lnTo>
                      <a:pt x="509" y="125"/>
                    </a:lnTo>
                    <a:lnTo>
                      <a:pt x="505" y="126"/>
                    </a:lnTo>
                    <a:lnTo>
                      <a:pt x="503" y="130"/>
                    </a:lnTo>
                    <a:lnTo>
                      <a:pt x="499" y="132"/>
                    </a:lnTo>
                    <a:lnTo>
                      <a:pt x="492" y="134"/>
                    </a:lnTo>
                    <a:lnTo>
                      <a:pt x="488" y="134"/>
                    </a:lnTo>
                    <a:lnTo>
                      <a:pt x="480" y="130"/>
                    </a:lnTo>
                    <a:lnTo>
                      <a:pt x="466" y="129"/>
                    </a:lnTo>
                    <a:lnTo>
                      <a:pt x="461" y="130"/>
                    </a:lnTo>
                    <a:lnTo>
                      <a:pt x="451" y="129"/>
                    </a:lnTo>
                    <a:lnTo>
                      <a:pt x="446" y="124"/>
                    </a:lnTo>
                    <a:lnTo>
                      <a:pt x="443" y="119"/>
                    </a:lnTo>
                    <a:lnTo>
                      <a:pt x="443" y="97"/>
                    </a:lnTo>
                    <a:lnTo>
                      <a:pt x="438" y="96"/>
                    </a:lnTo>
                    <a:lnTo>
                      <a:pt x="429" y="96"/>
                    </a:lnTo>
                    <a:lnTo>
                      <a:pt x="425" y="93"/>
                    </a:lnTo>
                    <a:lnTo>
                      <a:pt x="424" y="89"/>
                    </a:lnTo>
                    <a:lnTo>
                      <a:pt x="421" y="81"/>
                    </a:lnTo>
                    <a:lnTo>
                      <a:pt x="419" y="69"/>
                    </a:lnTo>
                    <a:lnTo>
                      <a:pt x="416" y="62"/>
                    </a:lnTo>
                    <a:lnTo>
                      <a:pt x="411" y="59"/>
                    </a:lnTo>
                    <a:lnTo>
                      <a:pt x="405" y="56"/>
                    </a:lnTo>
                    <a:lnTo>
                      <a:pt x="400" y="56"/>
                    </a:lnTo>
                    <a:lnTo>
                      <a:pt x="394" y="55"/>
                    </a:lnTo>
                    <a:lnTo>
                      <a:pt x="391" y="50"/>
                    </a:lnTo>
                    <a:lnTo>
                      <a:pt x="385" y="46"/>
                    </a:lnTo>
                    <a:lnTo>
                      <a:pt x="380" y="38"/>
                    </a:lnTo>
                    <a:lnTo>
                      <a:pt x="375" y="24"/>
                    </a:lnTo>
                    <a:lnTo>
                      <a:pt x="366" y="21"/>
                    </a:lnTo>
                    <a:lnTo>
                      <a:pt x="362" y="17"/>
                    </a:lnTo>
                    <a:lnTo>
                      <a:pt x="357" y="8"/>
                    </a:lnTo>
                    <a:lnTo>
                      <a:pt x="352" y="6"/>
                    </a:lnTo>
                    <a:lnTo>
                      <a:pt x="342" y="3"/>
                    </a:lnTo>
                    <a:lnTo>
                      <a:pt x="332" y="0"/>
                    </a:lnTo>
                    <a:lnTo>
                      <a:pt x="328" y="0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3" name="Freeform 256"/>
              <p:cNvSpPr>
                <a:spLocks noChangeAspect="1"/>
              </p:cNvSpPr>
              <p:nvPr/>
            </p:nvSpPr>
            <p:spPr bwMode="gray">
              <a:xfrm>
                <a:off x="1709" y="2730"/>
                <a:ext cx="216" cy="429"/>
              </a:xfrm>
              <a:custGeom>
                <a:avLst/>
                <a:gdLst/>
                <a:ahLst/>
                <a:cxnLst>
                  <a:cxn ang="0">
                    <a:pos x="150" y="2125"/>
                  </a:cxn>
                  <a:cxn ang="0">
                    <a:pos x="60" y="2037"/>
                  </a:cxn>
                  <a:cxn ang="0">
                    <a:pos x="17" y="2007"/>
                  </a:cxn>
                  <a:cxn ang="0">
                    <a:pos x="1" y="1952"/>
                  </a:cxn>
                  <a:cxn ang="0">
                    <a:pos x="49" y="1834"/>
                  </a:cxn>
                  <a:cxn ang="0">
                    <a:pos x="52" y="1773"/>
                  </a:cxn>
                  <a:cxn ang="0">
                    <a:pos x="93" y="1669"/>
                  </a:cxn>
                  <a:cxn ang="0">
                    <a:pos x="104" y="1561"/>
                  </a:cxn>
                  <a:cxn ang="0">
                    <a:pos x="113" y="1513"/>
                  </a:cxn>
                  <a:cxn ang="0">
                    <a:pos x="79" y="1432"/>
                  </a:cxn>
                  <a:cxn ang="0">
                    <a:pos x="86" y="1317"/>
                  </a:cxn>
                  <a:cxn ang="0">
                    <a:pos x="89" y="1194"/>
                  </a:cxn>
                  <a:cxn ang="0">
                    <a:pos x="128" y="1068"/>
                  </a:cxn>
                  <a:cxn ang="0">
                    <a:pos x="138" y="915"/>
                  </a:cxn>
                  <a:cxn ang="0">
                    <a:pos x="156" y="871"/>
                  </a:cxn>
                  <a:cxn ang="0">
                    <a:pos x="192" y="751"/>
                  </a:cxn>
                  <a:cxn ang="0">
                    <a:pos x="165" y="617"/>
                  </a:cxn>
                  <a:cxn ang="0">
                    <a:pos x="179" y="530"/>
                  </a:cxn>
                  <a:cxn ang="0">
                    <a:pos x="192" y="450"/>
                  </a:cxn>
                  <a:cxn ang="0">
                    <a:pos x="260" y="312"/>
                  </a:cxn>
                  <a:cxn ang="0">
                    <a:pos x="263" y="221"/>
                  </a:cxn>
                  <a:cxn ang="0">
                    <a:pos x="317" y="139"/>
                  </a:cxn>
                  <a:cxn ang="0">
                    <a:pos x="340" y="62"/>
                  </a:cxn>
                  <a:cxn ang="0">
                    <a:pos x="396" y="0"/>
                  </a:cxn>
                  <a:cxn ang="0">
                    <a:pos x="477" y="30"/>
                  </a:cxn>
                  <a:cxn ang="0">
                    <a:pos x="507" y="16"/>
                  </a:cxn>
                  <a:cxn ang="0">
                    <a:pos x="577" y="27"/>
                  </a:cxn>
                  <a:cxn ang="0">
                    <a:pos x="671" y="105"/>
                  </a:cxn>
                  <a:cxn ang="0">
                    <a:pos x="752" y="143"/>
                  </a:cxn>
                  <a:cxn ang="0">
                    <a:pos x="850" y="209"/>
                  </a:cxn>
                  <a:cxn ang="0">
                    <a:pos x="821" y="302"/>
                  </a:cxn>
                  <a:cxn ang="0">
                    <a:pos x="908" y="342"/>
                  </a:cxn>
                  <a:cxn ang="0">
                    <a:pos x="972" y="332"/>
                  </a:cxn>
                  <a:cxn ang="0">
                    <a:pos x="1025" y="280"/>
                  </a:cxn>
                  <a:cxn ang="0">
                    <a:pos x="1080" y="270"/>
                  </a:cxn>
                  <a:cxn ang="0">
                    <a:pos x="1023" y="344"/>
                  </a:cxn>
                  <a:cxn ang="0">
                    <a:pos x="914" y="467"/>
                  </a:cxn>
                  <a:cxn ang="0">
                    <a:pos x="851" y="528"/>
                  </a:cxn>
                  <a:cxn ang="0">
                    <a:pos x="835" y="686"/>
                  </a:cxn>
                  <a:cxn ang="0">
                    <a:pos x="813" y="776"/>
                  </a:cxn>
                  <a:cxn ang="0">
                    <a:pos x="878" y="892"/>
                  </a:cxn>
                  <a:cxn ang="0">
                    <a:pos x="877" y="1004"/>
                  </a:cxn>
                  <a:cxn ang="0">
                    <a:pos x="765" y="1080"/>
                  </a:cxn>
                  <a:cxn ang="0">
                    <a:pos x="604" y="1088"/>
                  </a:cxn>
                  <a:cxn ang="0">
                    <a:pos x="604" y="1169"/>
                  </a:cxn>
                  <a:cxn ang="0">
                    <a:pos x="526" y="1251"/>
                  </a:cxn>
                  <a:cxn ang="0">
                    <a:pos x="457" y="1270"/>
                  </a:cxn>
                  <a:cxn ang="0">
                    <a:pos x="505" y="1332"/>
                  </a:cxn>
                  <a:cxn ang="0">
                    <a:pos x="518" y="1376"/>
                  </a:cxn>
                  <a:cxn ang="0">
                    <a:pos x="463" y="1361"/>
                  </a:cxn>
                  <a:cxn ang="0">
                    <a:pos x="466" y="1407"/>
                  </a:cxn>
                  <a:cxn ang="0">
                    <a:pos x="445" y="1501"/>
                  </a:cxn>
                  <a:cxn ang="0">
                    <a:pos x="386" y="1547"/>
                  </a:cxn>
                  <a:cxn ang="0">
                    <a:pos x="318" y="1633"/>
                  </a:cxn>
                  <a:cxn ang="0">
                    <a:pos x="414" y="1705"/>
                  </a:cxn>
                  <a:cxn ang="0">
                    <a:pos x="410" y="1780"/>
                  </a:cxn>
                  <a:cxn ang="0">
                    <a:pos x="321" y="1862"/>
                  </a:cxn>
                  <a:cxn ang="0">
                    <a:pos x="276" y="1953"/>
                  </a:cxn>
                  <a:cxn ang="0">
                    <a:pos x="238" y="1983"/>
                  </a:cxn>
                  <a:cxn ang="0">
                    <a:pos x="225" y="2080"/>
                  </a:cxn>
                </a:cxnLst>
                <a:rect l="0" t="0" r="r" b="b"/>
                <a:pathLst>
                  <a:path w="1080" h="2146">
                    <a:moveTo>
                      <a:pt x="275" y="2146"/>
                    </a:moveTo>
                    <a:lnTo>
                      <a:pt x="270" y="2145"/>
                    </a:lnTo>
                    <a:lnTo>
                      <a:pt x="256" y="2136"/>
                    </a:lnTo>
                    <a:lnTo>
                      <a:pt x="224" y="2131"/>
                    </a:lnTo>
                    <a:lnTo>
                      <a:pt x="198" y="2123"/>
                    </a:lnTo>
                    <a:lnTo>
                      <a:pt x="187" y="2121"/>
                    </a:lnTo>
                    <a:lnTo>
                      <a:pt x="170" y="2125"/>
                    </a:lnTo>
                    <a:lnTo>
                      <a:pt x="150" y="2125"/>
                    </a:lnTo>
                    <a:lnTo>
                      <a:pt x="145" y="2125"/>
                    </a:lnTo>
                    <a:lnTo>
                      <a:pt x="140" y="2124"/>
                    </a:lnTo>
                    <a:lnTo>
                      <a:pt x="85" y="2124"/>
                    </a:lnTo>
                    <a:lnTo>
                      <a:pt x="71" y="2118"/>
                    </a:lnTo>
                    <a:lnTo>
                      <a:pt x="66" y="2113"/>
                    </a:lnTo>
                    <a:lnTo>
                      <a:pt x="60" y="2099"/>
                    </a:lnTo>
                    <a:lnTo>
                      <a:pt x="59" y="2094"/>
                    </a:lnTo>
                    <a:lnTo>
                      <a:pt x="60" y="2037"/>
                    </a:lnTo>
                    <a:lnTo>
                      <a:pt x="59" y="2022"/>
                    </a:lnTo>
                    <a:lnTo>
                      <a:pt x="57" y="2003"/>
                    </a:lnTo>
                    <a:lnTo>
                      <a:pt x="55" y="2001"/>
                    </a:lnTo>
                    <a:lnTo>
                      <a:pt x="50" y="2000"/>
                    </a:lnTo>
                    <a:lnTo>
                      <a:pt x="49" y="2000"/>
                    </a:lnTo>
                    <a:lnTo>
                      <a:pt x="44" y="2006"/>
                    </a:lnTo>
                    <a:lnTo>
                      <a:pt x="26" y="2002"/>
                    </a:lnTo>
                    <a:lnTo>
                      <a:pt x="17" y="2007"/>
                    </a:lnTo>
                    <a:lnTo>
                      <a:pt x="14" y="2015"/>
                    </a:lnTo>
                    <a:lnTo>
                      <a:pt x="10" y="2018"/>
                    </a:lnTo>
                    <a:lnTo>
                      <a:pt x="6" y="2016"/>
                    </a:lnTo>
                    <a:lnTo>
                      <a:pt x="4" y="2010"/>
                    </a:lnTo>
                    <a:lnTo>
                      <a:pt x="1" y="1995"/>
                    </a:lnTo>
                    <a:lnTo>
                      <a:pt x="0" y="1992"/>
                    </a:lnTo>
                    <a:lnTo>
                      <a:pt x="0" y="1962"/>
                    </a:lnTo>
                    <a:lnTo>
                      <a:pt x="1" y="1952"/>
                    </a:lnTo>
                    <a:lnTo>
                      <a:pt x="1" y="1940"/>
                    </a:lnTo>
                    <a:lnTo>
                      <a:pt x="9" y="1908"/>
                    </a:lnTo>
                    <a:lnTo>
                      <a:pt x="14" y="1897"/>
                    </a:lnTo>
                    <a:lnTo>
                      <a:pt x="18" y="1893"/>
                    </a:lnTo>
                    <a:lnTo>
                      <a:pt x="32" y="1866"/>
                    </a:lnTo>
                    <a:lnTo>
                      <a:pt x="43" y="1852"/>
                    </a:lnTo>
                    <a:lnTo>
                      <a:pt x="46" y="1847"/>
                    </a:lnTo>
                    <a:lnTo>
                      <a:pt x="49" y="1834"/>
                    </a:lnTo>
                    <a:lnTo>
                      <a:pt x="52" y="1813"/>
                    </a:lnTo>
                    <a:lnTo>
                      <a:pt x="53" y="1809"/>
                    </a:lnTo>
                    <a:lnTo>
                      <a:pt x="57" y="1807"/>
                    </a:lnTo>
                    <a:lnTo>
                      <a:pt x="57" y="1798"/>
                    </a:lnTo>
                    <a:lnTo>
                      <a:pt x="55" y="1787"/>
                    </a:lnTo>
                    <a:lnTo>
                      <a:pt x="52" y="1781"/>
                    </a:lnTo>
                    <a:lnTo>
                      <a:pt x="52" y="1773"/>
                    </a:lnTo>
                    <a:lnTo>
                      <a:pt x="52" y="1773"/>
                    </a:lnTo>
                    <a:lnTo>
                      <a:pt x="52" y="1758"/>
                    </a:lnTo>
                    <a:lnTo>
                      <a:pt x="53" y="1752"/>
                    </a:lnTo>
                    <a:lnTo>
                      <a:pt x="57" y="1746"/>
                    </a:lnTo>
                    <a:lnTo>
                      <a:pt x="70" y="1727"/>
                    </a:lnTo>
                    <a:lnTo>
                      <a:pt x="80" y="1709"/>
                    </a:lnTo>
                    <a:lnTo>
                      <a:pt x="81" y="1699"/>
                    </a:lnTo>
                    <a:lnTo>
                      <a:pt x="89" y="1684"/>
                    </a:lnTo>
                    <a:lnTo>
                      <a:pt x="93" y="1669"/>
                    </a:lnTo>
                    <a:lnTo>
                      <a:pt x="95" y="1631"/>
                    </a:lnTo>
                    <a:lnTo>
                      <a:pt x="93" y="1624"/>
                    </a:lnTo>
                    <a:lnTo>
                      <a:pt x="93" y="1612"/>
                    </a:lnTo>
                    <a:lnTo>
                      <a:pt x="95" y="1607"/>
                    </a:lnTo>
                    <a:lnTo>
                      <a:pt x="95" y="1580"/>
                    </a:lnTo>
                    <a:lnTo>
                      <a:pt x="96" y="1571"/>
                    </a:lnTo>
                    <a:lnTo>
                      <a:pt x="100" y="1566"/>
                    </a:lnTo>
                    <a:lnTo>
                      <a:pt x="104" y="1561"/>
                    </a:lnTo>
                    <a:lnTo>
                      <a:pt x="104" y="1550"/>
                    </a:lnTo>
                    <a:lnTo>
                      <a:pt x="95" y="1539"/>
                    </a:lnTo>
                    <a:lnTo>
                      <a:pt x="81" y="1533"/>
                    </a:lnTo>
                    <a:lnTo>
                      <a:pt x="77" y="1523"/>
                    </a:lnTo>
                    <a:lnTo>
                      <a:pt x="81" y="1521"/>
                    </a:lnTo>
                    <a:lnTo>
                      <a:pt x="97" y="1523"/>
                    </a:lnTo>
                    <a:lnTo>
                      <a:pt x="111" y="1522"/>
                    </a:lnTo>
                    <a:lnTo>
                      <a:pt x="113" y="1513"/>
                    </a:lnTo>
                    <a:lnTo>
                      <a:pt x="112" y="1505"/>
                    </a:lnTo>
                    <a:lnTo>
                      <a:pt x="104" y="1496"/>
                    </a:lnTo>
                    <a:lnTo>
                      <a:pt x="90" y="1491"/>
                    </a:lnTo>
                    <a:lnTo>
                      <a:pt x="82" y="1491"/>
                    </a:lnTo>
                    <a:lnTo>
                      <a:pt x="82" y="1486"/>
                    </a:lnTo>
                    <a:lnTo>
                      <a:pt x="86" y="1457"/>
                    </a:lnTo>
                    <a:lnTo>
                      <a:pt x="85" y="1442"/>
                    </a:lnTo>
                    <a:lnTo>
                      <a:pt x="79" y="1432"/>
                    </a:lnTo>
                    <a:lnTo>
                      <a:pt x="77" y="1427"/>
                    </a:lnTo>
                    <a:lnTo>
                      <a:pt x="79" y="1400"/>
                    </a:lnTo>
                    <a:lnTo>
                      <a:pt x="77" y="1395"/>
                    </a:lnTo>
                    <a:lnTo>
                      <a:pt x="74" y="1392"/>
                    </a:lnTo>
                    <a:lnTo>
                      <a:pt x="71" y="1387"/>
                    </a:lnTo>
                    <a:lnTo>
                      <a:pt x="71" y="1351"/>
                    </a:lnTo>
                    <a:lnTo>
                      <a:pt x="77" y="1329"/>
                    </a:lnTo>
                    <a:lnTo>
                      <a:pt x="86" y="1317"/>
                    </a:lnTo>
                    <a:lnTo>
                      <a:pt x="90" y="1308"/>
                    </a:lnTo>
                    <a:lnTo>
                      <a:pt x="91" y="1303"/>
                    </a:lnTo>
                    <a:lnTo>
                      <a:pt x="91" y="1291"/>
                    </a:lnTo>
                    <a:lnTo>
                      <a:pt x="90" y="1287"/>
                    </a:lnTo>
                    <a:lnTo>
                      <a:pt x="81" y="1279"/>
                    </a:lnTo>
                    <a:lnTo>
                      <a:pt x="77" y="1264"/>
                    </a:lnTo>
                    <a:lnTo>
                      <a:pt x="80" y="1235"/>
                    </a:lnTo>
                    <a:lnTo>
                      <a:pt x="89" y="1194"/>
                    </a:lnTo>
                    <a:lnTo>
                      <a:pt x="89" y="1178"/>
                    </a:lnTo>
                    <a:lnTo>
                      <a:pt x="89" y="1173"/>
                    </a:lnTo>
                    <a:lnTo>
                      <a:pt x="106" y="1112"/>
                    </a:lnTo>
                    <a:lnTo>
                      <a:pt x="108" y="1097"/>
                    </a:lnTo>
                    <a:lnTo>
                      <a:pt x="111" y="1091"/>
                    </a:lnTo>
                    <a:lnTo>
                      <a:pt x="116" y="1086"/>
                    </a:lnTo>
                    <a:lnTo>
                      <a:pt x="124" y="1077"/>
                    </a:lnTo>
                    <a:lnTo>
                      <a:pt x="128" y="1068"/>
                    </a:lnTo>
                    <a:lnTo>
                      <a:pt x="128" y="1055"/>
                    </a:lnTo>
                    <a:lnTo>
                      <a:pt x="123" y="1043"/>
                    </a:lnTo>
                    <a:lnTo>
                      <a:pt x="119" y="1016"/>
                    </a:lnTo>
                    <a:lnTo>
                      <a:pt x="119" y="979"/>
                    </a:lnTo>
                    <a:lnTo>
                      <a:pt x="123" y="940"/>
                    </a:lnTo>
                    <a:lnTo>
                      <a:pt x="128" y="926"/>
                    </a:lnTo>
                    <a:lnTo>
                      <a:pt x="134" y="918"/>
                    </a:lnTo>
                    <a:lnTo>
                      <a:pt x="138" y="915"/>
                    </a:lnTo>
                    <a:lnTo>
                      <a:pt x="144" y="915"/>
                    </a:lnTo>
                    <a:lnTo>
                      <a:pt x="146" y="913"/>
                    </a:lnTo>
                    <a:lnTo>
                      <a:pt x="147" y="905"/>
                    </a:lnTo>
                    <a:lnTo>
                      <a:pt x="150" y="902"/>
                    </a:lnTo>
                    <a:lnTo>
                      <a:pt x="156" y="898"/>
                    </a:lnTo>
                    <a:lnTo>
                      <a:pt x="159" y="896"/>
                    </a:lnTo>
                    <a:lnTo>
                      <a:pt x="159" y="888"/>
                    </a:lnTo>
                    <a:lnTo>
                      <a:pt x="156" y="871"/>
                    </a:lnTo>
                    <a:lnTo>
                      <a:pt x="155" y="842"/>
                    </a:lnTo>
                    <a:lnTo>
                      <a:pt x="166" y="832"/>
                    </a:lnTo>
                    <a:lnTo>
                      <a:pt x="167" y="829"/>
                    </a:lnTo>
                    <a:lnTo>
                      <a:pt x="171" y="806"/>
                    </a:lnTo>
                    <a:lnTo>
                      <a:pt x="173" y="799"/>
                    </a:lnTo>
                    <a:lnTo>
                      <a:pt x="179" y="786"/>
                    </a:lnTo>
                    <a:lnTo>
                      <a:pt x="192" y="767"/>
                    </a:lnTo>
                    <a:lnTo>
                      <a:pt x="192" y="751"/>
                    </a:lnTo>
                    <a:lnTo>
                      <a:pt x="190" y="733"/>
                    </a:lnTo>
                    <a:lnTo>
                      <a:pt x="187" y="714"/>
                    </a:lnTo>
                    <a:lnTo>
                      <a:pt x="186" y="709"/>
                    </a:lnTo>
                    <a:lnTo>
                      <a:pt x="178" y="701"/>
                    </a:lnTo>
                    <a:lnTo>
                      <a:pt x="178" y="689"/>
                    </a:lnTo>
                    <a:lnTo>
                      <a:pt x="178" y="679"/>
                    </a:lnTo>
                    <a:lnTo>
                      <a:pt x="165" y="646"/>
                    </a:lnTo>
                    <a:lnTo>
                      <a:pt x="165" y="617"/>
                    </a:lnTo>
                    <a:lnTo>
                      <a:pt x="155" y="607"/>
                    </a:lnTo>
                    <a:lnTo>
                      <a:pt x="155" y="595"/>
                    </a:lnTo>
                    <a:lnTo>
                      <a:pt x="157" y="579"/>
                    </a:lnTo>
                    <a:lnTo>
                      <a:pt x="161" y="568"/>
                    </a:lnTo>
                    <a:lnTo>
                      <a:pt x="162" y="565"/>
                    </a:lnTo>
                    <a:lnTo>
                      <a:pt x="171" y="550"/>
                    </a:lnTo>
                    <a:lnTo>
                      <a:pt x="173" y="536"/>
                    </a:lnTo>
                    <a:lnTo>
                      <a:pt x="179" y="530"/>
                    </a:lnTo>
                    <a:lnTo>
                      <a:pt x="182" y="523"/>
                    </a:lnTo>
                    <a:lnTo>
                      <a:pt x="182" y="520"/>
                    </a:lnTo>
                    <a:lnTo>
                      <a:pt x="186" y="516"/>
                    </a:lnTo>
                    <a:lnTo>
                      <a:pt x="189" y="503"/>
                    </a:lnTo>
                    <a:lnTo>
                      <a:pt x="189" y="493"/>
                    </a:lnTo>
                    <a:lnTo>
                      <a:pt x="188" y="482"/>
                    </a:lnTo>
                    <a:lnTo>
                      <a:pt x="189" y="458"/>
                    </a:lnTo>
                    <a:lnTo>
                      <a:pt x="192" y="450"/>
                    </a:lnTo>
                    <a:lnTo>
                      <a:pt x="198" y="436"/>
                    </a:lnTo>
                    <a:lnTo>
                      <a:pt x="200" y="429"/>
                    </a:lnTo>
                    <a:lnTo>
                      <a:pt x="204" y="408"/>
                    </a:lnTo>
                    <a:lnTo>
                      <a:pt x="210" y="382"/>
                    </a:lnTo>
                    <a:lnTo>
                      <a:pt x="235" y="354"/>
                    </a:lnTo>
                    <a:lnTo>
                      <a:pt x="242" y="329"/>
                    </a:lnTo>
                    <a:lnTo>
                      <a:pt x="245" y="327"/>
                    </a:lnTo>
                    <a:lnTo>
                      <a:pt x="260" y="312"/>
                    </a:lnTo>
                    <a:lnTo>
                      <a:pt x="270" y="308"/>
                    </a:lnTo>
                    <a:lnTo>
                      <a:pt x="275" y="305"/>
                    </a:lnTo>
                    <a:lnTo>
                      <a:pt x="276" y="302"/>
                    </a:lnTo>
                    <a:lnTo>
                      <a:pt x="274" y="288"/>
                    </a:lnTo>
                    <a:lnTo>
                      <a:pt x="270" y="273"/>
                    </a:lnTo>
                    <a:lnTo>
                      <a:pt x="268" y="262"/>
                    </a:lnTo>
                    <a:lnTo>
                      <a:pt x="268" y="236"/>
                    </a:lnTo>
                    <a:lnTo>
                      <a:pt x="263" y="221"/>
                    </a:lnTo>
                    <a:lnTo>
                      <a:pt x="263" y="205"/>
                    </a:lnTo>
                    <a:lnTo>
                      <a:pt x="264" y="203"/>
                    </a:lnTo>
                    <a:lnTo>
                      <a:pt x="270" y="195"/>
                    </a:lnTo>
                    <a:lnTo>
                      <a:pt x="270" y="186"/>
                    </a:lnTo>
                    <a:lnTo>
                      <a:pt x="268" y="176"/>
                    </a:lnTo>
                    <a:lnTo>
                      <a:pt x="268" y="168"/>
                    </a:lnTo>
                    <a:lnTo>
                      <a:pt x="269" y="161"/>
                    </a:lnTo>
                    <a:lnTo>
                      <a:pt x="317" y="139"/>
                    </a:lnTo>
                    <a:lnTo>
                      <a:pt x="335" y="132"/>
                    </a:lnTo>
                    <a:lnTo>
                      <a:pt x="344" y="85"/>
                    </a:lnTo>
                    <a:lnTo>
                      <a:pt x="344" y="73"/>
                    </a:lnTo>
                    <a:lnTo>
                      <a:pt x="339" y="68"/>
                    </a:lnTo>
                    <a:lnTo>
                      <a:pt x="339" y="65"/>
                    </a:lnTo>
                    <a:lnTo>
                      <a:pt x="338" y="65"/>
                    </a:lnTo>
                    <a:lnTo>
                      <a:pt x="338" y="63"/>
                    </a:lnTo>
                    <a:lnTo>
                      <a:pt x="340" y="62"/>
                    </a:lnTo>
                    <a:lnTo>
                      <a:pt x="345" y="58"/>
                    </a:lnTo>
                    <a:lnTo>
                      <a:pt x="351" y="48"/>
                    </a:lnTo>
                    <a:lnTo>
                      <a:pt x="353" y="44"/>
                    </a:lnTo>
                    <a:lnTo>
                      <a:pt x="359" y="36"/>
                    </a:lnTo>
                    <a:lnTo>
                      <a:pt x="367" y="27"/>
                    </a:lnTo>
                    <a:lnTo>
                      <a:pt x="378" y="19"/>
                    </a:lnTo>
                    <a:lnTo>
                      <a:pt x="392" y="1"/>
                    </a:lnTo>
                    <a:lnTo>
                      <a:pt x="396" y="0"/>
                    </a:lnTo>
                    <a:lnTo>
                      <a:pt x="399" y="0"/>
                    </a:lnTo>
                    <a:lnTo>
                      <a:pt x="404" y="6"/>
                    </a:lnTo>
                    <a:lnTo>
                      <a:pt x="413" y="19"/>
                    </a:lnTo>
                    <a:lnTo>
                      <a:pt x="439" y="19"/>
                    </a:lnTo>
                    <a:lnTo>
                      <a:pt x="447" y="21"/>
                    </a:lnTo>
                    <a:lnTo>
                      <a:pt x="452" y="21"/>
                    </a:lnTo>
                    <a:lnTo>
                      <a:pt x="473" y="26"/>
                    </a:lnTo>
                    <a:lnTo>
                      <a:pt x="477" y="30"/>
                    </a:lnTo>
                    <a:lnTo>
                      <a:pt x="480" y="36"/>
                    </a:lnTo>
                    <a:lnTo>
                      <a:pt x="483" y="37"/>
                    </a:lnTo>
                    <a:lnTo>
                      <a:pt x="484" y="41"/>
                    </a:lnTo>
                    <a:lnTo>
                      <a:pt x="495" y="52"/>
                    </a:lnTo>
                    <a:lnTo>
                      <a:pt x="498" y="52"/>
                    </a:lnTo>
                    <a:lnTo>
                      <a:pt x="499" y="46"/>
                    </a:lnTo>
                    <a:lnTo>
                      <a:pt x="504" y="35"/>
                    </a:lnTo>
                    <a:lnTo>
                      <a:pt x="507" y="16"/>
                    </a:lnTo>
                    <a:lnTo>
                      <a:pt x="509" y="12"/>
                    </a:lnTo>
                    <a:lnTo>
                      <a:pt x="517" y="12"/>
                    </a:lnTo>
                    <a:lnTo>
                      <a:pt x="536" y="15"/>
                    </a:lnTo>
                    <a:lnTo>
                      <a:pt x="553" y="15"/>
                    </a:lnTo>
                    <a:lnTo>
                      <a:pt x="561" y="16"/>
                    </a:lnTo>
                    <a:lnTo>
                      <a:pt x="564" y="17"/>
                    </a:lnTo>
                    <a:lnTo>
                      <a:pt x="571" y="22"/>
                    </a:lnTo>
                    <a:lnTo>
                      <a:pt x="577" y="27"/>
                    </a:lnTo>
                    <a:lnTo>
                      <a:pt x="585" y="31"/>
                    </a:lnTo>
                    <a:lnTo>
                      <a:pt x="601" y="36"/>
                    </a:lnTo>
                    <a:lnTo>
                      <a:pt x="607" y="41"/>
                    </a:lnTo>
                    <a:lnTo>
                      <a:pt x="618" y="62"/>
                    </a:lnTo>
                    <a:lnTo>
                      <a:pt x="631" y="75"/>
                    </a:lnTo>
                    <a:lnTo>
                      <a:pt x="634" y="80"/>
                    </a:lnTo>
                    <a:lnTo>
                      <a:pt x="659" y="98"/>
                    </a:lnTo>
                    <a:lnTo>
                      <a:pt x="671" y="105"/>
                    </a:lnTo>
                    <a:lnTo>
                      <a:pt x="674" y="108"/>
                    </a:lnTo>
                    <a:lnTo>
                      <a:pt x="686" y="127"/>
                    </a:lnTo>
                    <a:lnTo>
                      <a:pt x="687" y="128"/>
                    </a:lnTo>
                    <a:lnTo>
                      <a:pt x="692" y="132"/>
                    </a:lnTo>
                    <a:lnTo>
                      <a:pt x="703" y="135"/>
                    </a:lnTo>
                    <a:lnTo>
                      <a:pt x="711" y="136"/>
                    </a:lnTo>
                    <a:lnTo>
                      <a:pt x="740" y="139"/>
                    </a:lnTo>
                    <a:lnTo>
                      <a:pt x="752" y="143"/>
                    </a:lnTo>
                    <a:lnTo>
                      <a:pt x="758" y="145"/>
                    </a:lnTo>
                    <a:lnTo>
                      <a:pt x="784" y="163"/>
                    </a:lnTo>
                    <a:lnTo>
                      <a:pt x="799" y="171"/>
                    </a:lnTo>
                    <a:lnTo>
                      <a:pt x="815" y="179"/>
                    </a:lnTo>
                    <a:lnTo>
                      <a:pt x="823" y="191"/>
                    </a:lnTo>
                    <a:lnTo>
                      <a:pt x="838" y="194"/>
                    </a:lnTo>
                    <a:lnTo>
                      <a:pt x="845" y="200"/>
                    </a:lnTo>
                    <a:lnTo>
                      <a:pt x="850" y="209"/>
                    </a:lnTo>
                    <a:lnTo>
                      <a:pt x="854" y="210"/>
                    </a:lnTo>
                    <a:lnTo>
                      <a:pt x="856" y="214"/>
                    </a:lnTo>
                    <a:lnTo>
                      <a:pt x="858" y="224"/>
                    </a:lnTo>
                    <a:lnTo>
                      <a:pt x="858" y="234"/>
                    </a:lnTo>
                    <a:lnTo>
                      <a:pt x="849" y="247"/>
                    </a:lnTo>
                    <a:lnTo>
                      <a:pt x="834" y="269"/>
                    </a:lnTo>
                    <a:lnTo>
                      <a:pt x="823" y="294"/>
                    </a:lnTo>
                    <a:lnTo>
                      <a:pt x="821" y="302"/>
                    </a:lnTo>
                    <a:lnTo>
                      <a:pt x="819" y="311"/>
                    </a:lnTo>
                    <a:lnTo>
                      <a:pt x="819" y="317"/>
                    </a:lnTo>
                    <a:lnTo>
                      <a:pt x="821" y="321"/>
                    </a:lnTo>
                    <a:lnTo>
                      <a:pt x="843" y="321"/>
                    </a:lnTo>
                    <a:lnTo>
                      <a:pt x="875" y="326"/>
                    </a:lnTo>
                    <a:lnTo>
                      <a:pt x="881" y="328"/>
                    </a:lnTo>
                    <a:lnTo>
                      <a:pt x="898" y="339"/>
                    </a:lnTo>
                    <a:lnTo>
                      <a:pt x="908" y="342"/>
                    </a:lnTo>
                    <a:lnTo>
                      <a:pt x="918" y="340"/>
                    </a:lnTo>
                    <a:lnTo>
                      <a:pt x="923" y="343"/>
                    </a:lnTo>
                    <a:lnTo>
                      <a:pt x="930" y="343"/>
                    </a:lnTo>
                    <a:lnTo>
                      <a:pt x="937" y="340"/>
                    </a:lnTo>
                    <a:lnTo>
                      <a:pt x="941" y="335"/>
                    </a:lnTo>
                    <a:lnTo>
                      <a:pt x="948" y="332"/>
                    </a:lnTo>
                    <a:lnTo>
                      <a:pt x="963" y="333"/>
                    </a:lnTo>
                    <a:lnTo>
                      <a:pt x="972" y="332"/>
                    </a:lnTo>
                    <a:lnTo>
                      <a:pt x="973" y="331"/>
                    </a:lnTo>
                    <a:lnTo>
                      <a:pt x="975" y="327"/>
                    </a:lnTo>
                    <a:lnTo>
                      <a:pt x="990" y="315"/>
                    </a:lnTo>
                    <a:lnTo>
                      <a:pt x="994" y="313"/>
                    </a:lnTo>
                    <a:lnTo>
                      <a:pt x="996" y="310"/>
                    </a:lnTo>
                    <a:lnTo>
                      <a:pt x="1010" y="299"/>
                    </a:lnTo>
                    <a:lnTo>
                      <a:pt x="1018" y="290"/>
                    </a:lnTo>
                    <a:lnTo>
                      <a:pt x="1025" y="280"/>
                    </a:lnTo>
                    <a:lnTo>
                      <a:pt x="1028" y="272"/>
                    </a:lnTo>
                    <a:lnTo>
                      <a:pt x="1031" y="256"/>
                    </a:lnTo>
                    <a:lnTo>
                      <a:pt x="1034" y="225"/>
                    </a:lnTo>
                    <a:lnTo>
                      <a:pt x="1043" y="225"/>
                    </a:lnTo>
                    <a:lnTo>
                      <a:pt x="1047" y="224"/>
                    </a:lnTo>
                    <a:lnTo>
                      <a:pt x="1061" y="224"/>
                    </a:lnTo>
                    <a:lnTo>
                      <a:pt x="1068" y="231"/>
                    </a:lnTo>
                    <a:lnTo>
                      <a:pt x="1080" y="270"/>
                    </a:lnTo>
                    <a:lnTo>
                      <a:pt x="1080" y="302"/>
                    </a:lnTo>
                    <a:lnTo>
                      <a:pt x="1079" y="313"/>
                    </a:lnTo>
                    <a:lnTo>
                      <a:pt x="1076" y="317"/>
                    </a:lnTo>
                    <a:lnTo>
                      <a:pt x="1074" y="321"/>
                    </a:lnTo>
                    <a:lnTo>
                      <a:pt x="1050" y="337"/>
                    </a:lnTo>
                    <a:lnTo>
                      <a:pt x="1043" y="339"/>
                    </a:lnTo>
                    <a:lnTo>
                      <a:pt x="1031" y="340"/>
                    </a:lnTo>
                    <a:lnTo>
                      <a:pt x="1023" y="344"/>
                    </a:lnTo>
                    <a:lnTo>
                      <a:pt x="1014" y="356"/>
                    </a:lnTo>
                    <a:lnTo>
                      <a:pt x="1005" y="366"/>
                    </a:lnTo>
                    <a:lnTo>
                      <a:pt x="961" y="404"/>
                    </a:lnTo>
                    <a:lnTo>
                      <a:pt x="959" y="408"/>
                    </a:lnTo>
                    <a:lnTo>
                      <a:pt x="955" y="415"/>
                    </a:lnTo>
                    <a:lnTo>
                      <a:pt x="935" y="440"/>
                    </a:lnTo>
                    <a:lnTo>
                      <a:pt x="932" y="446"/>
                    </a:lnTo>
                    <a:lnTo>
                      <a:pt x="914" y="467"/>
                    </a:lnTo>
                    <a:lnTo>
                      <a:pt x="899" y="479"/>
                    </a:lnTo>
                    <a:lnTo>
                      <a:pt x="892" y="488"/>
                    </a:lnTo>
                    <a:lnTo>
                      <a:pt x="883" y="494"/>
                    </a:lnTo>
                    <a:lnTo>
                      <a:pt x="881" y="499"/>
                    </a:lnTo>
                    <a:lnTo>
                      <a:pt x="872" y="509"/>
                    </a:lnTo>
                    <a:lnTo>
                      <a:pt x="862" y="514"/>
                    </a:lnTo>
                    <a:lnTo>
                      <a:pt x="861" y="520"/>
                    </a:lnTo>
                    <a:lnTo>
                      <a:pt x="851" y="528"/>
                    </a:lnTo>
                    <a:lnTo>
                      <a:pt x="850" y="531"/>
                    </a:lnTo>
                    <a:lnTo>
                      <a:pt x="853" y="554"/>
                    </a:lnTo>
                    <a:lnTo>
                      <a:pt x="848" y="576"/>
                    </a:lnTo>
                    <a:lnTo>
                      <a:pt x="848" y="591"/>
                    </a:lnTo>
                    <a:lnTo>
                      <a:pt x="846" y="601"/>
                    </a:lnTo>
                    <a:lnTo>
                      <a:pt x="838" y="625"/>
                    </a:lnTo>
                    <a:lnTo>
                      <a:pt x="838" y="676"/>
                    </a:lnTo>
                    <a:lnTo>
                      <a:pt x="835" y="686"/>
                    </a:lnTo>
                    <a:lnTo>
                      <a:pt x="834" y="692"/>
                    </a:lnTo>
                    <a:lnTo>
                      <a:pt x="826" y="705"/>
                    </a:lnTo>
                    <a:lnTo>
                      <a:pt x="823" y="714"/>
                    </a:lnTo>
                    <a:lnTo>
                      <a:pt x="818" y="740"/>
                    </a:lnTo>
                    <a:lnTo>
                      <a:pt x="817" y="756"/>
                    </a:lnTo>
                    <a:lnTo>
                      <a:pt x="818" y="765"/>
                    </a:lnTo>
                    <a:lnTo>
                      <a:pt x="817" y="774"/>
                    </a:lnTo>
                    <a:lnTo>
                      <a:pt x="813" y="776"/>
                    </a:lnTo>
                    <a:lnTo>
                      <a:pt x="822" y="796"/>
                    </a:lnTo>
                    <a:lnTo>
                      <a:pt x="846" y="810"/>
                    </a:lnTo>
                    <a:lnTo>
                      <a:pt x="856" y="817"/>
                    </a:lnTo>
                    <a:lnTo>
                      <a:pt x="869" y="828"/>
                    </a:lnTo>
                    <a:lnTo>
                      <a:pt x="885" y="845"/>
                    </a:lnTo>
                    <a:lnTo>
                      <a:pt x="886" y="855"/>
                    </a:lnTo>
                    <a:lnTo>
                      <a:pt x="875" y="880"/>
                    </a:lnTo>
                    <a:lnTo>
                      <a:pt x="878" y="892"/>
                    </a:lnTo>
                    <a:lnTo>
                      <a:pt x="889" y="907"/>
                    </a:lnTo>
                    <a:lnTo>
                      <a:pt x="903" y="913"/>
                    </a:lnTo>
                    <a:lnTo>
                      <a:pt x="913" y="912"/>
                    </a:lnTo>
                    <a:lnTo>
                      <a:pt x="914" y="921"/>
                    </a:lnTo>
                    <a:lnTo>
                      <a:pt x="914" y="950"/>
                    </a:lnTo>
                    <a:lnTo>
                      <a:pt x="908" y="963"/>
                    </a:lnTo>
                    <a:lnTo>
                      <a:pt x="889" y="991"/>
                    </a:lnTo>
                    <a:lnTo>
                      <a:pt x="877" y="1004"/>
                    </a:lnTo>
                    <a:lnTo>
                      <a:pt x="870" y="1015"/>
                    </a:lnTo>
                    <a:lnTo>
                      <a:pt x="865" y="1039"/>
                    </a:lnTo>
                    <a:lnTo>
                      <a:pt x="854" y="1049"/>
                    </a:lnTo>
                    <a:lnTo>
                      <a:pt x="840" y="1056"/>
                    </a:lnTo>
                    <a:lnTo>
                      <a:pt x="815" y="1065"/>
                    </a:lnTo>
                    <a:lnTo>
                      <a:pt x="805" y="1065"/>
                    </a:lnTo>
                    <a:lnTo>
                      <a:pt x="790" y="1072"/>
                    </a:lnTo>
                    <a:lnTo>
                      <a:pt x="765" y="1080"/>
                    </a:lnTo>
                    <a:lnTo>
                      <a:pt x="753" y="1082"/>
                    </a:lnTo>
                    <a:lnTo>
                      <a:pt x="733" y="1083"/>
                    </a:lnTo>
                    <a:lnTo>
                      <a:pt x="711" y="1091"/>
                    </a:lnTo>
                    <a:lnTo>
                      <a:pt x="677" y="1096"/>
                    </a:lnTo>
                    <a:lnTo>
                      <a:pt x="650" y="1096"/>
                    </a:lnTo>
                    <a:lnTo>
                      <a:pt x="620" y="1091"/>
                    </a:lnTo>
                    <a:lnTo>
                      <a:pt x="607" y="1079"/>
                    </a:lnTo>
                    <a:lnTo>
                      <a:pt x="604" y="1088"/>
                    </a:lnTo>
                    <a:lnTo>
                      <a:pt x="607" y="1113"/>
                    </a:lnTo>
                    <a:lnTo>
                      <a:pt x="616" y="1122"/>
                    </a:lnTo>
                    <a:lnTo>
                      <a:pt x="619" y="1130"/>
                    </a:lnTo>
                    <a:lnTo>
                      <a:pt x="617" y="1147"/>
                    </a:lnTo>
                    <a:lnTo>
                      <a:pt x="614" y="1155"/>
                    </a:lnTo>
                    <a:lnTo>
                      <a:pt x="611" y="1157"/>
                    </a:lnTo>
                    <a:lnTo>
                      <a:pt x="609" y="1156"/>
                    </a:lnTo>
                    <a:lnTo>
                      <a:pt x="604" y="1169"/>
                    </a:lnTo>
                    <a:lnTo>
                      <a:pt x="602" y="1184"/>
                    </a:lnTo>
                    <a:lnTo>
                      <a:pt x="607" y="1214"/>
                    </a:lnTo>
                    <a:lnTo>
                      <a:pt x="607" y="1221"/>
                    </a:lnTo>
                    <a:lnTo>
                      <a:pt x="603" y="1230"/>
                    </a:lnTo>
                    <a:lnTo>
                      <a:pt x="597" y="1237"/>
                    </a:lnTo>
                    <a:lnTo>
                      <a:pt x="580" y="1241"/>
                    </a:lnTo>
                    <a:lnTo>
                      <a:pt x="564" y="1252"/>
                    </a:lnTo>
                    <a:lnTo>
                      <a:pt x="526" y="1251"/>
                    </a:lnTo>
                    <a:lnTo>
                      <a:pt x="517" y="1247"/>
                    </a:lnTo>
                    <a:lnTo>
                      <a:pt x="507" y="1241"/>
                    </a:lnTo>
                    <a:lnTo>
                      <a:pt x="487" y="1232"/>
                    </a:lnTo>
                    <a:lnTo>
                      <a:pt x="472" y="1227"/>
                    </a:lnTo>
                    <a:lnTo>
                      <a:pt x="462" y="1216"/>
                    </a:lnTo>
                    <a:lnTo>
                      <a:pt x="451" y="1230"/>
                    </a:lnTo>
                    <a:lnTo>
                      <a:pt x="451" y="1251"/>
                    </a:lnTo>
                    <a:lnTo>
                      <a:pt x="457" y="1270"/>
                    </a:lnTo>
                    <a:lnTo>
                      <a:pt x="458" y="1302"/>
                    </a:lnTo>
                    <a:lnTo>
                      <a:pt x="459" y="1317"/>
                    </a:lnTo>
                    <a:lnTo>
                      <a:pt x="473" y="1329"/>
                    </a:lnTo>
                    <a:lnTo>
                      <a:pt x="487" y="1333"/>
                    </a:lnTo>
                    <a:lnTo>
                      <a:pt x="482" y="1340"/>
                    </a:lnTo>
                    <a:lnTo>
                      <a:pt x="489" y="1345"/>
                    </a:lnTo>
                    <a:lnTo>
                      <a:pt x="509" y="1340"/>
                    </a:lnTo>
                    <a:lnTo>
                      <a:pt x="505" y="1332"/>
                    </a:lnTo>
                    <a:lnTo>
                      <a:pt x="499" y="1328"/>
                    </a:lnTo>
                    <a:lnTo>
                      <a:pt x="515" y="1325"/>
                    </a:lnTo>
                    <a:lnTo>
                      <a:pt x="527" y="1317"/>
                    </a:lnTo>
                    <a:lnTo>
                      <a:pt x="534" y="1329"/>
                    </a:lnTo>
                    <a:lnTo>
                      <a:pt x="538" y="1355"/>
                    </a:lnTo>
                    <a:lnTo>
                      <a:pt x="536" y="1367"/>
                    </a:lnTo>
                    <a:lnTo>
                      <a:pt x="528" y="1372"/>
                    </a:lnTo>
                    <a:lnTo>
                      <a:pt x="518" y="1376"/>
                    </a:lnTo>
                    <a:lnTo>
                      <a:pt x="509" y="1376"/>
                    </a:lnTo>
                    <a:lnTo>
                      <a:pt x="501" y="1372"/>
                    </a:lnTo>
                    <a:lnTo>
                      <a:pt x="500" y="1360"/>
                    </a:lnTo>
                    <a:lnTo>
                      <a:pt x="495" y="1354"/>
                    </a:lnTo>
                    <a:lnTo>
                      <a:pt x="484" y="1351"/>
                    </a:lnTo>
                    <a:lnTo>
                      <a:pt x="475" y="1354"/>
                    </a:lnTo>
                    <a:lnTo>
                      <a:pt x="469" y="1360"/>
                    </a:lnTo>
                    <a:lnTo>
                      <a:pt x="463" y="1361"/>
                    </a:lnTo>
                    <a:lnTo>
                      <a:pt x="458" y="1366"/>
                    </a:lnTo>
                    <a:lnTo>
                      <a:pt x="458" y="1372"/>
                    </a:lnTo>
                    <a:lnTo>
                      <a:pt x="475" y="1381"/>
                    </a:lnTo>
                    <a:lnTo>
                      <a:pt x="487" y="1382"/>
                    </a:lnTo>
                    <a:lnTo>
                      <a:pt x="494" y="1384"/>
                    </a:lnTo>
                    <a:lnTo>
                      <a:pt x="500" y="1387"/>
                    </a:lnTo>
                    <a:lnTo>
                      <a:pt x="499" y="1389"/>
                    </a:lnTo>
                    <a:lnTo>
                      <a:pt x="466" y="1407"/>
                    </a:lnTo>
                    <a:lnTo>
                      <a:pt x="461" y="1414"/>
                    </a:lnTo>
                    <a:lnTo>
                      <a:pt x="457" y="1423"/>
                    </a:lnTo>
                    <a:lnTo>
                      <a:pt x="448" y="1432"/>
                    </a:lnTo>
                    <a:lnTo>
                      <a:pt x="446" y="1445"/>
                    </a:lnTo>
                    <a:lnTo>
                      <a:pt x="450" y="1461"/>
                    </a:lnTo>
                    <a:lnTo>
                      <a:pt x="448" y="1474"/>
                    </a:lnTo>
                    <a:lnTo>
                      <a:pt x="448" y="1490"/>
                    </a:lnTo>
                    <a:lnTo>
                      <a:pt x="445" y="1501"/>
                    </a:lnTo>
                    <a:lnTo>
                      <a:pt x="440" y="1506"/>
                    </a:lnTo>
                    <a:lnTo>
                      <a:pt x="432" y="1508"/>
                    </a:lnTo>
                    <a:lnTo>
                      <a:pt x="426" y="1520"/>
                    </a:lnTo>
                    <a:lnTo>
                      <a:pt x="431" y="1533"/>
                    </a:lnTo>
                    <a:lnTo>
                      <a:pt x="432" y="1538"/>
                    </a:lnTo>
                    <a:lnTo>
                      <a:pt x="429" y="1544"/>
                    </a:lnTo>
                    <a:lnTo>
                      <a:pt x="396" y="1542"/>
                    </a:lnTo>
                    <a:lnTo>
                      <a:pt x="386" y="1547"/>
                    </a:lnTo>
                    <a:lnTo>
                      <a:pt x="378" y="1556"/>
                    </a:lnTo>
                    <a:lnTo>
                      <a:pt x="369" y="1556"/>
                    </a:lnTo>
                    <a:lnTo>
                      <a:pt x="359" y="1561"/>
                    </a:lnTo>
                    <a:lnTo>
                      <a:pt x="342" y="1580"/>
                    </a:lnTo>
                    <a:lnTo>
                      <a:pt x="335" y="1588"/>
                    </a:lnTo>
                    <a:lnTo>
                      <a:pt x="333" y="1597"/>
                    </a:lnTo>
                    <a:lnTo>
                      <a:pt x="322" y="1615"/>
                    </a:lnTo>
                    <a:lnTo>
                      <a:pt x="318" y="1633"/>
                    </a:lnTo>
                    <a:lnTo>
                      <a:pt x="321" y="1640"/>
                    </a:lnTo>
                    <a:lnTo>
                      <a:pt x="327" y="1653"/>
                    </a:lnTo>
                    <a:lnTo>
                      <a:pt x="333" y="1664"/>
                    </a:lnTo>
                    <a:lnTo>
                      <a:pt x="343" y="1672"/>
                    </a:lnTo>
                    <a:lnTo>
                      <a:pt x="365" y="1696"/>
                    </a:lnTo>
                    <a:lnTo>
                      <a:pt x="389" y="1706"/>
                    </a:lnTo>
                    <a:lnTo>
                      <a:pt x="402" y="1707"/>
                    </a:lnTo>
                    <a:lnTo>
                      <a:pt x="414" y="1705"/>
                    </a:lnTo>
                    <a:lnTo>
                      <a:pt x="421" y="1712"/>
                    </a:lnTo>
                    <a:lnTo>
                      <a:pt x="424" y="1723"/>
                    </a:lnTo>
                    <a:lnTo>
                      <a:pt x="424" y="1739"/>
                    </a:lnTo>
                    <a:lnTo>
                      <a:pt x="417" y="1752"/>
                    </a:lnTo>
                    <a:lnTo>
                      <a:pt x="413" y="1754"/>
                    </a:lnTo>
                    <a:lnTo>
                      <a:pt x="417" y="1766"/>
                    </a:lnTo>
                    <a:lnTo>
                      <a:pt x="418" y="1776"/>
                    </a:lnTo>
                    <a:lnTo>
                      <a:pt x="410" y="1780"/>
                    </a:lnTo>
                    <a:lnTo>
                      <a:pt x="409" y="1791"/>
                    </a:lnTo>
                    <a:lnTo>
                      <a:pt x="402" y="1791"/>
                    </a:lnTo>
                    <a:lnTo>
                      <a:pt x="393" y="1796"/>
                    </a:lnTo>
                    <a:lnTo>
                      <a:pt x="376" y="1813"/>
                    </a:lnTo>
                    <a:lnTo>
                      <a:pt x="358" y="1829"/>
                    </a:lnTo>
                    <a:lnTo>
                      <a:pt x="350" y="1833"/>
                    </a:lnTo>
                    <a:lnTo>
                      <a:pt x="335" y="1849"/>
                    </a:lnTo>
                    <a:lnTo>
                      <a:pt x="321" y="1862"/>
                    </a:lnTo>
                    <a:lnTo>
                      <a:pt x="312" y="1882"/>
                    </a:lnTo>
                    <a:lnTo>
                      <a:pt x="310" y="1894"/>
                    </a:lnTo>
                    <a:lnTo>
                      <a:pt x="318" y="1887"/>
                    </a:lnTo>
                    <a:lnTo>
                      <a:pt x="310" y="1924"/>
                    </a:lnTo>
                    <a:lnTo>
                      <a:pt x="305" y="1940"/>
                    </a:lnTo>
                    <a:lnTo>
                      <a:pt x="296" y="1948"/>
                    </a:lnTo>
                    <a:lnTo>
                      <a:pt x="286" y="1953"/>
                    </a:lnTo>
                    <a:lnTo>
                      <a:pt x="276" y="1953"/>
                    </a:lnTo>
                    <a:lnTo>
                      <a:pt x="269" y="1946"/>
                    </a:lnTo>
                    <a:lnTo>
                      <a:pt x="258" y="1925"/>
                    </a:lnTo>
                    <a:lnTo>
                      <a:pt x="260" y="1945"/>
                    </a:lnTo>
                    <a:lnTo>
                      <a:pt x="268" y="1948"/>
                    </a:lnTo>
                    <a:lnTo>
                      <a:pt x="270" y="1954"/>
                    </a:lnTo>
                    <a:lnTo>
                      <a:pt x="270" y="1959"/>
                    </a:lnTo>
                    <a:lnTo>
                      <a:pt x="248" y="1974"/>
                    </a:lnTo>
                    <a:lnTo>
                      <a:pt x="238" y="1983"/>
                    </a:lnTo>
                    <a:lnTo>
                      <a:pt x="226" y="2026"/>
                    </a:lnTo>
                    <a:lnTo>
                      <a:pt x="219" y="2037"/>
                    </a:lnTo>
                    <a:lnTo>
                      <a:pt x="225" y="2037"/>
                    </a:lnTo>
                    <a:lnTo>
                      <a:pt x="230" y="2033"/>
                    </a:lnTo>
                    <a:lnTo>
                      <a:pt x="237" y="2058"/>
                    </a:lnTo>
                    <a:lnTo>
                      <a:pt x="241" y="2074"/>
                    </a:lnTo>
                    <a:lnTo>
                      <a:pt x="237" y="2081"/>
                    </a:lnTo>
                    <a:lnTo>
                      <a:pt x="225" y="2080"/>
                    </a:lnTo>
                    <a:lnTo>
                      <a:pt x="220" y="2082"/>
                    </a:lnTo>
                    <a:lnTo>
                      <a:pt x="229" y="2089"/>
                    </a:lnTo>
                    <a:lnTo>
                      <a:pt x="233" y="2088"/>
                    </a:lnTo>
                    <a:lnTo>
                      <a:pt x="240" y="2089"/>
                    </a:lnTo>
                    <a:lnTo>
                      <a:pt x="256" y="2120"/>
                    </a:lnTo>
                    <a:lnTo>
                      <a:pt x="275" y="2145"/>
                    </a:lnTo>
                    <a:lnTo>
                      <a:pt x="275" y="2146"/>
                    </a:lnTo>
                    <a:close/>
                  </a:path>
                </a:pathLst>
              </a:custGeom>
              <a:solidFill>
                <a:schemeClr val="accent6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4" name="Freeform 257"/>
              <p:cNvSpPr>
                <a:spLocks noChangeAspect="1"/>
              </p:cNvSpPr>
              <p:nvPr/>
            </p:nvSpPr>
            <p:spPr bwMode="gray">
              <a:xfrm>
                <a:off x="1763" y="3165"/>
                <a:ext cx="38" cy="45"/>
              </a:xfrm>
              <a:custGeom>
                <a:avLst/>
                <a:gdLst/>
                <a:ahLst/>
                <a:cxnLst>
                  <a:cxn ang="0">
                    <a:pos x="4" y="208"/>
                  </a:cxn>
                  <a:cxn ang="0">
                    <a:pos x="4" y="196"/>
                  </a:cxn>
                  <a:cxn ang="0">
                    <a:pos x="3" y="191"/>
                  </a:cxn>
                  <a:cxn ang="0">
                    <a:pos x="0" y="0"/>
                  </a:cxn>
                  <a:cxn ang="0">
                    <a:pos x="6" y="5"/>
                  </a:cxn>
                  <a:cxn ang="0">
                    <a:pos x="11" y="14"/>
                  </a:cxn>
                  <a:cxn ang="0">
                    <a:pos x="29" y="43"/>
                  </a:cxn>
                  <a:cxn ang="0">
                    <a:pos x="29" y="48"/>
                  </a:cxn>
                  <a:cxn ang="0">
                    <a:pos x="25" y="42"/>
                  </a:cxn>
                  <a:cxn ang="0">
                    <a:pos x="17" y="40"/>
                  </a:cxn>
                  <a:cxn ang="0">
                    <a:pos x="11" y="42"/>
                  </a:cxn>
                  <a:cxn ang="0">
                    <a:pos x="10" y="50"/>
                  </a:cxn>
                  <a:cxn ang="0">
                    <a:pos x="14" y="58"/>
                  </a:cxn>
                  <a:cxn ang="0">
                    <a:pos x="20" y="61"/>
                  </a:cxn>
                  <a:cxn ang="0">
                    <a:pos x="26" y="67"/>
                  </a:cxn>
                  <a:cxn ang="0">
                    <a:pos x="31" y="74"/>
                  </a:cxn>
                  <a:cxn ang="0">
                    <a:pos x="37" y="94"/>
                  </a:cxn>
                  <a:cxn ang="0">
                    <a:pos x="42" y="99"/>
                  </a:cxn>
                  <a:cxn ang="0">
                    <a:pos x="59" y="111"/>
                  </a:cxn>
                  <a:cxn ang="0">
                    <a:pos x="74" y="129"/>
                  </a:cxn>
                  <a:cxn ang="0">
                    <a:pos x="81" y="132"/>
                  </a:cxn>
                  <a:cxn ang="0">
                    <a:pos x="86" y="136"/>
                  </a:cxn>
                  <a:cxn ang="0">
                    <a:pos x="94" y="138"/>
                  </a:cxn>
                  <a:cxn ang="0">
                    <a:pos x="97" y="144"/>
                  </a:cxn>
                  <a:cxn ang="0">
                    <a:pos x="108" y="148"/>
                  </a:cxn>
                  <a:cxn ang="0">
                    <a:pos x="119" y="161"/>
                  </a:cxn>
                  <a:cxn ang="0">
                    <a:pos x="142" y="179"/>
                  </a:cxn>
                  <a:cxn ang="0">
                    <a:pos x="156" y="187"/>
                  </a:cxn>
                  <a:cxn ang="0">
                    <a:pos x="182" y="190"/>
                  </a:cxn>
                  <a:cxn ang="0">
                    <a:pos x="192" y="187"/>
                  </a:cxn>
                  <a:cxn ang="0">
                    <a:pos x="193" y="193"/>
                  </a:cxn>
                  <a:cxn ang="0">
                    <a:pos x="191" y="206"/>
                  </a:cxn>
                  <a:cxn ang="0">
                    <a:pos x="187" y="210"/>
                  </a:cxn>
                  <a:cxn ang="0">
                    <a:pos x="175" y="215"/>
                  </a:cxn>
                  <a:cxn ang="0">
                    <a:pos x="155" y="212"/>
                  </a:cxn>
                  <a:cxn ang="0">
                    <a:pos x="129" y="220"/>
                  </a:cxn>
                  <a:cxn ang="0">
                    <a:pos x="127" y="224"/>
                  </a:cxn>
                  <a:cxn ang="0">
                    <a:pos x="118" y="222"/>
                  </a:cxn>
                  <a:cxn ang="0">
                    <a:pos x="102" y="212"/>
                  </a:cxn>
                  <a:cxn ang="0">
                    <a:pos x="74" y="206"/>
                  </a:cxn>
                  <a:cxn ang="0">
                    <a:pos x="48" y="206"/>
                  </a:cxn>
                  <a:cxn ang="0">
                    <a:pos x="40" y="202"/>
                  </a:cxn>
                  <a:cxn ang="0">
                    <a:pos x="33" y="201"/>
                  </a:cxn>
                  <a:cxn ang="0">
                    <a:pos x="25" y="199"/>
                  </a:cxn>
                  <a:cxn ang="0">
                    <a:pos x="9" y="208"/>
                  </a:cxn>
                  <a:cxn ang="0">
                    <a:pos x="4" y="208"/>
                  </a:cxn>
                </a:cxnLst>
                <a:rect l="0" t="0" r="r" b="b"/>
                <a:pathLst>
                  <a:path w="193" h="224">
                    <a:moveTo>
                      <a:pt x="4" y="208"/>
                    </a:moveTo>
                    <a:lnTo>
                      <a:pt x="4" y="196"/>
                    </a:lnTo>
                    <a:lnTo>
                      <a:pt x="3" y="191"/>
                    </a:lnTo>
                    <a:lnTo>
                      <a:pt x="0" y="0"/>
                    </a:lnTo>
                    <a:lnTo>
                      <a:pt x="6" y="5"/>
                    </a:lnTo>
                    <a:lnTo>
                      <a:pt x="11" y="14"/>
                    </a:lnTo>
                    <a:lnTo>
                      <a:pt x="29" y="43"/>
                    </a:lnTo>
                    <a:lnTo>
                      <a:pt x="29" y="48"/>
                    </a:lnTo>
                    <a:lnTo>
                      <a:pt x="25" y="42"/>
                    </a:lnTo>
                    <a:lnTo>
                      <a:pt x="17" y="40"/>
                    </a:lnTo>
                    <a:lnTo>
                      <a:pt x="11" y="42"/>
                    </a:lnTo>
                    <a:lnTo>
                      <a:pt x="10" y="50"/>
                    </a:lnTo>
                    <a:lnTo>
                      <a:pt x="14" y="58"/>
                    </a:lnTo>
                    <a:lnTo>
                      <a:pt x="20" y="61"/>
                    </a:lnTo>
                    <a:lnTo>
                      <a:pt x="26" y="67"/>
                    </a:lnTo>
                    <a:lnTo>
                      <a:pt x="31" y="74"/>
                    </a:lnTo>
                    <a:lnTo>
                      <a:pt x="37" y="94"/>
                    </a:lnTo>
                    <a:lnTo>
                      <a:pt x="42" y="99"/>
                    </a:lnTo>
                    <a:lnTo>
                      <a:pt x="59" y="111"/>
                    </a:lnTo>
                    <a:lnTo>
                      <a:pt x="74" y="129"/>
                    </a:lnTo>
                    <a:lnTo>
                      <a:pt x="81" y="132"/>
                    </a:lnTo>
                    <a:lnTo>
                      <a:pt x="86" y="136"/>
                    </a:lnTo>
                    <a:lnTo>
                      <a:pt x="94" y="138"/>
                    </a:lnTo>
                    <a:lnTo>
                      <a:pt x="97" y="144"/>
                    </a:lnTo>
                    <a:lnTo>
                      <a:pt x="108" y="148"/>
                    </a:lnTo>
                    <a:lnTo>
                      <a:pt x="119" y="161"/>
                    </a:lnTo>
                    <a:lnTo>
                      <a:pt x="142" y="179"/>
                    </a:lnTo>
                    <a:lnTo>
                      <a:pt x="156" y="187"/>
                    </a:lnTo>
                    <a:lnTo>
                      <a:pt x="182" y="190"/>
                    </a:lnTo>
                    <a:lnTo>
                      <a:pt x="192" y="187"/>
                    </a:lnTo>
                    <a:lnTo>
                      <a:pt x="193" y="193"/>
                    </a:lnTo>
                    <a:lnTo>
                      <a:pt x="191" y="206"/>
                    </a:lnTo>
                    <a:lnTo>
                      <a:pt x="187" y="210"/>
                    </a:lnTo>
                    <a:lnTo>
                      <a:pt x="175" y="215"/>
                    </a:lnTo>
                    <a:lnTo>
                      <a:pt x="155" y="212"/>
                    </a:lnTo>
                    <a:lnTo>
                      <a:pt x="129" y="220"/>
                    </a:lnTo>
                    <a:lnTo>
                      <a:pt x="127" y="224"/>
                    </a:lnTo>
                    <a:lnTo>
                      <a:pt x="118" y="222"/>
                    </a:lnTo>
                    <a:lnTo>
                      <a:pt x="102" y="212"/>
                    </a:lnTo>
                    <a:lnTo>
                      <a:pt x="74" y="206"/>
                    </a:lnTo>
                    <a:lnTo>
                      <a:pt x="48" y="206"/>
                    </a:lnTo>
                    <a:lnTo>
                      <a:pt x="40" y="202"/>
                    </a:lnTo>
                    <a:lnTo>
                      <a:pt x="33" y="201"/>
                    </a:lnTo>
                    <a:lnTo>
                      <a:pt x="25" y="199"/>
                    </a:lnTo>
                    <a:lnTo>
                      <a:pt x="9" y="208"/>
                    </a:lnTo>
                    <a:lnTo>
                      <a:pt x="4" y="20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5" name="Freeform 258"/>
              <p:cNvSpPr>
                <a:spLocks noChangeAspect="1"/>
              </p:cNvSpPr>
              <p:nvPr/>
            </p:nvSpPr>
            <p:spPr bwMode="gray">
              <a:xfrm>
                <a:off x="1879" y="2422"/>
                <a:ext cx="45" cy="45"/>
              </a:xfrm>
              <a:custGeom>
                <a:avLst/>
                <a:gdLst/>
                <a:ahLst/>
                <a:cxnLst>
                  <a:cxn ang="0">
                    <a:pos x="197" y="195"/>
                  </a:cxn>
                  <a:cxn ang="0">
                    <a:pos x="172" y="187"/>
                  </a:cxn>
                  <a:cxn ang="0">
                    <a:pos x="146" y="193"/>
                  </a:cxn>
                  <a:cxn ang="0">
                    <a:pos x="129" y="190"/>
                  </a:cxn>
                  <a:cxn ang="0">
                    <a:pos x="124" y="217"/>
                  </a:cxn>
                  <a:cxn ang="0">
                    <a:pos x="103" y="221"/>
                  </a:cxn>
                  <a:cxn ang="0">
                    <a:pos x="91" y="214"/>
                  </a:cxn>
                  <a:cxn ang="0">
                    <a:pos x="79" y="205"/>
                  </a:cxn>
                  <a:cxn ang="0">
                    <a:pos x="59" y="178"/>
                  </a:cxn>
                  <a:cxn ang="0">
                    <a:pos x="52" y="166"/>
                  </a:cxn>
                  <a:cxn ang="0">
                    <a:pos x="47" y="151"/>
                  </a:cxn>
                  <a:cxn ang="0">
                    <a:pos x="43" y="140"/>
                  </a:cxn>
                  <a:cxn ang="0">
                    <a:pos x="30" y="139"/>
                  </a:cxn>
                  <a:cxn ang="0">
                    <a:pos x="26" y="130"/>
                  </a:cxn>
                  <a:cxn ang="0">
                    <a:pos x="15" y="122"/>
                  </a:cxn>
                  <a:cxn ang="0">
                    <a:pos x="0" y="101"/>
                  </a:cxn>
                  <a:cxn ang="0">
                    <a:pos x="4" y="84"/>
                  </a:cxn>
                  <a:cxn ang="0">
                    <a:pos x="9" y="60"/>
                  </a:cxn>
                  <a:cxn ang="0">
                    <a:pos x="11" y="55"/>
                  </a:cxn>
                  <a:cxn ang="0">
                    <a:pos x="22" y="50"/>
                  </a:cxn>
                  <a:cxn ang="0">
                    <a:pos x="38" y="49"/>
                  </a:cxn>
                  <a:cxn ang="0">
                    <a:pos x="46" y="39"/>
                  </a:cxn>
                  <a:cxn ang="0">
                    <a:pos x="44" y="32"/>
                  </a:cxn>
                  <a:cxn ang="0">
                    <a:pos x="43" y="26"/>
                  </a:cxn>
                  <a:cxn ang="0">
                    <a:pos x="57" y="9"/>
                  </a:cxn>
                  <a:cxn ang="0">
                    <a:pos x="62" y="5"/>
                  </a:cxn>
                  <a:cxn ang="0">
                    <a:pos x="71" y="0"/>
                  </a:cxn>
                  <a:cxn ang="0">
                    <a:pos x="114" y="6"/>
                  </a:cxn>
                  <a:cxn ang="0">
                    <a:pos x="154" y="3"/>
                  </a:cxn>
                  <a:cxn ang="0">
                    <a:pos x="168" y="0"/>
                  </a:cxn>
                  <a:cxn ang="0">
                    <a:pos x="200" y="3"/>
                  </a:cxn>
                  <a:cxn ang="0">
                    <a:pos x="225" y="11"/>
                  </a:cxn>
                  <a:cxn ang="0">
                    <a:pos x="222" y="25"/>
                  </a:cxn>
                  <a:cxn ang="0">
                    <a:pos x="218" y="33"/>
                  </a:cxn>
                  <a:cxn ang="0">
                    <a:pos x="206" y="49"/>
                  </a:cxn>
                  <a:cxn ang="0">
                    <a:pos x="208" y="90"/>
                  </a:cxn>
                  <a:cxn ang="0">
                    <a:pos x="220" y="114"/>
                  </a:cxn>
                  <a:cxn ang="0">
                    <a:pos x="221" y="117"/>
                  </a:cxn>
                  <a:cxn ang="0">
                    <a:pos x="225" y="140"/>
                  </a:cxn>
                  <a:cxn ang="0">
                    <a:pos x="218" y="181"/>
                  </a:cxn>
                  <a:cxn ang="0">
                    <a:pos x="203" y="197"/>
                  </a:cxn>
                </a:cxnLst>
                <a:rect l="0" t="0" r="r" b="b"/>
                <a:pathLst>
                  <a:path w="226" h="221">
                    <a:moveTo>
                      <a:pt x="203" y="197"/>
                    </a:moveTo>
                    <a:lnTo>
                      <a:pt x="197" y="195"/>
                    </a:lnTo>
                    <a:lnTo>
                      <a:pt x="193" y="193"/>
                    </a:lnTo>
                    <a:lnTo>
                      <a:pt x="172" y="187"/>
                    </a:lnTo>
                    <a:lnTo>
                      <a:pt x="150" y="193"/>
                    </a:lnTo>
                    <a:lnTo>
                      <a:pt x="146" y="193"/>
                    </a:lnTo>
                    <a:lnTo>
                      <a:pt x="136" y="190"/>
                    </a:lnTo>
                    <a:lnTo>
                      <a:pt x="129" y="190"/>
                    </a:lnTo>
                    <a:lnTo>
                      <a:pt x="123" y="193"/>
                    </a:lnTo>
                    <a:lnTo>
                      <a:pt x="124" y="217"/>
                    </a:lnTo>
                    <a:lnTo>
                      <a:pt x="120" y="221"/>
                    </a:lnTo>
                    <a:lnTo>
                      <a:pt x="103" y="221"/>
                    </a:lnTo>
                    <a:lnTo>
                      <a:pt x="91" y="216"/>
                    </a:lnTo>
                    <a:lnTo>
                      <a:pt x="91" y="214"/>
                    </a:lnTo>
                    <a:lnTo>
                      <a:pt x="89" y="214"/>
                    </a:lnTo>
                    <a:lnTo>
                      <a:pt x="79" y="205"/>
                    </a:lnTo>
                    <a:lnTo>
                      <a:pt x="65" y="188"/>
                    </a:lnTo>
                    <a:lnTo>
                      <a:pt x="59" y="178"/>
                    </a:lnTo>
                    <a:lnTo>
                      <a:pt x="58" y="172"/>
                    </a:lnTo>
                    <a:lnTo>
                      <a:pt x="52" y="166"/>
                    </a:lnTo>
                    <a:lnTo>
                      <a:pt x="52" y="156"/>
                    </a:lnTo>
                    <a:lnTo>
                      <a:pt x="47" y="151"/>
                    </a:lnTo>
                    <a:lnTo>
                      <a:pt x="46" y="143"/>
                    </a:lnTo>
                    <a:lnTo>
                      <a:pt x="43" y="140"/>
                    </a:lnTo>
                    <a:lnTo>
                      <a:pt x="32" y="140"/>
                    </a:lnTo>
                    <a:lnTo>
                      <a:pt x="30" y="139"/>
                    </a:lnTo>
                    <a:lnTo>
                      <a:pt x="26" y="135"/>
                    </a:lnTo>
                    <a:lnTo>
                      <a:pt x="26" y="130"/>
                    </a:lnTo>
                    <a:lnTo>
                      <a:pt x="17" y="123"/>
                    </a:lnTo>
                    <a:lnTo>
                      <a:pt x="15" y="122"/>
                    </a:lnTo>
                    <a:lnTo>
                      <a:pt x="6" y="107"/>
                    </a:lnTo>
                    <a:lnTo>
                      <a:pt x="0" y="101"/>
                    </a:lnTo>
                    <a:lnTo>
                      <a:pt x="0" y="95"/>
                    </a:lnTo>
                    <a:lnTo>
                      <a:pt x="4" y="84"/>
                    </a:lnTo>
                    <a:lnTo>
                      <a:pt x="9" y="75"/>
                    </a:lnTo>
                    <a:lnTo>
                      <a:pt x="9" y="60"/>
                    </a:lnTo>
                    <a:lnTo>
                      <a:pt x="10" y="58"/>
                    </a:lnTo>
                    <a:lnTo>
                      <a:pt x="11" y="55"/>
                    </a:lnTo>
                    <a:lnTo>
                      <a:pt x="15" y="53"/>
                    </a:lnTo>
                    <a:lnTo>
                      <a:pt x="22" y="50"/>
                    </a:lnTo>
                    <a:lnTo>
                      <a:pt x="32" y="50"/>
                    </a:lnTo>
                    <a:lnTo>
                      <a:pt x="38" y="49"/>
                    </a:lnTo>
                    <a:lnTo>
                      <a:pt x="39" y="46"/>
                    </a:lnTo>
                    <a:lnTo>
                      <a:pt x="46" y="39"/>
                    </a:lnTo>
                    <a:lnTo>
                      <a:pt x="46" y="32"/>
                    </a:lnTo>
                    <a:lnTo>
                      <a:pt x="44" y="32"/>
                    </a:lnTo>
                    <a:lnTo>
                      <a:pt x="42" y="30"/>
                    </a:lnTo>
                    <a:lnTo>
                      <a:pt x="43" y="26"/>
                    </a:lnTo>
                    <a:lnTo>
                      <a:pt x="50" y="15"/>
                    </a:lnTo>
                    <a:lnTo>
                      <a:pt x="57" y="9"/>
                    </a:lnTo>
                    <a:lnTo>
                      <a:pt x="58" y="6"/>
                    </a:lnTo>
                    <a:lnTo>
                      <a:pt x="62" y="5"/>
                    </a:lnTo>
                    <a:lnTo>
                      <a:pt x="66" y="0"/>
                    </a:lnTo>
                    <a:lnTo>
                      <a:pt x="71" y="0"/>
                    </a:lnTo>
                    <a:lnTo>
                      <a:pt x="95" y="6"/>
                    </a:lnTo>
                    <a:lnTo>
                      <a:pt x="114" y="6"/>
                    </a:lnTo>
                    <a:lnTo>
                      <a:pt x="139" y="1"/>
                    </a:lnTo>
                    <a:lnTo>
                      <a:pt x="154" y="3"/>
                    </a:lnTo>
                    <a:lnTo>
                      <a:pt x="166" y="1"/>
                    </a:lnTo>
                    <a:lnTo>
                      <a:pt x="168" y="0"/>
                    </a:lnTo>
                    <a:lnTo>
                      <a:pt x="175" y="0"/>
                    </a:lnTo>
                    <a:lnTo>
                      <a:pt x="200" y="3"/>
                    </a:lnTo>
                    <a:lnTo>
                      <a:pt x="225" y="10"/>
                    </a:lnTo>
                    <a:lnTo>
                      <a:pt x="225" y="11"/>
                    </a:lnTo>
                    <a:lnTo>
                      <a:pt x="225" y="22"/>
                    </a:lnTo>
                    <a:lnTo>
                      <a:pt x="222" y="25"/>
                    </a:lnTo>
                    <a:lnTo>
                      <a:pt x="222" y="27"/>
                    </a:lnTo>
                    <a:lnTo>
                      <a:pt x="218" y="33"/>
                    </a:lnTo>
                    <a:lnTo>
                      <a:pt x="210" y="39"/>
                    </a:lnTo>
                    <a:lnTo>
                      <a:pt x="206" y="49"/>
                    </a:lnTo>
                    <a:lnTo>
                      <a:pt x="206" y="71"/>
                    </a:lnTo>
                    <a:lnTo>
                      <a:pt x="208" y="90"/>
                    </a:lnTo>
                    <a:lnTo>
                      <a:pt x="211" y="101"/>
                    </a:lnTo>
                    <a:lnTo>
                      <a:pt x="220" y="114"/>
                    </a:lnTo>
                    <a:lnTo>
                      <a:pt x="220" y="116"/>
                    </a:lnTo>
                    <a:lnTo>
                      <a:pt x="221" y="117"/>
                    </a:lnTo>
                    <a:lnTo>
                      <a:pt x="226" y="125"/>
                    </a:lnTo>
                    <a:lnTo>
                      <a:pt x="225" y="140"/>
                    </a:lnTo>
                    <a:lnTo>
                      <a:pt x="220" y="162"/>
                    </a:lnTo>
                    <a:lnTo>
                      <a:pt x="218" y="181"/>
                    </a:lnTo>
                    <a:lnTo>
                      <a:pt x="216" y="184"/>
                    </a:lnTo>
                    <a:lnTo>
                      <a:pt x="203" y="197"/>
                    </a:lnTo>
                    <a:close/>
                  </a:path>
                </a:pathLst>
              </a:custGeom>
              <a:solidFill>
                <a:srgbClr val="C9C7C3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6" name="Freeform 259"/>
              <p:cNvSpPr>
                <a:spLocks noChangeAspect="1"/>
              </p:cNvSpPr>
              <p:nvPr/>
            </p:nvSpPr>
            <p:spPr bwMode="gray">
              <a:xfrm rot="-1047951">
                <a:off x="1790" y="2357"/>
                <a:ext cx="4" cy="4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69" y="17"/>
                  </a:cxn>
                  <a:cxn ang="0">
                    <a:pos x="183" y="54"/>
                  </a:cxn>
                  <a:cxn ang="0">
                    <a:pos x="114" y="93"/>
                  </a:cxn>
                  <a:cxn ang="0">
                    <a:pos x="86" y="86"/>
                  </a:cxn>
                  <a:cxn ang="0">
                    <a:pos x="66" y="72"/>
                  </a:cxn>
                  <a:cxn ang="0">
                    <a:pos x="14" y="72"/>
                  </a:cxn>
                  <a:cxn ang="0">
                    <a:pos x="0" y="41"/>
                  </a:cxn>
                  <a:cxn ang="0">
                    <a:pos x="24" y="24"/>
                  </a:cxn>
                  <a:cxn ang="0">
                    <a:pos x="54" y="24"/>
                  </a:cxn>
                  <a:cxn ang="0">
                    <a:pos x="83" y="44"/>
                  </a:cxn>
                  <a:cxn ang="0">
                    <a:pos x="148" y="0"/>
                  </a:cxn>
                </a:cxnLst>
                <a:rect l="0" t="0" r="r" b="b"/>
                <a:pathLst>
                  <a:path w="183" h="93">
                    <a:moveTo>
                      <a:pt x="148" y="0"/>
                    </a:moveTo>
                    <a:lnTo>
                      <a:pt x="169" y="17"/>
                    </a:lnTo>
                    <a:lnTo>
                      <a:pt x="183" y="54"/>
                    </a:lnTo>
                    <a:lnTo>
                      <a:pt x="114" y="93"/>
                    </a:lnTo>
                    <a:lnTo>
                      <a:pt x="86" y="86"/>
                    </a:lnTo>
                    <a:lnTo>
                      <a:pt x="66" y="72"/>
                    </a:lnTo>
                    <a:lnTo>
                      <a:pt x="14" y="72"/>
                    </a:lnTo>
                    <a:lnTo>
                      <a:pt x="0" y="41"/>
                    </a:lnTo>
                    <a:lnTo>
                      <a:pt x="24" y="24"/>
                    </a:lnTo>
                    <a:lnTo>
                      <a:pt x="54" y="24"/>
                    </a:lnTo>
                    <a:lnTo>
                      <a:pt x="83" y="44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7" name="Freeform 260"/>
              <p:cNvSpPr>
                <a:spLocks noChangeAspect="1"/>
              </p:cNvSpPr>
              <p:nvPr/>
            </p:nvSpPr>
            <p:spPr bwMode="gray">
              <a:xfrm rot="-1047951">
                <a:off x="1753" y="2352"/>
                <a:ext cx="3" cy="4"/>
              </a:xfrm>
              <a:custGeom>
                <a:avLst/>
                <a:gdLst/>
                <a:ahLst/>
                <a:cxnLst>
                  <a:cxn ang="0">
                    <a:pos x="24" y="37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5" y="41"/>
                  </a:cxn>
                  <a:cxn ang="0">
                    <a:pos x="24" y="72"/>
                  </a:cxn>
                  <a:cxn ang="0">
                    <a:pos x="101" y="102"/>
                  </a:cxn>
                  <a:cxn ang="0">
                    <a:pos x="101" y="85"/>
                  </a:cxn>
                  <a:cxn ang="0">
                    <a:pos x="59" y="68"/>
                  </a:cxn>
                  <a:cxn ang="0">
                    <a:pos x="24" y="37"/>
                  </a:cxn>
                </a:cxnLst>
                <a:rect l="0" t="0" r="r" b="b"/>
                <a:pathLst>
                  <a:path w="101" h="102">
                    <a:moveTo>
                      <a:pt x="24" y="37"/>
                    </a:moveTo>
                    <a:lnTo>
                      <a:pt x="0" y="0"/>
                    </a:lnTo>
                    <a:lnTo>
                      <a:pt x="0" y="10"/>
                    </a:lnTo>
                    <a:lnTo>
                      <a:pt x="5" y="41"/>
                    </a:lnTo>
                    <a:lnTo>
                      <a:pt x="24" y="72"/>
                    </a:lnTo>
                    <a:lnTo>
                      <a:pt x="101" y="102"/>
                    </a:lnTo>
                    <a:lnTo>
                      <a:pt x="101" y="85"/>
                    </a:lnTo>
                    <a:lnTo>
                      <a:pt x="59" y="68"/>
                    </a:lnTo>
                    <a:lnTo>
                      <a:pt x="24" y="3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248" name="Freeform 261"/>
              <p:cNvSpPr>
                <a:spLocks noChangeAspect="1"/>
              </p:cNvSpPr>
              <p:nvPr/>
            </p:nvSpPr>
            <p:spPr bwMode="gray">
              <a:xfrm rot="-1047951">
                <a:off x="1758" y="2351"/>
                <a:ext cx="2" cy="4"/>
              </a:xfrm>
              <a:custGeom>
                <a:avLst/>
                <a:gdLst/>
                <a:ahLst/>
                <a:cxnLst>
                  <a:cxn ang="0">
                    <a:pos x="20" y="17"/>
                  </a:cxn>
                  <a:cxn ang="0">
                    <a:pos x="0" y="0"/>
                  </a:cxn>
                  <a:cxn ang="0">
                    <a:pos x="13" y="26"/>
                  </a:cxn>
                  <a:cxn ang="0">
                    <a:pos x="38" y="51"/>
                  </a:cxn>
                  <a:cxn ang="0">
                    <a:pos x="52" y="82"/>
                  </a:cxn>
                  <a:cxn ang="0">
                    <a:pos x="62" y="85"/>
                  </a:cxn>
                  <a:cxn ang="0">
                    <a:pos x="69" y="38"/>
                  </a:cxn>
                  <a:cxn ang="0">
                    <a:pos x="52" y="23"/>
                  </a:cxn>
                  <a:cxn ang="0">
                    <a:pos x="20" y="17"/>
                  </a:cxn>
                </a:cxnLst>
                <a:rect l="0" t="0" r="r" b="b"/>
                <a:pathLst>
                  <a:path w="69" h="85">
                    <a:moveTo>
                      <a:pt x="20" y="17"/>
                    </a:moveTo>
                    <a:lnTo>
                      <a:pt x="0" y="0"/>
                    </a:lnTo>
                    <a:lnTo>
                      <a:pt x="13" y="26"/>
                    </a:lnTo>
                    <a:lnTo>
                      <a:pt x="38" y="51"/>
                    </a:lnTo>
                    <a:lnTo>
                      <a:pt x="52" y="82"/>
                    </a:lnTo>
                    <a:lnTo>
                      <a:pt x="62" y="85"/>
                    </a:lnTo>
                    <a:lnTo>
                      <a:pt x="69" y="38"/>
                    </a:lnTo>
                    <a:lnTo>
                      <a:pt x="52" y="23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31" name="Freeform 262"/>
            <p:cNvSpPr>
              <a:spLocks noChangeAspect="1"/>
            </p:cNvSpPr>
            <p:nvPr/>
          </p:nvSpPr>
          <p:spPr bwMode="gray">
            <a:xfrm>
              <a:off x="1987656" y="3984682"/>
              <a:ext cx="62075" cy="62075"/>
            </a:xfrm>
            <a:custGeom>
              <a:avLst/>
              <a:gdLst/>
              <a:ahLst/>
              <a:cxnLst>
                <a:cxn ang="0">
                  <a:pos x="223" y="0"/>
                </a:cxn>
                <a:cxn ang="0">
                  <a:pos x="206" y="11"/>
                </a:cxn>
                <a:cxn ang="0">
                  <a:pos x="187" y="16"/>
                </a:cxn>
                <a:cxn ang="0">
                  <a:pos x="163" y="21"/>
                </a:cxn>
                <a:cxn ang="0">
                  <a:pos x="156" y="14"/>
                </a:cxn>
                <a:cxn ang="0">
                  <a:pos x="149" y="16"/>
                </a:cxn>
                <a:cxn ang="0">
                  <a:pos x="143" y="18"/>
                </a:cxn>
                <a:cxn ang="0">
                  <a:pos x="136" y="38"/>
                </a:cxn>
                <a:cxn ang="0">
                  <a:pos x="123" y="43"/>
                </a:cxn>
                <a:cxn ang="0">
                  <a:pos x="117" y="50"/>
                </a:cxn>
                <a:cxn ang="0">
                  <a:pos x="110" y="58"/>
                </a:cxn>
                <a:cxn ang="0">
                  <a:pos x="101" y="61"/>
                </a:cxn>
                <a:cxn ang="0">
                  <a:pos x="93" y="63"/>
                </a:cxn>
                <a:cxn ang="0">
                  <a:pos x="78" y="54"/>
                </a:cxn>
                <a:cxn ang="0">
                  <a:pos x="68" y="72"/>
                </a:cxn>
                <a:cxn ang="0">
                  <a:pos x="46" y="72"/>
                </a:cxn>
                <a:cxn ang="0">
                  <a:pos x="43" y="95"/>
                </a:cxn>
                <a:cxn ang="0">
                  <a:pos x="35" y="101"/>
                </a:cxn>
                <a:cxn ang="0">
                  <a:pos x="29" y="111"/>
                </a:cxn>
                <a:cxn ang="0">
                  <a:pos x="2" y="112"/>
                </a:cxn>
                <a:cxn ang="0">
                  <a:pos x="2" y="120"/>
                </a:cxn>
                <a:cxn ang="0">
                  <a:pos x="20" y="141"/>
                </a:cxn>
                <a:cxn ang="0">
                  <a:pos x="57" y="181"/>
                </a:cxn>
                <a:cxn ang="0">
                  <a:pos x="70" y="194"/>
                </a:cxn>
                <a:cxn ang="0">
                  <a:pos x="95" y="211"/>
                </a:cxn>
                <a:cxn ang="0">
                  <a:pos x="98" y="221"/>
                </a:cxn>
                <a:cxn ang="0">
                  <a:pos x="105" y="215"/>
                </a:cxn>
                <a:cxn ang="0">
                  <a:pos x="120" y="220"/>
                </a:cxn>
                <a:cxn ang="0">
                  <a:pos x="152" y="226"/>
                </a:cxn>
                <a:cxn ang="0">
                  <a:pos x="165" y="224"/>
                </a:cxn>
                <a:cxn ang="0">
                  <a:pos x="182" y="235"/>
                </a:cxn>
                <a:cxn ang="0">
                  <a:pos x="197" y="236"/>
                </a:cxn>
                <a:cxn ang="0">
                  <a:pos x="214" y="231"/>
                </a:cxn>
                <a:cxn ang="0">
                  <a:pos x="212" y="224"/>
                </a:cxn>
                <a:cxn ang="0">
                  <a:pos x="204" y="200"/>
                </a:cxn>
                <a:cxn ang="0">
                  <a:pos x="212" y="181"/>
                </a:cxn>
                <a:cxn ang="0">
                  <a:pos x="219" y="117"/>
                </a:cxn>
                <a:cxn ang="0">
                  <a:pos x="231" y="43"/>
                </a:cxn>
                <a:cxn ang="0">
                  <a:pos x="234" y="0"/>
                </a:cxn>
              </a:cxnLst>
              <a:rect l="0" t="0" r="r" b="b"/>
              <a:pathLst>
                <a:path w="234" h="236">
                  <a:moveTo>
                    <a:pt x="234" y="0"/>
                  </a:moveTo>
                  <a:lnTo>
                    <a:pt x="223" y="0"/>
                  </a:lnTo>
                  <a:lnTo>
                    <a:pt x="209" y="6"/>
                  </a:lnTo>
                  <a:lnTo>
                    <a:pt x="206" y="11"/>
                  </a:lnTo>
                  <a:lnTo>
                    <a:pt x="197" y="16"/>
                  </a:lnTo>
                  <a:lnTo>
                    <a:pt x="187" y="16"/>
                  </a:lnTo>
                  <a:lnTo>
                    <a:pt x="180" y="21"/>
                  </a:lnTo>
                  <a:lnTo>
                    <a:pt x="163" y="21"/>
                  </a:lnTo>
                  <a:lnTo>
                    <a:pt x="160" y="18"/>
                  </a:lnTo>
                  <a:lnTo>
                    <a:pt x="156" y="14"/>
                  </a:lnTo>
                  <a:lnTo>
                    <a:pt x="150" y="12"/>
                  </a:lnTo>
                  <a:lnTo>
                    <a:pt x="149" y="16"/>
                  </a:lnTo>
                  <a:lnTo>
                    <a:pt x="147" y="17"/>
                  </a:lnTo>
                  <a:lnTo>
                    <a:pt x="143" y="18"/>
                  </a:lnTo>
                  <a:lnTo>
                    <a:pt x="139" y="25"/>
                  </a:lnTo>
                  <a:lnTo>
                    <a:pt x="136" y="38"/>
                  </a:lnTo>
                  <a:lnTo>
                    <a:pt x="133" y="41"/>
                  </a:lnTo>
                  <a:lnTo>
                    <a:pt x="123" y="43"/>
                  </a:lnTo>
                  <a:lnTo>
                    <a:pt x="118" y="48"/>
                  </a:lnTo>
                  <a:lnTo>
                    <a:pt x="117" y="50"/>
                  </a:lnTo>
                  <a:lnTo>
                    <a:pt x="113" y="52"/>
                  </a:lnTo>
                  <a:lnTo>
                    <a:pt x="110" y="58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9" y="63"/>
                  </a:lnTo>
                  <a:lnTo>
                    <a:pt x="93" y="63"/>
                  </a:lnTo>
                  <a:lnTo>
                    <a:pt x="85" y="57"/>
                  </a:lnTo>
                  <a:lnTo>
                    <a:pt x="78" y="54"/>
                  </a:lnTo>
                  <a:lnTo>
                    <a:pt x="72" y="64"/>
                  </a:lnTo>
                  <a:lnTo>
                    <a:pt x="68" y="72"/>
                  </a:lnTo>
                  <a:lnTo>
                    <a:pt x="51" y="74"/>
                  </a:lnTo>
                  <a:lnTo>
                    <a:pt x="46" y="72"/>
                  </a:lnTo>
                  <a:lnTo>
                    <a:pt x="43" y="80"/>
                  </a:lnTo>
                  <a:lnTo>
                    <a:pt x="43" y="95"/>
                  </a:lnTo>
                  <a:lnTo>
                    <a:pt x="41" y="96"/>
                  </a:lnTo>
                  <a:lnTo>
                    <a:pt x="35" y="101"/>
                  </a:lnTo>
                  <a:lnTo>
                    <a:pt x="32" y="108"/>
                  </a:lnTo>
                  <a:lnTo>
                    <a:pt x="29" y="111"/>
                  </a:lnTo>
                  <a:lnTo>
                    <a:pt x="12" y="112"/>
                  </a:lnTo>
                  <a:lnTo>
                    <a:pt x="2" y="112"/>
                  </a:lnTo>
                  <a:lnTo>
                    <a:pt x="0" y="118"/>
                  </a:lnTo>
                  <a:lnTo>
                    <a:pt x="2" y="120"/>
                  </a:lnTo>
                  <a:lnTo>
                    <a:pt x="16" y="136"/>
                  </a:lnTo>
                  <a:lnTo>
                    <a:pt x="20" y="141"/>
                  </a:lnTo>
                  <a:lnTo>
                    <a:pt x="42" y="162"/>
                  </a:lnTo>
                  <a:lnTo>
                    <a:pt x="57" y="181"/>
                  </a:lnTo>
                  <a:lnTo>
                    <a:pt x="66" y="189"/>
                  </a:lnTo>
                  <a:lnTo>
                    <a:pt x="70" y="194"/>
                  </a:lnTo>
                  <a:lnTo>
                    <a:pt x="77" y="197"/>
                  </a:lnTo>
                  <a:lnTo>
                    <a:pt x="95" y="211"/>
                  </a:lnTo>
                  <a:lnTo>
                    <a:pt x="98" y="217"/>
                  </a:lnTo>
                  <a:lnTo>
                    <a:pt x="98" y="221"/>
                  </a:lnTo>
                  <a:lnTo>
                    <a:pt x="99" y="221"/>
                  </a:lnTo>
                  <a:lnTo>
                    <a:pt x="105" y="215"/>
                  </a:lnTo>
                  <a:lnTo>
                    <a:pt x="110" y="215"/>
                  </a:lnTo>
                  <a:lnTo>
                    <a:pt x="120" y="220"/>
                  </a:lnTo>
                  <a:lnTo>
                    <a:pt x="143" y="226"/>
                  </a:lnTo>
                  <a:lnTo>
                    <a:pt x="152" y="226"/>
                  </a:lnTo>
                  <a:lnTo>
                    <a:pt x="160" y="224"/>
                  </a:lnTo>
                  <a:lnTo>
                    <a:pt x="165" y="224"/>
                  </a:lnTo>
                  <a:lnTo>
                    <a:pt x="174" y="227"/>
                  </a:lnTo>
                  <a:lnTo>
                    <a:pt x="182" y="235"/>
                  </a:lnTo>
                  <a:lnTo>
                    <a:pt x="187" y="236"/>
                  </a:lnTo>
                  <a:lnTo>
                    <a:pt x="197" y="236"/>
                  </a:lnTo>
                  <a:lnTo>
                    <a:pt x="209" y="233"/>
                  </a:lnTo>
                  <a:lnTo>
                    <a:pt x="214" y="231"/>
                  </a:lnTo>
                  <a:lnTo>
                    <a:pt x="214" y="230"/>
                  </a:lnTo>
                  <a:lnTo>
                    <a:pt x="212" y="224"/>
                  </a:lnTo>
                  <a:lnTo>
                    <a:pt x="204" y="211"/>
                  </a:lnTo>
                  <a:lnTo>
                    <a:pt x="204" y="200"/>
                  </a:lnTo>
                  <a:lnTo>
                    <a:pt x="209" y="190"/>
                  </a:lnTo>
                  <a:lnTo>
                    <a:pt x="212" y="181"/>
                  </a:lnTo>
                  <a:lnTo>
                    <a:pt x="213" y="156"/>
                  </a:lnTo>
                  <a:lnTo>
                    <a:pt x="219" y="117"/>
                  </a:lnTo>
                  <a:lnTo>
                    <a:pt x="219" y="82"/>
                  </a:lnTo>
                  <a:lnTo>
                    <a:pt x="231" y="43"/>
                  </a:lnTo>
                  <a:lnTo>
                    <a:pt x="234" y="23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2" name="Freeform 263"/>
            <p:cNvSpPr>
              <a:spLocks noChangeAspect="1"/>
            </p:cNvSpPr>
            <p:nvPr/>
          </p:nvSpPr>
          <p:spPr bwMode="gray">
            <a:xfrm>
              <a:off x="2053693" y="4063927"/>
              <a:ext cx="84527" cy="35660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6" y="9"/>
                </a:cxn>
                <a:cxn ang="0">
                  <a:pos x="16" y="32"/>
                </a:cxn>
                <a:cxn ang="0">
                  <a:pos x="10" y="44"/>
                </a:cxn>
                <a:cxn ang="0">
                  <a:pos x="1" y="71"/>
                </a:cxn>
                <a:cxn ang="0">
                  <a:pos x="7" y="82"/>
                </a:cxn>
                <a:cxn ang="0">
                  <a:pos x="22" y="72"/>
                </a:cxn>
                <a:cxn ang="0">
                  <a:pos x="58" y="80"/>
                </a:cxn>
                <a:cxn ang="0">
                  <a:pos x="75" y="87"/>
                </a:cxn>
                <a:cxn ang="0">
                  <a:pos x="92" y="112"/>
                </a:cxn>
                <a:cxn ang="0">
                  <a:pos x="109" y="103"/>
                </a:cxn>
                <a:cxn ang="0">
                  <a:pos x="117" y="131"/>
                </a:cxn>
                <a:cxn ang="0">
                  <a:pos x="135" y="134"/>
                </a:cxn>
                <a:cxn ang="0">
                  <a:pos x="157" y="110"/>
                </a:cxn>
                <a:cxn ang="0">
                  <a:pos x="139" y="95"/>
                </a:cxn>
                <a:cxn ang="0">
                  <a:pos x="140" y="81"/>
                </a:cxn>
                <a:cxn ang="0">
                  <a:pos x="160" y="72"/>
                </a:cxn>
                <a:cxn ang="0">
                  <a:pos x="187" y="43"/>
                </a:cxn>
                <a:cxn ang="0">
                  <a:pos x="201" y="34"/>
                </a:cxn>
                <a:cxn ang="0">
                  <a:pos x="222" y="45"/>
                </a:cxn>
                <a:cxn ang="0">
                  <a:pos x="260" y="63"/>
                </a:cxn>
                <a:cxn ang="0">
                  <a:pos x="273" y="71"/>
                </a:cxn>
                <a:cxn ang="0">
                  <a:pos x="258" y="85"/>
                </a:cxn>
                <a:cxn ang="0">
                  <a:pos x="261" y="110"/>
                </a:cxn>
                <a:cxn ang="0">
                  <a:pos x="281" y="128"/>
                </a:cxn>
                <a:cxn ang="0">
                  <a:pos x="290" y="109"/>
                </a:cxn>
                <a:cxn ang="0">
                  <a:pos x="302" y="109"/>
                </a:cxn>
                <a:cxn ang="0">
                  <a:pos x="318" y="87"/>
                </a:cxn>
                <a:cxn ang="0">
                  <a:pos x="313" y="77"/>
                </a:cxn>
                <a:cxn ang="0">
                  <a:pos x="304" y="66"/>
                </a:cxn>
                <a:cxn ang="0">
                  <a:pos x="297" y="48"/>
                </a:cxn>
                <a:cxn ang="0">
                  <a:pos x="266" y="18"/>
                </a:cxn>
                <a:cxn ang="0">
                  <a:pos x="231" y="11"/>
                </a:cxn>
                <a:cxn ang="0">
                  <a:pos x="189" y="1"/>
                </a:cxn>
                <a:cxn ang="0">
                  <a:pos x="176" y="11"/>
                </a:cxn>
                <a:cxn ang="0">
                  <a:pos x="164" y="31"/>
                </a:cxn>
                <a:cxn ang="0">
                  <a:pos x="156" y="20"/>
                </a:cxn>
                <a:cxn ang="0">
                  <a:pos x="118" y="36"/>
                </a:cxn>
                <a:cxn ang="0">
                  <a:pos x="101" y="44"/>
                </a:cxn>
                <a:cxn ang="0">
                  <a:pos x="71" y="34"/>
                </a:cxn>
                <a:cxn ang="0">
                  <a:pos x="45" y="23"/>
                </a:cxn>
                <a:cxn ang="0">
                  <a:pos x="35" y="7"/>
                </a:cxn>
              </a:cxnLst>
              <a:rect l="0" t="0" r="r" b="b"/>
              <a:pathLst>
                <a:path w="318" h="135">
                  <a:moveTo>
                    <a:pt x="23" y="0"/>
                  </a:moveTo>
                  <a:lnTo>
                    <a:pt x="22" y="1"/>
                  </a:lnTo>
                  <a:lnTo>
                    <a:pt x="19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9"/>
                  </a:lnTo>
                  <a:lnTo>
                    <a:pt x="5" y="23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5" y="37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10" y="56"/>
                  </a:lnTo>
                  <a:lnTo>
                    <a:pt x="8" y="61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6" y="82"/>
                  </a:lnTo>
                  <a:lnTo>
                    <a:pt x="7" y="82"/>
                  </a:lnTo>
                  <a:lnTo>
                    <a:pt x="10" y="75"/>
                  </a:lnTo>
                  <a:lnTo>
                    <a:pt x="12" y="72"/>
                  </a:lnTo>
                  <a:lnTo>
                    <a:pt x="22" y="72"/>
                  </a:lnTo>
                  <a:lnTo>
                    <a:pt x="40" y="75"/>
                  </a:lnTo>
                  <a:lnTo>
                    <a:pt x="48" y="76"/>
                  </a:lnTo>
                  <a:lnTo>
                    <a:pt x="58" y="80"/>
                  </a:lnTo>
                  <a:lnTo>
                    <a:pt x="67" y="81"/>
                  </a:lnTo>
                  <a:lnTo>
                    <a:pt x="70" y="82"/>
                  </a:lnTo>
                  <a:lnTo>
                    <a:pt x="75" y="87"/>
                  </a:lnTo>
                  <a:lnTo>
                    <a:pt x="78" y="96"/>
                  </a:lnTo>
                  <a:lnTo>
                    <a:pt x="85" y="103"/>
                  </a:lnTo>
                  <a:lnTo>
                    <a:pt x="92" y="112"/>
                  </a:lnTo>
                  <a:lnTo>
                    <a:pt x="98" y="112"/>
                  </a:lnTo>
                  <a:lnTo>
                    <a:pt x="103" y="106"/>
                  </a:lnTo>
                  <a:lnTo>
                    <a:pt x="109" y="103"/>
                  </a:lnTo>
                  <a:lnTo>
                    <a:pt x="113" y="112"/>
                  </a:lnTo>
                  <a:lnTo>
                    <a:pt x="113" y="122"/>
                  </a:lnTo>
                  <a:lnTo>
                    <a:pt x="117" y="131"/>
                  </a:lnTo>
                  <a:lnTo>
                    <a:pt x="118" y="134"/>
                  </a:lnTo>
                  <a:lnTo>
                    <a:pt x="130" y="135"/>
                  </a:lnTo>
                  <a:lnTo>
                    <a:pt x="135" y="134"/>
                  </a:lnTo>
                  <a:lnTo>
                    <a:pt x="152" y="124"/>
                  </a:lnTo>
                  <a:lnTo>
                    <a:pt x="160" y="117"/>
                  </a:lnTo>
                  <a:lnTo>
                    <a:pt x="157" y="110"/>
                  </a:lnTo>
                  <a:lnTo>
                    <a:pt x="152" y="107"/>
                  </a:lnTo>
                  <a:lnTo>
                    <a:pt x="148" y="102"/>
                  </a:lnTo>
                  <a:lnTo>
                    <a:pt x="139" y="95"/>
                  </a:lnTo>
                  <a:lnTo>
                    <a:pt x="137" y="91"/>
                  </a:lnTo>
                  <a:lnTo>
                    <a:pt x="137" y="87"/>
                  </a:lnTo>
                  <a:lnTo>
                    <a:pt x="140" y="81"/>
                  </a:lnTo>
                  <a:lnTo>
                    <a:pt x="148" y="75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8" y="68"/>
                  </a:lnTo>
                  <a:lnTo>
                    <a:pt x="177" y="58"/>
                  </a:lnTo>
                  <a:lnTo>
                    <a:pt x="187" y="43"/>
                  </a:lnTo>
                  <a:lnTo>
                    <a:pt x="189" y="39"/>
                  </a:lnTo>
                  <a:lnTo>
                    <a:pt x="190" y="38"/>
                  </a:lnTo>
                  <a:lnTo>
                    <a:pt x="201" y="34"/>
                  </a:lnTo>
                  <a:lnTo>
                    <a:pt x="205" y="34"/>
                  </a:lnTo>
                  <a:lnTo>
                    <a:pt x="209" y="36"/>
                  </a:lnTo>
                  <a:lnTo>
                    <a:pt x="222" y="45"/>
                  </a:lnTo>
                  <a:lnTo>
                    <a:pt x="241" y="54"/>
                  </a:lnTo>
                  <a:lnTo>
                    <a:pt x="252" y="66"/>
                  </a:lnTo>
                  <a:lnTo>
                    <a:pt x="260" y="63"/>
                  </a:lnTo>
                  <a:lnTo>
                    <a:pt x="266" y="63"/>
                  </a:lnTo>
                  <a:lnTo>
                    <a:pt x="273" y="68"/>
                  </a:lnTo>
                  <a:lnTo>
                    <a:pt x="273" y="71"/>
                  </a:lnTo>
                  <a:lnTo>
                    <a:pt x="269" y="71"/>
                  </a:lnTo>
                  <a:lnTo>
                    <a:pt x="259" y="80"/>
                  </a:lnTo>
                  <a:lnTo>
                    <a:pt x="258" y="85"/>
                  </a:lnTo>
                  <a:lnTo>
                    <a:pt x="257" y="93"/>
                  </a:lnTo>
                  <a:lnTo>
                    <a:pt x="258" y="104"/>
                  </a:lnTo>
                  <a:lnTo>
                    <a:pt x="261" y="110"/>
                  </a:lnTo>
                  <a:lnTo>
                    <a:pt x="273" y="123"/>
                  </a:lnTo>
                  <a:lnTo>
                    <a:pt x="280" y="128"/>
                  </a:lnTo>
                  <a:lnTo>
                    <a:pt x="281" y="128"/>
                  </a:lnTo>
                  <a:lnTo>
                    <a:pt x="281" y="123"/>
                  </a:lnTo>
                  <a:lnTo>
                    <a:pt x="290" y="117"/>
                  </a:lnTo>
                  <a:lnTo>
                    <a:pt x="290" y="109"/>
                  </a:lnTo>
                  <a:lnTo>
                    <a:pt x="293" y="108"/>
                  </a:lnTo>
                  <a:lnTo>
                    <a:pt x="298" y="112"/>
                  </a:lnTo>
                  <a:lnTo>
                    <a:pt x="302" y="109"/>
                  </a:lnTo>
                  <a:lnTo>
                    <a:pt x="312" y="96"/>
                  </a:lnTo>
                  <a:lnTo>
                    <a:pt x="318" y="91"/>
                  </a:lnTo>
                  <a:lnTo>
                    <a:pt x="318" y="87"/>
                  </a:lnTo>
                  <a:lnTo>
                    <a:pt x="314" y="85"/>
                  </a:lnTo>
                  <a:lnTo>
                    <a:pt x="313" y="83"/>
                  </a:lnTo>
                  <a:lnTo>
                    <a:pt x="313" y="77"/>
                  </a:lnTo>
                  <a:lnTo>
                    <a:pt x="309" y="71"/>
                  </a:lnTo>
                  <a:lnTo>
                    <a:pt x="304" y="68"/>
                  </a:lnTo>
                  <a:lnTo>
                    <a:pt x="304" y="66"/>
                  </a:lnTo>
                  <a:lnTo>
                    <a:pt x="306" y="58"/>
                  </a:lnTo>
                  <a:lnTo>
                    <a:pt x="307" y="54"/>
                  </a:lnTo>
                  <a:lnTo>
                    <a:pt x="297" y="48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66" y="18"/>
                  </a:lnTo>
                  <a:lnTo>
                    <a:pt x="257" y="15"/>
                  </a:lnTo>
                  <a:lnTo>
                    <a:pt x="244" y="11"/>
                  </a:lnTo>
                  <a:lnTo>
                    <a:pt x="231" y="11"/>
                  </a:lnTo>
                  <a:lnTo>
                    <a:pt x="218" y="7"/>
                  </a:lnTo>
                  <a:lnTo>
                    <a:pt x="209" y="1"/>
                  </a:lnTo>
                  <a:lnTo>
                    <a:pt x="189" y="1"/>
                  </a:lnTo>
                  <a:lnTo>
                    <a:pt x="184" y="2"/>
                  </a:lnTo>
                  <a:lnTo>
                    <a:pt x="182" y="4"/>
                  </a:lnTo>
                  <a:lnTo>
                    <a:pt x="176" y="11"/>
                  </a:lnTo>
                  <a:lnTo>
                    <a:pt x="174" y="27"/>
                  </a:lnTo>
                  <a:lnTo>
                    <a:pt x="167" y="31"/>
                  </a:lnTo>
                  <a:lnTo>
                    <a:pt x="164" y="31"/>
                  </a:lnTo>
                  <a:lnTo>
                    <a:pt x="164" y="21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37" y="31"/>
                  </a:lnTo>
                  <a:lnTo>
                    <a:pt x="121" y="33"/>
                  </a:lnTo>
                  <a:lnTo>
                    <a:pt x="118" y="36"/>
                  </a:lnTo>
                  <a:lnTo>
                    <a:pt x="110" y="43"/>
                  </a:lnTo>
                  <a:lnTo>
                    <a:pt x="105" y="44"/>
                  </a:lnTo>
                  <a:lnTo>
                    <a:pt x="101" y="44"/>
                  </a:lnTo>
                  <a:lnTo>
                    <a:pt x="92" y="43"/>
                  </a:lnTo>
                  <a:lnTo>
                    <a:pt x="75" y="36"/>
                  </a:lnTo>
                  <a:lnTo>
                    <a:pt x="71" y="34"/>
                  </a:lnTo>
                  <a:lnTo>
                    <a:pt x="48" y="34"/>
                  </a:lnTo>
                  <a:lnTo>
                    <a:pt x="45" y="28"/>
                  </a:lnTo>
                  <a:lnTo>
                    <a:pt x="45" y="23"/>
                  </a:lnTo>
                  <a:lnTo>
                    <a:pt x="39" y="20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27" y="5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3" name="Freeform 264"/>
            <p:cNvSpPr>
              <a:spLocks noChangeAspect="1"/>
            </p:cNvSpPr>
            <p:nvPr/>
          </p:nvSpPr>
          <p:spPr bwMode="gray">
            <a:xfrm>
              <a:off x="1920298" y="3942418"/>
              <a:ext cx="56792" cy="62075"/>
            </a:xfrm>
            <a:custGeom>
              <a:avLst/>
              <a:gdLst/>
              <a:ahLst/>
              <a:cxnLst>
                <a:cxn ang="0">
                  <a:pos x="71" y="1"/>
                </a:cxn>
                <a:cxn ang="0">
                  <a:pos x="39" y="28"/>
                </a:cxn>
                <a:cxn ang="0">
                  <a:pos x="63" y="52"/>
                </a:cxn>
                <a:cxn ang="0">
                  <a:pos x="82" y="71"/>
                </a:cxn>
                <a:cxn ang="0">
                  <a:pos x="95" y="84"/>
                </a:cxn>
                <a:cxn ang="0">
                  <a:pos x="93" y="100"/>
                </a:cxn>
                <a:cxn ang="0">
                  <a:pos x="69" y="99"/>
                </a:cxn>
                <a:cxn ang="0">
                  <a:pos x="16" y="138"/>
                </a:cxn>
                <a:cxn ang="0">
                  <a:pos x="9" y="152"/>
                </a:cxn>
                <a:cxn ang="0">
                  <a:pos x="5" y="158"/>
                </a:cxn>
                <a:cxn ang="0">
                  <a:pos x="6" y="168"/>
                </a:cxn>
                <a:cxn ang="0">
                  <a:pos x="2" y="186"/>
                </a:cxn>
                <a:cxn ang="0">
                  <a:pos x="2" y="191"/>
                </a:cxn>
                <a:cxn ang="0">
                  <a:pos x="9" y="196"/>
                </a:cxn>
                <a:cxn ang="0">
                  <a:pos x="17" y="204"/>
                </a:cxn>
                <a:cxn ang="0">
                  <a:pos x="37" y="217"/>
                </a:cxn>
                <a:cxn ang="0">
                  <a:pos x="55" y="226"/>
                </a:cxn>
                <a:cxn ang="0">
                  <a:pos x="86" y="227"/>
                </a:cxn>
                <a:cxn ang="0">
                  <a:pos x="112" y="232"/>
                </a:cxn>
                <a:cxn ang="0">
                  <a:pos x="119" y="232"/>
                </a:cxn>
                <a:cxn ang="0">
                  <a:pos x="134" y="220"/>
                </a:cxn>
                <a:cxn ang="0">
                  <a:pos x="145" y="211"/>
                </a:cxn>
                <a:cxn ang="0">
                  <a:pos x="149" y="199"/>
                </a:cxn>
                <a:cxn ang="0">
                  <a:pos x="155" y="194"/>
                </a:cxn>
                <a:cxn ang="0">
                  <a:pos x="165" y="184"/>
                </a:cxn>
                <a:cxn ang="0">
                  <a:pos x="163" y="175"/>
                </a:cxn>
                <a:cxn ang="0">
                  <a:pos x="162" y="169"/>
                </a:cxn>
                <a:cxn ang="0">
                  <a:pos x="172" y="159"/>
                </a:cxn>
                <a:cxn ang="0">
                  <a:pos x="177" y="157"/>
                </a:cxn>
                <a:cxn ang="0">
                  <a:pos x="208" y="134"/>
                </a:cxn>
                <a:cxn ang="0">
                  <a:pos x="212" y="124"/>
                </a:cxn>
                <a:cxn ang="0">
                  <a:pos x="211" y="121"/>
                </a:cxn>
                <a:cxn ang="0">
                  <a:pos x="209" y="118"/>
                </a:cxn>
                <a:cxn ang="0">
                  <a:pos x="195" y="121"/>
                </a:cxn>
                <a:cxn ang="0">
                  <a:pos x="187" y="116"/>
                </a:cxn>
                <a:cxn ang="0">
                  <a:pos x="184" y="111"/>
                </a:cxn>
                <a:cxn ang="0">
                  <a:pos x="163" y="108"/>
                </a:cxn>
                <a:cxn ang="0">
                  <a:pos x="166" y="72"/>
                </a:cxn>
              </a:cxnLst>
              <a:rect l="0" t="0" r="r" b="b"/>
              <a:pathLst>
                <a:path w="212" h="235">
                  <a:moveTo>
                    <a:pt x="166" y="0"/>
                  </a:moveTo>
                  <a:lnTo>
                    <a:pt x="71" y="1"/>
                  </a:lnTo>
                  <a:lnTo>
                    <a:pt x="71" y="28"/>
                  </a:lnTo>
                  <a:lnTo>
                    <a:pt x="39" y="28"/>
                  </a:lnTo>
                  <a:lnTo>
                    <a:pt x="37" y="27"/>
                  </a:lnTo>
                  <a:lnTo>
                    <a:pt x="63" y="52"/>
                  </a:lnTo>
                  <a:lnTo>
                    <a:pt x="79" y="62"/>
                  </a:lnTo>
                  <a:lnTo>
                    <a:pt x="82" y="71"/>
                  </a:lnTo>
                  <a:lnTo>
                    <a:pt x="92" y="79"/>
                  </a:lnTo>
                  <a:lnTo>
                    <a:pt x="95" y="84"/>
                  </a:lnTo>
                  <a:lnTo>
                    <a:pt x="93" y="99"/>
                  </a:lnTo>
                  <a:lnTo>
                    <a:pt x="93" y="100"/>
                  </a:lnTo>
                  <a:lnTo>
                    <a:pt x="92" y="99"/>
                  </a:lnTo>
                  <a:lnTo>
                    <a:pt x="69" y="99"/>
                  </a:lnTo>
                  <a:lnTo>
                    <a:pt x="39" y="102"/>
                  </a:lnTo>
                  <a:lnTo>
                    <a:pt x="16" y="138"/>
                  </a:lnTo>
                  <a:lnTo>
                    <a:pt x="15" y="142"/>
                  </a:lnTo>
                  <a:lnTo>
                    <a:pt x="9" y="152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7" y="165"/>
                  </a:lnTo>
                  <a:lnTo>
                    <a:pt x="6" y="168"/>
                  </a:lnTo>
                  <a:lnTo>
                    <a:pt x="4" y="170"/>
                  </a:lnTo>
                  <a:lnTo>
                    <a:pt x="2" y="186"/>
                  </a:lnTo>
                  <a:lnTo>
                    <a:pt x="0" y="188"/>
                  </a:lnTo>
                  <a:lnTo>
                    <a:pt x="2" y="191"/>
                  </a:lnTo>
                  <a:lnTo>
                    <a:pt x="7" y="195"/>
                  </a:lnTo>
                  <a:lnTo>
                    <a:pt x="9" y="196"/>
                  </a:lnTo>
                  <a:lnTo>
                    <a:pt x="16" y="201"/>
                  </a:lnTo>
                  <a:lnTo>
                    <a:pt x="17" y="204"/>
                  </a:lnTo>
                  <a:lnTo>
                    <a:pt x="31" y="213"/>
                  </a:lnTo>
                  <a:lnTo>
                    <a:pt x="37" y="217"/>
                  </a:lnTo>
                  <a:lnTo>
                    <a:pt x="47" y="222"/>
                  </a:lnTo>
                  <a:lnTo>
                    <a:pt x="55" y="226"/>
                  </a:lnTo>
                  <a:lnTo>
                    <a:pt x="66" y="227"/>
                  </a:lnTo>
                  <a:lnTo>
                    <a:pt x="86" y="227"/>
                  </a:lnTo>
                  <a:lnTo>
                    <a:pt x="96" y="228"/>
                  </a:lnTo>
                  <a:lnTo>
                    <a:pt x="112" y="232"/>
                  </a:lnTo>
                  <a:lnTo>
                    <a:pt x="119" y="235"/>
                  </a:lnTo>
                  <a:lnTo>
                    <a:pt x="119" y="232"/>
                  </a:lnTo>
                  <a:lnTo>
                    <a:pt x="125" y="222"/>
                  </a:lnTo>
                  <a:lnTo>
                    <a:pt x="134" y="220"/>
                  </a:lnTo>
                  <a:lnTo>
                    <a:pt x="138" y="213"/>
                  </a:lnTo>
                  <a:lnTo>
                    <a:pt x="145" y="211"/>
                  </a:lnTo>
                  <a:lnTo>
                    <a:pt x="147" y="206"/>
                  </a:lnTo>
                  <a:lnTo>
                    <a:pt x="149" y="199"/>
                  </a:lnTo>
                  <a:lnTo>
                    <a:pt x="152" y="195"/>
                  </a:lnTo>
                  <a:lnTo>
                    <a:pt x="155" y="194"/>
                  </a:lnTo>
                  <a:lnTo>
                    <a:pt x="156" y="189"/>
                  </a:lnTo>
                  <a:lnTo>
                    <a:pt x="165" y="184"/>
                  </a:lnTo>
                  <a:lnTo>
                    <a:pt x="165" y="180"/>
                  </a:lnTo>
                  <a:lnTo>
                    <a:pt x="163" y="175"/>
                  </a:lnTo>
                  <a:lnTo>
                    <a:pt x="162" y="174"/>
                  </a:lnTo>
                  <a:lnTo>
                    <a:pt x="162" y="169"/>
                  </a:lnTo>
                  <a:lnTo>
                    <a:pt x="163" y="165"/>
                  </a:lnTo>
                  <a:lnTo>
                    <a:pt x="172" y="159"/>
                  </a:lnTo>
                  <a:lnTo>
                    <a:pt x="173" y="158"/>
                  </a:lnTo>
                  <a:lnTo>
                    <a:pt x="177" y="157"/>
                  </a:lnTo>
                  <a:lnTo>
                    <a:pt x="189" y="146"/>
                  </a:lnTo>
                  <a:lnTo>
                    <a:pt x="208" y="134"/>
                  </a:lnTo>
                  <a:lnTo>
                    <a:pt x="211" y="127"/>
                  </a:lnTo>
                  <a:lnTo>
                    <a:pt x="212" y="124"/>
                  </a:lnTo>
                  <a:lnTo>
                    <a:pt x="212" y="121"/>
                  </a:lnTo>
                  <a:lnTo>
                    <a:pt x="211" y="121"/>
                  </a:lnTo>
                  <a:lnTo>
                    <a:pt x="210" y="121"/>
                  </a:lnTo>
                  <a:lnTo>
                    <a:pt x="209" y="118"/>
                  </a:lnTo>
                  <a:lnTo>
                    <a:pt x="203" y="116"/>
                  </a:lnTo>
                  <a:lnTo>
                    <a:pt x="195" y="121"/>
                  </a:lnTo>
                  <a:lnTo>
                    <a:pt x="193" y="121"/>
                  </a:lnTo>
                  <a:lnTo>
                    <a:pt x="187" y="116"/>
                  </a:lnTo>
                  <a:lnTo>
                    <a:pt x="183" y="110"/>
                  </a:lnTo>
                  <a:lnTo>
                    <a:pt x="184" y="111"/>
                  </a:lnTo>
                  <a:lnTo>
                    <a:pt x="172" y="110"/>
                  </a:lnTo>
                  <a:lnTo>
                    <a:pt x="163" y="108"/>
                  </a:lnTo>
                  <a:lnTo>
                    <a:pt x="163" y="107"/>
                  </a:lnTo>
                  <a:lnTo>
                    <a:pt x="166" y="72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4" name="Freeform 265"/>
            <p:cNvSpPr>
              <a:spLocks noChangeAspect="1"/>
            </p:cNvSpPr>
            <p:nvPr/>
          </p:nvSpPr>
          <p:spPr bwMode="gray">
            <a:xfrm>
              <a:off x="1963882" y="3933173"/>
              <a:ext cx="15849" cy="38302"/>
            </a:xfrm>
            <a:custGeom>
              <a:avLst/>
              <a:gdLst/>
              <a:ahLst/>
              <a:cxnLst>
                <a:cxn ang="0">
                  <a:pos x="46" y="2"/>
                </a:cxn>
                <a:cxn ang="0">
                  <a:pos x="41" y="0"/>
                </a:cxn>
                <a:cxn ang="0">
                  <a:pos x="36" y="3"/>
                </a:cxn>
                <a:cxn ang="0">
                  <a:pos x="21" y="31"/>
                </a:cxn>
                <a:cxn ang="0">
                  <a:pos x="16" y="31"/>
                </a:cxn>
                <a:cxn ang="0">
                  <a:pos x="3" y="34"/>
                </a:cxn>
                <a:cxn ang="0">
                  <a:pos x="3" y="106"/>
                </a:cxn>
                <a:cxn ang="0">
                  <a:pos x="2" y="141"/>
                </a:cxn>
                <a:cxn ang="0">
                  <a:pos x="0" y="142"/>
                </a:cxn>
                <a:cxn ang="0">
                  <a:pos x="9" y="144"/>
                </a:cxn>
                <a:cxn ang="0">
                  <a:pos x="21" y="145"/>
                </a:cxn>
                <a:cxn ang="0">
                  <a:pos x="20" y="144"/>
                </a:cxn>
                <a:cxn ang="0">
                  <a:pos x="20" y="136"/>
                </a:cxn>
                <a:cxn ang="0">
                  <a:pos x="21" y="132"/>
                </a:cxn>
                <a:cxn ang="0">
                  <a:pos x="27" y="126"/>
                </a:cxn>
                <a:cxn ang="0">
                  <a:pos x="38" y="118"/>
                </a:cxn>
                <a:cxn ang="0">
                  <a:pos x="45" y="110"/>
                </a:cxn>
                <a:cxn ang="0">
                  <a:pos x="47" y="102"/>
                </a:cxn>
                <a:cxn ang="0">
                  <a:pos x="48" y="102"/>
                </a:cxn>
                <a:cxn ang="0">
                  <a:pos x="51" y="89"/>
                </a:cxn>
                <a:cxn ang="0">
                  <a:pos x="52" y="77"/>
                </a:cxn>
                <a:cxn ang="0">
                  <a:pos x="51" y="56"/>
                </a:cxn>
                <a:cxn ang="0">
                  <a:pos x="53" y="41"/>
                </a:cxn>
                <a:cxn ang="0">
                  <a:pos x="57" y="28"/>
                </a:cxn>
                <a:cxn ang="0">
                  <a:pos x="62" y="18"/>
                </a:cxn>
                <a:cxn ang="0">
                  <a:pos x="62" y="13"/>
                </a:cxn>
                <a:cxn ang="0">
                  <a:pos x="58" y="8"/>
                </a:cxn>
                <a:cxn ang="0">
                  <a:pos x="47" y="3"/>
                </a:cxn>
                <a:cxn ang="0">
                  <a:pos x="46" y="2"/>
                </a:cxn>
              </a:cxnLst>
              <a:rect l="0" t="0" r="r" b="b"/>
              <a:pathLst>
                <a:path w="62" h="145">
                  <a:moveTo>
                    <a:pt x="46" y="2"/>
                  </a:moveTo>
                  <a:lnTo>
                    <a:pt x="41" y="0"/>
                  </a:lnTo>
                  <a:lnTo>
                    <a:pt x="36" y="3"/>
                  </a:lnTo>
                  <a:lnTo>
                    <a:pt x="21" y="31"/>
                  </a:lnTo>
                  <a:lnTo>
                    <a:pt x="16" y="31"/>
                  </a:lnTo>
                  <a:lnTo>
                    <a:pt x="3" y="34"/>
                  </a:lnTo>
                  <a:lnTo>
                    <a:pt x="3" y="106"/>
                  </a:lnTo>
                  <a:lnTo>
                    <a:pt x="2" y="141"/>
                  </a:lnTo>
                  <a:lnTo>
                    <a:pt x="0" y="142"/>
                  </a:lnTo>
                  <a:lnTo>
                    <a:pt x="9" y="144"/>
                  </a:lnTo>
                  <a:lnTo>
                    <a:pt x="21" y="145"/>
                  </a:lnTo>
                  <a:lnTo>
                    <a:pt x="20" y="144"/>
                  </a:lnTo>
                  <a:lnTo>
                    <a:pt x="20" y="136"/>
                  </a:lnTo>
                  <a:lnTo>
                    <a:pt x="21" y="132"/>
                  </a:lnTo>
                  <a:lnTo>
                    <a:pt x="27" y="126"/>
                  </a:lnTo>
                  <a:lnTo>
                    <a:pt x="38" y="118"/>
                  </a:lnTo>
                  <a:lnTo>
                    <a:pt x="45" y="110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51" y="89"/>
                  </a:lnTo>
                  <a:lnTo>
                    <a:pt x="52" y="77"/>
                  </a:lnTo>
                  <a:lnTo>
                    <a:pt x="51" y="56"/>
                  </a:lnTo>
                  <a:lnTo>
                    <a:pt x="53" y="41"/>
                  </a:lnTo>
                  <a:lnTo>
                    <a:pt x="57" y="28"/>
                  </a:lnTo>
                  <a:lnTo>
                    <a:pt x="62" y="18"/>
                  </a:lnTo>
                  <a:lnTo>
                    <a:pt x="62" y="13"/>
                  </a:lnTo>
                  <a:lnTo>
                    <a:pt x="58" y="8"/>
                  </a:lnTo>
                  <a:lnTo>
                    <a:pt x="47" y="3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5" name="Freeform 266"/>
            <p:cNvSpPr>
              <a:spLocks noChangeAspect="1"/>
            </p:cNvSpPr>
            <p:nvPr/>
          </p:nvSpPr>
          <p:spPr bwMode="gray">
            <a:xfrm>
              <a:off x="1951996" y="3993927"/>
              <a:ext cx="33019" cy="1849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1" y="4"/>
                </a:cxn>
                <a:cxn ang="0">
                  <a:pos x="28" y="11"/>
                </a:cxn>
                <a:cxn ang="0">
                  <a:pos x="26" y="16"/>
                </a:cxn>
                <a:cxn ang="0">
                  <a:pos x="19" y="18"/>
                </a:cxn>
                <a:cxn ang="0">
                  <a:pos x="15" y="25"/>
                </a:cxn>
                <a:cxn ang="0">
                  <a:pos x="6" y="27"/>
                </a:cxn>
                <a:cxn ang="0">
                  <a:pos x="0" y="37"/>
                </a:cxn>
                <a:cxn ang="0">
                  <a:pos x="0" y="40"/>
                </a:cxn>
                <a:cxn ang="0">
                  <a:pos x="9" y="48"/>
                </a:cxn>
                <a:cxn ang="0">
                  <a:pos x="21" y="53"/>
                </a:cxn>
                <a:cxn ang="0">
                  <a:pos x="36" y="55"/>
                </a:cxn>
                <a:cxn ang="0">
                  <a:pos x="46" y="56"/>
                </a:cxn>
                <a:cxn ang="0">
                  <a:pos x="58" y="65"/>
                </a:cxn>
                <a:cxn ang="0">
                  <a:pos x="76" y="70"/>
                </a:cxn>
                <a:cxn ang="0">
                  <a:pos x="103" y="71"/>
                </a:cxn>
                <a:cxn ang="0">
                  <a:pos x="120" y="64"/>
                </a:cxn>
                <a:cxn ang="0">
                  <a:pos x="125" y="59"/>
                </a:cxn>
                <a:cxn ang="0">
                  <a:pos x="123" y="56"/>
                </a:cxn>
                <a:cxn ang="0">
                  <a:pos x="123" y="38"/>
                </a:cxn>
                <a:cxn ang="0">
                  <a:pos x="123" y="37"/>
                </a:cxn>
                <a:cxn ang="0">
                  <a:pos x="118" y="32"/>
                </a:cxn>
                <a:cxn ang="0">
                  <a:pos x="109" y="29"/>
                </a:cxn>
                <a:cxn ang="0">
                  <a:pos x="107" y="27"/>
                </a:cxn>
                <a:cxn ang="0">
                  <a:pos x="100" y="28"/>
                </a:cxn>
                <a:cxn ang="0">
                  <a:pos x="95" y="33"/>
                </a:cxn>
                <a:cxn ang="0">
                  <a:pos x="90" y="33"/>
                </a:cxn>
                <a:cxn ang="0">
                  <a:pos x="85" y="31"/>
                </a:cxn>
                <a:cxn ang="0">
                  <a:pos x="82" y="28"/>
                </a:cxn>
                <a:cxn ang="0">
                  <a:pos x="82" y="26"/>
                </a:cxn>
                <a:cxn ang="0">
                  <a:pos x="75" y="26"/>
                </a:cxn>
                <a:cxn ang="0">
                  <a:pos x="73" y="23"/>
                </a:cxn>
                <a:cxn ang="0">
                  <a:pos x="71" y="20"/>
                </a:cxn>
                <a:cxn ang="0">
                  <a:pos x="66" y="20"/>
                </a:cxn>
                <a:cxn ang="0">
                  <a:pos x="59" y="15"/>
                </a:cxn>
                <a:cxn ang="0">
                  <a:pos x="57" y="10"/>
                </a:cxn>
                <a:cxn ang="0">
                  <a:pos x="52" y="4"/>
                </a:cxn>
                <a:cxn ang="0">
                  <a:pos x="39" y="4"/>
                </a:cxn>
                <a:cxn ang="0">
                  <a:pos x="33" y="0"/>
                </a:cxn>
              </a:cxnLst>
              <a:rect l="0" t="0" r="r" b="b"/>
              <a:pathLst>
                <a:path w="125" h="71">
                  <a:moveTo>
                    <a:pt x="33" y="0"/>
                  </a:moveTo>
                  <a:lnTo>
                    <a:pt x="31" y="4"/>
                  </a:lnTo>
                  <a:lnTo>
                    <a:pt x="28" y="11"/>
                  </a:lnTo>
                  <a:lnTo>
                    <a:pt x="26" y="16"/>
                  </a:lnTo>
                  <a:lnTo>
                    <a:pt x="19" y="18"/>
                  </a:lnTo>
                  <a:lnTo>
                    <a:pt x="15" y="25"/>
                  </a:lnTo>
                  <a:lnTo>
                    <a:pt x="6" y="27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9" y="48"/>
                  </a:lnTo>
                  <a:lnTo>
                    <a:pt x="21" y="53"/>
                  </a:lnTo>
                  <a:lnTo>
                    <a:pt x="36" y="55"/>
                  </a:lnTo>
                  <a:lnTo>
                    <a:pt x="46" y="56"/>
                  </a:lnTo>
                  <a:lnTo>
                    <a:pt x="58" y="65"/>
                  </a:lnTo>
                  <a:lnTo>
                    <a:pt x="76" y="70"/>
                  </a:lnTo>
                  <a:lnTo>
                    <a:pt x="103" y="71"/>
                  </a:lnTo>
                  <a:lnTo>
                    <a:pt x="120" y="64"/>
                  </a:lnTo>
                  <a:lnTo>
                    <a:pt x="125" y="59"/>
                  </a:lnTo>
                  <a:lnTo>
                    <a:pt x="123" y="56"/>
                  </a:lnTo>
                  <a:lnTo>
                    <a:pt x="123" y="38"/>
                  </a:lnTo>
                  <a:lnTo>
                    <a:pt x="123" y="37"/>
                  </a:lnTo>
                  <a:lnTo>
                    <a:pt x="118" y="32"/>
                  </a:lnTo>
                  <a:lnTo>
                    <a:pt x="109" y="29"/>
                  </a:lnTo>
                  <a:lnTo>
                    <a:pt x="107" y="27"/>
                  </a:lnTo>
                  <a:lnTo>
                    <a:pt x="100" y="28"/>
                  </a:lnTo>
                  <a:lnTo>
                    <a:pt x="95" y="33"/>
                  </a:lnTo>
                  <a:lnTo>
                    <a:pt x="90" y="33"/>
                  </a:lnTo>
                  <a:lnTo>
                    <a:pt x="85" y="31"/>
                  </a:lnTo>
                  <a:lnTo>
                    <a:pt x="82" y="28"/>
                  </a:lnTo>
                  <a:lnTo>
                    <a:pt x="82" y="26"/>
                  </a:lnTo>
                  <a:lnTo>
                    <a:pt x="75" y="26"/>
                  </a:lnTo>
                  <a:lnTo>
                    <a:pt x="73" y="23"/>
                  </a:lnTo>
                  <a:lnTo>
                    <a:pt x="71" y="20"/>
                  </a:lnTo>
                  <a:lnTo>
                    <a:pt x="66" y="20"/>
                  </a:lnTo>
                  <a:lnTo>
                    <a:pt x="59" y="15"/>
                  </a:lnTo>
                  <a:lnTo>
                    <a:pt x="57" y="10"/>
                  </a:lnTo>
                  <a:lnTo>
                    <a:pt x="52" y="4"/>
                  </a:lnTo>
                  <a:lnTo>
                    <a:pt x="39" y="4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6" name="Freeform 267"/>
            <p:cNvSpPr>
              <a:spLocks noChangeAspect="1"/>
            </p:cNvSpPr>
            <p:nvPr/>
          </p:nvSpPr>
          <p:spPr bwMode="gray">
            <a:xfrm>
              <a:off x="2012750" y="4041474"/>
              <a:ext cx="47547" cy="42264"/>
            </a:xfrm>
            <a:custGeom>
              <a:avLst/>
              <a:gdLst/>
              <a:ahLst/>
              <a:cxnLst>
                <a:cxn ang="0">
                  <a:pos x="118" y="18"/>
                </a:cxn>
                <a:cxn ang="0">
                  <a:pos x="94" y="21"/>
                </a:cxn>
                <a:cxn ang="0">
                  <a:pos x="81" y="12"/>
                </a:cxn>
                <a:cxn ang="0">
                  <a:pos x="67" y="9"/>
                </a:cxn>
                <a:cxn ang="0">
                  <a:pos x="50" y="11"/>
                </a:cxn>
                <a:cxn ang="0">
                  <a:pos x="17" y="0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6" y="21"/>
                </a:cxn>
                <a:cxn ang="0">
                  <a:pos x="2" y="36"/>
                </a:cxn>
                <a:cxn ang="0">
                  <a:pos x="3" y="53"/>
                </a:cxn>
                <a:cxn ang="0">
                  <a:pos x="11" y="66"/>
                </a:cxn>
                <a:cxn ang="0">
                  <a:pos x="23" y="71"/>
                </a:cxn>
                <a:cxn ang="0">
                  <a:pos x="39" y="82"/>
                </a:cxn>
                <a:cxn ang="0">
                  <a:pos x="45" y="85"/>
                </a:cxn>
                <a:cxn ang="0">
                  <a:pos x="49" y="69"/>
                </a:cxn>
                <a:cxn ang="0">
                  <a:pos x="39" y="61"/>
                </a:cxn>
                <a:cxn ang="0">
                  <a:pos x="51" y="60"/>
                </a:cxn>
                <a:cxn ang="0">
                  <a:pos x="65" y="77"/>
                </a:cxn>
                <a:cxn ang="0">
                  <a:pos x="76" y="92"/>
                </a:cxn>
                <a:cxn ang="0">
                  <a:pos x="106" y="104"/>
                </a:cxn>
                <a:cxn ang="0">
                  <a:pos x="121" y="142"/>
                </a:cxn>
                <a:cxn ang="0">
                  <a:pos x="130" y="149"/>
                </a:cxn>
                <a:cxn ang="0">
                  <a:pos x="141" y="150"/>
                </a:cxn>
                <a:cxn ang="0">
                  <a:pos x="140" y="136"/>
                </a:cxn>
                <a:cxn ang="0">
                  <a:pos x="145" y="139"/>
                </a:cxn>
                <a:cxn ang="0">
                  <a:pos x="154" y="156"/>
                </a:cxn>
                <a:cxn ang="0">
                  <a:pos x="158" y="157"/>
                </a:cxn>
                <a:cxn ang="0">
                  <a:pos x="168" y="142"/>
                </a:cxn>
                <a:cxn ang="0">
                  <a:pos x="168" y="126"/>
                </a:cxn>
                <a:cxn ang="0">
                  <a:pos x="173" y="118"/>
                </a:cxn>
                <a:cxn ang="0">
                  <a:pos x="162" y="109"/>
                </a:cxn>
                <a:cxn ang="0">
                  <a:pos x="170" y="86"/>
                </a:cxn>
                <a:cxn ang="0">
                  <a:pos x="176" y="87"/>
                </a:cxn>
                <a:cxn ang="0">
                  <a:pos x="180" y="86"/>
                </a:cxn>
                <a:cxn ang="0">
                  <a:pos x="161" y="72"/>
                </a:cxn>
                <a:cxn ang="0">
                  <a:pos x="133" y="43"/>
                </a:cxn>
                <a:cxn ang="0">
                  <a:pos x="125" y="25"/>
                </a:cxn>
                <a:cxn ang="0">
                  <a:pos x="121" y="16"/>
                </a:cxn>
              </a:cxnLst>
              <a:rect l="0" t="0" r="r" b="b"/>
              <a:pathLst>
                <a:path w="180" h="157">
                  <a:moveTo>
                    <a:pt x="121" y="16"/>
                  </a:moveTo>
                  <a:lnTo>
                    <a:pt x="118" y="18"/>
                  </a:lnTo>
                  <a:lnTo>
                    <a:pt x="104" y="21"/>
                  </a:lnTo>
                  <a:lnTo>
                    <a:pt x="94" y="21"/>
                  </a:lnTo>
                  <a:lnTo>
                    <a:pt x="89" y="20"/>
                  </a:lnTo>
                  <a:lnTo>
                    <a:pt x="81" y="12"/>
                  </a:lnTo>
                  <a:lnTo>
                    <a:pt x="72" y="9"/>
                  </a:lnTo>
                  <a:lnTo>
                    <a:pt x="67" y="9"/>
                  </a:lnTo>
                  <a:lnTo>
                    <a:pt x="59" y="11"/>
                  </a:lnTo>
                  <a:lnTo>
                    <a:pt x="50" y="11"/>
                  </a:lnTo>
                  <a:lnTo>
                    <a:pt x="27" y="5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6" y="6"/>
                  </a:lnTo>
                  <a:lnTo>
                    <a:pt x="5" y="7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6" y="21"/>
                  </a:lnTo>
                  <a:lnTo>
                    <a:pt x="6" y="33"/>
                  </a:lnTo>
                  <a:lnTo>
                    <a:pt x="2" y="36"/>
                  </a:lnTo>
                  <a:lnTo>
                    <a:pt x="0" y="42"/>
                  </a:lnTo>
                  <a:lnTo>
                    <a:pt x="3" y="53"/>
                  </a:lnTo>
                  <a:lnTo>
                    <a:pt x="7" y="60"/>
                  </a:lnTo>
                  <a:lnTo>
                    <a:pt x="11" y="66"/>
                  </a:lnTo>
                  <a:lnTo>
                    <a:pt x="18" y="71"/>
                  </a:lnTo>
                  <a:lnTo>
                    <a:pt x="23" y="71"/>
                  </a:lnTo>
                  <a:lnTo>
                    <a:pt x="33" y="76"/>
                  </a:lnTo>
                  <a:lnTo>
                    <a:pt x="39" y="82"/>
                  </a:lnTo>
                  <a:lnTo>
                    <a:pt x="44" y="85"/>
                  </a:lnTo>
                  <a:lnTo>
                    <a:pt x="45" y="85"/>
                  </a:lnTo>
                  <a:lnTo>
                    <a:pt x="50" y="74"/>
                  </a:lnTo>
                  <a:lnTo>
                    <a:pt x="49" y="69"/>
                  </a:lnTo>
                  <a:lnTo>
                    <a:pt x="40" y="65"/>
                  </a:lnTo>
                  <a:lnTo>
                    <a:pt x="39" y="61"/>
                  </a:lnTo>
                  <a:lnTo>
                    <a:pt x="45" y="59"/>
                  </a:lnTo>
                  <a:lnTo>
                    <a:pt x="51" y="60"/>
                  </a:lnTo>
                  <a:lnTo>
                    <a:pt x="59" y="68"/>
                  </a:lnTo>
                  <a:lnTo>
                    <a:pt x="65" y="77"/>
                  </a:lnTo>
                  <a:lnTo>
                    <a:pt x="68" y="83"/>
                  </a:lnTo>
                  <a:lnTo>
                    <a:pt x="76" y="92"/>
                  </a:lnTo>
                  <a:lnTo>
                    <a:pt x="78" y="92"/>
                  </a:lnTo>
                  <a:lnTo>
                    <a:pt x="106" y="104"/>
                  </a:lnTo>
                  <a:lnTo>
                    <a:pt x="119" y="115"/>
                  </a:lnTo>
                  <a:lnTo>
                    <a:pt x="121" y="142"/>
                  </a:lnTo>
                  <a:lnTo>
                    <a:pt x="122" y="144"/>
                  </a:lnTo>
                  <a:lnTo>
                    <a:pt x="130" y="149"/>
                  </a:lnTo>
                  <a:lnTo>
                    <a:pt x="138" y="151"/>
                  </a:lnTo>
                  <a:lnTo>
                    <a:pt x="141" y="150"/>
                  </a:lnTo>
                  <a:lnTo>
                    <a:pt x="136" y="139"/>
                  </a:lnTo>
                  <a:lnTo>
                    <a:pt x="140" y="136"/>
                  </a:lnTo>
                  <a:lnTo>
                    <a:pt x="141" y="136"/>
                  </a:lnTo>
                  <a:lnTo>
                    <a:pt x="145" y="139"/>
                  </a:lnTo>
                  <a:lnTo>
                    <a:pt x="151" y="145"/>
                  </a:lnTo>
                  <a:lnTo>
                    <a:pt x="154" y="156"/>
                  </a:lnTo>
                  <a:lnTo>
                    <a:pt x="157" y="157"/>
                  </a:lnTo>
                  <a:lnTo>
                    <a:pt x="158" y="157"/>
                  </a:lnTo>
                  <a:lnTo>
                    <a:pt x="165" y="147"/>
                  </a:lnTo>
                  <a:lnTo>
                    <a:pt x="168" y="142"/>
                  </a:lnTo>
                  <a:lnTo>
                    <a:pt x="167" y="130"/>
                  </a:lnTo>
                  <a:lnTo>
                    <a:pt x="168" y="126"/>
                  </a:lnTo>
                  <a:lnTo>
                    <a:pt x="172" y="123"/>
                  </a:lnTo>
                  <a:lnTo>
                    <a:pt x="173" y="118"/>
                  </a:lnTo>
                  <a:lnTo>
                    <a:pt x="169" y="114"/>
                  </a:lnTo>
                  <a:lnTo>
                    <a:pt x="162" y="109"/>
                  </a:lnTo>
                  <a:lnTo>
                    <a:pt x="164" y="95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6" y="87"/>
                  </a:lnTo>
                  <a:lnTo>
                    <a:pt x="179" y="87"/>
                  </a:lnTo>
                  <a:lnTo>
                    <a:pt x="180" y="86"/>
                  </a:lnTo>
                  <a:lnTo>
                    <a:pt x="174" y="81"/>
                  </a:lnTo>
                  <a:lnTo>
                    <a:pt x="161" y="72"/>
                  </a:lnTo>
                  <a:lnTo>
                    <a:pt x="141" y="54"/>
                  </a:lnTo>
                  <a:lnTo>
                    <a:pt x="133" y="43"/>
                  </a:lnTo>
                  <a:lnTo>
                    <a:pt x="127" y="27"/>
                  </a:lnTo>
                  <a:lnTo>
                    <a:pt x="125" y="25"/>
                  </a:lnTo>
                  <a:lnTo>
                    <a:pt x="122" y="16"/>
                  </a:lnTo>
                  <a:lnTo>
                    <a:pt x="121" y="16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7" name="Freeform 268"/>
            <p:cNvSpPr>
              <a:spLocks noChangeAspect="1"/>
            </p:cNvSpPr>
            <p:nvPr/>
          </p:nvSpPr>
          <p:spPr bwMode="gray">
            <a:xfrm>
              <a:off x="1961241" y="3970154"/>
              <a:ext cx="88490" cy="44905"/>
            </a:xfrm>
            <a:custGeom>
              <a:avLst/>
              <a:gdLst/>
              <a:ahLst/>
              <a:cxnLst>
                <a:cxn ang="0">
                  <a:pos x="326" y="54"/>
                </a:cxn>
                <a:cxn ang="0">
                  <a:pos x="309" y="65"/>
                </a:cxn>
                <a:cxn ang="0">
                  <a:pos x="290" y="70"/>
                </a:cxn>
                <a:cxn ang="0">
                  <a:pos x="266" y="75"/>
                </a:cxn>
                <a:cxn ang="0">
                  <a:pos x="259" y="68"/>
                </a:cxn>
                <a:cxn ang="0">
                  <a:pos x="252" y="70"/>
                </a:cxn>
                <a:cxn ang="0">
                  <a:pos x="246" y="72"/>
                </a:cxn>
                <a:cxn ang="0">
                  <a:pos x="239" y="92"/>
                </a:cxn>
                <a:cxn ang="0">
                  <a:pos x="226" y="97"/>
                </a:cxn>
                <a:cxn ang="0">
                  <a:pos x="220" y="104"/>
                </a:cxn>
                <a:cxn ang="0">
                  <a:pos x="213" y="112"/>
                </a:cxn>
                <a:cxn ang="0">
                  <a:pos x="205" y="115"/>
                </a:cxn>
                <a:cxn ang="0">
                  <a:pos x="196" y="117"/>
                </a:cxn>
                <a:cxn ang="0">
                  <a:pos x="181" y="108"/>
                </a:cxn>
                <a:cxn ang="0">
                  <a:pos x="171" y="126"/>
                </a:cxn>
                <a:cxn ang="0">
                  <a:pos x="149" y="126"/>
                </a:cxn>
                <a:cxn ang="0">
                  <a:pos x="148" y="149"/>
                </a:cxn>
                <a:cxn ang="0">
                  <a:pos x="139" y="155"/>
                </a:cxn>
                <a:cxn ang="0">
                  <a:pos x="132" y="165"/>
                </a:cxn>
                <a:cxn ang="0">
                  <a:pos x="115" y="163"/>
                </a:cxn>
                <a:cxn ang="0">
                  <a:pos x="107" y="152"/>
                </a:cxn>
                <a:cxn ang="0">
                  <a:pos x="99" y="144"/>
                </a:cxn>
                <a:cxn ang="0">
                  <a:pos x="90" y="142"/>
                </a:cxn>
                <a:cxn ang="0">
                  <a:pos x="90" y="123"/>
                </a:cxn>
                <a:cxn ang="0">
                  <a:pos x="76" y="115"/>
                </a:cxn>
                <a:cxn ang="0">
                  <a:pos x="67" y="114"/>
                </a:cxn>
                <a:cxn ang="0">
                  <a:pos x="57" y="119"/>
                </a:cxn>
                <a:cxn ang="0">
                  <a:pos x="49" y="114"/>
                </a:cxn>
                <a:cxn ang="0">
                  <a:pos x="42" y="112"/>
                </a:cxn>
                <a:cxn ang="0">
                  <a:pos x="38" y="106"/>
                </a:cxn>
                <a:cxn ang="0">
                  <a:pos x="26" y="101"/>
                </a:cxn>
                <a:cxn ang="0">
                  <a:pos x="19" y="90"/>
                </a:cxn>
                <a:cxn ang="0">
                  <a:pos x="0" y="86"/>
                </a:cxn>
                <a:cxn ang="0">
                  <a:pos x="5" y="80"/>
                </a:cxn>
                <a:cxn ang="0">
                  <a:pos x="13" y="71"/>
                </a:cxn>
                <a:cxn ang="0">
                  <a:pos x="10" y="65"/>
                </a:cxn>
                <a:cxn ang="0">
                  <a:pos x="11" y="56"/>
                </a:cxn>
                <a:cxn ang="0">
                  <a:pos x="21" y="49"/>
                </a:cxn>
                <a:cxn ang="0">
                  <a:pos x="38" y="37"/>
                </a:cxn>
                <a:cxn ang="0">
                  <a:pos x="59" y="18"/>
                </a:cxn>
                <a:cxn ang="0">
                  <a:pos x="74" y="13"/>
                </a:cxn>
                <a:cxn ang="0">
                  <a:pos x="92" y="7"/>
                </a:cxn>
                <a:cxn ang="0">
                  <a:pos x="124" y="11"/>
                </a:cxn>
                <a:cxn ang="0">
                  <a:pos x="166" y="7"/>
                </a:cxn>
                <a:cxn ang="0">
                  <a:pos x="183" y="5"/>
                </a:cxn>
                <a:cxn ang="0">
                  <a:pos x="199" y="0"/>
                </a:cxn>
                <a:cxn ang="0">
                  <a:pos x="209" y="5"/>
                </a:cxn>
                <a:cxn ang="0">
                  <a:pos x="231" y="1"/>
                </a:cxn>
                <a:cxn ang="0">
                  <a:pos x="245" y="2"/>
                </a:cxn>
                <a:cxn ang="0">
                  <a:pos x="271" y="9"/>
                </a:cxn>
                <a:cxn ang="0">
                  <a:pos x="293" y="16"/>
                </a:cxn>
                <a:cxn ang="0">
                  <a:pos x="327" y="38"/>
                </a:cxn>
                <a:cxn ang="0">
                  <a:pos x="337" y="52"/>
                </a:cxn>
              </a:cxnLst>
              <a:rect l="0" t="0" r="r" b="b"/>
              <a:pathLst>
                <a:path w="337" h="166">
                  <a:moveTo>
                    <a:pt x="337" y="54"/>
                  </a:moveTo>
                  <a:lnTo>
                    <a:pt x="326" y="54"/>
                  </a:lnTo>
                  <a:lnTo>
                    <a:pt x="312" y="60"/>
                  </a:lnTo>
                  <a:lnTo>
                    <a:pt x="309" y="65"/>
                  </a:lnTo>
                  <a:lnTo>
                    <a:pt x="300" y="70"/>
                  </a:lnTo>
                  <a:lnTo>
                    <a:pt x="290" y="70"/>
                  </a:lnTo>
                  <a:lnTo>
                    <a:pt x="283" y="75"/>
                  </a:lnTo>
                  <a:lnTo>
                    <a:pt x="266" y="75"/>
                  </a:lnTo>
                  <a:lnTo>
                    <a:pt x="263" y="72"/>
                  </a:lnTo>
                  <a:lnTo>
                    <a:pt x="259" y="68"/>
                  </a:lnTo>
                  <a:lnTo>
                    <a:pt x="253" y="66"/>
                  </a:lnTo>
                  <a:lnTo>
                    <a:pt x="252" y="70"/>
                  </a:lnTo>
                  <a:lnTo>
                    <a:pt x="250" y="71"/>
                  </a:lnTo>
                  <a:lnTo>
                    <a:pt x="246" y="72"/>
                  </a:lnTo>
                  <a:lnTo>
                    <a:pt x="242" y="79"/>
                  </a:lnTo>
                  <a:lnTo>
                    <a:pt x="239" y="92"/>
                  </a:lnTo>
                  <a:lnTo>
                    <a:pt x="236" y="95"/>
                  </a:lnTo>
                  <a:lnTo>
                    <a:pt x="226" y="97"/>
                  </a:lnTo>
                  <a:lnTo>
                    <a:pt x="221" y="102"/>
                  </a:lnTo>
                  <a:lnTo>
                    <a:pt x="220" y="104"/>
                  </a:lnTo>
                  <a:lnTo>
                    <a:pt x="216" y="106"/>
                  </a:lnTo>
                  <a:lnTo>
                    <a:pt x="213" y="112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2" y="117"/>
                  </a:lnTo>
                  <a:lnTo>
                    <a:pt x="196" y="117"/>
                  </a:lnTo>
                  <a:lnTo>
                    <a:pt x="188" y="111"/>
                  </a:lnTo>
                  <a:lnTo>
                    <a:pt x="181" y="108"/>
                  </a:lnTo>
                  <a:lnTo>
                    <a:pt x="175" y="118"/>
                  </a:lnTo>
                  <a:lnTo>
                    <a:pt x="171" y="126"/>
                  </a:lnTo>
                  <a:lnTo>
                    <a:pt x="154" y="128"/>
                  </a:lnTo>
                  <a:lnTo>
                    <a:pt x="149" y="126"/>
                  </a:lnTo>
                  <a:lnTo>
                    <a:pt x="146" y="134"/>
                  </a:lnTo>
                  <a:lnTo>
                    <a:pt x="148" y="149"/>
                  </a:lnTo>
                  <a:lnTo>
                    <a:pt x="144" y="150"/>
                  </a:lnTo>
                  <a:lnTo>
                    <a:pt x="139" y="155"/>
                  </a:lnTo>
                  <a:lnTo>
                    <a:pt x="135" y="162"/>
                  </a:lnTo>
                  <a:lnTo>
                    <a:pt x="132" y="165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07" y="156"/>
                  </a:lnTo>
                  <a:lnTo>
                    <a:pt x="107" y="152"/>
                  </a:lnTo>
                  <a:lnTo>
                    <a:pt x="106" y="147"/>
                  </a:lnTo>
                  <a:lnTo>
                    <a:pt x="99" y="144"/>
                  </a:lnTo>
                  <a:lnTo>
                    <a:pt x="92" y="145"/>
                  </a:lnTo>
                  <a:lnTo>
                    <a:pt x="90" y="142"/>
                  </a:lnTo>
                  <a:lnTo>
                    <a:pt x="90" y="124"/>
                  </a:lnTo>
                  <a:lnTo>
                    <a:pt x="90" y="123"/>
                  </a:lnTo>
                  <a:lnTo>
                    <a:pt x="85" y="118"/>
                  </a:lnTo>
                  <a:lnTo>
                    <a:pt x="76" y="115"/>
                  </a:lnTo>
                  <a:lnTo>
                    <a:pt x="74" y="113"/>
                  </a:lnTo>
                  <a:lnTo>
                    <a:pt x="67" y="114"/>
                  </a:lnTo>
                  <a:lnTo>
                    <a:pt x="62" y="119"/>
                  </a:lnTo>
                  <a:lnTo>
                    <a:pt x="57" y="119"/>
                  </a:lnTo>
                  <a:lnTo>
                    <a:pt x="52" y="117"/>
                  </a:lnTo>
                  <a:lnTo>
                    <a:pt x="49" y="114"/>
                  </a:lnTo>
                  <a:lnTo>
                    <a:pt x="49" y="112"/>
                  </a:lnTo>
                  <a:lnTo>
                    <a:pt x="42" y="112"/>
                  </a:lnTo>
                  <a:lnTo>
                    <a:pt x="40" y="109"/>
                  </a:lnTo>
                  <a:lnTo>
                    <a:pt x="38" y="106"/>
                  </a:lnTo>
                  <a:lnTo>
                    <a:pt x="33" y="106"/>
                  </a:lnTo>
                  <a:lnTo>
                    <a:pt x="26" y="101"/>
                  </a:lnTo>
                  <a:lnTo>
                    <a:pt x="24" y="96"/>
                  </a:lnTo>
                  <a:lnTo>
                    <a:pt x="19" y="90"/>
                  </a:lnTo>
                  <a:lnTo>
                    <a:pt x="6" y="90"/>
                  </a:lnTo>
                  <a:lnTo>
                    <a:pt x="0" y="86"/>
                  </a:lnTo>
                  <a:lnTo>
                    <a:pt x="3" y="85"/>
                  </a:lnTo>
                  <a:lnTo>
                    <a:pt x="5" y="80"/>
                  </a:lnTo>
                  <a:lnTo>
                    <a:pt x="13" y="75"/>
                  </a:lnTo>
                  <a:lnTo>
                    <a:pt x="13" y="71"/>
                  </a:lnTo>
                  <a:lnTo>
                    <a:pt x="11" y="66"/>
                  </a:lnTo>
                  <a:lnTo>
                    <a:pt x="10" y="65"/>
                  </a:lnTo>
                  <a:lnTo>
                    <a:pt x="10" y="60"/>
                  </a:lnTo>
                  <a:lnTo>
                    <a:pt x="11" y="56"/>
                  </a:lnTo>
                  <a:lnTo>
                    <a:pt x="20" y="50"/>
                  </a:lnTo>
                  <a:lnTo>
                    <a:pt x="21" y="49"/>
                  </a:lnTo>
                  <a:lnTo>
                    <a:pt x="25" y="48"/>
                  </a:lnTo>
                  <a:lnTo>
                    <a:pt x="38" y="37"/>
                  </a:lnTo>
                  <a:lnTo>
                    <a:pt x="56" y="25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74" y="13"/>
                  </a:lnTo>
                  <a:lnTo>
                    <a:pt x="85" y="9"/>
                  </a:lnTo>
                  <a:lnTo>
                    <a:pt x="92" y="7"/>
                  </a:lnTo>
                  <a:lnTo>
                    <a:pt x="110" y="9"/>
                  </a:lnTo>
                  <a:lnTo>
                    <a:pt x="124" y="11"/>
                  </a:lnTo>
                  <a:lnTo>
                    <a:pt x="148" y="11"/>
                  </a:lnTo>
                  <a:lnTo>
                    <a:pt x="166" y="7"/>
                  </a:lnTo>
                  <a:lnTo>
                    <a:pt x="178" y="6"/>
                  </a:lnTo>
                  <a:lnTo>
                    <a:pt x="183" y="5"/>
                  </a:lnTo>
                  <a:lnTo>
                    <a:pt x="188" y="1"/>
                  </a:lnTo>
                  <a:lnTo>
                    <a:pt x="199" y="0"/>
                  </a:lnTo>
                  <a:lnTo>
                    <a:pt x="207" y="2"/>
                  </a:lnTo>
                  <a:lnTo>
                    <a:pt x="209" y="5"/>
                  </a:lnTo>
                  <a:lnTo>
                    <a:pt x="223" y="5"/>
                  </a:lnTo>
                  <a:lnTo>
                    <a:pt x="231" y="1"/>
                  </a:lnTo>
                  <a:lnTo>
                    <a:pt x="240" y="1"/>
                  </a:lnTo>
                  <a:lnTo>
                    <a:pt x="245" y="2"/>
                  </a:lnTo>
                  <a:lnTo>
                    <a:pt x="257" y="9"/>
                  </a:lnTo>
                  <a:lnTo>
                    <a:pt x="271" y="9"/>
                  </a:lnTo>
                  <a:lnTo>
                    <a:pt x="283" y="11"/>
                  </a:lnTo>
                  <a:lnTo>
                    <a:pt x="293" y="16"/>
                  </a:lnTo>
                  <a:lnTo>
                    <a:pt x="304" y="27"/>
                  </a:lnTo>
                  <a:lnTo>
                    <a:pt x="327" y="38"/>
                  </a:lnTo>
                  <a:lnTo>
                    <a:pt x="332" y="43"/>
                  </a:lnTo>
                  <a:lnTo>
                    <a:pt x="337" y="52"/>
                  </a:lnTo>
                  <a:lnTo>
                    <a:pt x="337" y="54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38" name="Freeform 269"/>
            <p:cNvSpPr>
              <a:spLocks noChangeAspect="1"/>
            </p:cNvSpPr>
            <p:nvPr/>
          </p:nvSpPr>
          <p:spPr bwMode="gray">
            <a:xfrm>
              <a:off x="1561056" y="3706005"/>
              <a:ext cx="437165" cy="285280"/>
            </a:xfrm>
            <a:custGeom>
              <a:avLst/>
              <a:gdLst/>
              <a:ahLst/>
              <a:cxnLst>
                <a:cxn ang="0">
                  <a:pos x="183" y="77"/>
                </a:cxn>
                <a:cxn ang="0">
                  <a:pos x="233" y="144"/>
                </a:cxn>
                <a:cxn ang="0">
                  <a:pos x="260" y="212"/>
                </a:cxn>
                <a:cxn ang="0">
                  <a:pos x="324" y="292"/>
                </a:cxn>
                <a:cxn ang="0">
                  <a:pos x="367" y="342"/>
                </a:cxn>
                <a:cxn ang="0">
                  <a:pos x="433" y="395"/>
                </a:cxn>
                <a:cxn ang="0">
                  <a:pos x="432" y="445"/>
                </a:cxn>
                <a:cxn ang="0">
                  <a:pos x="501" y="481"/>
                </a:cxn>
                <a:cxn ang="0">
                  <a:pos x="567" y="558"/>
                </a:cxn>
                <a:cxn ang="0">
                  <a:pos x="630" y="627"/>
                </a:cxn>
                <a:cxn ang="0">
                  <a:pos x="658" y="703"/>
                </a:cxn>
                <a:cxn ang="0">
                  <a:pos x="635" y="752"/>
                </a:cxn>
                <a:cxn ang="0">
                  <a:pos x="683" y="821"/>
                </a:cxn>
                <a:cxn ang="0">
                  <a:pos x="740" y="858"/>
                </a:cxn>
                <a:cxn ang="0">
                  <a:pos x="782" y="884"/>
                </a:cxn>
                <a:cxn ang="0">
                  <a:pos x="860" y="913"/>
                </a:cxn>
                <a:cxn ang="0">
                  <a:pos x="905" y="941"/>
                </a:cxn>
                <a:cxn ang="0">
                  <a:pos x="1019" y="983"/>
                </a:cxn>
                <a:cxn ang="0">
                  <a:pos x="1120" y="1020"/>
                </a:cxn>
                <a:cxn ang="0">
                  <a:pos x="1202" y="995"/>
                </a:cxn>
                <a:cxn ang="0">
                  <a:pos x="1336" y="1060"/>
                </a:cxn>
                <a:cxn ang="0">
                  <a:pos x="1371" y="1047"/>
                </a:cxn>
                <a:cxn ang="0">
                  <a:pos x="1454" y="974"/>
                </a:cxn>
                <a:cxn ang="0">
                  <a:pos x="1541" y="892"/>
                </a:cxn>
                <a:cxn ang="0">
                  <a:pos x="1593" y="859"/>
                </a:cxn>
                <a:cxn ang="0">
                  <a:pos x="1616" y="810"/>
                </a:cxn>
                <a:cxn ang="0">
                  <a:pos x="1641" y="736"/>
                </a:cxn>
                <a:cxn ang="0">
                  <a:pos x="1588" y="675"/>
                </a:cxn>
                <a:cxn ang="0">
                  <a:pos x="1464" y="708"/>
                </a:cxn>
                <a:cxn ang="0">
                  <a:pos x="1411" y="830"/>
                </a:cxn>
                <a:cxn ang="0">
                  <a:pos x="1345" y="848"/>
                </a:cxn>
                <a:cxn ang="0">
                  <a:pos x="1215" y="853"/>
                </a:cxn>
                <a:cxn ang="0">
                  <a:pos x="1154" y="822"/>
                </a:cxn>
                <a:cxn ang="0">
                  <a:pos x="1103" y="741"/>
                </a:cxn>
                <a:cxn ang="0">
                  <a:pos x="1063" y="634"/>
                </a:cxn>
                <a:cxn ang="0">
                  <a:pos x="1057" y="498"/>
                </a:cxn>
                <a:cxn ang="0">
                  <a:pos x="1098" y="444"/>
                </a:cxn>
                <a:cxn ang="0">
                  <a:pos x="1078" y="424"/>
                </a:cxn>
                <a:cxn ang="0">
                  <a:pos x="930" y="288"/>
                </a:cxn>
                <a:cxn ang="0">
                  <a:pos x="785" y="185"/>
                </a:cxn>
                <a:cxn ang="0">
                  <a:pos x="615" y="93"/>
                </a:cxn>
                <a:cxn ang="0">
                  <a:pos x="334" y="84"/>
                </a:cxn>
                <a:cxn ang="0">
                  <a:pos x="22" y="52"/>
                </a:cxn>
                <a:cxn ang="0">
                  <a:pos x="57" y="120"/>
                </a:cxn>
                <a:cxn ang="0">
                  <a:pos x="84" y="191"/>
                </a:cxn>
                <a:cxn ang="0">
                  <a:pos x="147" y="241"/>
                </a:cxn>
                <a:cxn ang="0">
                  <a:pos x="164" y="300"/>
                </a:cxn>
                <a:cxn ang="0">
                  <a:pos x="126" y="315"/>
                </a:cxn>
                <a:cxn ang="0">
                  <a:pos x="179" y="358"/>
                </a:cxn>
                <a:cxn ang="0">
                  <a:pos x="239" y="397"/>
                </a:cxn>
                <a:cxn ang="0">
                  <a:pos x="272" y="491"/>
                </a:cxn>
                <a:cxn ang="0">
                  <a:pos x="305" y="509"/>
                </a:cxn>
                <a:cxn ang="0">
                  <a:pos x="394" y="606"/>
                </a:cxn>
                <a:cxn ang="0">
                  <a:pos x="412" y="557"/>
                </a:cxn>
                <a:cxn ang="0">
                  <a:pos x="353" y="507"/>
                </a:cxn>
                <a:cxn ang="0">
                  <a:pos x="323" y="424"/>
                </a:cxn>
                <a:cxn ang="0">
                  <a:pos x="298" y="387"/>
                </a:cxn>
                <a:cxn ang="0">
                  <a:pos x="266" y="330"/>
                </a:cxn>
                <a:cxn ang="0">
                  <a:pos x="231" y="271"/>
                </a:cxn>
                <a:cxn ang="0">
                  <a:pos x="195" y="218"/>
                </a:cxn>
                <a:cxn ang="0">
                  <a:pos x="143" y="164"/>
                </a:cxn>
                <a:cxn ang="0">
                  <a:pos x="127" y="56"/>
                </a:cxn>
              </a:cxnLst>
              <a:rect l="0" t="0" r="r" b="b"/>
              <a:pathLst>
                <a:path w="1657" h="1083">
                  <a:moveTo>
                    <a:pt x="127" y="56"/>
                  </a:moveTo>
                  <a:lnTo>
                    <a:pt x="136" y="59"/>
                  </a:lnTo>
                  <a:lnTo>
                    <a:pt x="140" y="61"/>
                  </a:lnTo>
                  <a:lnTo>
                    <a:pt x="148" y="68"/>
                  </a:lnTo>
                  <a:lnTo>
                    <a:pt x="151" y="67"/>
                  </a:lnTo>
                  <a:lnTo>
                    <a:pt x="152" y="72"/>
                  </a:lnTo>
                  <a:lnTo>
                    <a:pt x="162" y="77"/>
                  </a:lnTo>
                  <a:lnTo>
                    <a:pt x="168" y="79"/>
                  </a:lnTo>
                  <a:lnTo>
                    <a:pt x="183" y="77"/>
                  </a:lnTo>
                  <a:lnTo>
                    <a:pt x="191" y="82"/>
                  </a:lnTo>
                  <a:lnTo>
                    <a:pt x="191" y="88"/>
                  </a:lnTo>
                  <a:lnTo>
                    <a:pt x="196" y="90"/>
                  </a:lnTo>
                  <a:lnTo>
                    <a:pt x="215" y="95"/>
                  </a:lnTo>
                  <a:lnTo>
                    <a:pt x="219" y="99"/>
                  </a:lnTo>
                  <a:lnTo>
                    <a:pt x="223" y="105"/>
                  </a:lnTo>
                  <a:lnTo>
                    <a:pt x="223" y="125"/>
                  </a:lnTo>
                  <a:lnTo>
                    <a:pt x="226" y="131"/>
                  </a:lnTo>
                  <a:lnTo>
                    <a:pt x="233" y="144"/>
                  </a:lnTo>
                  <a:lnTo>
                    <a:pt x="234" y="152"/>
                  </a:lnTo>
                  <a:lnTo>
                    <a:pt x="237" y="154"/>
                  </a:lnTo>
                  <a:lnTo>
                    <a:pt x="240" y="161"/>
                  </a:lnTo>
                  <a:lnTo>
                    <a:pt x="243" y="177"/>
                  </a:lnTo>
                  <a:lnTo>
                    <a:pt x="248" y="183"/>
                  </a:lnTo>
                  <a:lnTo>
                    <a:pt x="251" y="185"/>
                  </a:lnTo>
                  <a:lnTo>
                    <a:pt x="254" y="188"/>
                  </a:lnTo>
                  <a:lnTo>
                    <a:pt x="258" y="207"/>
                  </a:lnTo>
                  <a:lnTo>
                    <a:pt x="260" y="212"/>
                  </a:lnTo>
                  <a:lnTo>
                    <a:pt x="262" y="215"/>
                  </a:lnTo>
                  <a:lnTo>
                    <a:pt x="269" y="219"/>
                  </a:lnTo>
                  <a:lnTo>
                    <a:pt x="272" y="224"/>
                  </a:lnTo>
                  <a:lnTo>
                    <a:pt x="277" y="239"/>
                  </a:lnTo>
                  <a:lnTo>
                    <a:pt x="286" y="245"/>
                  </a:lnTo>
                  <a:lnTo>
                    <a:pt x="290" y="257"/>
                  </a:lnTo>
                  <a:lnTo>
                    <a:pt x="299" y="268"/>
                  </a:lnTo>
                  <a:lnTo>
                    <a:pt x="310" y="272"/>
                  </a:lnTo>
                  <a:lnTo>
                    <a:pt x="324" y="292"/>
                  </a:lnTo>
                  <a:lnTo>
                    <a:pt x="334" y="299"/>
                  </a:lnTo>
                  <a:lnTo>
                    <a:pt x="351" y="303"/>
                  </a:lnTo>
                  <a:lnTo>
                    <a:pt x="357" y="304"/>
                  </a:lnTo>
                  <a:lnTo>
                    <a:pt x="360" y="306"/>
                  </a:lnTo>
                  <a:lnTo>
                    <a:pt x="361" y="320"/>
                  </a:lnTo>
                  <a:lnTo>
                    <a:pt x="358" y="325"/>
                  </a:lnTo>
                  <a:lnTo>
                    <a:pt x="361" y="330"/>
                  </a:lnTo>
                  <a:lnTo>
                    <a:pt x="361" y="335"/>
                  </a:lnTo>
                  <a:lnTo>
                    <a:pt x="367" y="342"/>
                  </a:lnTo>
                  <a:lnTo>
                    <a:pt x="374" y="348"/>
                  </a:lnTo>
                  <a:lnTo>
                    <a:pt x="390" y="355"/>
                  </a:lnTo>
                  <a:lnTo>
                    <a:pt x="398" y="364"/>
                  </a:lnTo>
                  <a:lnTo>
                    <a:pt x="401" y="374"/>
                  </a:lnTo>
                  <a:lnTo>
                    <a:pt x="406" y="376"/>
                  </a:lnTo>
                  <a:lnTo>
                    <a:pt x="407" y="379"/>
                  </a:lnTo>
                  <a:lnTo>
                    <a:pt x="421" y="379"/>
                  </a:lnTo>
                  <a:lnTo>
                    <a:pt x="428" y="384"/>
                  </a:lnTo>
                  <a:lnTo>
                    <a:pt x="433" y="395"/>
                  </a:lnTo>
                  <a:lnTo>
                    <a:pt x="439" y="397"/>
                  </a:lnTo>
                  <a:lnTo>
                    <a:pt x="439" y="402"/>
                  </a:lnTo>
                  <a:lnTo>
                    <a:pt x="433" y="412"/>
                  </a:lnTo>
                  <a:lnTo>
                    <a:pt x="430" y="414"/>
                  </a:lnTo>
                  <a:lnTo>
                    <a:pt x="428" y="421"/>
                  </a:lnTo>
                  <a:lnTo>
                    <a:pt x="427" y="425"/>
                  </a:lnTo>
                  <a:lnTo>
                    <a:pt x="426" y="433"/>
                  </a:lnTo>
                  <a:lnTo>
                    <a:pt x="427" y="438"/>
                  </a:lnTo>
                  <a:lnTo>
                    <a:pt x="432" y="445"/>
                  </a:lnTo>
                  <a:lnTo>
                    <a:pt x="444" y="445"/>
                  </a:lnTo>
                  <a:lnTo>
                    <a:pt x="452" y="439"/>
                  </a:lnTo>
                  <a:lnTo>
                    <a:pt x="454" y="443"/>
                  </a:lnTo>
                  <a:lnTo>
                    <a:pt x="450" y="451"/>
                  </a:lnTo>
                  <a:lnTo>
                    <a:pt x="453" y="456"/>
                  </a:lnTo>
                  <a:lnTo>
                    <a:pt x="476" y="468"/>
                  </a:lnTo>
                  <a:lnTo>
                    <a:pt x="482" y="470"/>
                  </a:lnTo>
                  <a:lnTo>
                    <a:pt x="487" y="466"/>
                  </a:lnTo>
                  <a:lnTo>
                    <a:pt x="501" y="481"/>
                  </a:lnTo>
                  <a:lnTo>
                    <a:pt x="506" y="484"/>
                  </a:lnTo>
                  <a:lnTo>
                    <a:pt x="507" y="492"/>
                  </a:lnTo>
                  <a:lnTo>
                    <a:pt x="507" y="503"/>
                  </a:lnTo>
                  <a:lnTo>
                    <a:pt x="509" y="507"/>
                  </a:lnTo>
                  <a:lnTo>
                    <a:pt x="543" y="535"/>
                  </a:lnTo>
                  <a:lnTo>
                    <a:pt x="554" y="545"/>
                  </a:lnTo>
                  <a:lnTo>
                    <a:pt x="561" y="548"/>
                  </a:lnTo>
                  <a:lnTo>
                    <a:pt x="565" y="553"/>
                  </a:lnTo>
                  <a:lnTo>
                    <a:pt x="567" y="558"/>
                  </a:lnTo>
                  <a:lnTo>
                    <a:pt x="567" y="564"/>
                  </a:lnTo>
                  <a:lnTo>
                    <a:pt x="570" y="568"/>
                  </a:lnTo>
                  <a:lnTo>
                    <a:pt x="576" y="568"/>
                  </a:lnTo>
                  <a:lnTo>
                    <a:pt x="582" y="577"/>
                  </a:lnTo>
                  <a:lnTo>
                    <a:pt x="588" y="589"/>
                  </a:lnTo>
                  <a:lnTo>
                    <a:pt x="592" y="595"/>
                  </a:lnTo>
                  <a:lnTo>
                    <a:pt x="604" y="604"/>
                  </a:lnTo>
                  <a:lnTo>
                    <a:pt x="615" y="617"/>
                  </a:lnTo>
                  <a:lnTo>
                    <a:pt x="630" y="627"/>
                  </a:lnTo>
                  <a:lnTo>
                    <a:pt x="632" y="633"/>
                  </a:lnTo>
                  <a:lnTo>
                    <a:pt x="631" y="635"/>
                  </a:lnTo>
                  <a:lnTo>
                    <a:pt x="631" y="640"/>
                  </a:lnTo>
                  <a:lnTo>
                    <a:pt x="638" y="664"/>
                  </a:lnTo>
                  <a:lnTo>
                    <a:pt x="645" y="672"/>
                  </a:lnTo>
                  <a:lnTo>
                    <a:pt x="646" y="681"/>
                  </a:lnTo>
                  <a:lnTo>
                    <a:pt x="652" y="687"/>
                  </a:lnTo>
                  <a:lnTo>
                    <a:pt x="656" y="694"/>
                  </a:lnTo>
                  <a:lnTo>
                    <a:pt x="658" y="703"/>
                  </a:lnTo>
                  <a:lnTo>
                    <a:pt x="658" y="712"/>
                  </a:lnTo>
                  <a:lnTo>
                    <a:pt x="656" y="717"/>
                  </a:lnTo>
                  <a:lnTo>
                    <a:pt x="646" y="728"/>
                  </a:lnTo>
                  <a:lnTo>
                    <a:pt x="645" y="729"/>
                  </a:lnTo>
                  <a:lnTo>
                    <a:pt x="646" y="733"/>
                  </a:lnTo>
                  <a:lnTo>
                    <a:pt x="653" y="739"/>
                  </a:lnTo>
                  <a:lnTo>
                    <a:pt x="654" y="742"/>
                  </a:lnTo>
                  <a:lnTo>
                    <a:pt x="640" y="748"/>
                  </a:lnTo>
                  <a:lnTo>
                    <a:pt x="635" y="752"/>
                  </a:lnTo>
                  <a:lnTo>
                    <a:pt x="635" y="756"/>
                  </a:lnTo>
                  <a:lnTo>
                    <a:pt x="637" y="758"/>
                  </a:lnTo>
                  <a:lnTo>
                    <a:pt x="642" y="771"/>
                  </a:lnTo>
                  <a:lnTo>
                    <a:pt x="643" y="779"/>
                  </a:lnTo>
                  <a:lnTo>
                    <a:pt x="646" y="788"/>
                  </a:lnTo>
                  <a:lnTo>
                    <a:pt x="656" y="793"/>
                  </a:lnTo>
                  <a:lnTo>
                    <a:pt x="670" y="810"/>
                  </a:lnTo>
                  <a:lnTo>
                    <a:pt x="675" y="815"/>
                  </a:lnTo>
                  <a:lnTo>
                    <a:pt x="683" y="821"/>
                  </a:lnTo>
                  <a:lnTo>
                    <a:pt x="689" y="823"/>
                  </a:lnTo>
                  <a:lnTo>
                    <a:pt x="699" y="827"/>
                  </a:lnTo>
                  <a:lnTo>
                    <a:pt x="706" y="827"/>
                  </a:lnTo>
                  <a:lnTo>
                    <a:pt x="710" y="830"/>
                  </a:lnTo>
                  <a:lnTo>
                    <a:pt x="722" y="841"/>
                  </a:lnTo>
                  <a:lnTo>
                    <a:pt x="731" y="843"/>
                  </a:lnTo>
                  <a:lnTo>
                    <a:pt x="738" y="850"/>
                  </a:lnTo>
                  <a:lnTo>
                    <a:pt x="740" y="855"/>
                  </a:lnTo>
                  <a:lnTo>
                    <a:pt x="740" y="858"/>
                  </a:lnTo>
                  <a:lnTo>
                    <a:pt x="744" y="859"/>
                  </a:lnTo>
                  <a:lnTo>
                    <a:pt x="746" y="861"/>
                  </a:lnTo>
                  <a:lnTo>
                    <a:pt x="748" y="865"/>
                  </a:lnTo>
                  <a:lnTo>
                    <a:pt x="750" y="870"/>
                  </a:lnTo>
                  <a:lnTo>
                    <a:pt x="755" y="874"/>
                  </a:lnTo>
                  <a:lnTo>
                    <a:pt x="769" y="875"/>
                  </a:lnTo>
                  <a:lnTo>
                    <a:pt x="775" y="879"/>
                  </a:lnTo>
                  <a:lnTo>
                    <a:pt x="780" y="880"/>
                  </a:lnTo>
                  <a:lnTo>
                    <a:pt x="782" y="884"/>
                  </a:lnTo>
                  <a:lnTo>
                    <a:pt x="814" y="892"/>
                  </a:lnTo>
                  <a:lnTo>
                    <a:pt x="820" y="895"/>
                  </a:lnTo>
                  <a:lnTo>
                    <a:pt x="828" y="895"/>
                  </a:lnTo>
                  <a:lnTo>
                    <a:pt x="832" y="892"/>
                  </a:lnTo>
                  <a:lnTo>
                    <a:pt x="836" y="895"/>
                  </a:lnTo>
                  <a:lnTo>
                    <a:pt x="850" y="902"/>
                  </a:lnTo>
                  <a:lnTo>
                    <a:pt x="855" y="909"/>
                  </a:lnTo>
                  <a:lnTo>
                    <a:pt x="856" y="912"/>
                  </a:lnTo>
                  <a:lnTo>
                    <a:pt x="860" y="913"/>
                  </a:lnTo>
                  <a:lnTo>
                    <a:pt x="862" y="917"/>
                  </a:lnTo>
                  <a:lnTo>
                    <a:pt x="869" y="919"/>
                  </a:lnTo>
                  <a:lnTo>
                    <a:pt x="875" y="924"/>
                  </a:lnTo>
                  <a:lnTo>
                    <a:pt x="884" y="928"/>
                  </a:lnTo>
                  <a:lnTo>
                    <a:pt x="884" y="931"/>
                  </a:lnTo>
                  <a:lnTo>
                    <a:pt x="890" y="936"/>
                  </a:lnTo>
                  <a:lnTo>
                    <a:pt x="894" y="935"/>
                  </a:lnTo>
                  <a:lnTo>
                    <a:pt x="900" y="939"/>
                  </a:lnTo>
                  <a:lnTo>
                    <a:pt x="905" y="941"/>
                  </a:lnTo>
                  <a:lnTo>
                    <a:pt x="916" y="945"/>
                  </a:lnTo>
                  <a:lnTo>
                    <a:pt x="926" y="946"/>
                  </a:lnTo>
                  <a:lnTo>
                    <a:pt x="943" y="951"/>
                  </a:lnTo>
                  <a:lnTo>
                    <a:pt x="953" y="959"/>
                  </a:lnTo>
                  <a:lnTo>
                    <a:pt x="960" y="961"/>
                  </a:lnTo>
                  <a:lnTo>
                    <a:pt x="985" y="968"/>
                  </a:lnTo>
                  <a:lnTo>
                    <a:pt x="1000" y="974"/>
                  </a:lnTo>
                  <a:lnTo>
                    <a:pt x="1009" y="973"/>
                  </a:lnTo>
                  <a:lnTo>
                    <a:pt x="1019" y="983"/>
                  </a:lnTo>
                  <a:lnTo>
                    <a:pt x="1043" y="998"/>
                  </a:lnTo>
                  <a:lnTo>
                    <a:pt x="1049" y="999"/>
                  </a:lnTo>
                  <a:lnTo>
                    <a:pt x="1052" y="999"/>
                  </a:lnTo>
                  <a:lnTo>
                    <a:pt x="1057" y="1003"/>
                  </a:lnTo>
                  <a:lnTo>
                    <a:pt x="1063" y="1005"/>
                  </a:lnTo>
                  <a:lnTo>
                    <a:pt x="1074" y="1009"/>
                  </a:lnTo>
                  <a:lnTo>
                    <a:pt x="1103" y="1011"/>
                  </a:lnTo>
                  <a:lnTo>
                    <a:pt x="1113" y="1017"/>
                  </a:lnTo>
                  <a:lnTo>
                    <a:pt x="1120" y="1020"/>
                  </a:lnTo>
                  <a:lnTo>
                    <a:pt x="1122" y="1020"/>
                  </a:lnTo>
                  <a:lnTo>
                    <a:pt x="1130" y="1024"/>
                  </a:lnTo>
                  <a:lnTo>
                    <a:pt x="1145" y="1025"/>
                  </a:lnTo>
                  <a:lnTo>
                    <a:pt x="1152" y="1024"/>
                  </a:lnTo>
                  <a:lnTo>
                    <a:pt x="1158" y="1021"/>
                  </a:lnTo>
                  <a:lnTo>
                    <a:pt x="1162" y="1017"/>
                  </a:lnTo>
                  <a:lnTo>
                    <a:pt x="1173" y="1013"/>
                  </a:lnTo>
                  <a:lnTo>
                    <a:pt x="1181" y="1010"/>
                  </a:lnTo>
                  <a:lnTo>
                    <a:pt x="1202" y="995"/>
                  </a:lnTo>
                  <a:lnTo>
                    <a:pt x="1207" y="994"/>
                  </a:lnTo>
                  <a:lnTo>
                    <a:pt x="1215" y="992"/>
                  </a:lnTo>
                  <a:lnTo>
                    <a:pt x="1232" y="992"/>
                  </a:lnTo>
                  <a:lnTo>
                    <a:pt x="1244" y="995"/>
                  </a:lnTo>
                  <a:lnTo>
                    <a:pt x="1266" y="1004"/>
                  </a:lnTo>
                  <a:lnTo>
                    <a:pt x="1291" y="1015"/>
                  </a:lnTo>
                  <a:lnTo>
                    <a:pt x="1309" y="1033"/>
                  </a:lnTo>
                  <a:lnTo>
                    <a:pt x="1316" y="1042"/>
                  </a:lnTo>
                  <a:lnTo>
                    <a:pt x="1336" y="1060"/>
                  </a:lnTo>
                  <a:lnTo>
                    <a:pt x="1345" y="1070"/>
                  </a:lnTo>
                  <a:lnTo>
                    <a:pt x="1362" y="1083"/>
                  </a:lnTo>
                  <a:lnTo>
                    <a:pt x="1364" y="1081"/>
                  </a:lnTo>
                  <a:lnTo>
                    <a:pt x="1366" y="1065"/>
                  </a:lnTo>
                  <a:lnTo>
                    <a:pt x="1368" y="1063"/>
                  </a:lnTo>
                  <a:lnTo>
                    <a:pt x="1369" y="1060"/>
                  </a:lnTo>
                  <a:lnTo>
                    <a:pt x="1367" y="1053"/>
                  </a:lnTo>
                  <a:lnTo>
                    <a:pt x="1368" y="1052"/>
                  </a:lnTo>
                  <a:lnTo>
                    <a:pt x="1371" y="1047"/>
                  </a:lnTo>
                  <a:lnTo>
                    <a:pt x="1377" y="1037"/>
                  </a:lnTo>
                  <a:lnTo>
                    <a:pt x="1378" y="1033"/>
                  </a:lnTo>
                  <a:lnTo>
                    <a:pt x="1401" y="997"/>
                  </a:lnTo>
                  <a:lnTo>
                    <a:pt x="1431" y="994"/>
                  </a:lnTo>
                  <a:lnTo>
                    <a:pt x="1454" y="994"/>
                  </a:lnTo>
                  <a:lnTo>
                    <a:pt x="1455" y="995"/>
                  </a:lnTo>
                  <a:lnTo>
                    <a:pt x="1455" y="994"/>
                  </a:lnTo>
                  <a:lnTo>
                    <a:pt x="1457" y="979"/>
                  </a:lnTo>
                  <a:lnTo>
                    <a:pt x="1454" y="974"/>
                  </a:lnTo>
                  <a:lnTo>
                    <a:pt x="1444" y="966"/>
                  </a:lnTo>
                  <a:lnTo>
                    <a:pt x="1441" y="957"/>
                  </a:lnTo>
                  <a:lnTo>
                    <a:pt x="1425" y="947"/>
                  </a:lnTo>
                  <a:lnTo>
                    <a:pt x="1399" y="922"/>
                  </a:lnTo>
                  <a:lnTo>
                    <a:pt x="1401" y="923"/>
                  </a:lnTo>
                  <a:lnTo>
                    <a:pt x="1433" y="923"/>
                  </a:lnTo>
                  <a:lnTo>
                    <a:pt x="1433" y="896"/>
                  </a:lnTo>
                  <a:lnTo>
                    <a:pt x="1528" y="895"/>
                  </a:lnTo>
                  <a:lnTo>
                    <a:pt x="1541" y="892"/>
                  </a:lnTo>
                  <a:lnTo>
                    <a:pt x="1546" y="892"/>
                  </a:lnTo>
                  <a:lnTo>
                    <a:pt x="1561" y="864"/>
                  </a:lnTo>
                  <a:lnTo>
                    <a:pt x="1565" y="861"/>
                  </a:lnTo>
                  <a:lnTo>
                    <a:pt x="1571" y="863"/>
                  </a:lnTo>
                  <a:lnTo>
                    <a:pt x="1572" y="855"/>
                  </a:lnTo>
                  <a:lnTo>
                    <a:pt x="1583" y="839"/>
                  </a:lnTo>
                  <a:lnTo>
                    <a:pt x="1590" y="842"/>
                  </a:lnTo>
                  <a:lnTo>
                    <a:pt x="1588" y="858"/>
                  </a:lnTo>
                  <a:lnTo>
                    <a:pt x="1593" y="859"/>
                  </a:lnTo>
                  <a:lnTo>
                    <a:pt x="1595" y="861"/>
                  </a:lnTo>
                  <a:lnTo>
                    <a:pt x="1594" y="876"/>
                  </a:lnTo>
                  <a:lnTo>
                    <a:pt x="1597" y="886"/>
                  </a:lnTo>
                  <a:lnTo>
                    <a:pt x="1600" y="881"/>
                  </a:lnTo>
                  <a:lnTo>
                    <a:pt x="1606" y="860"/>
                  </a:lnTo>
                  <a:lnTo>
                    <a:pt x="1608" y="849"/>
                  </a:lnTo>
                  <a:lnTo>
                    <a:pt x="1616" y="825"/>
                  </a:lnTo>
                  <a:lnTo>
                    <a:pt x="1619" y="815"/>
                  </a:lnTo>
                  <a:lnTo>
                    <a:pt x="1616" y="810"/>
                  </a:lnTo>
                  <a:lnTo>
                    <a:pt x="1611" y="806"/>
                  </a:lnTo>
                  <a:lnTo>
                    <a:pt x="1620" y="801"/>
                  </a:lnTo>
                  <a:lnTo>
                    <a:pt x="1619" y="794"/>
                  </a:lnTo>
                  <a:lnTo>
                    <a:pt x="1611" y="790"/>
                  </a:lnTo>
                  <a:lnTo>
                    <a:pt x="1617" y="782"/>
                  </a:lnTo>
                  <a:lnTo>
                    <a:pt x="1622" y="772"/>
                  </a:lnTo>
                  <a:lnTo>
                    <a:pt x="1622" y="763"/>
                  </a:lnTo>
                  <a:lnTo>
                    <a:pt x="1632" y="744"/>
                  </a:lnTo>
                  <a:lnTo>
                    <a:pt x="1641" y="736"/>
                  </a:lnTo>
                  <a:lnTo>
                    <a:pt x="1653" y="723"/>
                  </a:lnTo>
                  <a:lnTo>
                    <a:pt x="1656" y="714"/>
                  </a:lnTo>
                  <a:lnTo>
                    <a:pt x="1657" y="703"/>
                  </a:lnTo>
                  <a:lnTo>
                    <a:pt x="1654" y="692"/>
                  </a:lnTo>
                  <a:lnTo>
                    <a:pt x="1648" y="683"/>
                  </a:lnTo>
                  <a:lnTo>
                    <a:pt x="1617" y="680"/>
                  </a:lnTo>
                  <a:lnTo>
                    <a:pt x="1605" y="691"/>
                  </a:lnTo>
                  <a:lnTo>
                    <a:pt x="1605" y="678"/>
                  </a:lnTo>
                  <a:lnTo>
                    <a:pt x="1588" y="675"/>
                  </a:lnTo>
                  <a:lnTo>
                    <a:pt x="1576" y="676"/>
                  </a:lnTo>
                  <a:lnTo>
                    <a:pt x="1555" y="682"/>
                  </a:lnTo>
                  <a:lnTo>
                    <a:pt x="1544" y="690"/>
                  </a:lnTo>
                  <a:lnTo>
                    <a:pt x="1519" y="691"/>
                  </a:lnTo>
                  <a:lnTo>
                    <a:pt x="1504" y="691"/>
                  </a:lnTo>
                  <a:lnTo>
                    <a:pt x="1495" y="692"/>
                  </a:lnTo>
                  <a:lnTo>
                    <a:pt x="1484" y="697"/>
                  </a:lnTo>
                  <a:lnTo>
                    <a:pt x="1474" y="699"/>
                  </a:lnTo>
                  <a:lnTo>
                    <a:pt x="1464" y="708"/>
                  </a:lnTo>
                  <a:lnTo>
                    <a:pt x="1459" y="720"/>
                  </a:lnTo>
                  <a:lnTo>
                    <a:pt x="1457" y="750"/>
                  </a:lnTo>
                  <a:lnTo>
                    <a:pt x="1453" y="767"/>
                  </a:lnTo>
                  <a:lnTo>
                    <a:pt x="1449" y="779"/>
                  </a:lnTo>
                  <a:lnTo>
                    <a:pt x="1443" y="788"/>
                  </a:lnTo>
                  <a:lnTo>
                    <a:pt x="1441" y="801"/>
                  </a:lnTo>
                  <a:lnTo>
                    <a:pt x="1436" y="812"/>
                  </a:lnTo>
                  <a:lnTo>
                    <a:pt x="1426" y="823"/>
                  </a:lnTo>
                  <a:lnTo>
                    <a:pt x="1411" y="830"/>
                  </a:lnTo>
                  <a:lnTo>
                    <a:pt x="1414" y="849"/>
                  </a:lnTo>
                  <a:lnTo>
                    <a:pt x="1395" y="859"/>
                  </a:lnTo>
                  <a:lnTo>
                    <a:pt x="1387" y="860"/>
                  </a:lnTo>
                  <a:lnTo>
                    <a:pt x="1380" y="859"/>
                  </a:lnTo>
                  <a:lnTo>
                    <a:pt x="1377" y="854"/>
                  </a:lnTo>
                  <a:lnTo>
                    <a:pt x="1377" y="848"/>
                  </a:lnTo>
                  <a:lnTo>
                    <a:pt x="1368" y="846"/>
                  </a:lnTo>
                  <a:lnTo>
                    <a:pt x="1351" y="846"/>
                  </a:lnTo>
                  <a:lnTo>
                    <a:pt x="1345" y="848"/>
                  </a:lnTo>
                  <a:lnTo>
                    <a:pt x="1335" y="850"/>
                  </a:lnTo>
                  <a:lnTo>
                    <a:pt x="1321" y="858"/>
                  </a:lnTo>
                  <a:lnTo>
                    <a:pt x="1312" y="860"/>
                  </a:lnTo>
                  <a:lnTo>
                    <a:pt x="1303" y="859"/>
                  </a:lnTo>
                  <a:lnTo>
                    <a:pt x="1275" y="864"/>
                  </a:lnTo>
                  <a:lnTo>
                    <a:pt x="1251" y="876"/>
                  </a:lnTo>
                  <a:lnTo>
                    <a:pt x="1238" y="876"/>
                  </a:lnTo>
                  <a:lnTo>
                    <a:pt x="1226" y="868"/>
                  </a:lnTo>
                  <a:lnTo>
                    <a:pt x="1215" y="853"/>
                  </a:lnTo>
                  <a:lnTo>
                    <a:pt x="1210" y="849"/>
                  </a:lnTo>
                  <a:lnTo>
                    <a:pt x="1210" y="852"/>
                  </a:lnTo>
                  <a:lnTo>
                    <a:pt x="1195" y="850"/>
                  </a:lnTo>
                  <a:lnTo>
                    <a:pt x="1183" y="846"/>
                  </a:lnTo>
                  <a:lnTo>
                    <a:pt x="1175" y="843"/>
                  </a:lnTo>
                  <a:lnTo>
                    <a:pt x="1169" y="839"/>
                  </a:lnTo>
                  <a:lnTo>
                    <a:pt x="1164" y="832"/>
                  </a:lnTo>
                  <a:lnTo>
                    <a:pt x="1160" y="830"/>
                  </a:lnTo>
                  <a:lnTo>
                    <a:pt x="1154" y="822"/>
                  </a:lnTo>
                  <a:lnTo>
                    <a:pt x="1152" y="820"/>
                  </a:lnTo>
                  <a:lnTo>
                    <a:pt x="1149" y="820"/>
                  </a:lnTo>
                  <a:lnTo>
                    <a:pt x="1148" y="818"/>
                  </a:lnTo>
                  <a:lnTo>
                    <a:pt x="1146" y="809"/>
                  </a:lnTo>
                  <a:lnTo>
                    <a:pt x="1130" y="773"/>
                  </a:lnTo>
                  <a:lnTo>
                    <a:pt x="1126" y="766"/>
                  </a:lnTo>
                  <a:lnTo>
                    <a:pt x="1120" y="761"/>
                  </a:lnTo>
                  <a:lnTo>
                    <a:pt x="1108" y="747"/>
                  </a:lnTo>
                  <a:lnTo>
                    <a:pt x="1103" y="741"/>
                  </a:lnTo>
                  <a:lnTo>
                    <a:pt x="1088" y="717"/>
                  </a:lnTo>
                  <a:lnTo>
                    <a:pt x="1084" y="705"/>
                  </a:lnTo>
                  <a:lnTo>
                    <a:pt x="1086" y="703"/>
                  </a:lnTo>
                  <a:lnTo>
                    <a:pt x="1090" y="696"/>
                  </a:lnTo>
                  <a:lnTo>
                    <a:pt x="1090" y="690"/>
                  </a:lnTo>
                  <a:lnTo>
                    <a:pt x="1089" y="686"/>
                  </a:lnTo>
                  <a:lnTo>
                    <a:pt x="1071" y="664"/>
                  </a:lnTo>
                  <a:lnTo>
                    <a:pt x="1063" y="645"/>
                  </a:lnTo>
                  <a:lnTo>
                    <a:pt x="1063" y="634"/>
                  </a:lnTo>
                  <a:lnTo>
                    <a:pt x="1068" y="611"/>
                  </a:lnTo>
                  <a:lnTo>
                    <a:pt x="1067" y="574"/>
                  </a:lnTo>
                  <a:lnTo>
                    <a:pt x="1067" y="562"/>
                  </a:lnTo>
                  <a:lnTo>
                    <a:pt x="1065" y="552"/>
                  </a:lnTo>
                  <a:lnTo>
                    <a:pt x="1061" y="547"/>
                  </a:lnTo>
                  <a:lnTo>
                    <a:pt x="1060" y="529"/>
                  </a:lnTo>
                  <a:lnTo>
                    <a:pt x="1060" y="505"/>
                  </a:lnTo>
                  <a:lnTo>
                    <a:pt x="1057" y="502"/>
                  </a:lnTo>
                  <a:lnTo>
                    <a:pt x="1057" y="498"/>
                  </a:lnTo>
                  <a:lnTo>
                    <a:pt x="1062" y="484"/>
                  </a:lnTo>
                  <a:lnTo>
                    <a:pt x="1068" y="479"/>
                  </a:lnTo>
                  <a:lnTo>
                    <a:pt x="1071" y="467"/>
                  </a:lnTo>
                  <a:lnTo>
                    <a:pt x="1071" y="459"/>
                  </a:lnTo>
                  <a:lnTo>
                    <a:pt x="1073" y="455"/>
                  </a:lnTo>
                  <a:lnTo>
                    <a:pt x="1086" y="459"/>
                  </a:lnTo>
                  <a:lnTo>
                    <a:pt x="1089" y="457"/>
                  </a:lnTo>
                  <a:lnTo>
                    <a:pt x="1095" y="450"/>
                  </a:lnTo>
                  <a:lnTo>
                    <a:pt x="1098" y="444"/>
                  </a:lnTo>
                  <a:lnTo>
                    <a:pt x="1099" y="434"/>
                  </a:lnTo>
                  <a:lnTo>
                    <a:pt x="1098" y="433"/>
                  </a:lnTo>
                  <a:lnTo>
                    <a:pt x="1095" y="439"/>
                  </a:lnTo>
                  <a:lnTo>
                    <a:pt x="1093" y="443"/>
                  </a:lnTo>
                  <a:lnTo>
                    <a:pt x="1090" y="444"/>
                  </a:lnTo>
                  <a:lnTo>
                    <a:pt x="1089" y="444"/>
                  </a:lnTo>
                  <a:lnTo>
                    <a:pt x="1090" y="438"/>
                  </a:lnTo>
                  <a:lnTo>
                    <a:pt x="1095" y="425"/>
                  </a:lnTo>
                  <a:lnTo>
                    <a:pt x="1078" y="424"/>
                  </a:lnTo>
                  <a:lnTo>
                    <a:pt x="1060" y="416"/>
                  </a:lnTo>
                  <a:lnTo>
                    <a:pt x="1033" y="413"/>
                  </a:lnTo>
                  <a:lnTo>
                    <a:pt x="1018" y="405"/>
                  </a:lnTo>
                  <a:lnTo>
                    <a:pt x="1004" y="403"/>
                  </a:lnTo>
                  <a:lnTo>
                    <a:pt x="987" y="392"/>
                  </a:lnTo>
                  <a:lnTo>
                    <a:pt x="970" y="366"/>
                  </a:lnTo>
                  <a:lnTo>
                    <a:pt x="955" y="319"/>
                  </a:lnTo>
                  <a:lnTo>
                    <a:pt x="938" y="308"/>
                  </a:lnTo>
                  <a:lnTo>
                    <a:pt x="930" y="288"/>
                  </a:lnTo>
                  <a:lnTo>
                    <a:pt x="914" y="271"/>
                  </a:lnTo>
                  <a:lnTo>
                    <a:pt x="894" y="225"/>
                  </a:lnTo>
                  <a:lnTo>
                    <a:pt x="883" y="217"/>
                  </a:lnTo>
                  <a:lnTo>
                    <a:pt x="877" y="207"/>
                  </a:lnTo>
                  <a:lnTo>
                    <a:pt x="860" y="191"/>
                  </a:lnTo>
                  <a:lnTo>
                    <a:pt x="852" y="181"/>
                  </a:lnTo>
                  <a:lnTo>
                    <a:pt x="807" y="183"/>
                  </a:lnTo>
                  <a:lnTo>
                    <a:pt x="796" y="180"/>
                  </a:lnTo>
                  <a:lnTo>
                    <a:pt x="785" y="185"/>
                  </a:lnTo>
                  <a:lnTo>
                    <a:pt x="782" y="188"/>
                  </a:lnTo>
                  <a:lnTo>
                    <a:pt x="759" y="235"/>
                  </a:lnTo>
                  <a:lnTo>
                    <a:pt x="735" y="230"/>
                  </a:lnTo>
                  <a:lnTo>
                    <a:pt x="711" y="214"/>
                  </a:lnTo>
                  <a:lnTo>
                    <a:pt x="692" y="198"/>
                  </a:lnTo>
                  <a:lnTo>
                    <a:pt x="678" y="180"/>
                  </a:lnTo>
                  <a:lnTo>
                    <a:pt x="664" y="129"/>
                  </a:lnTo>
                  <a:lnTo>
                    <a:pt x="635" y="110"/>
                  </a:lnTo>
                  <a:lnTo>
                    <a:pt x="615" y="93"/>
                  </a:lnTo>
                  <a:lnTo>
                    <a:pt x="606" y="80"/>
                  </a:lnTo>
                  <a:lnTo>
                    <a:pt x="594" y="74"/>
                  </a:lnTo>
                  <a:lnTo>
                    <a:pt x="587" y="62"/>
                  </a:lnTo>
                  <a:lnTo>
                    <a:pt x="582" y="59"/>
                  </a:lnTo>
                  <a:lnTo>
                    <a:pt x="572" y="53"/>
                  </a:lnTo>
                  <a:lnTo>
                    <a:pt x="482" y="54"/>
                  </a:lnTo>
                  <a:lnTo>
                    <a:pt x="481" y="84"/>
                  </a:lnTo>
                  <a:lnTo>
                    <a:pt x="437" y="84"/>
                  </a:lnTo>
                  <a:lnTo>
                    <a:pt x="334" y="84"/>
                  </a:lnTo>
                  <a:lnTo>
                    <a:pt x="125" y="7"/>
                  </a:lnTo>
                  <a:lnTo>
                    <a:pt x="124" y="0"/>
                  </a:lnTo>
                  <a:lnTo>
                    <a:pt x="0" y="10"/>
                  </a:lnTo>
                  <a:lnTo>
                    <a:pt x="7" y="18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9" y="57"/>
                  </a:lnTo>
                  <a:lnTo>
                    <a:pt x="30" y="73"/>
                  </a:lnTo>
                  <a:lnTo>
                    <a:pt x="48" y="99"/>
                  </a:lnTo>
                  <a:lnTo>
                    <a:pt x="50" y="106"/>
                  </a:lnTo>
                  <a:lnTo>
                    <a:pt x="50" y="111"/>
                  </a:lnTo>
                  <a:lnTo>
                    <a:pt x="52" y="112"/>
                  </a:lnTo>
                  <a:lnTo>
                    <a:pt x="54" y="117"/>
                  </a:lnTo>
                  <a:lnTo>
                    <a:pt x="57" y="120"/>
                  </a:lnTo>
                  <a:lnTo>
                    <a:pt x="65" y="137"/>
                  </a:lnTo>
                  <a:lnTo>
                    <a:pt x="65" y="147"/>
                  </a:lnTo>
                  <a:lnTo>
                    <a:pt x="66" y="149"/>
                  </a:lnTo>
                  <a:lnTo>
                    <a:pt x="70" y="145"/>
                  </a:lnTo>
                  <a:lnTo>
                    <a:pt x="72" y="147"/>
                  </a:lnTo>
                  <a:lnTo>
                    <a:pt x="75" y="155"/>
                  </a:lnTo>
                  <a:lnTo>
                    <a:pt x="78" y="176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94" y="195"/>
                  </a:lnTo>
                  <a:lnTo>
                    <a:pt x="98" y="197"/>
                  </a:lnTo>
                  <a:lnTo>
                    <a:pt x="104" y="198"/>
                  </a:lnTo>
                  <a:lnTo>
                    <a:pt x="111" y="208"/>
                  </a:lnTo>
                  <a:lnTo>
                    <a:pt x="121" y="209"/>
                  </a:lnTo>
                  <a:lnTo>
                    <a:pt x="126" y="217"/>
                  </a:lnTo>
                  <a:lnTo>
                    <a:pt x="132" y="228"/>
                  </a:lnTo>
                  <a:lnTo>
                    <a:pt x="136" y="230"/>
                  </a:lnTo>
                  <a:lnTo>
                    <a:pt x="147" y="241"/>
                  </a:lnTo>
                  <a:lnTo>
                    <a:pt x="151" y="244"/>
                  </a:lnTo>
                  <a:lnTo>
                    <a:pt x="170" y="268"/>
                  </a:lnTo>
                  <a:lnTo>
                    <a:pt x="172" y="276"/>
                  </a:lnTo>
                  <a:lnTo>
                    <a:pt x="172" y="284"/>
                  </a:lnTo>
                  <a:lnTo>
                    <a:pt x="173" y="287"/>
                  </a:lnTo>
                  <a:lnTo>
                    <a:pt x="172" y="290"/>
                  </a:lnTo>
                  <a:lnTo>
                    <a:pt x="173" y="295"/>
                  </a:lnTo>
                  <a:lnTo>
                    <a:pt x="168" y="296"/>
                  </a:lnTo>
                  <a:lnTo>
                    <a:pt x="164" y="300"/>
                  </a:lnTo>
                  <a:lnTo>
                    <a:pt x="164" y="305"/>
                  </a:lnTo>
                  <a:lnTo>
                    <a:pt x="167" y="306"/>
                  </a:lnTo>
                  <a:lnTo>
                    <a:pt x="165" y="311"/>
                  </a:lnTo>
                  <a:lnTo>
                    <a:pt x="159" y="306"/>
                  </a:lnTo>
                  <a:lnTo>
                    <a:pt x="142" y="311"/>
                  </a:lnTo>
                  <a:lnTo>
                    <a:pt x="120" y="309"/>
                  </a:lnTo>
                  <a:lnTo>
                    <a:pt x="120" y="317"/>
                  </a:lnTo>
                  <a:lnTo>
                    <a:pt x="122" y="319"/>
                  </a:lnTo>
                  <a:lnTo>
                    <a:pt x="126" y="315"/>
                  </a:lnTo>
                  <a:lnTo>
                    <a:pt x="137" y="326"/>
                  </a:lnTo>
                  <a:lnTo>
                    <a:pt x="147" y="330"/>
                  </a:lnTo>
                  <a:lnTo>
                    <a:pt x="149" y="333"/>
                  </a:lnTo>
                  <a:lnTo>
                    <a:pt x="152" y="344"/>
                  </a:lnTo>
                  <a:lnTo>
                    <a:pt x="156" y="347"/>
                  </a:lnTo>
                  <a:lnTo>
                    <a:pt x="165" y="348"/>
                  </a:lnTo>
                  <a:lnTo>
                    <a:pt x="170" y="351"/>
                  </a:lnTo>
                  <a:lnTo>
                    <a:pt x="173" y="357"/>
                  </a:lnTo>
                  <a:lnTo>
                    <a:pt x="179" y="358"/>
                  </a:lnTo>
                  <a:lnTo>
                    <a:pt x="188" y="363"/>
                  </a:lnTo>
                  <a:lnTo>
                    <a:pt x="192" y="369"/>
                  </a:lnTo>
                  <a:lnTo>
                    <a:pt x="199" y="373"/>
                  </a:lnTo>
                  <a:lnTo>
                    <a:pt x="212" y="375"/>
                  </a:lnTo>
                  <a:lnTo>
                    <a:pt x="222" y="363"/>
                  </a:lnTo>
                  <a:lnTo>
                    <a:pt x="224" y="368"/>
                  </a:lnTo>
                  <a:lnTo>
                    <a:pt x="223" y="375"/>
                  </a:lnTo>
                  <a:lnTo>
                    <a:pt x="227" y="380"/>
                  </a:lnTo>
                  <a:lnTo>
                    <a:pt x="239" y="397"/>
                  </a:lnTo>
                  <a:lnTo>
                    <a:pt x="251" y="405"/>
                  </a:lnTo>
                  <a:lnTo>
                    <a:pt x="258" y="408"/>
                  </a:lnTo>
                  <a:lnTo>
                    <a:pt x="264" y="408"/>
                  </a:lnTo>
                  <a:lnTo>
                    <a:pt x="267" y="414"/>
                  </a:lnTo>
                  <a:lnTo>
                    <a:pt x="277" y="436"/>
                  </a:lnTo>
                  <a:lnTo>
                    <a:pt x="278" y="444"/>
                  </a:lnTo>
                  <a:lnTo>
                    <a:pt x="280" y="466"/>
                  </a:lnTo>
                  <a:lnTo>
                    <a:pt x="276" y="483"/>
                  </a:lnTo>
                  <a:lnTo>
                    <a:pt x="272" y="491"/>
                  </a:lnTo>
                  <a:lnTo>
                    <a:pt x="272" y="497"/>
                  </a:lnTo>
                  <a:lnTo>
                    <a:pt x="275" y="492"/>
                  </a:lnTo>
                  <a:lnTo>
                    <a:pt x="277" y="491"/>
                  </a:lnTo>
                  <a:lnTo>
                    <a:pt x="280" y="495"/>
                  </a:lnTo>
                  <a:lnTo>
                    <a:pt x="286" y="494"/>
                  </a:lnTo>
                  <a:lnTo>
                    <a:pt x="291" y="498"/>
                  </a:lnTo>
                  <a:lnTo>
                    <a:pt x="292" y="504"/>
                  </a:lnTo>
                  <a:lnTo>
                    <a:pt x="294" y="508"/>
                  </a:lnTo>
                  <a:lnTo>
                    <a:pt x="305" y="509"/>
                  </a:lnTo>
                  <a:lnTo>
                    <a:pt x="305" y="514"/>
                  </a:lnTo>
                  <a:lnTo>
                    <a:pt x="315" y="524"/>
                  </a:lnTo>
                  <a:lnTo>
                    <a:pt x="334" y="534"/>
                  </a:lnTo>
                  <a:lnTo>
                    <a:pt x="340" y="541"/>
                  </a:lnTo>
                  <a:lnTo>
                    <a:pt x="361" y="559"/>
                  </a:lnTo>
                  <a:lnTo>
                    <a:pt x="368" y="562"/>
                  </a:lnTo>
                  <a:lnTo>
                    <a:pt x="379" y="575"/>
                  </a:lnTo>
                  <a:lnTo>
                    <a:pt x="388" y="600"/>
                  </a:lnTo>
                  <a:lnTo>
                    <a:pt x="394" y="606"/>
                  </a:lnTo>
                  <a:lnTo>
                    <a:pt x="399" y="607"/>
                  </a:lnTo>
                  <a:lnTo>
                    <a:pt x="404" y="601"/>
                  </a:lnTo>
                  <a:lnTo>
                    <a:pt x="412" y="597"/>
                  </a:lnTo>
                  <a:lnTo>
                    <a:pt x="419" y="590"/>
                  </a:lnTo>
                  <a:lnTo>
                    <a:pt x="422" y="584"/>
                  </a:lnTo>
                  <a:lnTo>
                    <a:pt x="423" y="575"/>
                  </a:lnTo>
                  <a:lnTo>
                    <a:pt x="421" y="569"/>
                  </a:lnTo>
                  <a:lnTo>
                    <a:pt x="415" y="563"/>
                  </a:lnTo>
                  <a:lnTo>
                    <a:pt x="412" y="557"/>
                  </a:lnTo>
                  <a:lnTo>
                    <a:pt x="404" y="546"/>
                  </a:lnTo>
                  <a:lnTo>
                    <a:pt x="404" y="541"/>
                  </a:lnTo>
                  <a:lnTo>
                    <a:pt x="390" y="532"/>
                  </a:lnTo>
                  <a:lnTo>
                    <a:pt x="382" y="524"/>
                  </a:lnTo>
                  <a:lnTo>
                    <a:pt x="373" y="531"/>
                  </a:lnTo>
                  <a:lnTo>
                    <a:pt x="367" y="529"/>
                  </a:lnTo>
                  <a:lnTo>
                    <a:pt x="362" y="524"/>
                  </a:lnTo>
                  <a:lnTo>
                    <a:pt x="355" y="511"/>
                  </a:lnTo>
                  <a:lnTo>
                    <a:pt x="353" y="507"/>
                  </a:lnTo>
                  <a:lnTo>
                    <a:pt x="353" y="488"/>
                  </a:lnTo>
                  <a:lnTo>
                    <a:pt x="346" y="475"/>
                  </a:lnTo>
                  <a:lnTo>
                    <a:pt x="342" y="468"/>
                  </a:lnTo>
                  <a:lnTo>
                    <a:pt x="341" y="470"/>
                  </a:lnTo>
                  <a:lnTo>
                    <a:pt x="341" y="451"/>
                  </a:lnTo>
                  <a:lnTo>
                    <a:pt x="333" y="445"/>
                  </a:lnTo>
                  <a:lnTo>
                    <a:pt x="330" y="441"/>
                  </a:lnTo>
                  <a:lnTo>
                    <a:pt x="324" y="434"/>
                  </a:lnTo>
                  <a:lnTo>
                    <a:pt x="323" y="424"/>
                  </a:lnTo>
                  <a:lnTo>
                    <a:pt x="320" y="405"/>
                  </a:lnTo>
                  <a:lnTo>
                    <a:pt x="317" y="402"/>
                  </a:lnTo>
                  <a:lnTo>
                    <a:pt x="315" y="395"/>
                  </a:lnTo>
                  <a:lnTo>
                    <a:pt x="308" y="379"/>
                  </a:lnTo>
                  <a:lnTo>
                    <a:pt x="299" y="370"/>
                  </a:lnTo>
                  <a:lnTo>
                    <a:pt x="294" y="370"/>
                  </a:lnTo>
                  <a:lnTo>
                    <a:pt x="296" y="382"/>
                  </a:lnTo>
                  <a:lnTo>
                    <a:pt x="299" y="387"/>
                  </a:lnTo>
                  <a:lnTo>
                    <a:pt x="298" y="387"/>
                  </a:lnTo>
                  <a:lnTo>
                    <a:pt x="292" y="380"/>
                  </a:lnTo>
                  <a:lnTo>
                    <a:pt x="292" y="375"/>
                  </a:lnTo>
                  <a:lnTo>
                    <a:pt x="287" y="368"/>
                  </a:lnTo>
                  <a:lnTo>
                    <a:pt x="285" y="360"/>
                  </a:lnTo>
                  <a:lnTo>
                    <a:pt x="285" y="358"/>
                  </a:lnTo>
                  <a:lnTo>
                    <a:pt x="282" y="353"/>
                  </a:lnTo>
                  <a:lnTo>
                    <a:pt x="274" y="349"/>
                  </a:lnTo>
                  <a:lnTo>
                    <a:pt x="272" y="341"/>
                  </a:lnTo>
                  <a:lnTo>
                    <a:pt x="266" y="330"/>
                  </a:lnTo>
                  <a:lnTo>
                    <a:pt x="247" y="309"/>
                  </a:lnTo>
                  <a:lnTo>
                    <a:pt x="244" y="298"/>
                  </a:lnTo>
                  <a:lnTo>
                    <a:pt x="243" y="289"/>
                  </a:lnTo>
                  <a:lnTo>
                    <a:pt x="240" y="282"/>
                  </a:lnTo>
                  <a:lnTo>
                    <a:pt x="239" y="274"/>
                  </a:lnTo>
                  <a:lnTo>
                    <a:pt x="238" y="274"/>
                  </a:lnTo>
                  <a:lnTo>
                    <a:pt x="237" y="271"/>
                  </a:lnTo>
                  <a:lnTo>
                    <a:pt x="234" y="269"/>
                  </a:lnTo>
                  <a:lnTo>
                    <a:pt x="231" y="271"/>
                  </a:lnTo>
                  <a:lnTo>
                    <a:pt x="229" y="269"/>
                  </a:lnTo>
                  <a:lnTo>
                    <a:pt x="224" y="261"/>
                  </a:lnTo>
                  <a:lnTo>
                    <a:pt x="219" y="246"/>
                  </a:lnTo>
                  <a:lnTo>
                    <a:pt x="217" y="247"/>
                  </a:lnTo>
                  <a:lnTo>
                    <a:pt x="215" y="246"/>
                  </a:lnTo>
                  <a:lnTo>
                    <a:pt x="208" y="241"/>
                  </a:lnTo>
                  <a:lnTo>
                    <a:pt x="204" y="242"/>
                  </a:lnTo>
                  <a:lnTo>
                    <a:pt x="197" y="229"/>
                  </a:lnTo>
                  <a:lnTo>
                    <a:pt x="195" y="218"/>
                  </a:lnTo>
                  <a:lnTo>
                    <a:pt x="175" y="202"/>
                  </a:lnTo>
                  <a:lnTo>
                    <a:pt x="170" y="197"/>
                  </a:lnTo>
                  <a:lnTo>
                    <a:pt x="168" y="192"/>
                  </a:lnTo>
                  <a:lnTo>
                    <a:pt x="164" y="190"/>
                  </a:lnTo>
                  <a:lnTo>
                    <a:pt x="157" y="188"/>
                  </a:lnTo>
                  <a:lnTo>
                    <a:pt x="156" y="183"/>
                  </a:lnTo>
                  <a:lnTo>
                    <a:pt x="152" y="176"/>
                  </a:lnTo>
                  <a:lnTo>
                    <a:pt x="148" y="169"/>
                  </a:lnTo>
                  <a:lnTo>
                    <a:pt x="143" y="164"/>
                  </a:lnTo>
                  <a:lnTo>
                    <a:pt x="140" y="143"/>
                  </a:lnTo>
                  <a:lnTo>
                    <a:pt x="138" y="125"/>
                  </a:lnTo>
                  <a:lnTo>
                    <a:pt x="137" y="115"/>
                  </a:lnTo>
                  <a:lnTo>
                    <a:pt x="132" y="107"/>
                  </a:lnTo>
                  <a:lnTo>
                    <a:pt x="130" y="100"/>
                  </a:lnTo>
                  <a:lnTo>
                    <a:pt x="127" y="82"/>
                  </a:lnTo>
                  <a:lnTo>
                    <a:pt x="127" y="72"/>
                  </a:lnTo>
                  <a:lnTo>
                    <a:pt x="129" y="64"/>
                  </a:lnTo>
                  <a:lnTo>
                    <a:pt x="127" y="56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39" name="Group 270"/>
            <p:cNvGrpSpPr>
              <a:grpSpLocks noChangeAspect="1"/>
            </p:cNvGrpSpPr>
            <p:nvPr/>
          </p:nvGrpSpPr>
          <p:grpSpPr bwMode="gray">
            <a:xfrm>
              <a:off x="821441" y="2710166"/>
              <a:ext cx="1468664" cy="1119989"/>
              <a:chOff x="672" y="1356"/>
              <a:chExt cx="1112" cy="848"/>
            </a:xfrm>
            <a:solidFill>
              <a:srgbClr val="C9C7C3"/>
            </a:solidFill>
          </p:grpSpPr>
          <p:grpSp>
            <p:nvGrpSpPr>
              <p:cNvPr id="212" name="Group 271"/>
              <p:cNvGrpSpPr>
                <a:grpSpLocks noChangeAspect="1"/>
              </p:cNvGrpSpPr>
              <p:nvPr/>
            </p:nvGrpSpPr>
            <p:grpSpPr bwMode="gray">
              <a:xfrm>
                <a:off x="672" y="1356"/>
                <a:ext cx="418" cy="413"/>
                <a:chOff x="672" y="1356"/>
                <a:chExt cx="418" cy="413"/>
              </a:xfrm>
              <a:grpFill/>
            </p:grpSpPr>
            <p:sp>
              <p:nvSpPr>
                <p:cNvPr id="219" name="Freeform 272"/>
                <p:cNvSpPr>
                  <a:spLocks noChangeAspect="1"/>
                </p:cNvSpPr>
                <p:nvPr/>
              </p:nvSpPr>
              <p:spPr bwMode="gray">
                <a:xfrm>
                  <a:off x="776" y="1738"/>
                  <a:ext cx="3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5"/>
                    </a:cxn>
                    <a:cxn ang="0">
                      <a:pos x="1" y="3"/>
                    </a:cxn>
                    <a:cxn ang="0">
                      <a:pos x="7" y="3"/>
                    </a:cxn>
                    <a:cxn ang="0">
                      <a:pos x="12" y="6"/>
                    </a:cxn>
                    <a:cxn ang="0">
                      <a:pos x="9" y="10"/>
                    </a:cxn>
                    <a:cxn ang="0">
                      <a:pos x="11" y="13"/>
                    </a:cxn>
                    <a:cxn ang="0">
                      <a:pos x="5" y="33"/>
                    </a:cxn>
                    <a:cxn ang="0">
                      <a:pos x="4" y="29"/>
                    </a:cxn>
                    <a:cxn ang="0">
                      <a:pos x="4" y="9"/>
                    </a:cxn>
                    <a:cxn ang="0">
                      <a:pos x="3" y="6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2" h="33">
                      <a:moveTo>
                        <a:pt x="3" y="0"/>
                      </a:move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7" y="3"/>
                      </a:lnTo>
                      <a:lnTo>
                        <a:pt x="12" y="6"/>
                      </a:lnTo>
                      <a:lnTo>
                        <a:pt x="9" y="10"/>
                      </a:lnTo>
                      <a:lnTo>
                        <a:pt x="11" y="13"/>
                      </a:lnTo>
                      <a:lnTo>
                        <a:pt x="5" y="33"/>
                      </a:lnTo>
                      <a:lnTo>
                        <a:pt x="4" y="29"/>
                      </a:lnTo>
                      <a:lnTo>
                        <a:pt x="4" y="9"/>
                      </a:lnTo>
                      <a:lnTo>
                        <a:pt x="3" y="6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20" name="Freeform 273"/>
                <p:cNvSpPr>
                  <a:spLocks noChangeAspect="1"/>
                </p:cNvSpPr>
                <p:nvPr/>
              </p:nvSpPr>
              <p:spPr bwMode="gray">
                <a:xfrm>
                  <a:off x="833" y="1721"/>
                  <a:ext cx="6" cy="4"/>
                </a:xfrm>
                <a:custGeom>
                  <a:avLst/>
                  <a:gdLst/>
                  <a:ahLst/>
                  <a:cxnLst>
                    <a:cxn ang="0">
                      <a:pos x="13" y="9"/>
                    </a:cxn>
                    <a:cxn ang="0">
                      <a:pos x="5" y="18"/>
                    </a:cxn>
                    <a:cxn ang="0">
                      <a:pos x="0" y="9"/>
                    </a:cxn>
                    <a:cxn ang="0">
                      <a:pos x="5" y="2"/>
                    </a:cxn>
                    <a:cxn ang="0">
                      <a:pos x="10" y="0"/>
                    </a:cxn>
                    <a:cxn ang="0">
                      <a:pos x="13" y="1"/>
                    </a:cxn>
                    <a:cxn ang="0">
                      <a:pos x="26" y="1"/>
                    </a:cxn>
                    <a:cxn ang="0">
                      <a:pos x="27" y="3"/>
                    </a:cxn>
                    <a:cxn ang="0">
                      <a:pos x="13" y="9"/>
                    </a:cxn>
                  </a:cxnLst>
                  <a:rect l="0" t="0" r="r" b="b"/>
                  <a:pathLst>
                    <a:path w="27" h="18">
                      <a:moveTo>
                        <a:pt x="13" y="9"/>
                      </a:moveTo>
                      <a:lnTo>
                        <a:pt x="5" y="18"/>
                      </a:lnTo>
                      <a:lnTo>
                        <a:pt x="0" y="9"/>
                      </a:ln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13" y="1"/>
                      </a:lnTo>
                      <a:lnTo>
                        <a:pt x="26" y="1"/>
                      </a:lnTo>
                      <a:lnTo>
                        <a:pt x="27" y="3"/>
                      </a:lnTo>
                      <a:lnTo>
                        <a:pt x="13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21" name="Freeform 274"/>
                <p:cNvSpPr>
                  <a:spLocks noChangeAspect="1"/>
                </p:cNvSpPr>
                <p:nvPr/>
              </p:nvSpPr>
              <p:spPr bwMode="gray">
                <a:xfrm>
                  <a:off x="817" y="1706"/>
                  <a:ext cx="29" cy="24"/>
                </a:xfrm>
                <a:custGeom>
                  <a:avLst/>
                  <a:gdLst/>
                  <a:ahLst/>
                  <a:cxnLst>
                    <a:cxn ang="0">
                      <a:pos x="0" y="60"/>
                    </a:cxn>
                    <a:cxn ang="0">
                      <a:pos x="9" y="56"/>
                    </a:cxn>
                    <a:cxn ang="0">
                      <a:pos x="21" y="33"/>
                    </a:cxn>
                    <a:cxn ang="0">
                      <a:pos x="28" y="30"/>
                    </a:cxn>
                    <a:cxn ang="0">
                      <a:pos x="45" y="29"/>
                    </a:cxn>
                    <a:cxn ang="0">
                      <a:pos x="44" y="39"/>
                    </a:cxn>
                    <a:cxn ang="0">
                      <a:pos x="48" y="51"/>
                    </a:cxn>
                    <a:cxn ang="0">
                      <a:pos x="58" y="43"/>
                    </a:cxn>
                    <a:cxn ang="0">
                      <a:pos x="58" y="34"/>
                    </a:cxn>
                    <a:cxn ang="0">
                      <a:pos x="50" y="16"/>
                    </a:cxn>
                    <a:cxn ang="0">
                      <a:pos x="53" y="6"/>
                    </a:cxn>
                    <a:cxn ang="0">
                      <a:pos x="66" y="14"/>
                    </a:cxn>
                    <a:cxn ang="0">
                      <a:pos x="70" y="25"/>
                    </a:cxn>
                    <a:cxn ang="0">
                      <a:pos x="80" y="12"/>
                    </a:cxn>
                    <a:cxn ang="0">
                      <a:pos x="93" y="9"/>
                    </a:cxn>
                    <a:cxn ang="0">
                      <a:pos x="90" y="0"/>
                    </a:cxn>
                    <a:cxn ang="0">
                      <a:pos x="100" y="1"/>
                    </a:cxn>
                    <a:cxn ang="0">
                      <a:pos x="104" y="14"/>
                    </a:cxn>
                    <a:cxn ang="0">
                      <a:pos x="117" y="4"/>
                    </a:cxn>
                    <a:cxn ang="0">
                      <a:pos x="128" y="7"/>
                    </a:cxn>
                    <a:cxn ang="0">
                      <a:pos x="125" y="23"/>
                    </a:cxn>
                    <a:cxn ang="0">
                      <a:pos x="127" y="29"/>
                    </a:cxn>
                    <a:cxn ang="0">
                      <a:pos x="145" y="34"/>
                    </a:cxn>
                    <a:cxn ang="0">
                      <a:pos x="129" y="49"/>
                    </a:cxn>
                    <a:cxn ang="0">
                      <a:pos x="104" y="40"/>
                    </a:cxn>
                    <a:cxn ang="0">
                      <a:pos x="118" y="52"/>
                    </a:cxn>
                    <a:cxn ang="0">
                      <a:pos x="122" y="65"/>
                    </a:cxn>
                    <a:cxn ang="0">
                      <a:pos x="112" y="56"/>
                    </a:cxn>
                    <a:cxn ang="0">
                      <a:pos x="103" y="61"/>
                    </a:cxn>
                    <a:cxn ang="0">
                      <a:pos x="96" y="63"/>
                    </a:cxn>
                    <a:cxn ang="0">
                      <a:pos x="95" y="68"/>
                    </a:cxn>
                    <a:cxn ang="0">
                      <a:pos x="74" y="86"/>
                    </a:cxn>
                    <a:cxn ang="0">
                      <a:pos x="65" y="90"/>
                    </a:cxn>
                    <a:cxn ang="0">
                      <a:pos x="66" y="102"/>
                    </a:cxn>
                    <a:cxn ang="0">
                      <a:pos x="43" y="117"/>
                    </a:cxn>
                    <a:cxn ang="0">
                      <a:pos x="53" y="100"/>
                    </a:cxn>
                    <a:cxn ang="0">
                      <a:pos x="44" y="93"/>
                    </a:cxn>
                    <a:cxn ang="0">
                      <a:pos x="44" y="83"/>
                    </a:cxn>
                    <a:cxn ang="0">
                      <a:pos x="31" y="77"/>
                    </a:cxn>
                    <a:cxn ang="0">
                      <a:pos x="29" y="82"/>
                    </a:cxn>
                    <a:cxn ang="0">
                      <a:pos x="37" y="102"/>
                    </a:cxn>
                    <a:cxn ang="0">
                      <a:pos x="20" y="98"/>
                    </a:cxn>
                    <a:cxn ang="0">
                      <a:pos x="16" y="78"/>
                    </a:cxn>
                    <a:cxn ang="0">
                      <a:pos x="7" y="66"/>
                    </a:cxn>
                  </a:cxnLst>
                  <a:rect l="0" t="0" r="r" b="b"/>
                  <a:pathLst>
                    <a:path w="145" h="117">
                      <a:moveTo>
                        <a:pt x="4" y="59"/>
                      </a:move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9" y="56"/>
                      </a:lnTo>
                      <a:lnTo>
                        <a:pt x="9" y="47"/>
                      </a:lnTo>
                      <a:lnTo>
                        <a:pt x="21" y="33"/>
                      </a:lnTo>
                      <a:lnTo>
                        <a:pt x="25" y="34"/>
                      </a:lnTo>
                      <a:lnTo>
                        <a:pt x="28" y="30"/>
                      </a:lnTo>
                      <a:lnTo>
                        <a:pt x="39" y="29"/>
                      </a:lnTo>
                      <a:lnTo>
                        <a:pt x="45" y="29"/>
                      </a:lnTo>
                      <a:lnTo>
                        <a:pt x="39" y="38"/>
                      </a:lnTo>
                      <a:lnTo>
                        <a:pt x="44" y="39"/>
                      </a:lnTo>
                      <a:lnTo>
                        <a:pt x="47" y="44"/>
                      </a:lnTo>
                      <a:lnTo>
                        <a:pt x="48" y="51"/>
                      </a:lnTo>
                      <a:lnTo>
                        <a:pt x="57" y="54"/>
                      </a:lnTo>
                      <a:lnTo>
                        <a:pt x="58" y="43"/>
                      </a:lnTo>
                      <a:lnTo>
                        <a:pt x="60" y="39"/>
                      </a:lnTo>
                      <a:lnTo>
                        <a:pt x="58" y="34"/>
                      </a:lnTo>
                      <a:lnTo>
                        <a:pt x="63" y="32"/>
                      </a:lnTo>
                      <a:lnTo>
                        <a:pt x="50" y="16"/>
                      </a:lnTo>
                      <a:lnTo>
                        <a:pt x="49" y="9"/>
                      </a:lnTo>
                      <a:lnTo>
                        <a:pt x="53" y="6"/>
                      </a:lnTo>
                      <a:lnTo>
                        <a:pt x="61" y="4"/>
                      </a:lnTo>
                      <a:lnTo>
                        <a:pt x="66" y="14"/>
                      </a:lnTo>
                      <a:lnTo>
                        <a:pt x="68" y="24"/>
                      </a:lnTo>
                      <a:lnTo>
                        <a:pt x="70" y="25"/>
                      </a:lnTo>
                      <a:lnTo>
                        <a:pt x="75" y="16"/>
                      </a:lnTo>
                      <a:lnTo>
                        <a:pt x="80" y="12"/>
                      </a:lnTo>
                      <a:lnTo>
                        <a:pt x="90" y="14"/>
                      </a:lnTo>
                      <a:lnTo>
                        <a:pt x="93" y="9"/>
                      </a:lnTo>
                      <a:lnTo>
                        <a:pt x="95" y="6"/>
                      </a:lnTo>
                      <a:lnTo>
                        <a:pt x="90" y="0"/>
                      </a:lnTo>
                      <a:lnTo>
                        <a:pt x="96" y="2"/>
                      </a:lnTo>
                      <a:lnTo>
                        <a:pt x="100" y="1"/>
                      </a:lnTo>
                      <a:lnTo>
                        <a:pt x="104" y="2"/>
                      </a:lnTo>
                      <a:lnTo>
                        <a:pt x="104" y="14"/>
                      </a:lnTo>
                      <a:lnTo>
                        <a:pt x="108" y="18"/>
                      </a:lnTo>
                      <a:lnTo>
                        <a:pt x="117" y="4"/>
                      </a:lnTo>
                      <a:lnTo>
                        <a:pt x="125" y="2"/>
                      </a:lnTo>
                      <a:lnTo>
                        <a:pt x="128" y="7"/>
                      </a:lnTo>
                      <a:lnTo>
                        <a:pt x="127" y="20"/>
                      </a:lnTo>
                      <a:lnTo>
                        <a:pt x="125" y="23"/>
                      </a:lnTo>
                      <a:lnTo>
                        <a:pt x="125" y="29"/>
                      </a:lnTo>
                      <a:lnTo>
                        <a:pt x="127" y="29"/>
                      </a:lnTo>
                      <a:lnTo>
                        <a:pt x="128" y="34"/>
                      </a:lnTo>
                      <a:lnTo>
                        <a:pt x="145" y="34"/>
                      </a:lnTo>
                      <a:lnTo>
                        <a:pt x="138" y="49"/>
                      </a:lnTo>
                      <a:lnTo>
                        <a:pt x="129" y="49"/>
                      </a:lnTo>
                      <a:lnTo>
                        <a:pt x="111" y="39"/>
                      </a:lnTo>
                      <a:lnTo>
                        <a:pt x="104" y="40"/>
                      </a:lnTo>
                      <a:lnTo>
                        <a:pt x="102" y="49"/>
                      </a:lnTo>
                      <a:lnTo>
                        <a:pt x="118" y="52"/>
                      </a:lnTo>
                      <a:lnTo>
                        <a:pt x="122" y="56"/>
                      </a:lnTo>
                      <a:lnTo>
                        <a:pt x="122" y="65"/>
                      </a:lnTo>
                      <a:lnTo>
                        <a:pt x="112" y="63"/>
                      </a:lnTo>
                      <a:lnTo>
                        <a:pt x="112" y="56"/>
                      </a:lnTo>
                      <a:lnTo>
                        <a:pt x="108" y="56"/>
                      </a:lnTo>
                      <a:lnTo>
                        <a:pt x="103" y="61"/>
                      </a:lnTo>
                      <a:lnTo>
                        <a:pt x="93" y="63"/>
                      </a:lnTo>
                      <a:lnTo>
                        <a:pt x="96" y="63"/>
                      </a:lnTo>
                      <a:lnTo>
                        <a:pt x="100" y="68"/>
                      </a:lnTo>
                      <a:lnTo>
                        <a:pt x="95" y="68"/>
                      </a:lnTo>
                      <a:lnTo>
                        <a:pt x="84" y="72"/>
                      </a:lnTo>
                      <a:lnTo>
                        <a:pt x="74" y="86"/>
                      </a:lnTo>
                      <a:lnTo>
                        <a:pt x="66" y="87"/>
                      </a:lnTo>
                      <a:lnTo>
                        <a:pt x="65" y="90"/>
                      </a:lnTo>
                      <a:lnTo>
                        <a:pt x="66" y="94"/>
                      </a:lnTo>
                      <a:lnTo>
                        <a:pt x="66" y="102"/>
                      </a:lnTo>
                      <a:lnTo>
                        <a:pt x="63" y="109"/>
                      </a:lnTo>
                      <a:lnTo>
                        <a:pt x="43" y="117"/>
                      </a:lnTo>
                      <a:lnTo>
                        <a:pt x="47" y="108"/>
                      </a:lnTo>
                      <a:lnTo>
                        <a:pt x="53" y="100"/>
                      </a:lnTo>
                      <a:lnTo>
                        <a:pt x="53" y="95"/>
                      </a:lnTo>
                      <a:lnTo>
                        <a:pt x="44" y="93"/>
                      </a:lnTo>
                      <a:lnTo>
                        <a:pt x="43" y="87"/>
                      </a:lnTo>
                      <a:lnTo>
                        <a:pt x="44" y="83"/>
                      </a:lnTo>
                      <a:lnTo>
                        <a:pt x="39" y="79"/>
                      </a:lnTo>
                      <a:lnTo>
                        <a:pt x="31" y="77"/>
                      </a:lnTo>
                      <a:lnTo>
                        <a:pt x="27" y="79"/>
                      </a:lnTo>
                      <a:lnTo>
                        <a:pt x="29" y="82"/>
                      </a:lnTo>
                      <a:lnTo>
                        <a:pt x="36" y="83"/>
                      </a:lnTo>
                      <a:lnTo>
                        <a:pt x="37" y="102"/>
                      </a:lnTo>
                      <a:lnTo>
                        <a:pt x="29" y="106"/>
                      </a:lnTo>
                      <a:lnTo>
                        <a:pt x="20" y="98"/>
                      </a:lnTo>
                      <a:lnTo>
                        <a:pt x="17" y="88"/>
                      </a:lnTo>
                      <a:lnTo>
                        <a:pt x="16" y="78"/>
                      </a:lnTo>
                      <a:lnTo>
                        <a:pt x="14" y="68"/>
                      </a:lnTo>
                      <a:lnTo>
                        <a:pt x="7" y="66"/>
                      </a:lnTo>
                      <a:lnTo>
                        <a:pt x="4" y="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22" name="Freeform 275"/>
                <p:cNvSpPr>
                  <a:spLocks noChangeAspect="1"/>
                </p:cNvSpPr>
                <p:nvPr/>
              </p:nvSpPr>
              <p:spPr bwMode="gray">
                <a:xfrm>
                  <a:off x="672" y="1356"/>
                  <a:ext cx="328" cy="411"/>
                </a:xfrm>
                <a:custGeom>
                  <a:avLst/>
                  <a:gdLst/>
                  <a:ahLst/>
                  <a:cxnLst>
                    <a:cxn ang="0">
                      <a:pos x="1427" y="242"/>
                    </a:cxn>
                    <a:cxn ang="0">
                      <a:pos x="1252" y="223"/>
                    </a:cxn>
                    <a:cxn ang="0">
                      <a:pos x="977" y="152"/>
                    </a:cxn>
                    <a:cxn ang="0">
                      <a:pos x="845" y="94"/>
                    </a:cxn>
                    <a:cxn ang="0">
                      <a:pos x="709" y="40"/>
                    </a:cxn>
                    <a:cxn ang="0">
                      <a:pos x="672" y="64"/>
                    </a:cxn>
                    <a:cxn ang="0">
                      <a:pos x="602" y="33"/>
                    </a:cxn>
                    <a:cxn ang="0">
                      <a:pos x="466" y="88"/>
                    </a:cxn>
                    <a:cxn ang="0">
                      <a:pos x="440" y="158"/>
                    </a:cxn>
                    <a:cxn ang="0">
                      <a:pos x="353" y="233"/>
                    </a:cxn>
                    <a:cxn ang="0">
                      <a:pos x="270" y="323"/>
                    </a:cxn>
                    <a:cxn ang="0">
                      <a:pos x="102" y="459"/>
                    </a:cxn>
                    <a:cxn ang="0">
                      <a:pos x="233" y="608"/>
                    </a:cxn>
                    <a:cxn ang="0">
                      <a:pos x="319" y="670"/>
                    </a:cxn>
                    <a:cxn ang="0">
                      <a:pos x="436" y="717"/>
                    </a:cxn>
                    <a:cxn ang="0">
                      <a:pos x="392" y="748"/>
                    </a:cxn>
                    <a:cxn ang="0">
                      <a:pos x="393" y="780"/>
                    </a:cxn>
                    <a:cxn ang="0">
                      <a:pos x="289" y="796"/>
                    </a:cxn>
                    <a:cxn ang="0">
                      <a:pos x="160" y="749"/>
                    </a:cxn>
                    <a:cxn ang="0">
                      <a:pos x="36" y="829"/>
                    </a:cxn>
                    <a:cxn ang="0">
                      <a:pos x="70" y="906"/>
                    </a:cxn>
                    <a:cxn ang="0">
                      <a:pos x="270" y="1001"/>
                    </a:cxn>
                    <a:cxn ang="0">
                      <a:pos x="405" y="970"/>
                    </a:cxn>
                    <a:cxn ang="0">
                      <a:pos x="394" y="1115"/>
                    </a:cxn>
                    <a:cxn ang="0">
                      <a:pos x="256" y="1179"/>
                    </a:cxn>
                    <a:cxn ang="0">
                      <a:pos x="127" y="1305"/>
                    </a:cxn>
                    <a:cxn ang="0">
                      <a:pos x="155" y="1358"/>
                    </a:cxn>
                    <a:cxn ang="0">
                      <a:pos x="193" y="1420"/>
                    </a:cxn>
                    <a:cxn ang="0">
                      <a:pos x="222" y="1535"/>
                    </a:cxn>
                    <a:cxn ang="0">
                      <a:pos x="313" y="1517"/>
                    </a:cxn>
                    <a:cxn ang="0">
                      <a:pos x="349" y="1583"/>
                    </a:cxn>
                    <a:cxn ang="0">
                      <a:pos x="345" y="1683"/>
                    </a:cxn>
                    <a:cxn ang="0">
                      <a:pos x="461" y="1652"/>
                    </a:cxn>
                    <a:cxn ang="0">
                      <a:pos x="548" y="1679"/>
                    </a:cxn>
                    <a:cxn ang="0">
                      <a:pos x="549" y="1814"/>
                    </a:cxn>
                    <a:cxn ang="0">
                      <a:pos x="414" y="1939"/>
                    </a:cxn>
                    <a:cxn ang="0">
                      <a:pos x="326" y="1968"/>
                    </a:cxn>
                    <a:cxn ang="0">
                      <a:pos x="263" y="2054"/>
                    </a:cxn>
                    <a:cxn ang="0">
                      <a:pos x="334" y="2020"/>
                    </a:cxn>
                    <a:cxn ang="0">
                      <a:pos x="432" y="1975"/>
                    </a:cxn>
                    <a:cxn ang="0">
                      <a:pos x="515" y="1925"/>
                    </a:cxn>
                    <a:cxn ang="0">
                      <a:pos x="576" y="1872"/>
                    </a:cxn>
                    <a:cxn ang="0">
                      <a:pos x="658" y="1788"/>
                    </a:cxn>
                    <a:cxn ang="0">
                      <a:pos x="767" y="1707"/>
                    </a:cxn>
                    <a:cxn ang="0">
                      <a:pos x="785" y="1592"/>
                    </a:cxn>
                    <a:cxn ang="0">
                      <a:pos x="827" y="1501"/>
                    </a:cxn>
                    <a:cxn ang="0">
                      <a:pos x="983" y="1287"/>
                    </a:cxn>
                    <a:cxn ang="0">
                      <a:pos x="1042" y="1436"/>
                    </a:cxn>
                    <a:cxn ang="0">
                      <a:pos x="892" y="1567"/>
                    </a:cxn>
                    <a:cxn ang="0">
                      <a:pos x="892" y="1617"/>
                    </a:cxn>
                    <a:cxn ang="0">
                      <a:pos x="1000" y="1550"/>
                    </a:cxn>
                    <a:cxn ang="0">
                      <a:pos x="1088" y="1509"/>
                    </a:cxn>
                    <a:cxn ang="0">
                      <a:pos x="1066" y="1448"/>
                    </a:cxn>
                    <a:cxn ang="0">
                      <a:pos x="1115" y="1405"/>
                    </a:cxn>
                    <a:cxn ang="0">
                      <a:pos x="1168" y="1454"/>
                    </a:cxn>
                    <a:cxn ang="0">
                      <a:pos x="1263" y="1481"/>
                    </a:cxn>
                    <a:cxn ang="0">
                      <a:pos x="1383" y="1528"/>
                    </a:cxn>
                    <a:cxn ang="0">
                      <a:pos x="1574" y="1540"/>
                    </a:cxn>
                    <a:cxn ang="0">
                      <a:pos x="1564" y="1570"/>
                    </a:cxn>
                    <a:cxn ang="0">
                      <a:pos x="1628" y="1599"/>
                    </a:cxn>
                  </a:cxnLst>
                  <a:rect l="0" t="0" r="r" b="b"/>
                  <a:pathLst>
                    <a:path w="1638" h="2054">
                      <a:moveTo>
                        <a:pt x="1486" y="1466"/>
                      </a:moveTo>
                      <a:lnTo>
                        <a:pt x="1486" y="1356"/>
                      </a:lnTo>
                      <a:lnTo>
                        <a:pt x="1486" y="1249"/>
                      </a:lnTo>
                      <a:lnTo>
                        <a:pt x="1486" y="1148"/>
                      </a:lnTo>
                      <a:lnTo>
                        <a:pt x="1486" y="1039"/>
                      </a:lnTo>
                      <a:lnTo>
                        <a:pt x="1486" y="915"/>
                      </a:lnTo>
                      <a:lnTo>
                        <a:pt x="1486" y="793"/>
                      </a:lnTo>
                      <a:lnTo>
                        <a:pt x="1486" y="678"/>
                      </a:lnTo>
                      <a:lnTo>
                        <a:pt x="1486" y="553"/>
                      </a:lnTo>
                      <a:lnTo>
                        <a:pt x="1486" y="409"/>
                      </a:lnTo>
                      <a:lnTo>
                        <a:pt x="1486" y="266"/>
                      </a:lnTo>
                      <a:lnTo>
                        <a:pt x="1484" y="263"/>
                      </a:lnTo>
                      <a:lnTo>
                        <a:pt x="1477" y="263"/>
                      </a:lnTo>
                      <a:lnTo>
                        <a:pt x="1475" y="270"/>
                      </a:lnTo>
                      <a:lnTo>
                        <a:pt x="1470" y="280"/>
                      </a:lnTo>
                      <a:lnTo>
                        <a:pt x="1467" y="276"/>
                      </a:lnTo>
                      <a:lnTo>
                        <a:pt x="1456" y="259"/>
                      </a:lnTo>
                      <a:lnTo>
                        <a:pt x="1429" y="248"/>
                      </a:lnTo>
                      <a:lnTo>
                        <a:pt x="1427" y="242"/>
                      </a:lnTo>
                      <a:lnTo>
                        <a:pt x="1408" y="232"/>
                      </a:lnTo>
                      <a:lnTo>
                        <a:pt x="1408" y="228"/>
                      </a:lnTo>
                      <a:lnTo>
                        <a:pt x="1403" y="221"/>
                      </a:lnTo>
                      <a:lnTo>
                        <a:pt x="1365" y="201"/>
                      </a:lnTo>
                      <a:lnTo>
                        <a:pt x="1361" y="205"/>
                      </a:lnTo>
                      <a:lnTo>
                        <a:pt x="1355" y="206"/>
                      </a:lnTo>
                      <a:lnTo>
                        <a:pt x="1350" y="202"/>
                      </a:lnTo>
                      <a:lnTo>
                        <a:pt x="1351" y="214"/>
                      </a:lnTo>
                      <a:lnTo>
                        <a:pt x="1349" y="220"/>
                      </a:lnTo>
                      <a:lnTo>
                        <a:pt x="1341" y="209"/>
                      </a:lnTo>
                      <a:lnTo>
                        <a:pt x="1335" y="205"/>
                      </a:lnTo>
                      <a:lnTo>
                        <a:pt x="1330" y="209"/>
                      </a:lnTo>
                      <a:lnTo>
                        <a:pt x="1303" y="214"/>
                      </a:lnTo>
                      <a:lnTo>
                        <a:pt x="1302" y="217"/>
                      </a:lnTo>
                      <a:lnTo>
                        <a:pt x="1290" y="225"/>
                      </a:lnTo>
                      <a:lnTo>
                        <a:pt x="1280" y="225"/>
                      </a:lnTo>
                      <a:lnTo>
                        <a:pt x="1273" y="217"/>
                      </a:lnTo>
                      <a:lnTo>
                        <a:pt x="1271" y="225"/>
                      </a:lnTo>
                      <a:lnTo>
                        <a:pt x="1252" y="223"/>
                      </a:lnTo>
                      <a:lnTo>
                        <a:pt x="1251" y="221"/>
                      </a:lnTo>
                      <a:lnTo>
                        <a:pt x="1253" y="215"/>
                      </a:lnTo>
                      <a:lnTo>
                        <a:pt x="1232" y="211"/>
                      </a:lnTo>
                      <a:lnTo>
                        <a:pt x="1222" y="201"/>
                      </a:lnTo>
                      <a:lnTo>
                        <a:pt x="1211" y="194"/>
                      </a:lnTo>
                      <a:lnTo>
                        <a:pt x="1178" y="194"/>
                      </a:lnTo>
                      <a:lnTo>
                        <a:pt x="1158" y="199"/>
                      </a:lnTo>
                      <a:lnTo>
                        <a:pt x="1128" y="183"/>
                      </a:lnTo>
                      <a:lnTo>
                        <a:pt x="1115" y="180"/>
                      </a:lnTo>
                      <a:lnTo>
                        <a:pt x="1107" y="172"/>
                      </a:lnTo>
                      <a:lnTo>
                        <a:pt x="1091" y="167"/>
                      </a:lnTo>
                      <a:lnTo>
                        <a:pt x="1074" y="166"/>
                      </a:lnTo>
                      <a:lnTo>
                        <a:pt x="1072" y="156"/>
                      </a:lnTo>
                      <a:lnTo>
                        <a:pt x="1054" y="152"/>
                      </a:lnTo>
                      <a:lnTo>
                        <a:pt x="1032" y="142"/>
                      </a:lnTo>
                      <a:lnTo>
                        <a:pt x="1010" y="142"/>
                      </a:lnTo>
                      <a:lnTo>
                        <a:pt x="1001" y="148"/>
                      </a:lnTo>
                      <a:lnTo>
                        <a:pt x="975" y="158"/>
                      </a:lnTo>
                      <a:lnTo>
                        <a:pt x="977" y="152"/>
                      </a:lnTo>
                      <a:lnTo>
                        <a:pt x="985" y="151"/>
                      </a:lnTo>
                      <a:lnTo>
                        <a:pt x="983" y="144"/>
                      </a:lnTo>
                      <a:lnTo>
                        <a:pt x="977" y="141"/>
                      </a:lnTo>
                      <a:lnTo>
                        <a:pt x="967" y="140"/>
                      </a:lnTo>
                      <a:lnTo>
                        <a:pt x="929" y="151"/>
                      </a:lnTo>
                      <a:lnTo>
                        <a:pt x="899" y="148"/>
                      </a:lnTo>
                      <a:lnTo>
                        <a:pt x="908" y="140"/>
                      </a:lnTo>
                      <a:lnTo>
                        <a:pt x="909" y="132"/>
                      </a:lnTo>
                      <a:lnTo>
                        <a:pt x="872" y="132"/>
                      </a:lnTo>
                      <a:lnTo>
                        <a:pt x="866" y="129"/>
                      </a:lnTo>
                      <a:lnTo>
                        <a:pt x="887" y="128"/>
                      </a:lnTo>
                      <a:lnTo>
                        <a:pt x="882" y="120"/>
                      </a:lnTo>
                      <a:lnTo>
                        <a:pt x="872" y="120"/>
                      </a:lnTo>
                      <a:lnTo>
                        <a:pt x="870" y="114"/>
                      </a:lnTo>
                      <a:lnTo>
                        <a:pt x="877" y="99"/>
                      </a:lnTo>
                      <a:lnTo>
                        <a:pt x="877" y="87"/>
                      </a:lnTo>
                      <a:lnTo>
                        <a:pt x="859" y="80"/>
                      </a:lnTo>
                      <a:lnTo>
                        <a:pt x="843" y="80"/>
                      </a:lnTo>
                      <a:lnTo>
                        <a:pt x="845" y="94"/>
                      </a:lnTo>
                      <a:lnTo>
                        <a:pt x="843" y="91"/>
                      </a:lnTo>
                      <a:lnTo>
                        <a:pt x="835" y="94"/>
                      </a:lnTo>
                      <a:lnTo>
                        <a:pt x="832" y="81"/>
                      </a:lnTo>
                      <a:lnTo>
                        <a:pt x="827" y="69"/>
                      </a:lnTo>
                      <a:lnTo>
                        <a:pt x="817" y="69"/>
                      </a:lnTo>
                      <a:lnTo>
                        <a:pt x="807" y="71"/>
                      </a:lnTo>
                      <a:lnTo>
                        <a:pt x="790" y="83"/>
                      </a:lnTo>
                      <a:lnTo>
                        <a:pt x="785" y="75"/>
                      </a:lnTo>
                      <a:lnTo>
                        <a:pt x="778" y="80"/>
                      </a:lnTo>
                      <a:lnTo>
                        <a:pt x="771" y="91"/>
                      </a:lnTo>
                      <a:lnTo>
                        <a:pt x="763" y="91"/>
                      </a:lnTo>
                      <a:lnTo>
                        <a:pt x="757" y="83"/>
                      </a:lnTo>
                      <a:lnTo>
                        <a:pt x="747" y="83"/>
                      </a:lnTo>
                      <a:lnTo>
                        <a:pt x="740" y="78"/>
                      </a:lnTo>
                      <a:lnTo>
                        <a:pt x="744" y="70"/>
                      </a:lnTo>
                      <a:lnTo>
                        <a:pt x="733" y="45"/>
                      </a:lnTo>
                      <a:lnTo>
                        <a:pt x="716" y="39"/>
                      </a:lnTo>
                      <a:lnTo>
                        <a:pt x="716" y="48"/>
                      </a:lnTo>
                      <a:lnTo>
                        <a:pt x="709" y="40"/>
                      </a:lnTo>
                      <a:lnTo>
                        <a:pt x="710" y="51"/>
                      </a:lnTo>
                      <a:lnTo>
                        <a:pt x="704" y="51"/>
                      </a:lnTo>
                      <a:lnTo>
                        <a:pt x="697" y="58"/>
                      </a:lnTo>
                      <a:lnTo>
                        <a:pt x="695" y="72"/>
                      </a:lnTo>
                      <a:lnTo>
                        <a:pt x="704" y="83"/>
                      </a:lnTo>
                      <a:lnTo>
                        <a:pt x="704" y="91"/>
                      </a:lnTo>
                      <a:lnTo>
                        <a:pt x="705" y="103"/>
                      </a:lnTo>
                      <a:lnTo>
                        <a:pt x="695" y="103"/>
                      </a:lnTo>
                      <a:lnTo>
                        <a:pt x="694" y="94"/>
                      </a:lnTo>
                      <a:lnTo>
                        <a:pt x="688" y="87"/>
                      </a:lnTo>
                      <a:lnTo>
                        <a:pt x="683" y="94"/>
                      </a:lnTo>
                      <a:lnTo>
                        <a:pt x="678" y="83"/>
                      </a:lnTo>
                      <a:lnTo>
                        <a:pt x="676" y="96"/>
                      </a:lnTo>
                      <a:lnTo>
                        <a:pt x="657" y="83"/>
                      </a:lnTo>
                      <a:lnTo>
                        <a:pt x="649" y="82"/>
                      </a:lnTo>
                      <a:lnTo>
                        <a:pt x="646" y="85"/>
                      </a:lnTo>
                      <a:lnTo>
                        <a:pt x="654" y="66"/>
                      </a:lnTo>
                      <a:lnTo>
                        <a:pt x="660" y="70"/>
                      </a:lnTo>
                      <a:lnTo>
                        <a:pt x="672" y="64"/>
                      </a:lnTo>
                      <a:lnTo>
                        <a:pt x="689" y="49"/>
                      </a:lnTo>
                      <a:lnTo>
                        <a:pt x="690" y="42"/>
                      </a:lnTo>
                      <a:lnTo>
                        <a:pt x="689" y="33"/>
                      </a:lnTo>
                      <a:lnTo>
                        <a:pt x="681" y="26"/>
                      </a:lnTo>
                      <a:lnTo>
                        <a:pt x="661" y="30"/>
                      </a:lnTo>
                      <a:lnTo>
                        <a:pt x="660" y="27"/>
                      </a:lnTo>
                      <a:lnTo>
                        <a:pt x="658" y="16"/>
                      </a:lnTo>
                      <a:lnTo>
                        <a:pt x="650" y="11"/>
                      </a:lnTo>
                      <a:lnTo>
                        <a:pt x="642" y="15"/>
                      </a:lnTo>
                      <a:lnTo>
                        <a:pt x="635" y="10"/>
                      </a:lnTo>
                      <a:lnTo>
                        <a:pt x="627" y="0"/>
                      </a:lnTo>
                      <a:lnTo>
                        <a:pt x="622" y="3"/>
                      </a:lnTo>
                      <a:lnTo>
                        <a:pt x="619" y="10"/>
                      </a:lnTo>
                      <a:lnTo>
                        <a:pt x="613" y="17"/>
                      </a:lnTo>
                      <a:lnTo>
                        <a:pt x="612" y="24"/>
                      </a:lnTo>
                      <a:lnTo>
                        <a:pt x="609" y="22"/>
                      </a:lnTo>
                      <a:lnTo>
                        <a:pt x="612" y="33"/>
                      </a:lnTo>
                      <a:lnTo>
                        <a:pt x="608" y="37"/>
                      </a:lnTo>
                      <a:lnTo>
                        <a:pt x="602" y="33"/>
                      </a:lnTo>
                      <a:lnTo>
                        <a:pt x="598" y="35"/>
                      </a:lnTo>
                      <a:lnTo>
                        <a:pt x="597" y="40"/>
                      </a:lnTo>
                      <a:lnTo>
                        <a:pt x="591" y="48"/>
                      </a:lnTo>
                      <a:lnTo>
                        <a:pt x="584" y="60"/>
                      </a:lnTo>
                      <a:lnTo>
                        <a:pt x="558" y="86"/>
                      </a:lnTo>
                      <a:lnTo>
                        <a:pt x="536" y="86"/>
                      </a:lnTo>
                      <a:lnTo>
                        <a:pt x="537" y="91"/>
                      </a:lnTo>
                      <a:lnTo>
                        <a:pt x="511" y="96"/>
                      </a:lnTo>
                      <a:lnTo>
                        <a:pt x="491" y="91"/>
                      </a:lnTo>
                      <a:lnTo>
                        <a:pt x="495" y="96"/>
                      </a:lnTo>
                      <a:lnTo>
                        <a:pt x="486" y="101"/>
                      </a:lnTo>
                      <a:lnTo>
                        <a:pt x="489" y="113"/>
                      </a:lnTo>
                      <a:lnTo>
                        <a:pt x="472" y="103"/>
                      </a:lnTo>
                      <a:lnTo>
                        <a:pt x="480" y="92"/>
                      </a:lnTo>
                      <a:lnTo>
                        <a:pt x="483" y="83"/>
                      </a:lnTo>
                      <a:lnTo>
                        <a:pt x="496" y="78"/>
                      </a:lnTo>
                      <a:lnTo>
                        <a:pt x="500" y="73"/>
                      </a:lnTo>
                      <a:lnTo>
                        <a:pt x="478" y="81"/>
                      </a:lnTo>
                      <a:lnTo>
                        <a:pt x="466" y="88"/>
                      </a:lnTo>
                      <a:lnTo>
                        <a:pt x="452" y="101"/>
                      </a:lnTo>
                      <a:lnTo>
                        <a:pt x="448" y="109"/>
                      </a:lnTo>
                      <a:lnTo>
                        <a:pt x="448" y="113"/>
                      </a:lnTo>
                      <a:lnTo>
                        <a:pt x="440" y="116"/>
                      </a:lnTo>
                      <a:lnTo>
                        <a:pt x="445" y="121"/>
                      </a:lnTo>
                      <a:lnTo>
                        <a:pt x="452" y="124"/>
                      </a:lnTo>
                      <a:lnTo>
                        <a:pt x="457" y="136"/>
                      </a:lnTo>
                      <a:lnTo>
                        <a:pt x="464" y="141"/>
                      </a:lnTo>
                      <a:lnTo>
                        <a:pt x="474" y="139"/>
                      </a:lnTo>
                      <a:lnTo>
                        <a:pt x="461" y="145"/>
                      </a:lnTo>
                      <a:lnTo>
                        <a:pt x="453" y="145"/>
                      </a:lnTo>
                      <a:lnTo>
                        <a:pt x="450" y="155"/>
                      </a:lnTo>
                      <a:lnTo>
                        <a:pt x="453" y="162"/>
                      </a:lnTo>
                      <a:lnTo>
                        <a:pt x="452" y="174"/>
                      </a:lnTo>
                      <a:lnTo>
                        <a:pt x="447" y="182"/>
                      </a:lnTo>
                      <a:lnTo>
                        <a:pt x="442" y="175"/>
                      </a:lnTo>
                      <a:lnTo>
                        <a:pt x="442" y="162"/>
                      </a:lnTo>
                      <a:lnTo>
                        <a:pt x="434" y="168"/>
                      </a:lnTo>
                      <a:lnTo>
                        <a:pt x="440" y="158"/>
                      </a:lnTo>
                      <a:lnTo>
                        <a:pt x="439" y="146"/>
                      </a:lnTo>
                      <a:lnTo>
                        <a:pt x="445" y="140"/>
                      </a:lnTo>
                      <a:lnTo>
                        <a:pt x="442" y="131"/>
                      </a:lnTo>
                      <a:lnTo>
                        <a:pt x="432" y="128"/>
                      </a:lnTo>
                      <a:lnTo>
                        <a:pt x="405" y="148"/>
                      </a:lnTo>
                      <a:lnTo>
                        <a:pt x="405" y="152"/>
                      </a:lnTo>
                      <a:lnTo>
                        <a:pt x="418" y="145"/>
                      </a:lnTo>
                      <a:lnTo>
                        <a:pt x="408" y="156"/>
                      </a:lnTo>
                      <a:lnTo>
                        <a:pt x="366" y="184"/>
                      </a:lnTo>
                      <a:lnTo>
                        <a:pt x="348" y="188"/>
                      </a:lnTo>
                      <a:lnTo>
                        <a:pt x="338" y="200"/>
                      </a:lnTo>
                      <a:lnTo>
                        <a:pt x="342" y="191"/>
                      </a:lnTo>
                      <a:lnTo>
                        <a:pt x="342" y="183"/>
                      </a:lnTo>
                      <a:lnTo>
                        <a:pt x="348" y="177"/>
                      </a:lnTo>
                      <a:lnTo>
                        <a:pt x="337" y="175"/>
                      </a:lnTo>
                      <a:lnTo>
                        <a:pt x="326" y="200"/>
                      </a:lnTo>
                      <a:lnTo>
                        <a:pt x="323" y="211"/>
                      </a:lnTo>
                      <a:lnTo>
                        <a:pt x="342" y="228"/>
                      </a:lnTo>
                      <a:lnTo>
                        <a:pt x="353" y="233"/>
                      </a:lnTo>
                      <a:lnTo>
                        <a:pt x="353" y="239"/>
                      </a:lnTo>
                      <a:lnTo>
                        <a:pt x="324" y="225"/>
                      </a:lnTo>
                      <a:lnTo>
                        <a:pt x="321" y="218"/>
                      </a:lnTo>
                      <a:lnTo>
                        <a:pt x="312" y="217"/>
                      </a:lnTo>
                      <a:lnTo>
                        <a:pt x="307" y="227"/>
                      </a:lnTo>
                      <a:lnTo>
                        <a:pt x="285" y="253"/>
                      </a:lnTo>
                      <a:lnTo>
                        <a:pt x="295" y="258"/>
                      </a:lnTo>
                      <a:lnTo>
                        <a:pt x="318" y="259"/>
                      </a:lnTo>
                      <a:lnTo>
                        <a:pt x="314" y="261"/>
                      </a:lnTo>
                      <a:lnTo>
                        <a:pt x="287" y="261"/>
                      </a:lnTo>
                      <a:lnTo>
                        <a:pt x="280" y="264"/>
                      </a:lnTo>
                      <a:lnTo>
                        <a:pt x="279" y="268"/>
                      </a:lnTo>
                      <a:lnTo>
                        <a:pt x="291" y="282"/>
                      </a:lnTo>
                      <a:lnTo>
                        <a:pt x="302" y="288"/>
                      </a:lnTo>
                      <a:lnTo>
                        <a:pt x="299" y="293"/>
                      </a:lnTo>
                      <a:lnTo>
                        <a:pt x="279" y="279"/>
                      </a:lnTo>
                      <a:lnTo>
                        <a:pt x="280" y="287"/>
                      </a:lnTo>
                      <a:lnTo>
                        <a:pt x="273" y="318"/>
                      </a:lnTo>
                      <a:lnTo>
                        <a:pt x="270" y="323"/>
                      </a:lnTo>
                      <a:lnTo>
                        <a:pt x="269" y="306"/>
                      </a:lnTo>
                      <a:lnTo>
                        <a:pt x="263" y="331"/>
                      </a:lnTo>
                      <a:lnTo>
                        <a:pt x="251" y="356"/>
                      </a:lnTo>
                      <a:lnTo>
                        <a:pt x="226" y="379"/>
                      </a:lnTo>
                      <a:lnTo>
                        <a:pt x="189" y="388"/>
                      </a:lnTo>
                      <a:lnTo>
                        <a:pt x="155" y="393"/>
                      </a:lnTo>
                      <a:lnTo>
                        <a:pt x="127" y="401"/>
                      </a:lnTo>
                      <a:lnTo>
                        <a:pt x="117" y="400"/>
                      </a:lnTo>
                      <a:lnTo>
                        <a:pt x="125" y="397"/>
                      </a:lnTo>
                      <a:lnTo>
                        <a:pt x="124" y="393"/>
                      </a:lnTo>
                      <a:lnTo>
                        <a:pt x="102" y="395"/>
                      </a:lnTo>
                      <a:lnTo>
                        <a:pt x="102" y="397"/>
                      </a:lnTo>
                      <a:lnTo>
                        <a:pt x="103" y="401"/>
                      </a:lnTo>
                      <a:lnTo>
                        <a:pt x="101" y="419"/>
                      </a:lnTo>
                      <a:lnTo>
                        <a:pt x="101" y="435"/>
                      </a:lnTo>
                      <a:lnTo>
                        <a:pt x="98" y="453"/>
                      </a:lnTo>
                      <a:lnTo>
                        <a:pt x="103" y="455"/>
                      </a:lnTo>
                      <a:lnTo>
                        <a:pt x="108" y="452"/>
                      </a:lnTo>
                      <a:lnTo>
                        <a:pt x="102" y="459"/>
                      </a:lnTo>
                      <a:lnTo>
                        <a:pt x="88" y="465"/>
                      </a:lnTo>
                      <a:lnTo>
                        <a:pt x="85" y="471"/>
                      </a:lnTo>
                      <a:lnTo>
                        <a:pt x="79" y="471"/>
                      </a:lnTo>
                      <a:lnTo>
                        <a:pt x="86" y="465"/>
                      </a:lnTo>
                      <a:lnTo>
                        <a:pt x="88" y="457"/>
                      </a:lnTo>
                      <a:lnTo>
                        <a:pt x="86" y="458"/>
                      </a:lnTo>
                      <a:lnTo>
                        <a:pt x="71" y="468"/>
                      </a:lnTo>
                      <a:lnTo>
                        <a:pt x="69" y="474"/>
                      </a:lnTo>
                      <a:lnTo>
                        <a:pt x="102" y="489"/>
                      </a:lnTo>
                      <a:lnTo>
                        <a:pt x="112" y="500"/>
                      </a:lnTo>
                      <a:lnTo>
                        <a:pt x="118" y="511"/>
                      </a:lnTo>
                      <a:lnTo>
                        <a:pt x="140" y="524"/>
                      </a:lnTo>
                      <a:lnTo>
                        <a:pt x="152" y="527"/>
                      </a:lnTo>
                      <a:lnTo>
                        <a:pt x="182" y="556"/>
                      </a:lnTo>
                      <a:lnTo>
                        <a:pt x="206" y="572"/>
                      </a:lnTo>
                      <a:lnTo>
                        <a:pt x="221" y="587"/>
                      </a:lnTo>
                      <a:lnTo>
                        <a:pt x="221" y="592"/>
                      </a:lnTo>
                      <a:lnTo>
                        <a:pt x="230" y="599"/>
                      </a:lnTo>
                      <a:lnTo>
                        <a:pt x="233" y="608"/>
                      </a:lnTo>
                      <a:lnTo>
                        <a:pt x="237" y="621"/>
                      </a:lnTo>
                      <a:lnTo>
                        <a:pt x="241" y="626"/>
                      </a:lnTo>
                      <a:lnTo>
                        <a:pt x="238" y="629"/>
                      </a:lnTo>
                      <a:lnTo>
                        <a:pt x="240" y="641"/>
                      </a:lnTo>
                      <a:lnTo>
                        <a:pt x="244" y="657"/>
                      </a:lnTo>
                      <a:lnTo>
                        <a:pt x="259" y="659"/>
                      </a:lnTo>
                      <a:lnTo>
                        <a:pt x="268" y="666"/>
                      </a:lnTo>
                      <a:lnTo>
                        <a:pt x="291" y="675"/>
                      </a:lnTo>
                      <a:lnTo>
                        <a:pt x="287" y="670"/>
                      </a:lnTo>
                      <a:lnTo>
                        <a:pt x="292" y="666"/>
                      </a:lnTo>
                      <a:lnTo>
                        <a:pt x="294" y="658"/>
                      </a:lnTo>
                      <a:lnTo>
                        <a:pt x="308" y="659"/>
                      </a:lnTo>
                      <a:lnTo>
                        <a:pt x="310" y="657"/>
                      </a:lnTo>
                      <a:lnTo>
                        <a:pt x="307" y="651"/>
                      </a:lnTo>
                      <a:lnTo>
                        <a:pt x="313" y="648"/>
                      </a:lnTo>
                      <a:lnTo>
                        <a:pt x="317" y="648"/>
                      </a:lnTo>
                      <a:lnTo>
                        <a:pt x="305" y="673"/>
                      </a:lnTo>
                      <a:lnTo>
                        <a:pt x="310" y="677"/>
                      </a:lnTo>
                      <a:lnTo>
                        <a:pt x="319" y="670"/>
                      </a:lnTo>
                      <a:lnTo>
                        <a:pt x="335" y="666"/>
                      </a:lnTo>
                      <a:lnTo>
                        <a:pt x="348" y="667"/>
                      </a:lnTo>
                      <a:lnTo>
                        <a:pt x="354" y="669"/>
                      </a:lnTo>
                      <a:lnTo>
                        <a:pt x="362" y="678"/>
                      </a:lnTo>
                      <a:lnTo>
                        <a:pt x="359" y="683"/>
                      </a:lnTo>
                      <a:lnTo>
                        <a:pt x="349" y="686"/>
                      </a:lnTo>
                      <a:lnTo>
                        <a:pt x="343" y="705"/>
                      </a:lnTo>
                      <a:lnTo>
                        <a:pt x="355" y="723"/>
                      </a:lnTo>
                      <a:lnTo>
                        <a:pt x="372" y="736"/>
                      </a:lnTo>
                      <a:lnTo>
                        <a:pt x="375" y="729"/>
                      </a:lnTo>
                      <a:lnTo>
                        <a:pt x="375" y="718"/>
                      </a:lnTo>
                      <a:lnTo>
                        <a:pt x="378" y="713"/>
                      </a:lnTo>
                      <a:lnTo>
                        <a:pt x="377" y="724"/>
                      </a:lnTo>
                      <a:lnTo>
                        <a:pt x="381" y="727"/>
                      </a:lnTo>
                      <a:lnTo>
                        <a:pt x="383" y="721"/>
                      </a:lnTo>
                      <a:lnTo>
                        <a:pt x="399" y="720"/>
                      </a:lnTo>
                      <a:lnTo>
                        <a:pt x="415" y="731"/>
                      </a:lnTo>
                      <a:lnTo>
                        <a:pt x="427" y="727"/>
                      </a:lnTo>
                      <a:lnTo>
                        <a:pt x="436" y="717"/>
                      </a:lnTo>
                      <a:lnTo>
                        <a:pt x="446" y="720"/>
                      </a:lnTo>
                      <a:lnTo>
                        <a:pt x="453" y="713"/>
                      </a:lnTo>
                      <a:lnTo>
                        <a:pt x="469" y="716"/>
                      </a:lnTo>
                      <a:lnTo>
                        <a:pt x="464" y="722"/>
                      </a:lnTo>
                      <a:lnTo>
                        <a:pt x="440" y="731"/>
                      </a:lnTo>
                      <a:lnTo>
                        <a:pt x="435" y="739"/>
                      </a:lnTo>
                      <a:lnTo>
                        <a:pt x="441" y="742"/>
                      </a:lnTo>
                      <a:lnTo>
                        <a:pt x="443" y="736"/>
                      </a:lnTo>
                      <a:lnTo>
                        <a:pt x="467" y="728"/>
                      </a:lnTo>
                      <a:lnTo>
                        <a:pt x="472" y="732"/>
                      </a:lnTo>
                      <a:lnTo>
                        <a:pt x="472" y="739"/>
                      </a:lnTo>
                      <a:lnTo>
                        <a:pt x="464" y="745"/>
                      </a:lnTo>
                      <a:lnTo>
                        <a:pt x="442" y="747"/>
                      </a:lnTo>
                      <a:lnTo>
                        <a:pt x="434" y="750"/>
                      </a:lnTo>
                      <a:lnTo>
                        <a:pt x="430" y="756"/>
                      </a:lnTo>
                      <a:lnTo>
                        <a:pt x="410" y="759"/>
                      </a:lnTo>
                      <a:lnTo>
                        <a:pt x="403" y="758"/>
                      </a:lnTo>
                      <a:lnTo>
                        <a:pt x="398" y="750"/>
                      </a:lnTo>
                      <a:lnTo>
                        <a:pt x="392" y="748"/>
                      </a:lnTo>
                      <a:lnTo>
                        <a:pt x="389" y="744"/>
                      </a:lnTo>
                      <a:lnTo>
                        <a:pt x="382" y="743"/>
                      </a:lnTo>
                      <a:lnTo>
                        <a:pt x="381" y="737"/>
                      </a:lnTo>
                      <a:lnTo>
                        <a:pt x="376" y="738"/>
                      </a:lnTo>
                      <a:lnTo>
                        <a:pt x="369" y="744"/>
                      </a:lnTo>
                      <a:lnTo>
                        <a:pt x="351" y="744"/>
                      </a:lnTo>
                      <a:lnTo>
                        <a:pt x="342" y="736"/>
                      </a:lnTo>
                      <a:lnTo>
                        <a:pt x="332" y="717"/>
                      </a:lnTo>
                      <a:lnTo>
                        <a:pt x="338" y="734"/>
                      </a:lnTo>
                      <a:lnTo>
                        <a:pt x="344" y="744"/>
                      </a:lnTo>
                      <a:lnTo>
                        <a:pt x="339" y="755"/>
                      </a:lnTo>
                      <a:lnTo>
                        <a:pt x="339" y="766"/>
                      </a:lnTo>
                      <a:lnTo>
                        <a:pt x="346" y="769"/>
                      </a:lnTo>
                      <a:lnTo>
                        <a:pt x="344" y="764"/>
                      </a:lnTo>
                      <a:lnTo>
                        <a:pt x="349" y="753"/>
                      </a:lnTo>
                      <a:lnTo>
                        <a:pt x="361" y="755"/>
                      </a:lnTo>
                      <a:lnTo>
                        <a:pt x="388" y="764"/>
                      </a:lnTo>
                      <a:lnTo>
                        <a:pt x="394" y="771"/>
                      </a:lnTo>
                      <a:lnTo>
                        <a:pt x="393" y="780"/>
                      </a:lnTo>
                      <a:lnTo>
                        <a:pt x="385" y="791"/>
                      </a:lnTo>
                      <a:lnTo>
                        <a:pt x="386" y="785"/>
                      </a:lnTo>
                      <a:lnTo>
                        <a:pt x="383" y="779"/>
                      </a:lnTo>
                      <a:lnTo>
                        <a:pt x="364" y="771"/>
                      </a:lnTo>
                      <a:lnTo>
                        <a:pt x="354" y="793"/>
                      </a:lnTo>
                      <a:lnTo>
                        <a:pt x="350" y="802"/>
                      </a:lnTo>
                      <a:lnTo>
                        <a:pt x="350" y="809"/>
                      </a:lnTo>
                      <a:lnTo>
                        <a:pt x="346" y="814"/>
                      </a:lnTo>
                      <a:lnTo>
                        <a:pt x="339" y="810"/>
                      </a:lnTo>
                      <a:lnTo>
                        <a:pt x="337" y="804"/>
                      </a:lnTo>
                      <a:lnTo>
                        <a:pt x="332" y="798"/>
                      </a:lnTo>
                      <a:lnTo>
                        <a:pt x="322" y="801"/>
                      </a:lnTo>
                      <a:lnTo>
                        <a:pt x="321" y="803"/>
                      </a:lnTo>
                      <a:lnTo>
                        <a:pt x="314" y="799"/>
                      </a:lnTo>
                      <a:lnTo>
                        <a:pt x="302" y="802"/>
                      </a:lnTo>
                      <a:lnTo>
                        <a:pt x="300" y="797"/>
                      </a:lnTo>
                      <a:lnTo>
                        <a:pt x="296" y="801"/>
                      </a:lnTo>
                      <a:lnTo>
                        <a:pt x="297" y="795"/>
                      </a:lnTo>
                      <a:lnTo>
                        <a:pt x="289" y="796"/>
                      </a:lnTo>
                      <a:lnTo>
                        <a:pt x="285" y="802"/>
                      </a:lnTo>
                      <a:lnTo>
                        <a:pt x="280" y="799"/>
                      </a:lnTo>
                      <a:lnTo>
                        <a:pt x="269" y="797"/>
                      </a:lnTo>
                      <a:lnTo>
                        <a:pt x="246" y="799"/>
                      </a:lnTo>
                      <a:lnTo>
                        <a:pt x="237" y="792"/>
                      </a:lnTo>
                      <a:lnTo>
                        <a:pt x="237" y="782"/>
                      </a:lnTo>
                      <a:lnTo>
                        <a:pt x="221" y="781"/>
                      </a:lnTo>
                      <a:lnTo>
                        <a:pt x="238" y="767"/>
                      </a:lnTo>
                      <a:lnTo>
                        <a:pt x="237" y="756"/>
                      </a:lnTo>
                      <a:lnTo>
                        <a:pt x="238" y="744"/>
                      </a:lnTo>
                      <a:lnTo>
                        <a:pt x="237" y="736"/>
                      </a:lnTo>
                      <a:lnTo>
                        <a:pt x="227" y="729"/>
                      </a:lnTo>
                      <a:lnTo>
                        <a:pt x="230" y="727"/>
                      </a:lnTo>
                      <a:lnTo>
                        <a:pt x="246" y="724"/>
                      </a:lnTo>
                      <a:lnTo>
                        <a:pt x="227" y="723"/>
                      </a:lnTo>
                      <a:lnTo>
                        <a:pt x="215" y="727"/>
                      </a:lnTo>
                      <a:lnTo>
                        <a:pt x="188" y="728"/>
                      </a:lnTo>
                      <a:lnTo>
                        <a:pt x="172" y="747"/>
                      </a:lnTo>
                      <a:lnTo>
                        <a:pt x="160" y="749"/>
                      </a:lnTo>
                      <a:lnTo>
                        <a:pt x="154" y="753"/>
                      </a:lnTo>
                      <a:lnTo>
                        <a:pt x="149" y="752"/>
                      </a:lnTo>
                      <a:lnTo>
                        <a:pt x="136" y="761"/>
                      </a:lnTo>
                      <a:lnTo>
                        <a:pt x="125" y="772"/>
                      </a:lnTo>
                      <a:lnTo>
                        <a:pt x="135" y="780"/>
                      </a:lnTo>
                      <a:lnTo>
                        <a:pt x="141" y="790"/>
                      </a:lnTo>
                      <a:lnTo>
                        <a:pt x="136" y="792"/>
                      </a:lnTo>
                      <a:lnTo>
                        <a:pt x="115" y="793"/>
                      </a:lnTo>
                      <a:lnTo>
                        <a:pt x="111" y="790"/>
                      </a:lnTo>
                      <a:lnTo>
                        <a:pt x="109" y="783"/>
                      </a:lnTo>
                      <a:lnTo>
                        <a:pt x="101" y="787"/>
                      </a:lnTo>
                      <a:lnTo>
                        <a:pt x="77" y="802"/>
                      </a:lnTo>
                      <a:lnTo>
                        <a:pt x="71" y="810"/>
                      </a:lnTo>
                      <a:lnTo>
                        <a:pt x="68" y="808"/>
                      </a:lnTo>
                      <a:lnTo>
                        <a:pt x="66" y="814"/>
                      </a:lnTo>
                      <a:lnTo>
                        <a:pt x="61" y="823"/>
                      </a:lnTo>
                      <a:lnTo>
                        <a:pt x="50" y="828"/>
                      </a:lnTo>
                      <a:lnTo>
                        <a:pt x="45" y="822"/>
                      </a:lnTo>
                      <a:lnTo>
                        <a:pt x="36" y="829"/>
                      </a:lnTo>
                      <a:lnTo>
                        <a:pt x="32" y="835"/>
                      </a:lnTo>
                      <a:lnTo>
                        <a:pt x="32" y="840"/>
                      </a:lnTo>
                      <a:lnTo>
                        <a:pt x="34" y="842"/>
                      </a:lnTo>
                      <a:lnTo>
                        <a:pt x="11" y="855"/>
                      </a:lnTo>
                      <a:lnTo>
                        <a:pt x="6" y="856"/>
                      </a:lnTo>
                      <a:lnTo>
                        <a:pt x="12" y="842"/>
                      </a:lnTo>
                      <a:lnTo>
                        <a:pt x="0" y="850"/>
                      </a:lnTo>
                      <a:lnTo>
                        <a:pt x="0" y="858"/>
                      </a:lnTo>
                      <a:lnTo>
                        <a:pt x="6" y="865"/>
                      </a:lnTo>
                      <a:lnTo>
                        <a:pt x="43" y="889"/>
                      </a:lnTo>
                      <a:lnTo>
                        <a:pt x="71" y="899"/>
                      </a:lnTo>
                      <a:lnTo>
                        <a:pt x="75" y="898"/>
                      </a:lnTo>
                      <a:lnTo>
                        <a:pt x="70" y="890"/>
                      </a:lnTo>
                      <a:lnTo>
                        <a:pt x="107" y="903"/>
                      </a:lnTo>
                      <a:lnTo>
                        <a:pt x="90" y="910"/>
                      </a:lnTo>
                      <a:lnTo>
                        <a:pt x="81" y="922"/>
                      </a:lnTo>
                      <a:lnTo>
                        <a:pt x="72" y="919"/>
                      </a:lnTo>
                      <a:lnTo>
                        <a:pt x="74" y="911"/>
                      </a:lnTo>
                      <a:lnTo>
                        <a:pt x="70" y="906"/>
                      </a:lnTo>
                      <a:lnTo>
                        <a:pt x="68" y="915"/>
                      </a:lnTo>
                      <a:lnTo>
                        <a:pt x="80" y="941"/>
                      </a:lnTo>
                      <a:lnTo>
                        <a:pt x="91" y="952"/>
                      </a:lnTo>
                      <a:lnTo>
                        <a:pt x="91" y="963"/>
                      </a:lnTo>
                      <a:lnTo>
                        <a:pt x="88" y="976"/>
                      </a:lnTo>
                      <a:lnTo>
                        <a:pt x="100" y="990"/>
                      </a:lnTo>
                      <a:lnTo>
                        <a:pt x="104" y="991"/>
                      </a:lnTo>
                      <a:lnTo>
                        <a:pt x="108" y="996"/>
                      </a:lnTo>
                      <a:lnTo>
                        <a:pt x="150" y="1005"/>
                      </a:lnTo>
                      <a:lnTo>
                        <a:pt x="160" y="1003"/>
                      </a:lnTo>
                      <a:lnTo>
                        <a:pt x="179" y="1013"/>
                      </a:lnTo>
                      <a:lnTo>
                        <a:pt x="210" y="997"/>
                      </a:lnTo>
                      <a:lnTo>
                        <a:pt x="231" y="1001"/>
                      </a:lnTo>
                      <a:lnTo>
                        <a:pt x="247" y="996"/>
                      </a:lnTo>
                      <a:lnTo>
                        <a:pt x="263" y="1003"/>
                      </a:lnTo>
                      <a:lnTo>
                        <a:pt x="275" y="1017"/>
                      </a:lnTo>
                      <a:lnTo>
                        <a:pt x="278" y="1013"/>
                      </a:lnTo>
                      <a:lnTo>
                        <a:pt x="279" y="1003"/>
                      </a:lnTo>
                      <a:lnTo>
                        <a:pt x="270" y="1001"/>
                      </a:lnTo>
                      <a:lnTo>
                        <a:pt x="263" y="995"/>
                      </a:lnTo>
                      <a:lnTo>
                        <a:pt x="260" y="990"/>
                      </a:lnTo>
                      <a:lnTo>
                        <a:pt x="275" y="989"/>
                      </a:lnTo>
                      <a:lnTo>
                        <a:pt x="280" y="997"/>
                      </a:lnTo>
                      <a:lnTo>
                        <a:pt x="290" y="1005"/>
                      </a:lnTo>
                      <a:lnTo>
                        <a:pt x="294" y="1033"/>
                      </a:lnTo>
                      <a:lnTo>
                        <a:pt x="297" y="1033"/>
                      </a:lnTo>
                      <a:lnTo>
                        <a:pt x="303" y="1017"/>
                      </a:lnTo>
                      <a:lnTo>
                        <a:pt x="312" y="1002"/>
                      </a:lnTo>
                      <a:lnTo>
                        <a:pt x="324" y="990"/>
                      </a:lnTo>
                      <a:lnTo>
                        <a:pt x="330" y="981"/>
                      </a:lnTo>
                      <a:lnTo>
                        <a:pt x="351" y="971"/>
                      </a:lnTo>
                      <a:lnTo>
                        <a:pt x="350" y="964"/>
                      </a:lnTo>
                      <a:lnTo>
                        <a:pt x="365" y="970"/>
                      </a:lnTo>
                      <a:lnTo>
                        <a:pt x="371" y="969"/>
                      </a:lnTo>
                      <a:lnTo>
                        <a:pt x="377" y="962"/>
                      </a:lnTo>
                      <a:lnTo>
                        <a:pt x="389" y="954"/>
                      </a:lnTo>
                      <a:lnTo>
                        <a:pt x="400" y="968"/>
                      </a:lnTo>
                      <a:lnTo>
                        <a:pt x="405" y="970"/>
                      </a:lnTo>
                      <a:lnTo>
                        <a:pt x="405" y="984"/>
                      </a:lnTo>
                      <a:lnTo>
                        <a:pt x="400" y="995"/>
                      </a:lnTo>
                      <a:lnTo>
                        <a:pt x="394" y="1003"/>
                      </a:lnTo>
                      <a:lnTo>
                        <a:pt x="382" y="1008"/>
                      </a:lnTo>
                      <a:lnTo>
                        <a:pt x="373" y="1003"/>
                      </a:lnTo>
                      <a:lnTo>
                        <a:pt x="365" y="1003"/>
                      </a:lnTo>
                      <a:lnTo>
                        <a:pt x="365" y="1014"/>
                      </a:lnTo>
                      <a:lnTo>
                        <a:pt x="367" y="1021"/>
                      </a:lnTo>
                      <a:lnTo>
                        <a:pt x="372" y="1016"/>
                      </a:lnTo>
                      <a:lnTo>
                        <a:pt x="382" y="1019"/>
                      </a:lnTo>
                      <a:lnTo>
                        <a:pt x="387" y="1033"/>
                      </a:lnTo>
                      <a:lnTo>
                        <a:pt x="397" y="1052"/>
                      </a:lnTo>
                      <a:lnTo>
                        <a:pt x="396" y="1061"/>
                      </a:lnTo>
                      <a:lnTo>
                        <a:pt x="394" y="1065"/>
                      </a:lnTo>
                      <a:lnTo>
                        <a:pt x="400" y="1070"/>
                      </a:lnTo>
                      <a:lnTo>
                        <a:pt x="403" y="1077"/>
                      </a:lnTo>
                      <a:lnTo>
                        <a:pt x="404" y="1084"/>
                      </a:lnTo>
                      <a:lnTo>
                        <a:pt x="403" y="1098"/>
                      </a:lnTo>
                      <a:lnTo>
                        <a:pt x="394" y="1115"/>
                      </a:lnTo>
                      <a:lnTo>
                        <a:pt x="387" y="1125"/>
                      </a:lnTo>
                      <a:lnTo>
                        <a:pt x="380" y="1132"/>
                      </a:lnTo>
                      <a:lnTo>
                        <a:pt x="371" y="1135"/>
                      </a:lnTo>
                      <a:lnTo>
                        <a:pt x="360" y="1135"/>
                      </a:lnTo>
                      <a:lnTo>
                        <a:pt x="353" y="1140"/>
                      </a:lnTo>
                      <a:lnTo>
                        <a:pt x="344" y="1138"/>
                      </a:lnTo>
                      <a:lnTo>
                        <a:pt x="326" y="1143"/>
                      </a:lnTo>
                      <a:lnTo>
                        <a:pt x="322" y="1143"/>
                      </a:lnTo>
                      <a:lnTo>
                        <a:pt x="332" y="1132"/>
                      </a:lnTo>
                      <a:lnTo>
                        <a:pt x="330" y="1130"/>
                      </a:lnTo>
                      <a:lnTo>
                        <a:pt x="321" y="1131"/>
                      </a:lnTo>
                      <a:lnTo>
                        <a:pt x="317" y="1135"/>
                      </a:lnTo>
                      <a:lnTo>
                        <a:pt x="312" y="1147"/>
                      </a:lnTo>
                      <a:lnTo>
                        <a:pt x="303" y="1158"/>
                      </a:lnTo>
                      <a:lnTo>
                        <a:pt x="286" y="1174"/>
                      </a:lnTo>
                      <a:lnTo>
                        <a:pt x="280" y="1183"/>
                      </a:lnTo>
                      <a:lnTo>
                        <a:pt x="271" y="1186"/>
                      </a:lnTo>
                      <a:lnTo>
                        <a:pt x="260" y="1183"/>
                      </a:lnTo>
                      <a:lnTo>
                        <a:pt x="256" y="1179"/>
                      </a:lnTo>
                      <a:lnTo>
                        <a:pt x="240" y="1191"/>
                      </a:lnTo>
                      <a:lnTo>
                        <a:pt x="222" y="1197"/>
                      </a:lnTo>
                      <a:lnTo>
                        <a:pt x="219" y="1202"/>
                      </a:lnTo>
                      <a:lnTo>
                        <a:pt x="217" y="1207"/>
                      </a:lnTo>
                      <a:lnTo>
                        <a:pt x="220" y="1211"/>
                      </a:lnTo>
                      <a:lnTo>
                        <a:pt x="222" y="1219"/>
                      </a:lnTo>
                      <a:lnTo>
                        <a:pt x="219" y="1224"/>
                      </a:lnTo>
                      <a:lnTo>
                        <a:pt x="201" y="1221"/>
                      </a:lnTo>
                      <a:lnTo>
                        <a:pt x="190" y="1223"/>
                      </a:lnTo>
                      <a:lnTo>
                        <a:pt x="178" y="1237"/>
                      </a:lnTo>
                      <a:lnTo>
                        <a:pt x="174" y="1245"/>
                      </a:lnTo>
                      <a:lnTo>
                        <a:pt x="170" y="1243"/>
                      </a:lnTo>
                      <a:lnTo>
                        <a:pt x="162" y="1244"/>
                      </a:lnTo>
                      <a:lnTo>
                        <a:pt x="145" y="1266"/>
                      </a:lnTo>
                      <a:lnTo>
                        <a:pt x="142" y="1267"/>
                      </a:lnTo>
                      <a:lnTo>
                        <a:pt x="139" y="1271"/>
                      </a:lnTo>
                      <a:lnTo>
                        <a:pt x="138" y="1277"/>
                      </a:lnTo>
                      <a:lnTo>
                        <a:pt x="128" y="1299"/>
                      </a:lnTo>
                      <a:lnTo>
                        <a:pt x="127" y="1305"/>
                      </a:lnTo>
                      <a:lnTo>
                        <a:pt x="128" y="1323"/>
                      </a:lnTo>
                      <a:lnTo>
                        <a:pt x="125" y="1328"/>
                      </a:lnTo>
                      <a:lnTo>
                        <a:pt x="117" y="1330"/>
                      </a:lnTo>
                      <a:lnTo>
                        <a:pt x="111" y="1329"/>
                      </a:lnTo>
                      <a:lnTo>
                        <a:pt x="107" y="1330"/>
                      </a:lnTo>
                      <a:lnTo>
                        <a:pt x="107" y="1336"/>
                      </a:lnTo>
                      <a:lnTo>
                        <a:pt x="118" y="1345"/>
                      </a:lnTo>
                      <a:lnTo>
                        <a:pt x="115" y="1348"/>
                      </a:lnTo>
                      <a:lnTo>
                        <a:pt x="104" y="1351"/>
                      </a:lnTo>
                      <a:lnTo>
                        <a:pt x="102" y="1358"/>
                      </a:lnTo>
                      <a:lnTo>
                        <a:pt x="101" y="1366"/>
                      </a:lnTo>
                      <a:lnTo>
                        <a:pt x="104" y="1363"/>
                      </a:lnTo>
                      <a:lnTo>
                        <a:pt x="124" y="1360"/>
                      </a:lnTo>
                      <a:lnTo>
                        <a:pt x="131" y="1357"/>
                      </a:lnTo>
                      <a:lnTo>
                        <a:pt x="138" y="1351"/>
                      </a:lnTo>
                      <a:lnTo>
                        <a:pt x="156" y="1348"/>
                      </a:lnTo>
                      <a:lnTo>
                        <a:pt x="157" y="1352"/>
                      </a:lnTo>
                      <a:lnTo>
                        <a:pt x="151" y="1355"/>
                      </a:lnTo>
                      <a:lnTo>
                        <a:pt x="155" y="1358"/>
                      </a:lnTo>
                      <a:lnTo>
                        <a:pt x="134" y="1362"/>
                      </a:lnTo>
                      <a:lnTo>
                        <a:pt x="125" y="1366"/>
                      </a:lnTo>
                      <a:lnTo>
                        <a:pt x="119" y="1373"/>
                      </a:lnTo>
                      <a:lnTo>
                        <a:pt x="118" y="1378"/>
                      </a:lnTo>
                      <a:lnTo>
                        <a:pt x="133" y="1388"/>
                      </a:lnTo>
                      <a:lnTo>
                        <a:pt x="145" y="1378"/>
                      </a:lnTo>
                      <a:lnTo>
                        <a:pt x="151" y="1379"/>
                      </a:lnTo>
                      <a:lnTo>
                        <a:pt x="146" y="1385"/>
                      </a:lnTo>
                      <a:lnTo>
                        <a:pt x="144" y="1394"/>
                      </a:lnTo>
                      <a:lnTo>
                        <a:pt x="147" y="1405"/>
                      </a:lnTo>
                      <a:lnTo>
                        <a:pt x="151" y="1410"/>
                      </a:lnTo>
                      <a:lnTo>
                        <a:pt x="152" y="1417"/>
                      </a:lnTo>
                      <a:lnTo>
                        <a:pt x="156" y="1423"/>
                      </a:lnTo>
                      <a:lnTo>
                        <a:pt x="161" y="1427"/>
                      </a:lnTo>
                      <a:lnTo>
                        <a:pt x="165" y="1425"/>
                      </a:lnTo>
                      <a:lnTo>
                        <a:pt x="174" y="1411"/>
                      </a:lnTo>
                      <a:lnTo>
                        <a:pt x="176" y="1420"/>
                      </a:lnTo>
                      <a:lnTo>
                        <a:pt x="179" y="1422"/>
                      </a:lnTo>
                      <a:lnTo>
                        <a:pt x="193" y="1420"/>
                      </a:lnTo>
                      <a:lnTo>
                        <a:pt x="184" y="1436"/>
                      </a:lnTo>
                      <a:lnTo>
                        <a:pt x="197" y="1441"/>
                      </a:lnTo>
                      <a:lnTo>
                        <a:pt x="219" y="1446"/>
                      </a:lnTo>
                      <a:lnTo>
                        <a:pt x="230" y="1439"/>
                      </a:lnTo>
                      <a:lnTo>
                        <a:pt x="238" y="1439"/>
                      </a:lnTo>
                      <a:lnTo>
                        <a:pt x="242" y="1449"/>
                      </a:lnTo>
                      <a:lnTo>
                        <a:pt x="237" y="1457"/>
                      </a:lnTo>
                      <a:lnTo>
                        <a:pt x="220" y="1463"/>
                      </a:lnTo>
                      <a:lnTo>
                        <a:pt x="214" y="1474"/>
                      </a:lnTo>
                      <a:lnTo>
                        <a:pt x="203" y="1487"/>
                      </a:lnTo>
                      <a:lnTo>
                        <a:pt x="197" y="1497"/>
                      </a:lnTo>
                      <a:lnTo>
                        <a:pt x="194" y="1506"/>
                      </a:lnTo>
                      <a:lnTo>
                        <a:pt x="194" y="1514"/>
                      </a:lnTo>
                      <a:lnTo>
                        <a:pt x="204" y="1533"/>
                      </a:lnTo>
                      <a:lnTo>
                        <a:pt x="209" y="1534"/>
                      </a:lnTo>
                      <a:lnTo>
                        <a:pt x="216" y="1529"/>
                      </a:lnTo>
                      <a:lnTo>
                        <a:pt x="224" y="1527"/>
                      </a:lnTo>
                      <a:lnTo>
                        <a:pt x="226" y="1531"/>
                      </a:lnTo>
                      <a:lnTo>
                        <a:pt x="222" y="1535"/>
                      </a:lnTo>
                      <a:lnTo>
                        <a:pt x="224" y="1538"/>
                      </a:lnTo>
                      <a:lnTo>
                        <a:pt x="237" y="1538"/>
                      </a:lnTo>
                      <a:lnTo>
                        <a:pt x="235" y="1540"/>
                      </a:lnTo>
                      <a:lnTo>
                        <a:pt x="222" y="1541"/>
                      </a:lnTo>
                      <a:lnTo>
                        <a:pt x="215" y="1546"/>
                      </a:lnTo>
                      <a:lnTo>
                        <a:pt x="220" y="1554"/>
                      </a:lnTo>
                      <a:lnTo>
                        <a:pt x="232" y="1563"/>
                      </a:lnTo>
                      <a:lnTo>
                        <a:pt x="238" y="1563"/>
                      </a:lnTo>
                      <a:lnTo>
                        <a:pt x="243" y="1566"/>
                      </a:lnTo>
                      <a:lnTo>
                        <a:pt x="248" y="1565"/>
                      </a:lnTo>
                      <a:lnTo>
                        <a:pt x="254" y="1568"/>
                      </a:lnTo>
                      <a:lnTo>
                        <a:pt x="262" y="1567"/>
                      </a:lnTo>
                      <a:lnTo>
                        <a:pt x="269" y="1571"/>
                      </a:lnTo>
                      <a:lnTo>
                        <a:pt x="276" y="1571"/>
                      </a:lnTo>
                      <a:lnTo>
                        <a:pt x="278" y="1565"/>
                      </a:lnTo>
                      <a:lnTo>
                        <a:pt x="285" y="1559"/>
                      </a:lnTo>
                      <a:lnTo>
                        <a:pt x="301" y="1536"/>
                      </a:lnTo>
                      <a:lnTo>
                        <a:pt x="307" y="1519"/>
                      </a:lnTo>
                      <a:lnTo>
                        <a:pt x="313" y="1517"/>
                      </a:lnTo>
                      <a:lnTo>
                        <a:pt x="312" y="1512"/>
                      </a:lnTo>
                      <a:lnTo>
                        <a:pt x="305" y="1507"/>
                      </a:lnTo>
                      <a:lnTo>
                        <a:pt x="301" y="1496"/>
                      </a:lnTo>
                      <a:lnTo>
                        <a:pt x="318" y="1468"/>
                      </a:lnTo>
                      <a:lnTo>
                        <a:pt x="334" y="1457"/>
                      </a:lnTo>
                      <a:lnTo>
                        <a:pt x="342" y="1447"/>
                      </a:lnTo>
                      <a:lnTo>
                        <a:pt x="348" y="1442"/>
                      </a:lnTo>
                      <a:lnTo>
                        <a:pt x="361" y="1441"/>
                      </a:lnTo>
                      <a:lnTo>
                        <a:pt x="328" y="1471"/>
                      </a:lnTo>
                      <a:lnTo>
                        <a:pt x="312" y="1495"/>
                      </a:lnTo>
                      <a:lnTo>
                        <a:pt x="311" y="1501"/>
                      </a:lnTo>
                      <a:lnTo>
                        <a:pt x="312" y="1504"/>
                      </a:lnTo>
                      <a:lnTo>
                        <a:pt x="318" y="1509"/>
                      </a:lnTo>
                      <a:lnTo>
                        <a:pt x="321" y="1519"/>
                      </a:lnTo>
                      <a:lnTo>
                        <a:pt x="322" y="1528"/>
                      </a:lnTo>
                      <a:lnTo>
                        <a:pt x="326" y="1538"/>
                      </a:lnTo>
                      <a:lnTo>
                        <a:pt x="333" y="1546"/>
                      </a:lnTo>
                      <a:lnTo>
                        <a:pt x="343" y="1576"/>
                      </a:lnTo>
                      <a:lnTo>
                        <a:pt x="349" y="1583"/>
                      </a:lnTo>
                      <a:lnTo>
                        <a:pt x="349" y="1589"/>
                      </a:lnTo>
                      <a:lnTo>
                        <a:pt x="338" y="1604"/>
                      </a:lnTo>
                      <a:lnTo>
                        <a:pt x="337" y="1608"/>
                      </a:lnTo>
                      <a:lnTo>
                        <a:pt x="333" y="1609"/>
                      </a:lnTo>
                      <a:lnTo>
                        <a:pt x="332" y="1617"/>
                      </a:lnTo>
                      <a:lnTo>
                        <a:pt x="338" y="1631"/>
                      </a:lnTo>
                      <a:lnTo>
                        <a:pt x="343" y="1627"/>
                      </a:lnTo>
                      <a:lnTo>
                        <a:pt x="350" y="1627"/>
                      </a:lnTo>
                      <a:lnTo>
                        <a:pt x="356" y="1631"/>
                      </a:lnTo>
                      <a:lnTo>
                        <a:pt x="351" y="1633"/>
                      </a:lnTo>
                      <a:lnTo>
                        <a:pt x="345" y="1641"/>
                      </a:lnTo>
                      <a:lnTo>
                        <a:pt x="346" y="1657"/>
                      </a:lnTo>
                      <a:lnTo>
                        <a:pt x="351" y="1657"/>
                      </a:lnTo>
                      <a:lnTo>
                        <a:pt x="355" y="1660"/>
                      </a:lnTo>
                      <a:lnTo>
                        <a:pt x="351" y="1662"/>
                      </a:lnTo>
                      <a:lnTo>
                        <a:pt x="342" y="1673"/>
                      </a:lnTo>
                      <a:lnTo>
                        <a:pt x="333" y="1673"/>
                      </a:lnTo>
                      <a:lnTo>
                        <a:pt x="326" y="1680"/>
                      </a:lnTo>
                      <a:lnTo>
                        <a:pt x="345" y="1683"/>
                      </a:lnTo>
                      <a:lnTo>
                        <a:pt x="357" y="1676"/>
                      </a:lnTo>
                      <a:lnTo>
                        <a:pt x="366" y="1664"/>
                      </a:lnTo>
                      <a:lnTo>
                        <a:pt x="373" y="1662"/>
                      </a:lnTo>
                      <a:lnTo>
                        <a:pt x="388" y="1649"/>
                      </a:lnTo>
                      <a:lnTo>
                        <a:pt x="399" y="1649"/>
                      </a:lnTo>
                      <a:lnTo>
                        <a:pt x="413" y="1637"/>
                      </a:lnTo>
                      <a:lnTo>
                        <a:pt x="426" y="1611"/>
                      </a:lnTo>
                      <a:lnTo>
                        <a:pt x="429" y="1620"/>
                      </a:lnTo>
                      <a:lnTo>
                        <a:pt x="429" y="1630"/>
                      </a:lnTo>
                      <a:lnTo>
                        <a:pt x="425" y="1635"/>
                      </a:lnTo>
                      <a:lnTo>
                        <a:pt x="425" y="1642"/>
                      </a:lnTo>
                      <a:lnTo>
                        <a:pt x="426" y="1648"/>
                      </a:lnTo>
                      <a:lnTo>
                        <a:pt x="432" y="1654"/>
                      </a:lnTo>
                      <a:lnTo>
                        <a:pt x="436" y="1653"/>
                      </a:lnTo>
                      <a:lnTo>
                        <a:pt x="440" y="1659"/>
                      </a:lnTo>
                      <a:lnTo>
                        <a:pt x="446" y="1662"/>
                      </a:lnTo>
                      <a:lnTo>
                        <a:pt x="456" y="1653"/>
                      </a:lnTo>
                      <a:lnTo>
                        <a:pt x="458" y="1648"/>
                      </a:lnTo>
                      <a:lnTo>
                        <a:pt x="461" y="1652"/>
                      </a:lnTo>
                      <a:lnTo>
                        <a:pt x="466" y="1652"/>
                      </a:lnTo>
                      <a:lnTo>
                        <a:pt x="464" y="1658"/>
                      </a:lnTo>
                      <a:lnTo>
                        <a:pt x="470" y="1662"/>
                      </a:lnTo>
                      <a:lnTo>
                        <a:pt x="477" y="1670"/>
                      </a:lnTo>
                      <a:lnTo>
                        <a:pt x="491" y="1699"/>
                      </a:lnTo>
                      <a:lnTo>
                        <a:pt x="498" y="1703"/>
                      </a:lnTo>
                      <a:lnTo>
                        <a:pt x="501" y="1702"/>
                      </a:lnTo>
                      <a:lnTo>
                        <a:pt x="509" y="1694"/>
                      </a:lnTo>
                      <a:lnTo>
                        <a:pt x="509" y="1678"/>
                      </a:lnTo>
                      <a:lnTo>
                        <a:pt x="504" y="1668"/>
                      </a:lnTo>
                      <a:lnTo>
                        <a:pt x="506" y="1664"/>
                      </a:lnTo>
                      <a:lnTo>
                        <a:pt x="511" y="1654"/>
                      </a:lnTo>
                      <a:lnTo>
                        <a:pt x="520" y="1647"/>
                      </a:lnTo>
                      <a:lnTo>
                        <a:pt x="522" y="1641"/>
                      </a:lnTo>
                      <a:lnTo>
                        <a:pt x="526" y="1640"/>
                      </a:lnTo>
                      <a:lnTo>
                        <a:pt x="526" y="1647"/>
                      </a:lnTo>
                      <a:lnTo>
                        <a:pt x="522" y="1660"/>
                      </a:lnTo>
                      <a:lnTo>
                        <a:pt x="538" y="1676"/>
                      </a:lnTo>
                      <a:lnTo>
                        <a:pt x="548" y="1679"/>
                      </a:lnTo>
                      <a:lnTo>
                        <a:pt x="572" y="1667"/>
                      </a:lnTo>
                      <a:lnTo>
                        <a:pt x="590" y="1653"/>
                      </a:lnTo>
                      <a:lnTo>
                        <a:pt x="607" y="1636"/>
                      </a:lnTo>
                      <a:lnTo>
                        <a:pt x="619" y="1629"/>
                      </a:lnTo>
                      <a:lnTo>
                        <a:pt x="620" y="1632"/>
                      </a:lnTo>
                      <a:lnTo>
                        <a:pt x="606" y="1658"/>
                      </a:lnTo>
                      <a:lnTo>
                        <a:pt x="599" y="1663"/>
                      </a:lnTo>
                      <a:lnTo>
                        <a:pt x="603" y="1664"/>
                      </a:lnTo>
                      <a:lnTo>
                        <a:pt x="603" y="1667"/>
                      </a:lnTo>
                      <a:lnTo>
                        <a:pt x="595" y="1679"/>
                      </a:lnTo>
                      <a:lnTo>
                        <a:pt x="584" y="1686"/>
                      </a:lnTo>
                      <a:lnTo>
                        <a:pt x="579" y="1713"/>
                      </a:lnTo>
                      <a:lnTo>
                        <a:pt x="588" y="1714"/>
                      </a:lnTo>
                      <a:lnTo>
                        <a:pt x="575" y="1729"/>
                      </a:lnTo>
                      <a:lnTo>
                        <a:pt x="570" y="1760"/>
                      </a:lnTo>
                      <a:lnTo>
                        <a:pt x="569" y="1775"/>
                      </a:lnTo>
                      <a:lnTo>
                        <a:pt x="566" y="1783"/>
                      </a:lnTo>
                      <a:lnTo>
                        <a:pt x="560" y="1792"/>
                      </a:lnTo>
                      <a:lnTo>
                        <a:pt x="549" y="1814"/>
                      </a:lnTo>
                      <a:lnTo>
                        <a:pt x="545" y="1810"/>
                      </a:lnTo>
                      <a:lnTo>
                        <a:pt x="541" y="1812"/>
                      </a:lnTo>
                      <a:lnTo>
                        <a:pt x="538" y="1819"/>
                      </a:lnTo>
                      <a:lnTo>
                        <a:pt x="525" y="1837"/>
                      </a:lnTo>
                      <a:lnTo>
                        <a:pt x="522" y="1837"/>
                      </a:lnTo>
                      <a:lnTo>
                        <a:pt x="518" y="1846"/>
                      </a:lnTo>
                      <a:lnTo>
                        <a:pt x="516" y="1858"/>
                      </a:lnTo>
                      <a:lnTo>
                        <a:pt x="512" y="1866"/>
                      </a:lnTo>
                      <a:lnTo>
                        <a:pt x="506" y="1863"/>
                      </a:lnTo>
                      <a:lnTo>
                        <a:pt x="502" y="1867"/>
                      </a:lnTo>
                      <a:lnTo>
                        <a:pt x="498" y="1863"/>
                      </a:lnTo>
                      <a:lnTo>
                        <a:pt x="484" y="1877"/>
                      </a:lnTo>
                      <a:lnTo>
                        <a:pt x="472" y="1879"/>
                      </a:lnTo>
                      <a:lnTo>
                        <a:pt x="456" y="1891"/>
                      </a:lnTo>
                      <a:lnTo>
                        <a:pt x="451" y="1890"/>
                      </a:lnTo>
                      <a:lnTo>
                        <a:pt x="431" y="1910"/>
                      </a:lnTo>
                      <a:lnTo>
                        <a:pt x="423" y="1925"/>
                      </a:lnTo>
                      <a:lnTo>
                        <a:pt x="416" y="1932"/>
                      </a:lnTo>
                      <a:lnTo>
                        <a:pt x="414" y="1939"/>
                      </a:lnTo>
                      <a:lnTo>
                        <a:pt x="412" y="1952"/>
                      </a:lnTo>
                      <a:lnTo>
                        <a:pt x="410" y="1953"/>
                      </a:lnTo>
                      <a:lnTo>
                        <a:pt x="424" y="1958"/>
                      </a:lnTo>
                      <a:lnTo>
                        <a:pt x="427" y="1964"/>
                      </a:lnTo>
                      <a:lnTo>
                        <a:pt x="418" y="1963"/>
                      </a:lnTo>
                      <a:lnTo>
                        <a:pt x="412" y="1958"/>
                      </a:lnTo>
                      <a:lnTo>
                        <a:pt x="404" y="1955"/>
                      </a:lnTo>
                      <a:lnTo>
                        <a:pt x="403" y="1960"/>
                      </a:lnTo>
                      <a:lnTo>
                        <a:pt x="399" y="1963"/>
                      </a:lnTo>
                      <a:lnTo>
                        <a:pt x="394" y="1960"/>
                      </a:lnTo>
                      <a:lnTo>
                        <a:pt x="389" y="1953"/>
                      </a:lnTo>
                      <a:lnTo>
                        <a:pt x="393" y="1948"/>
                      </a:lnTo>
                      <a:lnTo>
                        <a:pt x="393" y="1943"/>
                      </a:lnTo>
                      <a:lnTo>
                        <a:pt x="383" y="1945"/>
                      </a:lnTo>
                      <a:lnTo>
                        <a:pt x="375" y="1942"/>
                      </a:lnTo>
                      <a:lnTo>
                        <a:pt x="370" y="1943"/>
                      </a:lnTo>
                      <a:lnTo>
                        <a:pt x="365" y="1947"/>
                      </a:lnTo>
                      <a:lnTo>
                        <a:pt x="349" y="1953"/>
                      </a:lnTo>
                      <a:lnTo>
                        <a:pt x="326" y="1968"/>
                      </a:lnTo>
                      <a:lnTo>
                        <a:pt x="310" y="1982"/>
                      </a:lnTo>
                      <a:lnTo>
                        <a:pt x="303" y="1992"/>
                      </a:lnTo>
                      <a:lnTo>
                        <a:pt x="301" y="1995"/>
                      </a:lnTo>
                      <a:lnTo>
                        <a:pt x="300" y="1997"/>
                      </a:lnTo>
                      <a:lnTo>
                        <a:pt x="300" y="2006"/>
                      </a:lnTo>
                      <a:lnTo>
                        <a:pt x="286" y="2013"/>
                      </a:lnTo>
                      <a:lnTo>
                        <a:pt x="286" y="2018"/>
                      </a:lnTo>
                      <a:lnTo>
                        <a:pt x="281" y="2022"/>
                      </a:lnTo>
                      <a:lnTo>
                        <a:pt x="276" y="2018"/>
                      </a:lnTo>
                      <a:lnTo>
                        <a:pt x="274" y="2018"/>
                      </a:lnTo>
                      <a:lnTo>
                        <a:pt x="270" y="2022"/>
                      </a:lnTo>
                      <a:lnTo>
                        <a:pt x="263" y="2026"/>
                      </a:lnTo>
                      <a:lnTo>
                        <a:pt x="258" y="2028"/>
                      </a:lnTo>
                      <a:lnTo>
                        <a:pt x="252" y="2031"/>
                      </a:lnTo>
                      <a:lnTo>
                        <a:pt x="252" y="2033"/>
                      </a:lnTo>
                      <a:lnTo>
                        <a:pt x="257" y="2033"/>
                      </a:lnTo>
                      <a:lnTo>
                        <a:pt x="260" y="2042"/>
                      </a:lnTo>
                      <a:lnTo>
                        <a:pt x="259" y="2054"/>
                      </a:lnTo>
                      <a:lnTo>
                        <a:pt x="263" y="2054"/>
                      </a:lnTo>
                      <a:lnTo>
                        <a:pt x="269" y="2050"/>
                      </a:lnTo>
                      <a:lnTo>
                        <a:pt x="271" y="2044"/>
                      </a:lnTo>
                      <a:lnTo>
                        <a:pt x="269" y="2031"/>
                      </a:lnTo>
                      <a:lnTo>
                        <a:pt x="274" y="2031"/>
                      </a:lnTo>
                      <a:lnTo>
                        <a:pt x="278" y="2040"/>
                      </a:lnTo>
                      <a:lnTo>
                        <a:pt x="284" y="2045"/>
                      </a:lnTo>
                      <a:lnTo>
                        <a:pt x="301" y="2038"/>
                      </a:lnTo>
                      <a:lnTo>
                        <a:pt x="297" y="2019"/>
                      </a:lnTo>
                      <a:lnTo>
                        <a:pt x="299" y="2017"/>
                      </a:lnTo>
                      <a:lnTo>
                        <a:pt x="305" y="2023"/>
                      </a:lnTo>
                      <a:lnTo>
                        <a:pt x="307" y="2028"/>
                      </a:lnTo>
                      <a:lnTo>
                        <a:pt x="306" y="2034"/>
                      </a:lnTo>
                      <a:lnTo>
                        <a:pt x="312" y="2034"/>
                      </a:lnTo>
                      <a:lnTo>
                        <a:pt x="316" y="2036"/>
                      </a:lnTo>
                      <a:lnTo>
                        <a:pt x="322" y="2033"/>
                      </a:lnTo>
                      <a:lnTo>
                        <a:pt x="324" y="2029"/>
                      </a:lnTo>
                      <a:lnTo>
                        <a:pt x="328" y="2031"/>
                      </a:lnTo>
                      <a:lnTo>
                        <a:pt x="332" y="2028"/>
                      </a:lnTo>
                      <a:lnTo>
                        <a:pt x="334" y="2020"/>
                      </a:lnTo>
                      <a:lnTo>
                        <a:pt x="342" y="2013"/>
                      </a:lnTo>
                      <a:lnTo>
                        <a:pt x="344" y="2001"/>
                      </a:lnTo>
                      <a:lnTo>
                        <a:pt x="349" y="1987"/>
                      </a:lnTo>
                      <a:lnTo>
                        <a:pt x="356" y="1982"/>
                      </a:lnTo>
                      <a:lnTo>
                        <a:pt x="364" y="1981"/>
                      </a:lnTo>
                      <a:lnTo>
                        <a:pt x="365" y="1992"/>
                      </a:lnTo>
                      <a:lnTo>
                        <a:pt x="357" y="2001"/>
                      </a:lnTo>
                      <a:lnTo>
                        <a:pt x="360" y="2006"/>
                      </a:lnTo>
                      <a:lnTo>
                        <a:pt x="373" y="2002"/>
                      </a:lnTo>
                      <a:lnTo>
                        <a:pt x="388" y="1993"/>
                      </a:lnTo>
                      <a:lnTo>
                        <a:pt x="402" y="1996"/>
                      </a:lnTo>
                      <a:lnTo>
                        <a:pt x="402" y="1990"/>
                      </a:lnTo>
                      <a:lnTo>
                        <a:pt x="404" y="1988"/>
                      </a:lnTo>
                      <a:lnTo>
                        <a:pt x="405" y="1983"/>
                      </a:lnTo>
                      <a:lnTo>
                        <a:pt x="413" y="1991"/>
                      </a:lnTo>
                      <a:lnTo>
                        <a:pt x="418" y="1982"/>
                      </a:lnTo>
                      <a:lnTo>
                        <a:pt x="419" y="1980"/>
                      </a:lnTo>
                      <a:lnTo>
                        <a:pt x="423" y="1976"/>
                      </a:lnTo>
                      <a:lnTo>
                        <a:pt x="432" y="1975"/>
                      </a:lnTo>
                      <a:lnTo>
                        <a:pt x="436" y="1969"/>
                      </a:lnTo>
                      <a:lnTo>
                        <a:pt x="441" y="1966"/>
                      </a:lnTo>
                      <a:lnTo>
                        <a:pt x="446" y="1966"/>
                      </a:lnTo>
                      <a:lnTo>
                        <a:pt x="450" y="1961"/>
                      </a:lnTo>
                      <a:lnTo>
                        <a:pt x="457" y="1961"/>
                      </a:lnTo>
                      <a:lnTo>
                        <a:pt x="459" y="1968"/>
                      </a:lnTo>
                      <a:lnTo>
                        <a:pt x="459" y="1979"/>
                      </a:lnTo>
                      <a:lnTo>
                        <a:pt x="458" y="1986"/>
                      </a:lnTo>
                      <a:lnTo>
                        <a:pt x="459" y="1987"/>
                      </a:lnTo>
                      <a:lnTo>
                        <a:pt x="468" y="1969"/>
                      </a:lnTo>
                      <a:lnTo>
                        <a:pt x="470" y="1955"/>
                      </a:lnTo>
                      <a:lnTo>
                        <a:pt x="473" y="1958"/>
                      </a:lnTo>
                      <a:lnTo>
                        <a:pt x="478" y="1958"/>
                      </a:lnTo>
                      <a:lnTo>
                        <a:pt x="495" y="1954"/>
                      </a:lnTo>
                      <a:lnTo>
                        <a:pt x="506" y="1945"/>
                      </a:lnTo>
                      <a:lnTo>
                        <a:pt x="512" y="1945"/>
                      </a:lnTo>
                      <a:lnTo>
                        <a:pt x="516" y="1941"/>
                      </a:lnTo>
                      <a:lnTo>
                        <a:pt x="515" y="1931"/>
                      </a:lnTo>
                      <a:lnTo>
                        <a:pt x="515" y="1925"/>
                      </a:lnTo>
                      <a:lnTo>
                        <a:pt x="506" y="1922"/>
                      </a:lnTo>
                      <a:lnTo>
                        <a:pt x="498" y="1915"/>
                      </a:lnTo>
                      <a:lnTo>
                        <a:pt x="493" y="1907"/>
                      </a:lnTo>
                      <a:lnTo>
                        <a:pt x="490" y="1898"/>
                      </a:lnTo>
                      <a:lnTo>
                        <a:pt x="495" y="1898"/>
                      </a:lnTo>
                      <a:lnTo>
                        <a:pt x="499" y="1909"/>
                      </a:lnTo>
                      <a:lnTo>
                        <a:pt x="504" y="1915"/>
                      </a:lnTo>
                      <a:lnTo>
                        <a:pt x="513" y="1916"/>
                      </a:lnTo>
                      <a:lnTo>
                        <a:pt x="528" y="1902"/>
                      </a:lnTo>
                      <a:lnTo>
                        <a:pt x="538" y="1899"/>
                      </a:lnTo>
                      <a:lnTo>
                        <a:pt x="556" y="1899"/>
                      </a:lnTo>
                      <a:lnTo>
                        <a:pt x="560" y="1890"/>
                      </a:lnTo>
                      <a:lnTo>
                        <a:pt x="558" y="1889"/>
                      </a:lnTo>
                      <a:lnTo>
                        <a:pt x="548" y="1891"/>
                      </a:lnTo>
                      <a:lnTo>
                        <a:pt x="552" y="1886"/>
                      </a:lnTo>
                      <a:lnTo>
                        <a:pt x="564" y="1879"/>
                      </a:lnTo>
                      <a:lnTo>
                        <a:pt x="569" y="1884"/>
                      </a:lnTo>
                      <a:lnTo>
                        <a:pt x="577" y="1884"/>
                      </a:lnTo>
                      <a:lnTo>
                        <a:pt x="576" y="1872"/>
                      </a:lnTo>
                      <a:lnTo>
                        <a:pt x="577" y="1864"/>
                      </a:lnTo>
                      <a:lnTo>
                        <a:pt x="584" y="1862"/>
                      </a:lnTo>
                      <a:lnTo>
                        <a:pt x="596" y="1867"/>
                      </a:lnTo>
                      <a:lnTo>
                        <a:pt x="609" y="1855"/>
                      </a:lnTo>
                      <a:lnTo>
                        <a:pt x="611" y="1850"/>
                      </a:lnTo>
                      <a:lnTo>
                        <a:pt x="615" y="1851"/>
                      </a:lnTo>
                      <a:lnTo>
                        <a:pt x="618" y="1848"/>
                      </a:lnTo>
                      <a:lnTo>
                        <a:pt x="619" y="1843"/>
                      </a:lnTo>
                      <a:lnTo>
                        <a:pt x="625" y="1847"/>
                      </a:lnTo>
                      <a:lnTo>
                        <a:pt x="627" y="1843"/>
                      </a:lnTo>
                      <a:lnTo>
                        <a:pt x="634" y="1839"/>
                      </a:lnTo>
                      <a:lnTo>
                        <a:pt x="639" y="1831"/>
                      </a:lnTo>
                      <a:lnTo>
                        <a:pt x="639" y="1818"/>
                      </a:lnTo>
                      <a:lnTo>
                        <a:pt x="633" y="1818"/>
                      </a:lnTo>
                      <a:lnTo>
                        <a:pt x="630" y="1815"/>
                      </a:lnTo>
                      <a:lnTo>
                        <a:pt x="635" y="1809"/>
                      </a:lnTo>
                      <a:lnTo>
                        <a:pt x="652" y="1797"/>
                      </a:lnTo>
                      <a:lnTo>
                        <a:pt x="655" y="1800"/>
                      </a:lnTo>
                      <a:lnTo>
                        <a:pt x="658" y="1788"/>
                      </a:lnTo>
                      <a:lnTo>
                        <a:pt x="672" y="1788"/>
                      </a:lnTo>
                      <a:lnTo>
                        <a:pt x="673" y="1783"/>
                      </a:lnTo>
                      <a:lnTo>
                        <a:pt x="676" y="1778"/>
                      </a:lnTo>
                      <a:lnTo>
                        <a:pt x="677" y="1770"/>
                      </a:lnTo>
                      <a:lnTo>
                        <a:pt x="684" y="1770"/>
                      </a:lnTo>
                      <a:lnTo>
                        <a:pt x="693" y="1775"/>
                      </a:lnTo>
                      <a:lnTo>
                        <a:pt x="698" y="1764"/>
                      </a:lnTo>
                      <a:lnTo>
                        <a:pt x="701" y="1762"/>
                      </a:lnTo>
                      <a:lnTo>
                        <a:pt x="708" y="1757"/>
                      </a:lnTo>
                      <a:lnTo>
                        <a:pt x="712" y="1751"/>
                      </a:lnTo>
                      <a:lnTo>
                        <a:pt x="714" y="1746"/>
                      </a:lnTo>
                      <a:lnTo>
                        <a:pt x="726" y="1742"/>
                      </a:lnTo>
                      <a:lnTo>
                        <a:pt x="740" y="1739"/>
                      </a:lnTo>
                      <a:lnTo>
                        <a:pt x="746" y="1729"/>
                      </a:lnTo>
                      <a:lnTo>
                        <a:pt x="752" y="1732"/>
                      </a:lnTo>
                      <a:lnTo>
                        <a:pt x="763" y="1726"/>
                      </a:lnTo>
                      <a:lnTo>
                        <a:pt x="764" y="1717"/>
                      </a:lnTo>
                      <a:lnTo>
                        <a:pt x="757" y="1712"/>
                      </a:lnTo>
                      <a:lnTo>
                        <a:pt x="767" y="1707"/>
                      </a:lnTo>
                      <a:lnTo>
                        <a:pt x="767" y="1703"/>
                      </a:lnTo>
                      <a:lnTo>
                        <a:pt x="765" y="1699"/>
                      </a:lnTo>
                      <a:lnTo>
                        <a:pt x="767" y="1692"/>
                      </a:lnTo>
                      <a:lnTo>
                        <a:pt x="773" y="1691"/>
                      </a:lnTo>
                      <a:lnTo>
                        <a:pt x="779" y="1681"/>
                      </a:lnTo>
                      <a:lnTo>
                        <a:pt x="796" y="1675"/>
                      </a:lnTo>
                      <a:lnTo>
                        <a:pt x="803" y="1668"/>
                      </a:lnTo>
                      <a:lnTo>
                        <a:pt x="805" y="1660"/>
                      </a:lnTo>
                      <a:lnTo>
                        <a:pt x="805" y="1653"/>
                      </a:lnTo>
                      <a:lnTo>
                        <a:pt x="801" y="1649"/>
                      </a:lnTo>
                      <a:lnTo>
                        <a:pt x="787" y="1642"/>
                      </a:lnTo>
                      <a:lnTo>
                        <a:pt x="785" y="1637"/>
                      </a:lnTo>
                      <a:lnTo>
                        <a:pt x="776" y="1633"/>
                      </a:lnTo>
                      <a:lnTo>
                        <a:pt x="762" y="1638"/>
                      </a:lnTo>
                      <a:lnTo>
                        <a:pt x="757" y="1636"/>
                      </a:lnTo>
                      <a:lnTo>
                        <a:pt x="765" y="1605"/>
                      </a:lnTo>
                      <a:lnTo>
                        <a:pt x="765" y="1600"/>
                      </a:lnTo>
                      <a:lnTo>
                        <a:pt x="779" y="1598"/>
                      </a:lnTo>
                      <a:lnTo>
                        <a:pt x="785" y="1592"/>
                      </a:lnTo>
                      <a:lnTo>
                        <a:pt x="785" y="1586"/>
                      </a:lnTo>
                      <a:lnTo>
                        <a:pt x="791" y="1582"/>
                      </a:lnTo>
                      <a:lnTo>
                        <a:pt x="791" y="1574"/>
                      </a:lnTo>
                      <a:lnTo>
                        <a:pt x="790" y="1566"/>
                      </a:lnTo>
                      <a:lnTo>
                        <a:pt x="795" y="1570"/>
                      </a:lnTo>
                      <a:lnTo>
                        <a:pt x="797" y="1561"/>
                      </a:lnTo>
                      <a:lnTo>
                        <a:pt x="805" y="1559"/>
                      </a:lnTo>
                      <a:lnTo>
                        <a:pt x="805" y="1568"/>
                      </a:lnTo>
                      <a:lnTo>
                        <a:pt x="816" y="1566"/>
                      </a:lnTo>
                      <a:lnTo>
                        <a:pt x="822" y="1561"/>
                      </a:lnTo>
                      <a:lnTo>
                        <a:pt x="822" y="1554"/>
                      </a:lnTo>
                      <a:lnTo>
                        <a:pt x="812" y="1550"/>
                      </a:lnTo>
                      <a:lnTo>
                        <a:pt x="818" y="1546"/>
                      </a:lnTo>
                      <a:lnTo>
                        <a:pt x="834" y="1545"/>
                      </a:lnTo>
                      <a:lnTo>
                        <a:pt x="843" y="1533"/>
                      </a:lnTo>
                      <a:lnTo>
                        <a:pt x="843" y="1525"/>
                      </a:lnTo>
                      <a:lnTo>
                        <a:pt x="840" y="1519"/>
                      </a:lnTo>
                      <a:lnTo>
                        <a:pt x="821" y="1502"/>
                      </a:lnTo>
                      <a:lnTo>
                        <a:pt x="827" y="1501"/>
                      </a:lnTo>
                      <a:lnTo>
                        <a:pt x="833" y="1508"/>
                      </a:lnTo>
                      <a:lnTo>
                        <a:pt x="846" y="1508"/>
                      </a:lnTo>
                      <a:lnTo>
                        <a:pt x="864" y="1490"/>
                      </a:lnTo>
                      <a:lnTo>
                        <a:pt x="870" y="1470"/>
                      </a:lnTo>
                      <a:lnTo>
                        <a:pt x="889" y="1447"/>
                      </a:lnTo>
                      <a:lnTo>
                        <a:pt x="892" y="1433"/>
                      </a:lnTo>
                      <a:lnTo>
                        <a:pt x="925" y="1415"/>
                      </a:lnTo>
                      <a:lnTo>
                        <a:pt x="950" y="1390"/>
                      </a:lnTo>
                      <a:lnTo>
                        <a:pt x="950" y="1383"/>
                      </a:lnTo>
                      <a:lnTo>
                        <a:pt x="948" y="1374"/>
                      </a:lnTo>
                      <a:lnTo>
                        <a:pt x="950" y="1362"/>
                      </a:lnTo>
                      <a:lnTo>
                        <a:pt x="953" y="1353"/>
                      </a:lnTo>
                      <a:lnTo>
                        <a:pt x="959" y="1342"/>
                      </a:lnTo>
                      <a:lnTo>
                        <a:pt x="973" y="1305"/>
                      </a:lnTo>
                      <a:lnTo>
                        <a:pt x="974" y="1296"/>
                      </a:lnTo>
                      <a:lnTo>
                        <a:pt x="974" y="1287"/>
                      </a:lnTo>
                      <a:lnTo>
                        <a:pt x="977" y="1276"/>
                      </a:lnTo>
                      <a:lnTo>
                        <a:pt x="982" y="1278"/>
                      </a:lnTo>
                      <a:lnTo>
                        <a:pt x="983" y="1287"/>
                      </a:lnTo>
                      <a:lnTo>
                        <a:pt x="978" y="1329"/>
                      </a:lnTo>
                      <a:lnTo>
                        <a:pt x="973" y="1342"/>
                      </a:lnTo>
                      <a:lnTo>
                        <a:pt x="961" y="1364"/>
                      </a:lnTo>
                      <a:lnTo>
                        <a:pt x="957" y="1378"/>
                      </a:lnTo>
                      <a:lnTo>
                        <a:pt x="957" y="1390"/>
                      </a:lnTo>
                      <a:lnTo>
                        <a:pt x="962" y="1395"/>
                      </a:lnTo>
                      <a:lnTo>
                        <a:pt x="983" y="1394"/>
                      </a:lnTo>
                      <a:lnTo>
                        <a:pt x="1002" y="1373"/>
                      </a:lnTo>
                      <a:lnTo>
                        <a:pt x="1017" y="1366"/>
                      </a:lnTo>
                      <a:lnTo>
                        <a:pt x="1027" y="1364"/>
                      </a:lnTo>
                      <a:lnTo>
                        <a:pt x="1018" y="1374"/>
                      </a:lnTo>
                      <a:lnTo>
                        <a:pt x="1011" y="1378"/>
                      </a:lnTo>
                      <a:lnTo>
                        <a:pt x="1001" y="1385"/>
                      </a:lnTo>
                      <a:lnTo>
                        <a:pt x="996" y="1395"/>
                      </a:lnTo>
                      <a:lnTo>
                        <a:pt x="988" y="1401"/>
                      </a:lnTo>
                      <a:lnTo>
                        <a:pt x="988" y="1411"/>
                      </a:lnTo>
                      <a:lnTo>
                        <a:pt x="995" y="1418"/>
                      </a:lnTo>
                      <a:lnTo>
                        <a:pt x="1021" y="1425"/>
                      </a:lnTo>
                      <a:lnTo>
                        <a:pt x="1042" y="1436"/>
                      </a:lnTo>
                      <a:lnTo>
                        <a:pt x="999" y="1428"/>
                      </a:lnTo>
                      <a:lnTo>
                        <a:pt x="983" y="1436"/>
                      </a:lnTo>
                      <a:lnTo>
                        <a:pt x="975" y="1434"/>
                      </a:lnTo>
                      <a:lnTo>
                        <a:pt x="968" y="1422"/>
                      </a:lnTo>
                      <a:lnTo>
                        <a:pt x="962" y="1423"/>
                      </a:lnTo>
                      <a:lnTo>
                        <a:pt x="954" y="1428"/>
                      </a:lnTo>
                      <a:lnTo>
                        <a:pt x="946" y="1437"/>
                      </a:lnTo>
                      <a:lnTo>
                        <a:pt x="918" y="1450"/>
                      </a:lnTo>
                      <a:lnTo>
                        <a:pt x="913" y="1459"/>
                      </a:lnTo>
                      <a:lnTo>
                        <a:pt x="916" y="1471"/>
                      </a:lnTo>
                      <a:lnTo>
                        <a:pt x="916" y="1487"/>
                      </a:lnTo>
                      <a:lnTo>
                        <a:pt x="914" y="1504"/>
                      </a:lnTo>
                      <a:lnTo>
                        <a:pt x="910" y="1513"/>
                      </a:lnTo>
                      <a:lnTo>
                        <a:pt x="902" y="1522"/>
                      </a:lnTo>
                      <a:lnTo>
                        <a:pt x="897" y="1534"/>
                      </a:lnTo>
                      <a:lnTo>
                        <a:pt x="896" y="1541"/>
                      </a:lnTo>
                      <a:lnTo>
                        <a:pt x="891" y="1551"/>
                      </a:lnTo>
                      <a:lnTo>
                        <a:pt x="888" y="1561"/>
                      </a:lnTo>
                      <a:lnTo>
                        <a:pt x="892" y="1567"/>
                      </a:lnTo>
                      <a:lnTo>
                        <a:pt x="904" y="1574"/>
                      </a:lnTo>
                      <a:lnTo>
                        <a:pt x="931" y="1557"/>
                      </a:lnTo>
                      <a:lnTo>
                        <a:pt x="936" y="1559"/>
                      </a:lnTo>
                      <a:lnTo>
                        <a:pt x="931" y="1571"/>
                      </a:lnTo>
                      <a:lnTo>
                        <a:pt x="926" y="1579"/>
                      </a:lnTo>
                      <a:lnTo>
                        <a:pt x="919" y="1586"/>
                      </a:lnTo>
                      <a:lnTo>
                        <a:pt x="913" y="1586"/>
                      </a:lnTo>
                      <a:lnTo>
                        <a:pt x="912" y="1589"/>
                      </a:lnTo>
                      <a:lnTo>
                        <a:pt x="916" y="1593"/>
                      </a:lnTo>
                      <a:lnTo>
                        <a:pt x="904" y="1589"/>
                      </a:lnTo>
                      <a:lnTo>
                        <a:pt x="902" y="1589"/>
                      </a:lnTo>
                      <a:lnTo>
                        <a:pt x="899" y="1592"/>
                      </a:lnTo>
                      <a:lnTo>
                        <a:pt x="898" y="1598"/>
                      </a:lnTo>
                      <a:lnTo>
                        <a:pt x="892" y="1592"/>
                      </a:lnTo>
                      <a:lnTo>
                        <a:pt x="888" y="1598"/>
                      </a:lnTo>
                      <a:lnTo>
                        <a:pt x="889" y="1604"/>
                      </a:lnTo>
                      <a:lnTo>
                        <a:pt x="883" y="1606"/>
                      </a:lnTo>
                      <a:lnTo>
                        <a:pt x="883" y="1615"/>
                      </a:lnTo>
                      <a:lnTo>
                        <a:pt x="892" y="1617"/>
                      </a:lnTo>
                      <a:lnTo>
                        <a:pt x="896" y="1622"/>
                      </a:lnTo>
                      <a:lnTo>
                        <a:pt x="907" y="1619"/>
                      </a:lnTo>
                      <a:lnTo>
                        <a:pt x="923" y="1617"/>
                      </a:lnTo>
                      <a:lnTo>
                        <a:pt x="923" y="1608"/>
                      </a:lnTo>
                      <a:lnTo>
                        <a:pt x="924" y="1605"/>
                      </a:lnTo>
                      <a:lnTo>
                        <a:pt x="932" y="1609"/>
                      </a:lnTo>
                      <a:lnTo>
                        <a:pt x="939" y="1614"/>
                      </a:lnTo>
                      <a:lnTo>
                        <a:pt x="948" y="1595"/>
                      </a:lnTo>
                      <a:lnTo>
                        <a:pt x="957" y="1584"/>
                      </a:lnTo>
                      <a:lnTo>
                        <a:pt x="963" y="1586"/>
                      </a:lnTo>
                      <a:lnTo>
                        <a:pt x="970" y="1581"/>
                      </a:lnTo>
                      <a:lnTo>
                        <a:pt x="970" y="1592"/>
                      </a:lnTo>
                      <a:lnTo>
                        <a:pt x="968" y="1603"/>
                      </a:lnTo>
                      <a:lnTo>
                        <a:pt x="980" y="1583"/>
                      </a:lnTo>
                      <a:lnTo>
                        <a:pt x="980" y="1572"/>
                      </a:lnTo>
                      <a:lnTo>
                        <a:pt x="993" y="1565"/>
                      </a:lnTo>
                      <a:lnTo>
                        <a:pt x="997" y="1568"/>
                      </a:lnTo>
                      <a:lnTo>
                        <a:pt x="1002" y="1560"/>
                      </a:lnTo>
                      <a:lnTo>
                        <a:pt x="1000" y="1550"/>
                      </a:lnTo>
                      <a:lnTo>
                        <a:pt x="1001" y="1546"/>
                      </a:lnTo>
                      <a:lnTo>
                        <a:pt x="1005" y="1540"/>
                      </a:lnTo>
                      <a:lnTo>
                        <a:pt x="1007" y="1554"/>
                      </a:lnTo>
                      <a:lnTo>
                        <a:pt x="1011" y="1566"/>
                      </a:lnTo>
                      <a:lnTo>
                        <a:pt x="1013" y="1551"/>
                      </a:lnTo>
                      <a:lnTo>
                        <a:pt x="1015" y="1540"/>
                      </a:lnTo>
                      <a:lnTo>
                        <a:pt x="1020" y="1534"/>
                      </a:lnTo>
                      <a:lnTo>
                        <a:pt x="1020" y="1524"/>
                      </a:lnTo>
                      <a:lnTo>
                        <a:pt x="1023" y="1536"/>
                      </a:lnTo>
                      <a:lnTo>
                        <a:pt x="1028" y="1534"/>
                      </a:lnTo>
                      <a:lnTo>
                        <a:pt x="1033" y="1534"/>
                      </a:lnTo>
                      <a:lnTo>
                        <a:pt x="1038" y="1538"/>
                      </a:lnTo>
                      <a:lnTo>
                        <a:pt x="1055" y="1540"/>
                      </a:lnTo>
                      <a:lnTo>
                        <a:pt x="1064" y="1534"/>
                      </a:lnTo>
                      <a:lnTo>
                        <a:pt x="1069" y="1533"/>
                      </a:lnTo>
                      <a:lnTo>
                        <a:pt x="1074" y="1518"/>
                      </a:lnTo>
                      <a:lnTo>
                        <a:pt x="1077" y="1519"/>
                      </a:lnTo>
                      <a:lnTo>
                        <a:pt x="1083" y="1517"/>
                      </a:lnTo>
                      <a:lnTo>
                        <a:pt x="1088" y="1509"/>
                      </a:lnTo>
                      <a:lnTo>
                        <a:pt x="1085" y="1508"/>
                      </a:lnTo>
                      <a:lnTo>
                        <a:pt x="1082" y="1504"/>
                      </a:lnTo>
                      <a:lnTo>
                        <a:pt x="1076" y="1506"/>
                      </a:lnTo>
                      <a:lnTo>
                        <a:pt x="1081" y="1496"/>
                      </a:lnTo>
                      <a:lnTo>
                        <a:pt x="1088" y="1486"/>
                      </a:lnTo>
                      <a:lnTo>
                        <a:pt x="1093" y="1486"/>
                      </a:lnTo>
                      <a:lnTo>
                        <a:pt x="1096" y="1476"/>
                      </a:lnTo>
                      <a:lnTo>
                        <a:pt x="1091" y="1469"/>
                      </a:lnTo>
                      <a:lnTo>
                        <a:pt x="1082" y="1477"/>
                      </a:lnTo>
                      <a:lnTo>
                        <a:pt x="1076" y="1477"/>
                      </a:lnTo>
                      <a:lnTo>
                        <a:pt x="1065" y="1482"/>
                      </a:lnTo>
                      <a:lnTo>
                        <a:pt x="1064" y="1474"/>
                      </a:lnTo>
                      <a:lnTo>
                        <a:pt x="1074" y="1470"/>
                      </a:lnTo>
                      <a:lnTo>
                        <a:pt x="1082" y="1463"/>
                      </a:lnTo>
                      <a:lnTo>
                        <a:pt x="1083" y="1453"/>
                      </a:lnTo>
                      <a:lnTo>
                        <a:pt x="1076" y="1458"/>
                      </a:lnTo>
                      <a:lnTo>
                        <a:pt x="1076" y="1453"/>
                      </a:lnTo>
                      <a:lnTo>
                        <a:pt x="1066" y="1454"/>
                      </a:lnTo>
                      <a:lnTo>
                        <a:pt x="1066" y="1448"/>
                      </a:lnTo>
                      <a:lnTo>
                        <a:pt x="1063" y="1447"/>
                      </a:lnTo>
                      <a:lnTo>
                        <a:pt x="1066" y="1439"/>
                      </a:lnTo>
                      <a:lnTo>
                        <a:pt x="1077" y="1436"/>
                      </a:lnTo>
                      <a:lnTo>
                        <a:pt x="1083" y="1425"/>
                      </a:lnTo>
                      <a:lnTo>
                        <a:pt x="1074" y="1423"/>
                      </a:lnTo>
                      <a:lnTo>
                        <a:pt x="1082" y="1411"/>
                      </a:lnTo>
                      <a:lnTo>
                        <a:pt x="1086" y="1409"/>
                      </a:lnTo>
                      <a:lnTo>
                        <a:pt x="1090" y="1417"/>
                      </a:lnTo>
                      <a:lnTo>
                        <a:pt x="1093" y="1416"/>
                      </a:lnTo>
                      <a:lnTo>
                        <a:pt x="1098" y="1405"/>
                      </a:lnTo>
                      <a:lnTo>
                        <a:pt x="1109" y="1394"/>
                      </a:lnTo>
                      <a:lnTo>
                        <a:pt x="1109" y="1404"/>
                      </a:lnTo>
                      <a:lnTo>
                        <a:pt x="1099" y="1421"/>
                      </a:lnTo>
                      <a:lnTo>
                        <a:pt x="1096" y="1431"/>
                      </a:lnTo>
                      <a:lnTo>
                        <a:pt x="1102" y="1437"/>
                      </a:lnTo>
                      <a:lnTo>
                        <a:pt x="1111" y="1436"/>
                      </a:lnTo>
                      <a:lnTo>
                        <a:pt x="1114" y="1431"/>
                      </a:lnTo>
                      <a:lnTo>
                        <a:pt x="1114" y="1415"/>
                      </a:lnTo>
                      <a:lnTo>
                        <a:pt x="1115" y="1405"/>
                      </a:lnTo>
                      <a:lnTo>
                        <a:pt x="1120" y="1418"/>
                      </a:lnTo>
                      <a:lnTo>
                        <a:pt x="1120" y="1426"/>
                      </a:lnTo>
                      <a:lnTo>
                        <a:pt x="1128" y="1427"/>
                      </a:lnTo>
                      <a:lnTo>
                        <a:pt x="1144" y="1425"/>
                      </a:lnTo>
                      <a:lnTo>
                        <a:pt x="1150" y="1426"/>
                      </a:lnTo>
                      <a:lnTo>
                        <a:pt x="1160" y="1423"/>
                      </a:lnTo>
                      <a:lnTo>
                        <a:pt x="1166" y="1414"/>
                      </a:lnTo>
                      <a:lnTo>
                        <a:pt x="1178" y="1409"/>
                      </a:lnTo>
                      <a:lnTo>
                        <a:pt x="1190" y="1409"/>
                      </a:lnTo>
                      <a:lnTo>
                        <a:pt x="1189" y="1412"/>
                      </a:lnTo>
                      <a:lnTo>
                        <a:pt x="1173" y="1415"/>
                      </a:lnTo>
                      <a:lnTo>
                        <a:pt x="1173" y="1422"/>
                      </a:lnTo>
                      <a:lnTo>
                        <a:pt x="1171" y="1432"/>
                      </a:lnTo>
                      <a:lnTo>
                        <a:pt x="1171" y="1439"/>
                      </a:lnTo>
                      <a:lnTo>
                        <a:pt x="1177" y="1442"/>
                      </a:lnTo>
                      <a:lnTo>
                        <a:pt x="1194" y="1436"/>
                      </a:lnTo>
                      <a:lnTo>
                        <a:pt x="1195" y="1441"/>
                      </a:lnTo>
                      <a:lnTo>
                        <a:pt x="1179" y="1450"/>
                      </a:lnTo>
                      <a:lnTo>
                        <a:pt x="1168" y="1454"/>
                      </a:lnTo>
                      <a:lnTo>
                        <a:pt x="1183" y="1457"/>
                      </a:lnTo>
                      <a:lnTo>
                        <a:pt x="1190" y="1448"/>
                      </a:lnTo>
                      <a:lnTo>
                        <a:pt x="1200" y="1443"/>
                      </a:lnTo>
                      <a:lnTo>
                        <a:pt x="1204" y="1446"/>
                      </a:lnTo>
                      <a:lnTo>
                        <a:pt x="1190" y="1463"/>
                      </a:lnTo>
                      <a:lnTo>
                        <a:pt x="1208" y="1458"/>
                      </a:lnTo>
                      <a:lnTo>
                        <a:pt x="1212" y="1461"/>
                      </a:lnTo>
                      <a:lnTo>
                        <a:pt x="1222" y="1460"/>
                      </a:lnTo>
                      <a:lnTo>
                        <a:pt x="1224" y="1463"/>
                      </a:lnTo>
                      <a:lnTo>
                        <a:pt x="1216" y="1475"/>
                      </a:lnTo>
                      <a:lnTo>
                        <a:pt x="1224" y="1477"/>
                      </a:lnTo>
                      <a:lnTo>
                        <a:pt x="1238" y="1495"/>
                      </a:lnTo>
                      <a:lnTo>
                        <a:pt x="1246" y="1498"/>
                      </a:lnTo>
                      <a:lnTo>
                        <a:pt x="1253" y="1497"/>
                      </a:lnTo>
                      <a:lnTo>
                        <a:pt x="1253" y="1493"/>
                      </a:lnTo>
                      <a:lnTo>
                        <a:pt x="1254" y="1490"/>
                      </a:lnTo>
                      <a:lnTo>
                        <a:pt x="1254" y="1485"/>
                      </a:lnTo>
                      <a:lnTo>
                        <a:pt x="1258" y="1482"/>
                      </a:lnTo>
                      <a:lnTo>
                        <a:pt x="1263" y="1481"/>
                      </a:lnTo>
                      <a:lnTo>
                        <a:pt x="1268" y="1485"/>
                      </a:lnTo>
                      <a:lnTo>
                        <a:pt x="1270" y="1491"/>
                      </a:lnTo>
                      <a:lnTo>
                        <a:pt x="1270" y="1500"/>
                      </a:lnTo>
                      <a:lnTo>
                        <a:pt x="1279" y="1506"/>
                      </a:lnTo>
                      <a:lnTo>
                        <a:pt x="1284" y="1512"/>
                      </a:lnTo>
                      <a:lnTo>
                        <a:pt x="1287" y="1514"/>
                      </a:lnTo>
                      <a:lnTo>
                        <a:pt x="1289" y="1509"/>
                      </a:lnTo>
                      <a:lnTo>
                        <a:pt x="1296" y="1514"/>
                      </a:lnTo>
                      <a:lnTo>
                        <a:pt x="1301" y="1513"/>
                      </a:lnTo>
                      <a:lnTo>
                        <a:pt x="1307" y="1517"/>
                      </a:lnTo>
                      <a:lnTo>
                        <a:pt x="1313" y="1524"/>
                      </a:lnTo>
                      <a:lnTo>
                        <a:pt x="1313" y="1528"/>
                      </a:lnTo>
                      <a:lnTo>
                        <a:pt x="1312" y="1531"/>
                      </a:lnTo>
                      <a:lnTo>
                        <a:pt x="1316" y="1534"/>
                      </a:lnTo>
                      <a:lnTo>
                        <a:pt x="1324" y="1535"/>
                      </a:lnTo>
                      <a:lnTo>
                        <a:pt x="1337" y="1530"/>
                      </a:lnTo>
                      <a:lnTo>
                        <a:pt x="1370" y="1529"/>
                      </a:lnTo>
                      <a:lnTo>
                        <a:pt x="1373" y="1523"/>
                      </a:lnTo>
                      <a:lnTo>
                        <a:pt x="1383" y="1528"/>
                      </a:lnTo>
                      <a:lnTo>
                        <a:pt x="1387" y="1523"/>
                      </a:lnTo>
                      <a:lnTo>
                        <a:pt x="1399" y="1525"/>
                      </a:lnTo>
                      <a:lnTo>
                        <a:pt x="1405" y="1531"/>
                      </a:lnTo>
                      <a:lnTo>
                        <a:pt x="1437" y="1538"/>
                      </a:lnTo>
                      <a:lnTo>
                        <a:pt x="1445" y="1539"/>
                      </a:lnTo>
                      <a:lnTo>
                        <a:pt x="1459" y="1531"/>
                      </a:lnTo>
                      <a:lnTo>
                        <a:pt x="1466" y="1536"/>
                      </a:lnTo>
                      <a:lnTo>
                        <a:pt x="1467" y="1539"/>
                      </a:lnTo>
                      <a:lnTo>
                        <a:pt x="1459" y="1541"/>
                      </a:lnTo>
                      <a:lnTo>
                        <a:pt x="1458" y="1545"/>
                      </a:lnTo>
                      <a:lnTo>
                        <a:pt x="1463" y="1549"/>
                      </a:lnTo>
                      <a:lnTo>
                        <a:pt x="1483" y="1557"/>
                      </a:lnTo>
                      <a:lnTo>
                        <a:pt x="1504" y="1562"/>
                      </a:lnTo>
                      <a:lnTo>
                        <a:pt x="1522" y="1565"/>
                      </a:lnTo>
                      <a:lnTo>
                        <a:pt x="1540" y="1556"/>
                      </a:lnTo>
                      <a:lnTo>
                        <a:pt x="1555" y="1538"/>
                      </a:lnTo>
                      <a:lnTo>
                        <a:pt x="1559" y="1529"/>
                      </a:lnTo>
                      <a:lnTo>
                        <a:pt x="1563" y="1525"/>
                      </a:lnTo>
                      <a:lnTo>
                        <a:pt x="1574" y="1540"/>
                      </a:lnTo>
                      <a:lnTo>
                        <a:pt x="1580" y="1546"/>
                      </a:lnTo>
                      <a:lnTo>
                        <a:pt x="1590" y="1550"/>
                      </a:lnTo>
                      <a:lnTo>
                        <a:pt x="1586" y="1551"/>
                      </a:lnTo>
                      <a:lnTo>
                        <a:pt x="1579" y="1557"/>
                      </a:lnTo>
                      <a:lnTo>
                        <a:pt x="1579" y="1565"/>
                      </a:lnTo>
                      <a:lnTo>
                        <a:pt x="1580" y="1571"/>
                      </a:lnTo>
                      <a:lnTo>
                        <a:pt x="1581" y="1578"/>
                      </a:lnTo>
                      <a:lnTo>
                        <a:pt x="1579" y="1582"/>
                      </a:lnTo>
                      <a:lnTo>
                        <a:pt x="1574" y="1577"/>
                      </a:lnTo>
                      <a:lnTo>
                        <a:pt x="1572" y="1557"/>
                      </a:lnTo>
                      <a:lnTo>
                        <a:pt x="1574" y="1552"/>
                      </a:lnTo>
                      <a:lnTo>
                        <a:pt x="1574" y="1545"/>
                      </a:lnTo>
                      <a:lnTo>
                        <a:pt x="1570" y="1539"/>
                      </a:lnTo>
                      <a:lnTo>
                        <a:pt x="1567" y="1536"/>
                      </a:lnTo>
                      <a:lnTo>
                        <a:pt x="1563" y="1541"/>
                      </a:lnTo>
                      <a:lnTo>
                        <a:pt x="1561" y="1546"/>
                      </a:lnTo>
                      <a:lnTo>
                        <a:pt x="1561" y="1560"/>
                      </a:lnTo>
                      <a:lnTo>
                        <a:pt x="1564" y="1563"/>
                      </a:lnTo>
                      <a:lnTo>
                        <a:pt x="1564" y="1570"/>
                      </a:lnTo>
                      <a:lnTo>
                        <a:pt x="1563" y="1574"/>
                      </a:lnTo>
                      <a:lnTo>
                        <a:pt x="1560" y="1578"/>
                      </a:lnTo>
                      <a:lnTo>
                        <a:pt x="1555" y="1579"/>
                      </a:lnTo>
                      <a:lnTo>
                        <a:pt x="1548" y="1587"/>
                      </a:lnTo>
                      <a:lnTo>
                        <a:pt x="1552" y="1592"/>
                      </a:lnTo>
                      <a:lnTo>
                        <a:pt x="1567" y="1595"/>
                      </a:lnTo>
                      <a:lnTo>
                        <a:pt x="1567" y="1599"/>
                      </a:lnTo>
                      <a:lnTo>
                        <a:pt x="1572" y="1601"/>
                      </a:lnTo>
                      <a:lnTo>
                        <a:pt x="1579" y="1601"/>
                      </a:lnTo>
                      <a:lnTo>
                        <a:pt x="1581" y="1603"/>
                      </a:lnTo>
                      <a:lnTo>
                        <a:pt x="1580" y="1606"/>
                      </a:lnTo>
                      <a:lnTo>
                        <a:pt x="1598" y="1614"/>
                      </a:lnTo>
                      <a:lnTo>
                        <a:pt x="1612" y="1627"/>
                      </a:lnTo>
                      <a:lnTo>
                        <a:pt x="1612" y="1624"/>
                      </a:lnTo>
                      <a:lnTo>
                        <a:pt x="1615" y="1620"/>
                      </a:lnTo>
                      <a:lnTo>
                        <a:pt x="1629" y="1620"/>
                      </a:lnTo>
                      <a:lnTo>
                        <a:pt x="1630" y="1619"/>
                      </a:lnTo>
                      <a:lnTo>
                        <a:pt x="1631" y="1608"/>
                      </a:lnTo>
                      <a:lnTo>
                        <a:pt x="1628" y="1599"/>
                      </a:lnTo>
                      <a:lnTo>
                        <a:pt x="1630" y="1598"/>
                      </a:lnTo>
                      <a:lnTo>
                        <a:pt x="1635" y="1600"/>
                      </a:lnTo>
                      <a:lnTo>
                        <a:pt x="1638" y="1595"/>
                      </a:lnTo>
                      <a:lnTo>
                        <a:pt x="1635" y="1592"/>
                      </a:lnTo>
                      <a:lnTo>
                        <a:pt x="1608" y="1557"/>
                      </a:lnTo>
                      <a:lnTo>
                        <a:pt x="1603" y="1546"/>
                      </a:lnTo>
                      <a:lnTo>
                        <a:pt x="1590" y="1535"/>
                      </a:lnTo>
                      <a:lnTo>
                        <a:pt x="1583" y="1529"/>
                      </a:lnTo>
                      <a:lnTo>
                        <a:pt x="1587" y="1529"/>
                      </a:lnTo>
                      <a:lnTo>
                        <a:pt x="1587" y="1523"/>
                      </a:lnTo>
                      <a:lnTo>
                        <a:pt x="1587" y="1501"/>
                      </a:lnTo>
                      <a:lnTo>
                        <a:pt x="1554" y="1502"/>
                      </a:lnTo>
                      <a:lnTo>
                        <a:pt x="1542" y="1517"/>
                      </a:lnTo>
                      <a:lnTo>
                        <a:pt x="1536" y="1514"/>
                      </a:lnTo>
                      <a:lnTo>
                        <a:pt x="1521" y="1503"/>
                      </a:lnTo>
                      <a:lnTo>
                        <a:pt x="1506" y="1514"/>
                      </a:lnTo>
                      <a:lnTo>
                        <a:pt x="1486" y="1502"/>
                      </a:lnTo>
                      <a:lnTo>
                        <a:pt x="1486" y="146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23" name="Freeform 276"/>
                <p:cNvSpPr>
                  <a:spLocks noChangeAspect="1"/>
                </p:cNvSpPr>
                <p:nvPr/>
              </p:nvSpPr>
              <p:spPr bwMode="gray">
                <a:xfrm>
                  <a:off x="999" y="1668"/>
                  <a:ext cx="91" cy="101"/>
                </a:xfrm>
                <a:custGeom>
                  <a:avLst/>
                  <a:gdLst/>
                  <a:ahLst/>
                  <a:cxnLst>
                    <a:cxn ang="0">
                      <a:pos x="39" y="90"/>
                    </a:cxn>
                    <a:cxn ang="0">
                      <a:pos x="91" y="60"/>
                    </a:cxn>
                    <a:cxn ang="0">
                      <a:pos x="103" y="29"/>
                    </a:cxn>
                    <a:cxn ang="0">
                      <a:pos x="162" y="7"/>
                    </a:cxn>
                    <a:cxn ang="0">
                      <a:pos x="192" y="55"/>
                    </a:cxn>
                    <a:cxn ang="0">
                      <a:pos x="214" y="100"/>
                    </a:cxn>
                    <a:cxn ang="0">
                      <a:pos x="292" y="206"/>
                    </a:cxn>
                    <a:cxn ang="0">
                      <a:pos x="322" y="262"/>
                    </a:cxn>
                    <a:cxn ang="0">
                      <a:pos x="334" y="292"/>
                    </a:cxn>
                    <a:cxn ang="0">
                      <a:pos x="353" y="335"/>
                    </a:cxn>
                    <a:cxn ang="0">
                      <a:pos x="450" y="384"/>
                    </a:cxn>
                    <a:cxn ang="0">
                      <a:pos x="451" y="416"/>
                    </a:cxn>
                    <a:cxn ang="0">
                      <a:pos x="451" y="474"/>
                    </a:cxn>
                    <a:cxn ang="0">
                      <a:pos x="424" y="498"/>
                    </a:cxn>
                    <a:cxn ang="0">
                      <a:pos x="404" y="506"/>
                    </a:cxn>
                    <a:cxn ang="0">
                      <a:pos x="416" y="479"/>
                    </a:cxn>
                    <a:cxn ang="0">
                      <a:pos x="421" y="454"/>
                    </a:cxn>
                    <a:cxn ang="0">
                      <a:pos x="407" y="439"/>
                    </a:cxn>
                    <a:cxn ang="0">
                      <a:pos x="394" y="390"/>
                    </a:cxn>
                    <a:cxn ang="0">
                      <a:pos x="389" y="378"/>
                    </a:cxn>
                    <a:cxn ang="0">
                      <a:pos x="362" y="396"/>
                    </a:cxn>
                    <a:cxn ang="0">
                      <a:pos x="354" y="418"/>
                    </a:cxn>
                    <a:cxn ang="0">
                      <a:pos x="338" y="431"/>
                    </a:cxn>
                    <a:cxn ang="0">
                      <a:pos x="342" y="405"/>
                    </a:cxn>
                    <a:cxn ang="0">
                      <a:pos x="369" y="366"/>
                    </a:cxn>
                    <a:cxn ang="0">
                      <a:pos x="328" y="320"/>
                    </a:cxn>
                    <a:cxn ang="0">
                      <a:pos x="302" y="305"/>
                    </a:cxn>
                    <a:cxn ang="0">
                      <a:pos x="305" y="299"/>
                    </a:cxn>
                    <a:cxn ang="0">
                      <a:pos x="286" y="282"/>
                    </a:cxn>
                    <a:cxn ang="0">
                      <a:pos x="275" y="276"/>
                    </a:cxn>
                    <a:cxn ang="0">
                      <a:pos x="279" y="260"/>
                    </a:cxn>
                    <a:cxn ang="0">
                      <a:pos x="268" y="246"/>
                    </a:cxn>
                    <a:cxn ang="0">
                      <a:pos x="267" y="229"/>
                    </a:cxn>
                    <a:cxn ang="0">
                      <a:pos x="284" y="238"/>
                    </a:cxn>
                    <a:cxn ang="0">
                      <a:pos x="276" y="219"/>
                    </a:cxn>
                    <a:cxn ang="0">
                      <a:pos x="264" y="198"/>
                    </a:cxn>
                    <a:cxn ang="0">
                      <a:pos x="254" y="203"/>
                    </a:cxn>
                    <a:cxn ang="0">
                      <a:pos x="251" y="190"/>
                    </a:cxn>
                    <a:cxn ang="0">
                      <a:pos x="256" y="169"/>
                    </a:cxn>
                    <a:cxn ang="0">
                      <a:pos x="233" y="183"/>
                    </a:cxn>
                    <a:cxn ang="0">
                      <a:pos x="219" y="165"/>
                    </a:cxn>
                    <a:cxn ang="0">
                      <a:pos x="178" y="124"/>
                    </a:cxn>
                    <a:cxn ang="0">
                      <a:pos x="156" y="52"/>
                    </a:cxn>
                    <a:cxn ang="0">
                      <a:pos x="150" y="63"/>
                    </a:cxn>
                    <a:cxn ang="0">
                      <a:pos x="172" y="142"/>
                    </a:cxn>
                    <a:cxn ang="0">
                      <a:pos x="152" y="142"/>
                    </a:cxn>
                    <a:cxn ang="0">
                      <a:pos x="133" y="127"/>
                    </a:cxn>
                    <a:cxn ang="0">
                      <a:pos x="117" y="90"/>
                    </a:cxn>
                    <a:cxn ang="0">
                      <a:pos x="90" y="85"/>
                    </a:cxn>
                    <a:cxn ang="0">
                      <a:pos x="71" y="82"/>
                    </a:cxn>
                    <a:cxn ang="0">
                      <a:pos x="77" y="95"/>
                    </a:cxn>
                    <a:cxn ang="0">
                      <a:pos x="98" y="121"/>
                    </a:cxn>
                    <a:cxn ang="0">
                      <a:pos x="117" y="141"/>
                    </a:cxn>
                    <a:cxn ang="0">
                      <a:pos x="97" y="149"/>
                    </a:cxn>
                    <a:cxn ang="0">
                      <a:pos x="48" y="135"/>
                    </a:cxn>
                    <a:cxn ang="0">
                      <a:pos x="27" y="116"/>
                    </a:cxn>
                    <a:cxn ang="0">
                      <a:pos x="5" y="47"/>
                    </a:cxn>
                  </a:cxnLst>
                  <a:rect l="0" t="0" r="r" b="b"/>
                  <a:pathLst>
                    <a:path w="456" h="507">
                      <a:moveTo>
                        <a:pt x="10" y="44"/>
                      </a:moveTo>
                      <a:lnTo>
                        <a:pt x="26" y="57"/>
                      </a:lnTo>
                      <a:lnTo>
                        <a:pt x="36" y="81"/>
                      </a:lnTo>
                      <a:lnTo>
                        <a:pt x="39" y="87"/>
                      </a:lnTo>
                      <a:lnTo>
                        <a:pt x="39" y="90"/>
                      </a:lnTo>
                      <a:lnTo>
                        <a:pt x="42" y="92"/>
                      </a:lnTo>
                      <a:lnTo>
                        <a:pt x="55" y="87"/>
                      </a:lnTo>
                      <a:lnTo>
                        <a:pt x="71" y="73"/>
                      </a:lnTo>
                      <a:lnTo>
                        <a:pt x="87" y="68"/>
                      </a:lnTo>
                      <a:lnTo>
                        <a:pt x="91" y="60"/>
                      </a:lnTo>
                      <a:lnTo>
                        <a:pt x="91" y="51"/>
                      </a:lnTo>
                      <a:lnTo>
                        <a:pt x="93" y="47"/>
                      </a:lnTo>
                      <a:lnTo>
                        <a:pt x="100" y="44"/>
                      </a:lnTo>
                      <a:lnTo>
                        <a:pt x="102" y="41"/>
                      </a:lnTo>
                      <a:lnTo>
                        <a:pt x="103" y="29"/>
                      </a:lnTo>
                      <a:lnTo>
                        <a:pt x="108" y="23"/>
                      </a:lnTo>
                      <a:lnTo>
                        <a:pt x="129" y="17"/>
                      </a:lnTo>
                      <a:lnTo>
                        <a:pt x="151" y="0"/>
                      </a:lnTo>
                      <a:lnTo>
                        <a:pt x="156" y="1"/>
                      </a:lnTo>
                      <a:lnTo>
                        <a:pt x="162" y="7"/>
                      </a:lnTo>
                      <a:lnTo>
                        <a:pt x="171" y="25"/>
                      </a:lnTo>
                      <a:lnTo>
                        <a:pt x="174" y="29"/>
                      </a:lnTo>
                      <a:lnTo>
                        <a:pt x="179" y="29"/>
                      </a:lnTo>
                      <a:lnTo>
                        <a:pt x="183" y="41"/>
                      </a:lnTo>
                      <a:lnTo>
                        <a:pt x="192" y="55"/>
                      </a:lnTo>
                      <a:lnTo>
                        <a:pt x="194" y="63"/>
                      </a:lnTo>
                      <a:lnTo>
                        <a:pt x="206" y="74"/>
                      </a:lnTo>
                      <a:lnTo>
                        <a:pt x="210" y="90"/>
                      </a:lnTo>
                      <a:lnTo>
                        <a:pt x="210" y="93"/>
                      </a:lnTo>
                      <a:lnTo>
                        <a:pt x="214" y="100"/>
                      </a:lnTo>
                      <a:lnTo>
                        <a:pt x="235" y="109"/>
                      </a:lnTo>
                      <a:lnTo>
                        <a:pt x="246" y="120"/>
                      </a:lnTo>
                      <a:lnTo>
                        <a:pt x="253" y="141"/>
                      </a:lnTo>
                      <a:lnTo>
                        <a:pt x="264" y="160"/>
                      </a:lnTo>
                      <a:lnTo>
                        <a:pt x="292" y="206"/>
                      </a:lnTo>
                      <a:lnTo>
                        <a:pt x="299" y="224"/>
                      </a:lnTo>
                      <a:lnTo>
                        <a:pt x="300" y="227"/>
                      </a:lnTo>
                      <a:lnTo>
                        <a:pt x="303" y="227"/>
                      </a:lnTo>
                      <a:lnTo>
                        <a:pt x="308" y="245"/>
                      </a:lnTo>
                      <a:lnTo>
                        <a:pt x="322" y="262"/>
                      </a:lnTo>
                      <a:lnTo>
                        <a:pt x="326" y="270"/>
                      </a:lnTo>
                      <a:lnTo>
                        <a:pt x="326" y="273"/>
                      </a:lnTo>
                      <a:lnTo>
                        <a:pt x="323" y="278"/>
                      </a:lnTo>
                      <a:lnTo>
                        <a:pt x="324" y="283"/>
                      </a:lnTo>
                      <a:lnTo>
                        <a:pt x="334" y="292"/>
                      </a:lnTo>
                      <a:lnTo>
                        <a:pt x="338" y="299"/>
                      </a:lnTo>
                      <a:lnTo>
                        <a:pt x="338" y="303"/>
                      </a:lnTo>
                      <a:lnTo>
                        <a:pt x="343" y="320"/>
                      </a:lnTo>
                      <a:lnTo>
                        <a:pt x="348" y="329"/>
                      </a:lnTo>
                      <a:lnTo>
                        <a:pt x="353" y="335"/>
                      </a:lnTo>
                      <a:lnTo>
                        <a:pt x="365" y="342"/>
                      </a:lnTo>
                      <a:lnTo>
                        <a:pt x="401" y="352"/>
                      </a:lnTo>
                      <a:lnTo>
                        <a:pt x="426" y="373"/>
                      </a:lnTo>
                      <a:lnTo>
                        <a:pt x="431" y="379"/>
                      </a:lnTo>
                      <a:lnTo>
                        <a:pt x="450" y="384"/>
                      </a:lnTo>
                      <a:lnTo>
                        <a:pt x="452" y="388"/>
                      </a:lnTo>
                      <a:lnTo>
                        <a:pt x="456" y="394"/>
                      </a:lnTo>
                      <a:lnTo>
                        <a:pt x="456" y="396"/>
                      </a:lnTo>
                      <a:lnTo>
                        <a:pt x="453" y="401"/>
                      </a:lnTo>
                      <a:lnTo>
                        <a:pt x="451" y="416"/>
                      </a:lnTo>
                      <a:lnTo>
                        <a:pt x="451" y="443"/>
                      </a:lnTo>
                      <a:lnTo>
                        <a:pt x="456" y="459"/>
                      </a:lnTo>
                      <a:lnTo>
                        <a:pt x="456" y="464"/>
                      </a:lnTo>
                      <a:lnTo>
                        <a:pt x="453" y="470"/>
                      </a:lnTo>
                      <a:lnTo>
                        <a:pt x="451" y="474"/>
                      </a:lnTo>
                      <a:lnTo>
                        <a:pt x="450" y="481"/>
                      </a:lnTo>
                      <a:lnTo>
                        <a:pt x="441" y="480"/>
                      </a:lnTo>
                      <a:lnTo>
                        <a:pt x="435" y="488"/>
                      </a:lnTo>
                      <a:lnTo>
                        <a:pt x="429" y="496"/>
                      </a:lnTo>
                      <a:lnTo>
                        <a:pt x="424" y="498"/>
                      </a:lnTo>
                      <a:lnTo>
                        <a:pt x="419" y="498"/>
                      </a:lnTo>
                      <a:lnTo>
                        <a:pt x="415" y="503"/>
                      </a:lnTo>
                      <a:lnTo>
                        <a:pt x="410" y="496"/>
                      </a:lnTo>
                      <a:lnTo>
                        <a:pt x="409" y="507"/>
                      </a:lnTo>
                      <a:lnTo>
                        <a:pt x="404" y="506"/>
                      </a:lnTo>
                      <a:lnTo>
                        <a:pt x="403" y="496"/>
                      </a:lnTo>
                      <a:lnTo>
                        <a:pt x="403" y="482"/>
                      </a:lnTo>
                      <a:lnTo>
                        <a:pt x="409" y="480"/>
                      </a:lnTo>
                      <a:lnTo>
                        <a:pt x="413" y="482"/>
                      </a:lnTo>
                      <a:lnTo>
                        <a:pt x="416" y="479"/>
                      </a:lnTo>
                      <a:lnTo>
                        <a:pt x="419" y="480"/>
                      </a:lnTo>
                      <a:lnTo>
                        <a:pt x="421" y="475"/>
                      </a:lnTo>
                      <a:lnTo>
                        <a:pt x="425" y="474"/>
                      </a:lnTo>
                      <a:lnTo>
                        <a:pt x="423" y="467"/>
                      </a:lnTo>
                      <a:lnTo>
                        <a:pt x="421" y="454"/>
                      </a:lnTo>
                      <a:lnTo>
                        <a:pt x="416" y="453"/>
                      </a:lnTo>
                      <a:lnTo>
                        <a:pt x="414" y="456"/>
                      </a:lnTo>
                      <a:lnTo>
                        <a:pt x="410" y="456"/>
                      </a:lnTo>
                      <a:lnTo>
                        <a:pt x="408" y="454"/>
                      </a:lnTo>
                      <a:lnTo>
                        <a:pt x="407" y="439"/>
                      </a:lnTo>
                      <a:lnTo>
                        <a:pt x="408" y="432"/>
                      </a:lnTo>
                      <a:lnTo>
                        <a:pt x="405" y="426"/>
                      </a:lnTo>
                      <a:lnTo>
                        <a:pt x="404" y="416"/>
                      </a:lnTo>
                      <a:lnTo>
                        <a:pt x="397" y="402"/>
                      </a:lnTo>
                      <a:lnTo>
                        <a:pt x="394" y="390"/>
                      </a:lnTo>
                      <a:lnTo>
                        <a:pt x="392" y="395"/>
                      </a:lnTo>
                      <a:lnTo>
                        <a:pt x="393" y="388"/>
                      </a:lnTo>
                      <a:lnTo>
                        <a:pt x="397" y="382"/>
                      </a:lnTo>
                      <a:lnTo>
                        <a:pt x="394" y="377"/>
                      </a:lnTo>
                      <a:lnTo>
                        <a:pt x="389" y="378"/>
                      </a:lnTo>
                      <a:lnTo>
                        <a:pt x="382" y="386"/>
                      </a:lnTo>
                      <a:lnTo>
                        <a:pt x="377" y="390"/>
                      </a:lnTo>
                      <a:lnTo>
                        <a:pt x="375" y="396"/>
                      </a:lnTo>
                      <a:lnTo>
                        <a:pt x="367" y="393"/>
                      </a:lnTo>
                      <a:lnTo>
                        <a:pt x="362" y="396"/>
                      </a:lnTo>
                      <a:lnTo>
                        <a:pt x="356" y="400"/>
                      </a:lnTo>
                      <a:lnTo>
                        <a:pt x="358" y="404"/>
                      </a:lnTo>
                      <a:lnTo>
                        <a:pt x="355" y="411"/>
                      </a:lnTo>
                      <a:lnTo>
                        <a:pt x="354" y="415"/>
                      </a:lnTo>
                      <a:lnTo>
                        <a:pt x="354" y="418"/>
                      </a:lnTo>
                      <a:lnTo>
                        <a:pt x="350" y="423"/>
                      </a:lnTo>
                      <a:lnTo>
                        <a:pt x="346" y="423"/>
                      </a:lnTo>
                      <a:lnTo>
                        <a:pt x="346" y="429"/>
                      </a:lnTo>
                      <a:lnTo>
                        <a:pt x="342" y="434"/>
                      </a:lnTo>
                      <a:lnTo>
                        <a:pt x="338" y="431"/>
                      </a:lnTo>
                      <a:lnTo>
                        <a:pt x="333" y="423"/>
                      </a:lnTo>
                      <a:lnTo>
                        <a:pt x="331" y="416"/>
                      </a:lnTo>
                      <a:lnTo>
                        <a:pt x="332" y="411"/>
                      </a:lnTo>
                      <a:lnTo>
                        <a:pt x="337" y="410"/>
                      </a:lnTo>
                      <a:lnTo>
                        <a:pt x="342" y="405"/>
                      </a:lnTo>
                      <a:lnTo>
                        <a:pt x="346" y="389"/>
                      </a:lnTo>
                      <a:lnTo>
                        <a:pt x="346" y="375"/>
                      </a:lnTo>
                      <a:lnTo>
                        <a:pt x="351" y="370"/>
                      </a:lnTo>
                      <a:lnTo>
                        <a:pt x="367" y="369"/>
                      </a:lnTo>
                      <a:lnTo>
                        <a:pt x="369" y="366"/>
                      </a:lnTo>
                      <a:lnTo>
                        <a:pt x="350" y="359"/>
                      </a:lnTo>
                      <a:lnTo>
                        <a:pt x="344" y="352"/>
                      </a:lnTo>
                      <a:lnTo>
                        <a:pt x="335" y="348"/>
                      </a:lnTo>
                      <a:lnTo>
                        <a:pt x="329" y="339"/>
                      </a:lnTo>
                      <a:lnTo>
                        <a:pt x="328" y="320"/>
                      </a:lnTo>
                      <a:lnTo>
                        <a:pt x="318" y="319"/>
                      </a:lnTo>
                      <a:lnTo>
                        <a:pt x="317" y="315"/>
                      </a:lnTo>
                      <a:lnTo>
                        <a:pt x="317" y="310"/>
                      </a:lnTo>
                      <a:lnTo>
                        <a:pt x="315" y="307"/>
                      </a:lnTo>
                      <a:lnTo>
                        <a:pt x="302" y="305"/>
                      </a:lnTo>
                      <a:lnTo>
                        <a:pt x="299" y="302"/>
                      </a:lnTo>
                      <a:lnTo>
                        <a:pt x="290" y="288"/>
                      </a:lnTo>
                      <a:lnTo>
                        <a:pt x="289" y="283"/>
                      </a:lnTo>
                      <a:lnTo>
                        <a:pt x="303" y="296"/>
                      </a:lnTo>
                      <a:lnTo>
                        <a:pt x="305" y="299"/>
                      </a:lnTo>
                      <a:lnTo>
                        <a:pt x="300" y="287"/>
                      </a:lnTo>
                      <a:lnTo>
                        <a:pt x="300" y="278"/>
                      </a:lnTo>
                      <a:lnTo>
                        <a:pt x="296" y="278"/>
                      </a:lnTo>
                      <a:lnTo>
                        <a:pt x="291" y="282"/>
                      </a:lnTo>
                      <a:lnTo>
                        <a:pt x="286" y="282"/>
                      </a:lnTo>
                      <a:lnTo>
                        <a:pt x="281" y="278"/>
                      </a:lnTo>
                      <a:lnTo>
                        <a:pt x="281" y="275"/>
                      </a:lnTo>
                      <a:lnTo>
                        <a:pt x="280" y="273"/>
                      </a:lnTo>
                      <a:lnTo>
                        <a:pt x="276" y="273"/>
                      </a:lnTo>
                      <a:lnTo>
                        <a:pt x="275" y="276"/>
                      </a:lnTo>
                      <a:lnTo>
                        <a:pt x="270" y="278"/>
                      </a:lnTo>
                      <a:lnTo>
                        <a:pt x="264" y="271"/>
                      </a:lnTo>
                      <a:lnTo>
                        <a:pt x="263" y="267"/>
                      </a:lnTo>
                      <a:lnTo>
                        <a:pt x="264" y="261"/>
                      </a:lnTo>
                      <a:lnTo>
                        <a:pt x="279" y="260"/>
                      </a:lnTo>
                      <a:lnTo>
                        <a:pt x="281" y="255"/>
                      </a:lnTo>
                      <a:lnTo>
                        <a:pt x="270" y="255"/>
                      </a:lnTo>
                      <a:lnTo>
                        <a:pt x="265" y="253"/>
                      </a:lnTo>
                      <a:lnTo>
                        <a:pt x="265" y="250"/>
                      </a:lnTo>
                      <a:lnTo>
                        <a:pt x="268" y="246"/>
                      </a:lnTo>
                      <a:lnTo>
                        <a:pt x="267" y="244"/>
                      </a:lnTo>
                      <a:lnTo>
                        <a:pt x="262" y="244"/>
                      </a:lnTo>
                      <a:lnTo>
                        <a:pt x="262" y="237"/>
                      </a:lnTo>
                      <a:lnTo>
                        <a:pt x="268" y="233"/>
                      </a:lnTo>
                      <a:lnTo>
                        <a:pt x="267" y="229"/>
                      </a:lnTo>
                      <a:lnTo>
                        <a:pt x="256" y="233"/>
                      </a:lnTo>
                      <a:lnTo>
                        <a:pt x="253" y="229"/>
                      </a:lnTo>
                      <a:lnTo>
                        <a:pt x="257" y="219"/>
                      </a:lnTo>
                      <a:lnTo>
                        <a:pt x="279" y="230"/>
                      </a:lnTo>
                      <a:lnTo>
                        <a:pt x="284" y="238"/>
                      </a:lnTo>
                      <a:lnTo>
                        <a:pt x="289" y="239"/>
                      </a:lnTo>
                      <a:lnTo>
                        <a:pt x="286" y="239"/>
                      </a:lnTo>
                      <a:lnTo>
                        <a:pt x="281" y="232"/>
                      </a:lnTo>
                      <a:lnTo>
                        <a:pt x="280" y="222"/>
                      </a:lnTo>
                      <a:lnTo>
                        <a:pt x="276" y="219"/>
                      </a:lnTo>
                      <a:lnTo>
                        <a:pt x="276" y="223"/>
                      </a:lnTo>
                      <a:lnTo>
                        <a:pt x="272" y="219"/>
                      </a:lnTo>
                      <a:lnTo>
                        <a:pt x="263" y="208"/>
                      </a:lnTo>
                      <a:lnTo>
                        <a:pt x="260" y="203"/>
                      </a:lnTo>
                      <a:lnTo>
                        <a:pt x="264" y="198"/>
                      </a:lnTo>
                      <a:lnTo>
                        <a:pt x="275" y="201"/>
                      </a:lnTo>
                      <a:lnTo>
                        <a:pt x="279" y="198"/>
                      </a:lnTo>
                      <a:lnTo>
                        <a:pt x="273" y="196"/>
                      </a:lnTo>
                      <a:lnTo>
                        <a:pt x="254" y="196"/>
                      </a:lnTo>
                      <a:lnTo>
                        <a:pt x="254" y="203"/>
                      </a:lnTo>
                      <a:lnTo>
                        <a:pt x="249" y="208"/>
                      </a:lnTo>
                      <a:lnTo>
                        <a:pt x="247" y="203"/>
                      </a:lnTo>
                      <a:lnTo>
                        <a:pt x="243" y="196"/>
                      </a:lnTo>
                      <a:lnTo>
                        <a:pt x="245" y="190"/>
                      </a:lnTo>
                      <a:lnTo>
                        <a:pt x="251" y="190"/>
                      </a:lnTo>
                      <a:lnTo>
                        <a:pt x="262" y="181"/>
                      </a:lnTo>
                      <a:lnTo>
                        <a:pt x="259" y="178"/>
                      </a:lnTo>
                      <a:lnTo>
                        <a:pt x="251" y="184"/>
                      </a:lnTo>
                      <a:lnTo>
                        <a:pt x="249" y="180"/>
                      </a:lnTo>
                      <a:lnTo>
                        <a:pt x="256" y="169"/>
                      </a:lnTo>
                      <a:lnTo>
                        <a:pt x="249" y="169"/>
                      </a:lnTo>
                      <a:lnTo>
                        <a:pt x="246" y="173"/>
                      </a:lnTo>
                      <a:lnTo>
                        <a:pt x="243" y="180"/>
                      </a:lnTo>
                      <a:lnTo>
                        <a:pt x="238" y="186"/>
                      </a:lnTo>
                      <a:lnTo>
                        <a:pt x="233" y="183"/>
                      </a:lnTo>
                      <a:lnTo>
                        <a:pt x="230" y="171"/>
                      </a:lnTo>
                      <a:lnTo>
                        <a:pt x="230" y="165"/>
                      </a:lnTo>
                      <a:lnTo>
                        <a:pt x="226" y="162"/>
                      </a:lnTo>
                      <a:lnTo>
                        <a:pt x="224" y="162"/>
                      </a:lnTo>
                      <a:lnTo>
                        <a:pt x="219" y="165"/>
                      </a:lnTo>
                      <a:lnTo>
                        <a:pt x="215" y="159"/>
                      </a:lnTo>
                      <a:lnTo>
                        <a:pt x="202" y="148"/>
                      </a:lnTo>
                      <a:lnTo>
                        <a:pt x="190" y="146"/>
                      </a:lnTo>
                      <a:lnTo>
                        <a:pt x="183" y="130"/>
                      </a:lnTo>
                      <a:lnTo>
                        <a:pt x="178" y="124"/>
                      </a:lnTo>
                      <a:lnTo>
                        <a:pt x="181" y="117"/>
                      </a:lnTo>
                      <a:lnTo>
                        <a:pt x="178" y="104"/>
                      </a:lnTo>
                      <a:lnTo>
                        <a:pt x="173" y="108"/>
                      </a:lnTo>
                      <a:lnTo>
                        <a:pt x="162" y="68"/>
                      </a:lnTo>
                      <a:lnTo>
                        <a:pt x="156" y="52"/>
                      </a:lnTo>
                      <a:lnTo>
                        <a:pt x="154" y="40"/>
                      </a:lnTo>
                      <a:lnTo>
                        <a:pt x="149" y="49"/>
                      </a:lnTo>
                      <a:lnTo>
                        <a:pt x="155" y="63"/>
                      </a:lnTo>
                      <a:lnTo>
                        <a:pt x="154" y="67"/>
                      </a:lnTo>
                      <a:lnTo>
                        <a:pt x="150" y="63"/>
                      </a:lnTo>
                      <a:lnTo>
                        <a:pt x="155" y="81"/>
                      </a:lnTo>
                      <a:lnTo>
                        <a:pt x="155" y="85"/>
                      </a:lnTo>
                      <a:lnTo>
                        <a:pt x="163" y="105"/>
                      </a:lnTo>
                      <a:lnTo>
                        <a:pt x="166" y="126"/>
                      </a:lnTo>
                      <a:lnTo>
                        <a:pt x="172" y="142"/>
                      </a:lnTo>
                      <a:lnTo>
                        <a:pt x="173" y="149"/>
                      </a:lnTo>
                      <a:lnTo>
                        <a:pt x="168" y="160"/>
                      </a:lnTo>
                      <a:lnTo>
                        <a:pt x="166" y="165"/>
                      </a:lnTo>
                      <a:lnTo>
                        <a:pt x="157" y="163"/>
                      </a:lnTo>
                      <a:lnTo>
                        <a:pt x="152" y="142"/>
                      </a:lnTo>
                      <a:lnTo>
                        <a:pt x="147" y="136"/>
                      </a:lnTo>
                      <a:lnTo>
                        <a:pt x="146" y="147"/>
                      </a:lnTo>
                      <a:lnTo>
                        <a:pt x="129" y="146"/>
                      </a:lnTo>
                      <a:lnTo>
                        <a:pt x="129" y="128"/>
                      </a:lnTo>
                      <a:lnTo>
                        <a:pt x="133" y="127"/>
                      </a:lnTo>
                      <a:lnTo>
                        <a:pt x="127" y="122"/>
                      </a:lnTo>
                      <a:lnTo>
                        <a:pt x="120" y="110"/>
                      </a:lnTo>
                      <a:lnTo>
                        <a:pt x="120" y="100"/>
                      </a:lnTo>
                      <a:lnTo>
                        <a:pt x="123" y="98"/>
                      </a:lnTo>
                      <a:lnTo>
                        <a:pt x="117" y="90"/>
                      </a:lnTo>
                      <a:lnTo>
                        <a:pt x="113" y="92"/>
                      </a:lnTo>
                      <a:lnTo>
                        <a:pt x="112" y="104"/>
                      </a:lnTo>
                      <a:lnTo>
                        <a:pt x="106" y="106"/>
                      </a:lnTo>
                      <a:lnTo>
                        <a:pt x="98" y="100"/>
                      </a:lnTo>
                      <a:lnTo>
                        <a:pt x="90" y="85"/>
                      </a:lnTo>
                      <a:lnTo>
                        <a:pt x="86" y="84"/>
                      </a:lnTo>
                      <a:lnTo>
                        <a:pt x="87" y="90"/>
                      </a:lnTo>
                      <a:lnTo>
                        <a:pt x="85" y="93"/>
                      </a:lnTo>
                      <a:lnTo>
                        <a:pt x="77" y="88"/>
                      </a:lnTo>
                      <a:lnTo>
                        <a:pt x="71" y="82"/>
                      </a:lnTo>
                      <a:lnTo>
                        <a:pt x="75" y="88"/>
                      </a:lnTo>
                      <a:lnTo>
                        <a:pt x="73" y="92"/>
                      </a:lnTo>
                      <a:lnTo>
                        <a:pt x="66" y="93"/>
                      </a:lnTo>
                      <a:lnTo>
                        <a:pt x="66" y="94"/>
                      </a:lnTo>
                      <a:lnTo>
                        <a:pt x="77" y="95"/>
                      </a:lnTo>
                      <a:lnTo>
                        <a:pt x="86" y="101"/>
                      </a:lnTo>
                      <a:lnTo>
                        <a:pt x="88" y="106"/>
                      </a:lnTo>
                      <a:lnTo>
                        <a:pt x="87" y="108"/>
                      </a:lnTo>
                      <a:lnTo>
                        <a:pt x="98" y="115"/>
                      </a:lnTo>
                      <a:lnTo>
                        <a:pt x="98" y="121"/>
                      </a:lnTo>
                      <a:lnTo>
                        <a:pt x="101" y="122"/>
                      </a:lnTo>
                      <a:lnTo>
                        <a:pt x="103" y="121"/>
                      </a:lnTo>
                      <a:lnTo>
                        <a:pt x="108" y="121"/>
                      </a:lnTo>
                      <a:lnTo>
                        <a:pt x="116" y="135"/>
                      </a:lnTo>
                      <a:lnTo>
                        <a:pt x="117" y="141"/>
                      </a:lnTo>
                      <a:lnTo>
                        <a:pt x="116" y="148"/>
                      </a:lnTo>
                      <a:lnTo>
                        <a:pt x="108" y="153"/>
                      </a:lnTo>
                      <a:lnTo>
                        <a:pt x="98" y="154"/>
                      </a:lnTo>
                      <a:lnTo>
                        <a:pt x="96" y="148"/>
                      </a:lnTo>
                      <a:lnTo>
                        <a:pt x="97" y="149"/>
                      </a:lnTo>
                      <a:lnTo>
                        <a:pt x="97" y="158"/>
                      </a:lnTo>
                      <a:lnTo>
                        <a:pt x="86" y="162"/>
                      </a:lnTo>
                      <a:lnTo>
                        <a:pt x="66" y="144"/>
                      </a:lnTo>
                      <a:lnTo>
                        <a:pt x="54" y="141"/>
                      </a:lnTo>
                      <a:lnTo>
                        <a:pt x="48" y="135"/>
                      </a:lnTo>
                      <a:lnTo>
                        <a:pt x="41" y="130"/>
                      </a:lnTo>
                      <a:lnTo>
                        <a:pt x="33" y="127"/>
                      </a:lnTo>
                      <a:lnTo>
                        <a:pt x="38" y="115"/>
                      </a:lnTo>
                      <a:lnTo>
                        <a:pt x="33" y="114"/>
                      </a:lnTo>
                      <a:lnTo>
                        <a:pt x="27" y="116"/>
                      </a:lnTo>
                      <a:lnTo>
                        <a:pt x="17" y="105"/>
                      </a:lnTo>
                      <a:lnTo>
                        <a:pt x="1" y="82"/>
                      </a:lnTo>
                      <a:lnTo>
                        <a:pt x="0" y="73"/>
                      </a:lnTo>
                      <a:lnTo>
                        <a:pt x="3" y="66"/>
                      </a:lnTo>
                      <a:lnTo>
                        <a:pt x="5" y="47"/>
                      </a:lnTo>
                      <a:lnTo>
                        <a:pt x="10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  <p:grpSp>
            <p:nvGrpSpPr>
              <p:cNvPr id="213" name="Group 277"/>
              <p:cNvGrpSpPr>
                <a:grpSpLocks noChangeAspect="1"/>
              </p:cNvGrpSpPr>
              <p:nvPr/>
            </p:nvGrpSpPr>
            <p:grpSpPr bwMode="gray">
              <a:xfrm>
                <a:off x="1149" y="1865"/>
                <a:ext cx="635" cy="339"/>
                <a:chOff x="1149" y="1865"/>
                <a:chExt cx="635" cy="339"/>
              </a:xfrm>
              <a:grpFill/>
            </p:grpSpPr>
            <p:sp>
              <p:nvSpPr>
                <p:cNvPr id="214" name="Freeform 278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15" name="Freeform 279"/>
                <p:cNvSpPr>
                  <a:spLocks noChangeAspect="1"/>
                </p:cNvSpPr>
                <p:nvPr/>
              </p:nvSpPr>
              <p:spPr bwMode="gray">
                <a:xfrm>
                  <a:off x="1782" y="1939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2" y="3"/>
                    </a:cxn>
                    <a:cxn ang="0">
                      <a:pos x="1" y="10"/>
                    </a:cxn>
                    <a:cxn ang="0">
                      <a:pos x="0" y="15"/>
                    </a:cxn>
                    <a:cxn ang="0">
                      <a:pos x="5" y="10"/>
                    </a:cxn>
                    <a:cxn ang="0">
                      <a:pos x="8" y="10"/>
                    </a:cxn>
                    <a:cxn ang="0">
                      <a:pos x="8" y="6"/>
                    </a:cxn>
                    <a:cxn ang="0">
                      <a:pos x="10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5">
                      <a:moveTo>
                        <a:pt x="5" y="0"/>
                      </a:moveTo>
                      <a:lnTo>
                        <a:pt x="2" y="3"/>
                      </a:lnTo>
                      <a:lnTo>
                        <a:pt x="1" y="10"/>
                      </a:lnTo>
                      <a:lnTo>
                        <a:pt x="0" y="15"/>
                      </a:lnTo>
                      <a:lnTo>
                        <a:pt x="5" y="10"/>
                      </a:lnTo>
                      <a:lnTo>
                        <a:pt x="8" y="10"/>
                      </a:lnTo>
                      <a:lnTo>
                        <a:pt x="8" y="6"/>
                      </a:lnTo>
                      <a:lnTo>
                        <a:pt x="10" y="1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16" name="Freeform 280"/>
                <p:cNvSpPr>
                  <a:spLocks noChangeAspect="1"/>
                </p:cNvSpPr>
                <p:nvPr/>
              </p:nvSpPr>
              <p:spPr bwMode="gray">
                <a:xfrm>
                  <a:off x="1671" y="2027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0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17" name="Freeform 281"/>
                <p:cNvSpPr>
                  <a:spLocks noChangeAspect="1"/>
                </p:cNvSpPr>
                <p:nvPr/>
              </p:nvSpPr>
              <p:spPr bwMode="gray">
                <a:xfrm>
                  <a:off x="1670" y="2025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3" y="2"/>
                    </a:cxn>
                    <a:cxn ang="0">
                      <a:pos x="0" y="0"/>
                    </a:cxn>
                    <a:cxn ang="0">
                      <a:pos x="3" y="2"/>
                    </a:cxn>
                    <a:cxn ang="0">
                      <a:pos x="5" y="6"/>
                    </a:cxn>
                    <a:cxn ang="0">
                      <a:pos x="3" y="2"/>
                    </a:cxn>
                  </a:cxnLst>
                  <a:rect l="0" t="0" r="r" b="b"/>
                  <a:pathLst>
                    <a:path w="5" h="6">
                      <a:moveTo>
                        <a:pt x="3" y="2"/>
                      </a:moveTo>
                      <a:lnTo>
                        <a:pt x="0" y="0"/>
                      </a:lnTo>
                      <a:lnTo>
                        <a:pt x="3" y="2"/>
                      </a:lnTo>
                      <a:lnTo>
                        <a:pt x="5" y="6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  <p:sp>
              <p:nvSpPr>
                <p:cNvPr id="218" name="Freeform 282"/>
                <p:cNvSpPr>
                  <a:spLocks noChangeAspect="1"/>
                </p:cNvSpPr>
                <p:nvPr/>
              </p:nvSpPr>
              <p:spPr bwMode="gray">
                <a:xfrm>
                  <a:off x="1149" y="1865"/>
                  <a:ext cx="633" cy="339"/>
                </a:xfrm>
                <a:custGeom>
                  <a:avLst/>
                  <a:gdLst/>
                  <a:ahLst/>
                  <a:cxnLst>
                    <a:cxn ang="0">
                      <a:pos x="3079" y="181"/>
                    </a:cxn>
                    <a:cxn ang="0">
                      <a:pos x="2964" y="328"/>
                    </a:cxn>
                    <a:cxn ang="0">
                      <a:pos x="2682" y="394"/>
                    </a:cxn>
                    <a:cxn ang="0">
                      <a:pos x="2593" y="483"/>
                    </a:cxn>
                    <a:cxn ang="0">
                      <a:pos x="2432" y="575"/>
                    </a:cxn>
                    <a:cxn ang="0">
                      <a:pos x="2290" y="541"/>
                    </a:cxn>
                    <a:cxn ang="0">
                      <a:pos x="2235" y="456"/>
                    </a:cxn>
                    <a:cxn ang="0">
                      <a:pos x="2211" y="306"/>
                    </a:cxn>
                    <a:cxn ang="0">
                      <a:pos x="2135" y="345"/>
                    </a:cxn>
                    <a:cxn ang="0">
                      <a:pos x="2081" y="588"/>
                    </a:cxn>
                    <a:cxn ang="0">
                      <a:pos x="2036" y="404"/>
                    </a:cxn>
                    <a:cxn ang="0">
                      <a:pos x="2077" y="294"/>
                    </a:cxn>
                    <a:cxn ang="0">
                      <a:pos x="2231" y="279"/>
                    </a:cxn>
                    <a:cxn ang="0">
                      <a:pos x="2111" y="222"/>
                    </a:cxn>
                    <a:cxn ang="0">
                      <a:pos x="2021" y="160"/>
                    </a:cxn>
                    <a:cxn ang="0">
                      <a:pos x="1811" y="226"/>
                    </a:cxn>
                    <a:cxn ang="0">
                      <a:pos x="1785" y="86"/>
                    </a:cxn>
                    <a:cxn ang="0">
                      <a:pos x="1640" y="33"/>
                    </a:cxn>
                    <a:cxn ang="0">
                      <a:pos x="888" y="36"/>
                    </a:cxn>
                    <a:cxn ang="0">
                      <a:pos x="133" y="58"/>
                    </a:cxn>
                    <a:cxn ang="0">
                      <a:pos x="101" y="150"/>
                    </a:cxn>
                    <a:cxn ang="0">
                      <a:pos x="4" y="86"/>
                    </a:cxn>
                    <a:cxn ang="0">
                      <a:pos x="46" y="225"/>
                    </a:cxn>
                    <a:cxn ang="0">
                      <a:pos x="47" y="295"/>
                    </a:cxn>
                    <a:cxn ang="0">
                      <a:pos x="27" y="576"/>
                    </a:cxn>
                    <a:cxn ang="0">
                      <a:pos x="98" y="850"/>
                    </a:cxn>
                    <a:cxn ang="0">
                      <a:pos x="130" y="886"/>
                    </a:cxn>
                    <a:cxn ang="0">
                      <a:pos x="223" y="1056"/>
                    </a:cxn>
                    <a:cxn ang="0">
                      <a:pos x="336" y="1131"/>
                    </a:cxn>
                    <a:cxn ang="0">
                      <a:pos x="989" y="1276"/>
                    </a:cxn>
                    <a:cxn ang="0">
                      <a:pos x="1294" y="1430"/>
                    </a:cxn>
                    <a:cxn ang="0">
                      <a:pos x="1501" y="1624"/>
                    </a:cxn>
                    <a:cxn ang="0">
                      <a:pos x="1515" y="1515"/>
                    </a:cxn>
                    <a:cxn ang="0">
                      <a:pos x="1564" y="1480"/>
                    </a:cxn>
                    <a:cxn ang="0">
                      <a:pos x="1629" y="1410"/>
                    </a:cxn>
                    <a:cxn ang="0">
                      <a:pos x="1784" y="1405"/>
                    </a:cxn>
                    <a:cxn ang="0">
                      <a:pos x="1912" y="1435"/>
                    </a:cxn>
                    <a:cxn ang="0">
                      <a:pos x="1905" y="1382"/>
                    </a:cxn>
                    <a:cxn ang="0">
                      <a:pos x="2012" y="1367"/>
                    </a:cxn>
                    <a:cxn ang="0">
                      <a:pos x="2117" y="1377"/>
                    </a:cxn>
                    <a:cxn ang="0">
                      <a:pos x="2264" y="1424"/>
                    </a:cxn>
                    <a:cxn ang="0">
                      <a:pos x="2323" y="1587"/>
                    </a:cxn>
                    <a:cxn ang="0">
                      <a:pos x="2409" y="1690"/>
                    </a:cxn>
                    <a:cxn ang="0">
                      <a:pos x="2365" y="1348"/>
                    </a:cxn>
                    <a:cxn ang="0">
                      <a:pos x="2446" y="1228"/>
                    </a:cxn>
                    <a:cxn ang="0">
                      <a:pos x="2579" y="1118"/>
                    </a:cxn>
                    <a:cxn ang="0">
                      <a:pos x="2645" y="1037"/>
                    </a:cxn>
                    <a:cxn ang="0">
                      <a:pos x="2634" y="986"/>
                    </a:cxn>
                    <a:cxn ang="0">
                      <a:pos x="2655" y="940"/>
                    </a:cxn>
                    <a:cxn ang="0">
                      <a:pos x="2654" y="871"/>
                    </a:cxn>
                    <a:cxn ang="0">
                      <a:pos x="2651" y="857"/>
                    </a:cxn>
                    <a:cxn ang="0">
                      <a:pos x="2661" y="778"/>
                    </a:cxn>
                    <a:cxn ang="0">
                      <a:pos x="2683" y="867"/>
                    </a:cxn>
                    <a:cxn ang="0">
                      <a:pos x="2708" y="796"/>
                    </a:cxn>
                    <a:cxn ang="0">
                      <a:pos x="2774" y="727"/>
                    </a:cxn>
                    <a:cxn ang="0">
                      <a:pos x="2843" y="631"/>
                    </a:cxn>
                    <a:cxn ang="0">
                      <a:pos x="3004" y="602"/>
                    </a:cxn>
                    <a:cxn ang="0">
                      <a:pos x="2957" y="538"/>
                    </a:cxn>
                    <a:cxn ang="0">
                      <a:pos x="3032" y="440"/>
                    </a:cxn>
                    <a:cxn ang="0">
                      <a:pos x="3107" y="399"/>
                    </a:cxn>
                  </a:cxnLst>
                  <a:rect l="0" t="0" r="r" b="b"/>
                  <a:pathLst>
                    <a:path w="3166" h="1693">
                      <a:moveTo>
                        <a:pt x="3165" y="365"/>
                      </a:moveTo>
                      <a:lnTo>
                        <a:pt x="3158" y="364"/>
                      </a:lnTo>
                      <a:lnTo>
                        <a:pt x="3160" y="361"/>
                      </a:lnTo>
                      <a:lnTo>
                        <a:pt x="3162" y="355"/>
                      </a:lnTo>
                      <a:lnTo>
                        <a:pt x="3162" y="344"/>
                      </a:lnTo>
                      <a:lnTo>
                        <a:pt x="3161" y="339"/>
                      </a:lnTo>
                      <a:lnTo>
                        <a:pt x="3160" y="343"/>
                      </a:lnTo>
                      <a:lnTo>
                        <a:pt x="3155" y="343"/>
                      </a:lnTo>
                      <a:lnTo>
                        <a:pt x="3146" y="342"/>
                      </a:lnTo>
                      <a:lnTo>
                        <a:pt x="3138" y="335"/>
                      </a:lnTo>
                      <a:lnTo>
                        <a:pt x="3135" y="330"/>
                      </a:lnTo>
                      <a:lnTo>
                        <a:pt x="3134" y="326"/>
                      </a:lnTo>
                      <a:lnTo>
                        <a:pt x="3134" y="310"/>
                      </a:lnTo>
                      <a:lnTo>
                        <a:pt x="3119" y="302"/>
                      </a:lnTo>
                      <a:lnTo>
                        <a:pt x="3119" y="246"/>
                      </a:lnTo>
                      <a:lnTo>
                        <a:pt x="3119" y="195"/>
                      </a:lnTo>
                      <a:lnTo>
                        <a:pt x="3093" y="170"/>
                      </a:lnTo>
                      <a:lnTo>
                        <a:pt x="3086" y="170"/>
                      </a:lnTo>
                      <a:lnTo>
                        <a:pt x="3079" y="181"/>
                      </a:lnTo>
                      <a:lnTo>
                        <a:pt x="3061" y="184"/>
                      </a:lnTo>
                      <a:lnTo>
                        <a:pt x="3049" y="179"/>
                      </a:lnTo>
                      <a:lnTo>
                        <a:pt x="3047" y="176"/>
                      </a:lnTo>
                      <a:lnTo>
                        <a:pt x="3044" y="170"/>
                      </a:lnTo>
                      <a:lnTo>
                        <a:pt x="3037" y="163"/>
                      </a:lnTo>
                      <a:lnTo>
                        <a:pt x="3031" y="162"/>
                      </a:lnTo>
                      <a:lnTo>
                        <a:pt x="3025" y="166"/>
                      </a:lnTo>
                      <a:lnTo>
                        <a:pt x="2998" y="211"/>
                      </a:lnTo>
                      <a:lnTo>
                        <a:pt x="2994" y="235"/>
                      </a:lnTo>
                      <a:lnTo>
                        <a:pt x="2988" y="247"/>
                      </a:lnTo>
                      <a:lnTo>
                        <a:pt x="2987" y="253"/>
                      </a:lnTo>
                      <a:lnTo>
                        <a:pt x="2982" y="262"/>
                      </a:lnTo>
                      <a:lnTo>
                        <a:pt x="2979" y="269"/>
                      </a:lnTo>
                      <a:lnTo>
                        <a:pt x="2975" y="305"/>
                      </a:lnTo>
                      <a:lnTo>
                        <a:pt x="2974" y="307"/>
                      </a:lnTo>
                      <a:lnTo>
                        <a:pt x="2967" y="312"/>
                      </a:lnTo>
                      <a:lnTo>
                        <a:pt x="2964" y="317"/>
                      </a:lnTo>
                      <a:lnTo>
                        <a:pt x="2963" y="322"/>
                      </a:lnTo>
                      <a:lnTo>
                        <a:pt x="2964" y="328"/>
                      </a:lnTo>
                      <a:lnTo>
                        <a:pt x="2964" y="330"/>
                      </a:lnTo>
                      <a:lnTo>
                        <a:pt x="2957" y="327"/>
                      </a:lnTo>
                      <a:lnTo>
                        <a:pt x="2956" y="328"/>
                      </a:lnTo>
                      <a:lnTo>
                        <a:pt x="2956" y="334"/>
                      </a:lnTo>
                      <a:lnTo>
                        <a:pt x="2945" y="330"/>
                      </a:lnTo>
                      <a:lnTo>
                        <a:pt x="2936" y="333"/>
                      </a:lnTo>
                      <a:lnTo>
                        <a:pt x="2934" y="335"/>
                      </a:lnTo>
                      <a:lnTo>
                        <a:pt x="2921" y="337"/>
                      </a:lnTo>
                      <a:lnTo>
                        <a:pt x="2918" y="340"/>
                      </a:lnTo>
                      <a:lnTo>
                        <a:pt x="2912" y="356"/>
                      </a:lnTo>
                      <a:lnTo>
                        <a:pt x="2910" y="356"/>
                      </a:lnTo>
                      <a:lnTo>
                        <a:pt x="2812" y="356"/>
                      </a:lnTo>
                      <a:lnTo>
                        <a:pt x="2737" y="356"/>
                      </a:lnTo>
                      <a:lnTo>
                        <a:pt x="2722" y="356"/>
                      </a:lnTo>
                      <a:lnTo>
                        <a:pt x="2706" y="371"/>
                      </a:lnTo>
                      <a:lnTo>
                        <a:pt x="2687" y="382"/>
                      </a:lnTo>
                      <a:lnTo>
                        <a:pt x="2684" y="387"/>
                      </a:lnTo>
                      <a:lnTo>
                        <a:pt x="2683" y="388"/>
                      </a:lnTo>
                      <a:lnTo>
                        <a:pt x="2682" y="394"/>
                      </a:lnTo>
                      <a:lnTo>
                        <a:pt x="2676" y="404"/>
                      </a:lnTo>
                      <a:lnTo>
                        <a:pt x="2655" y="418"/>
                      </a:lnTo>
                      <a:lnTo>
                        <a:pt x="2651" y="423"/>
                      </a:lnTo>
                      <a:lnTo>
                        <a:pt x="2652" y="428"/>
                      </a:lnTo>
                      <a:lnTo>
                        <a:pt x="2660" y="428"/>
                      </a:lnTo>
                      <a:lnTo>
                        <a:pt x="2663" y="431"/>
                      </a:lnTo>
                      <a:lnTo>
                        <a:pt x="2662" y="436"/>
                      </a:lnTo>
                      <a:lnTo>
                        <a:pt x="2659" y="439"/>
                      </a:lnTo>
                      <a:lnTo>
                        <a:pt x="2655" y="437"/>
                      </a:lnTo>
                      <a:lnTo>
                        <a:pt x="2654" y="440"/>
                      </a:lnTo>
                      <a:lnTo>
                        <a:pt x="2655" y="442"/>
                      </a:lnTo>
                      <a:lnTo>
                        <a:pt x="2660" y="448"/>
                      </a:lnTo>
                      <a:lnTo>
                        <a:pt x="2661" y="458"/>
                      </a:lnTo>
                      <a:lnTo>
                        <a:pt x="2660" y="466"/>
                      </a:lnTo>
                      <a:lnTo>
                        <a:pt x="2643" y="468"/>
                      </a:lnTo>
                      <a:lnTo>
                        <a:pt x="2627" y="480"/>
                      </a:lnTo>
                      <a:lnTo>
                        <a:pt x="2617" y="484"/>
                      </a:lnTo>
                      <a:lnTo>
                        <a:pt x="2597" y="484"/>
                      </a:lnTo>
                      <a:lnTo>
                        <a:pt x="2593" y="483"/>
                      </a:lnTo>
                      <a:lnTo>
                        <a:pt x="2582" y="486"/>
                      </a:lnTo>
                      <a:lnTo>
                        <a:pt x="2575" y="480"/>
                      </a:lnTo>
                      <a:lnTo>
                        <a:pt x="2560" y="477"/>
                      </a:lnTo>
                      <a:lnTo>
                        <a:pt x="2553" y="477"/>
                      </a:lnTo>
                      <a:lnTo>
                        <a:pt x="2532" y="479"/>
                      </a:lnTo>
                      <a:lnTo>
                        <a:pt x="2511" y="484"/>
                      </a:lnTo>
                      <a:lnTo>
                        <a:pt x="2501" y="489"/>
                      </a:lnTo>
                      <a:lnTo>
                        <a:pt x="2504" y="499"/>
                      </a:lnTo>
                      <a:lnTo>
                        <a:pt x="2509" y="506"/>
                      </a:lnTo>
                      <a:lnTo>
                        <a:pt x="2511" y="518"/>
                      </a:lnTo>
                      <a:lnTo>
                        <a:pt x="2499" y="531"/>
                      </a:lnTo>
                      <a:lnTo>
                        <a:pt x="2495" y="536"/>
                      </a:lnTo>
                      <a:lnTo>
                        <a:pt x="2491" y="538"/>
                      </a:lnTo>
                      <a:lnTo>
                        <a:pt x="2488" y="539"/>
                      </a:lnTo>
                      <a:lnTo>
                        <a:pt x="2478" y="549"/>
                      </a:lnTo>
                      <a:lnTo>
                        <a:pt x="2461" y="560"/>
                      </a:lnTo>
                      <a:lnTo>
                        <a:pt x="2452" y="566"/>
                      </a:lnTo>
                      <a:lnTo>
                        <a:pt x="2441" y="568"/>
                      </a:lnTo>
                      <a:lnTo>
                        <a:pt x="2432" y="575"/>
                      </a:lnTo>
                      <a:lnTo>
                        <a:pt x="2419" y="582"/>
                      </a:lnTo>
                      <a:lnTo>
                        <a:pt x="2404" y="585"/>
                      </a:lnTo>
                      <a:lnTo>
                        <a:pt x="2386" y="593"/>
                      </a:lnTo>
                      <a:lnTo>
                        <a:pt x="2350" y="614"/>
                      </a:lnTo>
                      <a:lnTo>
                        <a:pt x="2334" y="614"/>
                      </a:lnTo>
                      <a:lnTo>
                        <a:pt x="2316" y="620"/>
                      </a:lnTo>
                      <a:lnTo>
                        <a:pt x="2296" y="618"/>
                      </a:lnTo>
                      <a:lnTo>
                        <a:pt x="2294" y="614"/>
                      </a:lnTo>
                      <a:lnTo>
                        <a:pt x="2286" y="614"/>
                      </a:lnTo>
                      <a:lnTo>
                        <a:pt x="2281" y="613"/>
                      </a:lnTo>
                      <a:lnTo>
                        <a:pt x="2274" y="607"/>
                      </a:lnTo>
                      <a:lnTo>
                        <a:pt x="2259" y="602"/>
                      </a:lnTo>
                      <a:lnTo>
                        <a:pt x="2264" y="595"/>
                      </a:lnTo>
                      <a:lnTo>
                        <a:pt x="2278" y="581"/>
                      </a:lnTo>
                      <a:lnTo>
                        <a:pt x="2278" y="570"/>
                      </a:lnTo>
                      <a:lnTo>
                        <a:pt x="2283" y="558"/>
                      </a:lnTo>
                      <a:lnTo>
                        <a:pt x="2289" y="553"/>
                      </a:lnTo>
                      <a:lnTo>
                        <a:pt x="2289" y="545"/>
                      </a:lnTo>
                      <a:lnTo>
                        <a:pt x="2290" y="541"/>
                      </a:lnTo>
                      <a:lnTo>
                        <a:pt x="2296" y="534"/>
                      </a:lnTo>
                      <a:lnTo>
                        <a:pt x="2308" y="534"/>
                      </a:lnTo>
                      <a:lnTo>
                        <a:pt x="2308" y="534"/>
                      </a:lnTo>
                      <a:lnTo>
                        <a:pt x="2316" y="507"/>
                      </a:lnTo>
                      <a:lnTo>
                        <a:pt x="2316" y="500"/>
                      </a:lnTo>
                      <a:lnTo>
                        <a:pt x="2315" y="502"/>
                      </a:lnTo>
                      <a:lnTo>
                        <a:pt x="2312" y="496"/>
                      </a:lnTo>
                      <a:lnTo>
                        <a:pt x="2308" y="489"/>
                      </a:lnTo>
                      <a:lnTo>
                        <a:pt x="2306" y="467"/>
                      </a:lnTo>
                      <a:lnTo>
                        <a:pt x="2305" y="456"/>
                      </a:lnTo>
                      <a:lnTo>
                        <a:pt x="2301" y="445"/>
                      </a:lnTo>
                      <a:lnTo>
                        <a:pt x="2289" y="425"/>
                      </a:lnTo>
                      <a:lnTo>
                        <a:pt x="2280" y="426"/>
                      </a:lnTo>
                      <a:lnTo>
                        <a:pt x="2263" y="434"/>
                      </a:lnTo>
                      <a:lnTo>
                        <a:pt x="2262" y="435"/>
                      </a:lnTo>
                      <a:lnTo>
                        <a:pt x="2256" y="451"/>
                      </a:lnTo>
                      <a:lnTo>
                        <a:pt x="2248" y="456"/>
                      </a:lnTo>
                      <a:lnTo>
                        <a:pt x="2242" y="458"/>
                      </a:lnTo>
                      <a:lnTo>
                        <a:pt x="2235" y="456"/>
                      </a:lnTo>
                      <a:lnTo>
                        <a:pt x="2232" y="451"/>
                      </a:lnTo>
                      <a:lnTo>
                        <a:pt x="2235" y="442"/>
                      </a:lnTo>
                      <a:lnTo>
                        <a:pt x="2240" y="432"/>
                      </a:lnTo>
                      <a:lnTo>
                        <a:pt x="2254" y="421"/>
                      </a:lnTo>
                      <a:lnTo>
                        <a:pt x="2258" y="412"/>
                      </a:lnTo>
                      <a:lnTo>
                        <a:pt x="2264" y="404"/>
                      </a:lnTo>
                      <a:lnTo>
                        <a:pt x="2267" y="398"/>
                      </a:lnTo>
                      <a:lnTo>
                        <a:pt x="2267" y="388"/>
                      </a:lnTo>
                      <a:lnTo>
                        <a:pt x="2263" y="367"/>
                      </a:lnTo>
                      <a:lnTo>
                        <a:pt x="2259" y="360"/>
                      </a:lnTo>
                      <a:lnTo>
                        <a:pt x="2259" y="353"/>
                      </a:lnTo>
                      <a:lnTo>
                        <a:pt x="2262" y="349"/>
                      </a:lnTo>
                      <a:lnTo>
                        <a:pt x="2263" y="348"/>
                      </a:lnTo>
                      <a:lnTo>
                        <a:pt x="2257" y="334"/>
                      </a:lnTo>
                      <a:lnTo>
                        <a:pt x="2251" y="328"/>
                      </a:lnTo>
                      <a:lnTo>
                        <a:pt x="2235" y="323"/>
                      </a:lnTo>
                      <a:lnTo>
                        <a:pt x="2229" y="318"/>
                      </a:lnTo>
                      <a:lnTo>
                        <a:pt x="2225" y="316"/>
                      </a:lnTo>
                      <a:lnTo>
                        <a:pt x="2211" y="306"/>
                      </a:lnTo>
                      <a:lnTo>
                        <a:pt x="2206" y="303"/>
                      </a:lnTo>
                      <a:lnTo>
                        <a:pt x="2199" y="305"/>
                      </a:lnTo>
                      <a:lnTo>
                        <a:pt x="2198" y="302"/>
                      </a:lnTo>
                      <a:lnTo>
                        <a:pt x="2186" y="299"/>
                      </a:lnTo>
                      <a:lnTo>
                        <a:pt x="2175" y="300"/>
                      </a:lnTo>
                      <a:lnTo>
                        <a:pt x="2170" y="307"/>
                      </a:lnTo>
                      <a:lnTo>
                        <a:pt x="2170" y="312"/>
                      </a:lnTo>
                      <a:lnTo>
                        <a:pt x="2171" y="318"/>
                      </a:lnTo>
                      <a:lnTo>
                        <a:pt x="2176" y="324"/>
                      </a:lnTo>
                      <a:lnTo>
                        <a:pt x="2173" y="327"/>
                      </a:lnTo>
                      <a:lnTo>
                        <a:pt x="2160" y="333"/>
                      </a:lnTo>
                      <a:lnTo>
                        <a:pt x="2151" y="334"/>
                      </a:lnTo>
                      <a:lnTo>
                        <a:pt x="2150" y="349"/>
                      </a:lnTo>
                      <a:lnTo>
                        <a:pt x="2149" y="360"/>
                      </a:lnTo>
                      <a:lnTo>
                        <a:pt x="2144" y="361"/>
                      </a:lnTo>
                      <a:lnTo>
                        <a:pt x="2140" y="367"/>
                      </a:lnTo>
                      <a:lnTo>
                        <a:pt x="2139" y="364"/>
                      </a:lnTo>
                      <a:lnTo>
                        <a:pt x="2138" y="351"/>
                      </a:lnTo>
                      <a:lnTo>
                        <a:pt x="2135" y="345"/>
                      </a:lnTo>
                      <a:lnTo>
                        <a:pt x="2130" y="349"/>
                      </a:lnTo>
                      <a:lnTo>
                        <a:pt x="2125" y="355"/>
                      </a:lnTo>
                      <a:lnTo>
                        <a:pt x="2112" y="362"/>
                      </a:lnTo>
                      <a:lnTo>
                        <a:pt x="2109" y="372"/>
                      </a:lnTo>
                      <a:lnTo>
                        <a:pt x="2104" y="378"/>
                      </a:lnTo>
                      <a:lnTo>
                        <a:pt x="2104" y="389"/>
                      </a:lnTo>
                      <a:lnTo>
                        <a:pt x="2103" y="396"/>
                      </a:lnTo>
                      <a:lnTo>
                        <a:pt x="2102" y="408"/>
                      </a:lnTo>
                      <a:lnTo>
                        <a:pt x="2103" y="412"/>
                      </a:lnTo>
                      <a:lnTo>
                        <a:pt x="2097" y="416"/>
                      </a:lnTo>
                      <a:lnTo>
                        <a:pt x="2095" y="435"/>
                      </a:lnTo>
                      <a:lnTo>
                        <a:pt x="2090" y="457"/>
                      </a:lnTo>
                      <a:lnTo>
                        <a:pt x="2097" y="480"/>
                      </a:lnTo>
                      <a:lnTo>
                        <a:pt x="2103" y="490"/>
                      </a:lnTo>
                      <a:lnTo>
                        <a:pt x="2106" y="499"/>
                      </a:lnTo>
                      <a:lnTo>
                        <a:pt x="2104" y="533"/>
                      </a:lnTo>
                      <a:lnTo>
                        <a:pt x="2095" y="559"/>
                      </a:lnTo>
                      <a:lnTo>
                        <a:pt x="2084" y="580"/>
                      </a:lnTo>
                      <a:lnTo>
                        <a:pt x="2081" y="588"/>
                      </a:lnTo>
                      <a:lnTo>
                        <a:pt x="2068" y="597"/>
                      </a:lnTo>
                      <a:lnTo>
                        <a:pt x="2054" y="606"/>
                      </a:lnTo>
                      <a:lnTo>
                        <a:pt x="2046" y="606"/>
                      </a:lnTo>
                      <a:lnTo>
                        <a:pt x="2039" y="602"/>
                      </a:lnTo>
                      <a:lnTo>
                        <a:pt x="2034" y="601"/>
                      </a:lnTo>
                      <a:lnTo>
                        <a:pt x="2032" y="595"/>
                      </a:lnTo>
                      <a:lnTo>
                        <a:pt x="2028" y="582"/>
                      </a:lnTo>
                      <a:lnTo>
                        <a:pt x="2020" y="560"/>
                      </a:lnTo>
                      <a:lnTo>
                        <a:pt x="2020" y="545"/>
                      </a:lnTo>
                      <a:lnTo>
                        <a:pt x="2020" y="533"/>
                      </a:lnTo>
                      <a:lnTo>
                        <a:pt x="2020" y="525"/>
                      </a:lnTo>
                      <a:lnTo>
                        <a:pt x="2016" y="506"/>
                      </a:lnTo>
                      <a:lnTo>
                        <a:pt x="2015" y="490"/>
                      </a:lnTo>
                      <a:lnTo>
                        <a:pt x="2018" y="477"/>
                      </a:lnTo>
                      <a:lnTo>
                        <a:pt x="2027" y="456"/>
                      </a:lnTo>
                      <a:lnTo>
                        <a:pt x="2027" y="442"/>
                      </a:lnTo>
                      <a:lnTo>
                        <a:pt x="2030" y="432"/>
                      </a:lnTo>
                      <a:lnTo>
                        <a:pt x="2036" y="413"/>
                      </a:lnTo>
                      <a:lnTo>
                        <a:pt x="2036" y="404"/>
                      </a:lnTo>
                      <a:lnTo>
                        <a:pt x="2038" y="391"/>
                      </a:lnTo>
                      <a:lnTo>
                        <a:pt x="2043" y="378"/>
                      </a:lnTo>
                      <a:lnTo>
                        <a:pt x="2053" y="362"/>
                      </a:lnTo>
                      <a:lnTo>
                        <a:pt x="2060" y="344"/>
                      </a:lnTo>
                      <a:lnTo>
                        <a:pt x="2058" y="334"/>
                      </a:lnTo>
                      <a:lnTo>
                        <a:pt x="2044" y="350"/>
                      </a:lnTo>
                      <a:lnTo>
                        <a:pt x="2043" y="359"/>
                      </a:lnTo>
                      <a:lnTo>
                        <a:pt x="2041" y="367"/>
                      </a:lnTo>
                      <a:lnTo>
                        <a:pt x="2034" y="369"/>
                      </a:lnTo>
                      <a:lnTo>
                        <a:pt x="2011" y="389"/>
                      </a:lnTo>
                      <a:lnTo>
                        <a:pt x="2011" y="385"/>
                      </a:lnTo>
                      <a:lnTo>
                        <a:pt x="2018" y="369"/>
                      </a:lnTo>
                      <a:lnTo>
                        <a:pt x="2021" y="364"/>
                      </a:lnTo>
                      <a:lnTo>
                        <a:pt x="2027" y="359"/>
                      </a:lnTo>
                      <a:lnTo>
                        <a:pt x="2034" y="346"/>
                      </a:lnTo>
                      <a:lnTo>
                        <a:pt x="2057" y="308"/>
                      </a:lnTo>
                      <a:lnTo>
                        <a:pt x="2066" y="296"/>
                      </a:lnTo>
                      <a:lnTo>
                        <a:pt x="2070" y="297"/>
                      </a:lnTo>
                      <a:lnTo>
                        <a:pt x="2077" y="294"/>
                      </a:lnTo>
                      <a:lnTo>
                        <a:pt x="2085" y="287"/>
                      </a:lnTo>
                      <a:lnTo>
                        <a:pt x="2084" y="307"/>
                      </a:lnTo>
                      <a:lnTo>
                        <a:pt x="2090" y="306"/>
                      </a:lnTo>
                      <a:lnTo>
                        <a:pt x="2107" y="287"/>
                      </a:lnTo>
                      <a:lnTo>
                        <a:pt x="2120" y="284"/>
                      </a:lnTo>
                      <a:lnTo>
                        <a:pt x="2136" y="281"/>
                      </a:lnTo>
                      <a:lnTo>
                        <a:pt x="2144" y="273"/>
                      </a:lnTo>
                      <a:lnTo>
                        <a:pt x="2155" y="270"/>
                      </a:lnTo>
                      <a:lnTo>
                        <a:pt x="2167" y="274"/>
                      </a:lnTo>
                      <a:lnTo>
                        <a:pt x="2178" y="279"/>
                      </a:lnTo>
                      <a:lnTo>
                        <a:pt x="2181" y="281"/>
                      </a:lnTo>
                      <a:lnTo>
                        <a:pt x="2184" y="286"/>
                      </a:lnTo>
                      <a:lnTo>
                        <a:pt x="2193" y="286"/>
                      </a:lnTo>
                      <a:lnTo>
                        <a:pt x="2194" y="279"/>
                      </a:lnTo>
                      <a:lnTo>
                        <a:pt x="2197" y="275"/>
                      </a:lnTo>
                      <a:lnTo>
                        <a:pt x="2202" y="278"/>
                      </a:lnTo>
                      <a:lnTo>
                        <a:pt x="2205" y="284"/>
                      </a:lnTo>
                      <a:lnTo>
                        <a:pt x="2224" y="279"/>
                      </a:lnTo>
                      <a:lnTo>
                        <a:pt x="2231" y="279"/>
                      </a:lnTo>
                      <a:lnTo>
                        <a:pt x="2231" y="278"/>
                      </a:lnTo>
                      <a:lnTo>
                        <a:pt x="2230" y="275"/>
                      </a:lnTo>
                      <a:lnTo>
                        <a:pt x="2225" y="272"/>
                      </a:lnTo>
                      <a:lnTo>
                        <a:pt x="2221" y="267"/>
                      </a:lnTo>
                      <a:lnTo>
                        <a:pt x="2215" y="263"/>
                      </a:lnTo>
                      <a:lnTo>
                        <a:pt x="2215" y="252"/>
                      </a:lnTo>
                      <a:lnTo>
                        <a:pt x="2213" y="246"/>
                      </a:lnTo>
                      <a:lnTo>
                        <a:pt x="2211" y="242"/>
                      </a:lnTo>
                      <a:lnTo>
                        <a:pt x="2209" y="238"/>
                      </a:lnTo>
                      <a:lnTo>
                        <a:pt x="2202" y="238"/>
                      </a:lnTo>
                      <a:lnTo>
                        <a:pt x="2187" y="240"/>
                      </a:lnTo>
                      <a:lnTo>
                        <a:pt x="2179" y="238"/>
                      </a:lnTo>
                      <a:lnTo>
                        <a:pt x="2171" y="233"/>
                      </a:lnTo>
                      <a:lnTo>
                        <a:pt x="2171" y="222"/>
                      </a:lnTo>
                      <a:lnTo>
                        <a:pt x="2168" y="216"/>
                      </a:lnTo>
                      <a:lnTo>
                        <a:pt x="2160" y="216"/>
                      </a:lnTo>
                      <a:lnTo>
                        <a:pt x="2150" y="221"/>
                      </a:lnTo>
                      <a:lnTo>
                        <a:pt x="2141" y="224"/>
                      </a:lnTo>
                      <a:lnTo>
                        <a:pt x="2111" y="222"/>
                      </a:lnTo>
                      <a:lnTo>
                        <a:pt x="2101" y="229"/>
                      </a:lnTo>
                      <a:lnTo>
                        <a:pt x="2092" y="232"/>
                      </a:lnTo>
                      <a:lnTo>
                        <a:pt x="2085" y="240"/>
                      </a:lnTo>
                      <a:lnTo>
                        <a:pt x="2080" y="242"/>
                      </a:lnTo>
                      <a:lnTo>
                        <a:pt x="2055" y="237"/>
                      </a:lnTo>
                      <a:lnTo>
                        <a:pt x="2047" y="238"/>
                      </a:lnTo>
                      <a:lnTo>
                        <a:pt x="2036" y="227"/>
                      </a:lnTo>
                      <a:lnTo>
                        <a:pt x="2030" y="217"/>
                      </a:lnTo>
                      <a:lnTo>
                        <a:pt x="2011" y="208"/>
                      </a:lnTo>
                      <a:lnTo>
                        <a:pt x="1995" y="210"/>
                      </a:lnTo>
                      <a:lnTo>
                        <a:pt x="1990" y="209"/>
                      </a:lnTo>
                      <a:lnTo>
                        <a:pt x="1983" y="216"/>
                      </a:lnTo>
                      <a:lnTo>
                        <a:pt x="1982" y="213"/>
                      </a:lnTo>
                      <a:lnTo>
                        <a:pt x="1983" y="200"/>
                      </a:lnTo>
                      <a:lnTo>
                        <a:pt x="1988" y="194"/>
                      </a:lnTo>
                      <a:lnTo>
                        <a:pt x="1995" y="190"/>
                      </a:lnTo>
                      <a:lnTo>
                        <a:pt x="2011" y="171"/>
                      </a:lnTo>
                      <a:lnTo>
                        <a:pt x="2020" y="165"/>
                      </a:lnTo>
                      <a:lnTo>
                        <a:pt x="2021" y="160"/>
                      </a:lnTo>
                      <a:lnTo>
                        <a:pt x="2018" y="159"/>
                      </a:lnTo>
                      <a:lnTo>
                        <a:pt x="2007" y="160"/>
                      </a:lnTo>
                      <a:lnTo>
                        <a:pt x="1996" y="163"/>
                      </a:lnTo>
                      <a:lnTo>
                        <a:pt x="1985" y="170"/>
                      </a:lnTo>
                      <a:lnTo>
                        <a:pt x="1969" y="179"/>
                      </a:lnTo>
                      <a:lnTo>
                        <a:pt x="1958" y="193"/>
                      </a:lnTo>
                      <a:lnTo>
                        <a:pt x="1947" y="199"/>
                      </a:lnTo>
                      <a:lnTo>
                        <a:pt x="1936" y="208"/>
                      </a:lnTo>
                      <a:lnTo>
                        <a:pt x="1921" y="211"/>
                      </a:lnTo>
                      <a:lnTo>
                        <a:pt x="1909" y="215"/>
                      </a:lnTo>
                      <a:lnTo>
                        <a:pt x="1890" y="229"/>
                      </a:lnTo>
                      <a:lnTo>
                        <a:pt x="1877" y="230"/>
                      </a:lnTo>
                      <a:lnTo>
                        <a:pt x="1856" y="227"/>
                      </a:lnTo>
                      <a:lnTo>
                        <a:pt x="1853" y="232"/>
                      </a:lnTo>
                      <a:lnTo>
                        <a:pt x="1851" y="230"/>
                      </a:lnTo>
                      <a:lnTo>
                        <a:pt x="1854" y="219"/>
                      </a:lnTo>
                      <a:lnTo>
                        <a:pt x="1854" y="209"/>
                      </a:lnTo>
                      <a:lnTo>
                        <a:pt x="1848" y="203"/>
                      </a:lnTo>
                      <a:lnTo>
                        <a:pt x="1811" y="226"/>
                      </a:lnTo>
                      <a:lnTo>
                        <a:pt x="1799" y="229"/>
                      </a:lnTo>
                      <a:lnTo>
                        <a:pt x="1790" y="227"/>
                      </a:lnTo>
                      <a:lnTo>
                        <a:pt x="1785" y="221"/>
                      </a:lnTo>
                      <a:lnTo>
                        <a:pt x="1792" y="213"/>
                      </a:lnTo>
                      <a:lnTo>
                        <a:pt x="1831" y="179"/>
                      </a:lnTo>
                      <a:lnTo>
                        <a:pt x="1872" y="145"/>
                      </a:lnTo>
                      <a:lnTo>
                        <a:pt x="1892" y="138"/>
                      </a:lnTo>
                      <a:lnTo>
                        <a:pt x="1915" y="118"/>
                      </a:lnTo>
                      <a:lnTo>
                        <a:pt x="1910" y="118"/>
                      </a:lnTo>
                      <a:lnTo>
                        <a:pt x="1896" y="111"/>
                      </a:lnTo>
                      <a:lnTo>
                        <a:pt x="1870" y="111"/>
                      </a:lnTo>
                      <a:lnTo>
                        <a:pt x="1853" y="103"/>
                      </a:lnTo>
                      <a:lnTo>
                        <a:pt x="1844" y="104"/>
                      </a:lnTo>
                      <a:lnTo>
                        <a:pt x="1831" y="111"/>
                      </a:lnTo>
                      <a:lnTo>
                        <a:pt x="1824" y="112"/>
                      </a:lnTo>
                      <a:lnTo>
                        <a:pt x="1812" y="106"/>
                      </a:lnTo>
                      <a:lnTo>
                        <a:pt x="1805" y="96"/>
                      </a:lnTo>
                      <a:lnTo>
                        <a:pt x="1792" y="92"/>
                      </a:lnTo>
                      <a:lnTo>
                        <a:pt x="1785" y="86"/>
                      </a:lnTo>
                      <a:lnTo>
                        <a:pt x="1776" y="84"/>
                      </a:lnTo>
                      <a:lnTo>
                        <a:pt x="1772" y="81"/>
                      </a:lnTo>
                      <a:lnTo>
                        <a:pt x="1765" y="74"/>
                      </a:lnTo>
                      <a:lnTo>
                        <a:pt x="1757" y="68"/>
                      </a:lnTo>
                      <a:lnTo>
                        <a:pt x="1747" y="64"/>
                      </a:lnTo>
                      <a:lnTo>
                        <a:pt x="1721" y="63"/>
                      </a:lnTo>
                      <a:lnTo>
                        <a:pt x="1713" y="68"/>
                      </a:lnTo>
                      <a:lnTo>
                        <a:pt x="1702" y="68"/>
                      </a:lnTo>
                      <a:lnTo>
                        <a:pt x="1695" y="66"/>
                      </a:lnTo>
                      <a:lnTo>
                        <a:pt x="1695" y="64"/>
                      </a:lnTo>
                      <a:lnTo>
                        <a:pt x="1693" y="63"/>
                      </a:lnTo>
                      <a:lnTo>
                        <a:pt x="1679" y="59"/>
                      </a:lnTo>
                      <a:lnTo>
                        <a:pt x="1675" y="55"/>
                      </a:lnTo>
                      <a:lnTo>
                        <a:pt x="1665" y="58"/>
                      </a:lnTo>
                      <a:lnTo>
                        <a:pt x="1661" y="58"/>
                      </a:lnTo>
                      <a:lnTo>
                        <a:pt x="1660" y="55"/>
                      </a:lnTo>
                      <a:lnTo>
                        <a:pt x="1651" y="57"/>
                      </a:lnTo>
                      <a:lnTo>
                        <a:pt x="1643" y="34"/>
                      </a:lnTo>
                      <a:lnTo>
                        <a:pt x="1640" y="33"/>
                      </a:lnTo>
                      <a:lnTo>
                        <a:pt x="1629" y="1"/>
                      </a:lnTo>
                      <a:lnTo>
                        <a:pt x="1622" y="0"/>
                      </a:lnTo>
                      <a:lnTo>
                        <a:pt x="1617" y="0"/>
                      </a:lnTo>
                      <a:lnTo>
                        <a:pt x="1617" y="36"/>
                      </a:lnTo>
                      <a:lnTo>
                        <a:pt x="1558" y="36"/>
                      </a:lnTo>
                      <a:lnTo>
                        <a:pt x="1503" y="36"/>
                      </a:lnTo>
                      <a:lnTo>
                        <a:pt x="1503" y="36"/>
                      </a:lnTo>
                      <a:lnTo>
                        <a:pt x="1491" y="36"/>
                      </a:lnTo>
                      <a:lnTo>
                        <a:pt x="1445" y="36"/>
                      </a:lnTo>
                      <a:lnTo>
                        <a:pt x="1397" y="36"/>
                      </a:lnTo>
                      <a:lnTo>
                        <a:pt x="1344" y="36"/>
                      </a:lnTo>
                      <a:lnTo>
                        <a:pt x="1294" y="36"/>
                      </a:lnTo>
                      <a:lnTo>
                        <a:pt x="1277" y="36"/>
                      </a:lnTo>
                      <a:lnTo>
                        <a:pt x="1130" y="36"/>
                      </a:lnTo>
                      <a:lnTo>
                        <a:pt x="1086" y="36"/>
                      </a:lnTo>
                      <a:lnTo>
                        <a:pt x="1032" y="36"/>
                      </a:lnTo>
                      <a:lnTo>
                        <a:pt x="983" y="36"/>
                      </a:lnTo>
                      <a:lnTo>
                        <a:pt x="936" y="36"/>
                      </a:lnTo>
                      <a:lnTo>
                        <a:pt x="888" y="36"/>
                      </a:lnTo>
                      <a:lnTo>
                        <a:pt x="834" y="36"/>
                      </a:lnTo>
                      <a:lnTo>
                        <a:pt x="802" y="36"/>
                      </a:lnTo>
                      <a:lnTo>
                        <a:pt x="753" y="34"/>
                      </a:lnTo>
                      <a:lnTo>
                        <a:pt x="699" y="34"/>
                      </a:lnTo>
                      <a:lnTo>
                        <a:pt x="649" y="34"/>
                      </a:lnTo>
                      <a:lnTo>
                        <a:pt x="580" y="34"/>
                      </a:lnTo>
                      <a:lnTo>
                        <a:pt x="471" y="34"/>
                      </a:lnTo>
                      <a:lnTo>
                        <a:pt x="418" y="34"/>
                      </a:lnTo>
                      <a:lnTo>
                        <a:pt x="365" y="34"/>
                      </a:lnTo>
                      <a:lnTo>
                        <a:pt x="320" y="34"/>
                      </a:lnTo>
                      <a:lnTo>
                        <a:pt x="270" y="34"/>
                      </a:lnTo>
                      <a:lnTo>
                        <a:pt x="218" y="34"/>
                      </a:lnTo>
                      <a:lnTo>
                        <a:pt x="167" y="34"/>
                      </a:lnTo>
                      <a:lnTo>
                        <a:pt x="105" y="34"/>
                      </a:lnTo>
                      <a:lnTo>
                        <a:pt x="108" y="43"/>
                      </a:lnTo>
                      <a:lnTo>
                        <a:pt x="113" y="50"/>
                      </a:lnTo>
                      <a:lnTo>
                        <a:pt x="121" y="50"/>
                      </a:lnTo>
                      <a:lnTo>
                        <a:pt x="129" y="53"/>
                      </a:lnTo>
                      <a:lnTo>
                        <a:pt x="133" y="58"/>
                      </a:lnTo>
                      <a:lnTo>
                        <a:pt x="132" y="59"/>
                      </a:lnTo>
                      <a:lnTo>
                        <a:pt x="128" y="57"/>
                      </a:lnTo>
                      <a:lnTo>
                        <a:pt x="124" y="58"/>
                      </a:lnTo>
                      <a:lnTo>
                        <a:pt x="124" y="66"/>
                      </a:lnTo>
                      <a:lnTo>
                        <a:pt x="119" y="74"/>
                      </a:lnTo>
                      <a:lnTo>
                        <a:pt x="116" y="75"/>
                      </a:lnTo>
                      <a:lnTo>
                        <a:pt x="116" y="76"/>
                      </a:lnTo>
                      <a:lnTo>
                        <a:pt x="122" y="81"/>
                      </a:lnTo>
                      <a:lnTo>
                        <a:pt x="127" y="84"/>
                      </a:lnTo>
                      <a:lnTo>
                        <a:pt x="128" y="87"/>
                      </a:lnTo>
                      <a:lnTo>
                        <a:pt x="133" y="103"/>
                      </a:lnTo>
                      <a:lnTo>
                        <a:pt x="133" y="119"/>
                      </a:lnTo>
                      <a:lnTo>
                        <a:pt x="132" y="133"/>
                      </a:lnTo>
                      <a:lnTo>
                        <a:pt x="130" y="133"/>
                      </a:lnTo>
                      <a:lnTo>
                        <a:pt x="127" y="125"/>
                      </a:lnTo>
                      <a:lnTo>
                        <a:pt x="124" y="125"/>
                      </a:lnTo>
                      <a:lnTo>
                        <a:pt x="118" y="127"/>
                      </a:lnTo>
                      <a:lnTo>
                        <a:pt x="111" y="143"/>
                      </a:lnTo>
                      <a:lnTo>
                        <a:pt x="101" y="150"/>
                      </a:lnTo>
                      <a:lnTo>
                        <a:pt x="98" y="155"/>
                      </a:lnTo>
                      <a:lnTo>
                        <a:pt x="101" y="156"/>
                      </a:lnTo>
                      <a:lnTo>
                        <a:pt x="101" y="162"/>
                      </a:lnTo>
                      <a:lnTo>
                        <a:pt x="92" y="162"/>
                      </a:lnTo>
                      <a:lnTo>
                        <a:pt x="92" y="151"/>
                      </a:lnTo>
                      <a:lnTo>
                        <a:pt x="101" y="130"/>
                      </a:lnTo>
                      <a:lnTo>
                        <a:pt x="103" y="127"/>
                      </a:lnTo>
                      <a:lnTo>
                        <a:pt x="109" y="124"/>
                      </a:lnTo>
                      <a:lnTo>
                        <a:pt x="111" y="122"/>
                      </a:lnTo>
                      <a:lnTo>
                        <a:pt x="112" y="112"/>
                      </a:lnTo>
                      <a:lnTo>
                        <a:pt x="109" y="104"/>
                      </a:lnTo>
                      <a:lnTo>
                        <a:pt x="98" y="106"/>
                      </a:lnTo>
                      <a:lnTo>
                        <a:pt x="84" y="100"/>
                      </a:lnTo>
                      <a:lnTo>
                        <a:pt x="70" y="101"/>
                      </a:lnTo>
                      <a:lnTo>
                        <a:pt x="58" y="98"/>
                      </a:lnTo>
                      <a:lnTo>
                        <a:pt x="48" y="98"/>
                      </a:lnTo>
                      <a:lnTo>
                        <a:pt x="19" y="87"/>
                      </a:lnTo>
                      <a:lnTo>
                        <a:pt x="9" y="81"/>
                      </a:lnTo>
                      <a:lnTo>
                        <a:pt x="4" y="86"/>
                      </a:lnTo>
                      <a:lnTo>
                        <a:pt x="1" y="96"/>
                      </a:lnTo>
                      <a:lnTo>
                        <a:pt x="0" y="106"/>
                      </a:lnTo>
                      <a:lnTo>
                        <a:pt x="3" y="113"/>
                      </a:lnTo>
                      <a:lnTo>
                        <a:pt x="6" y="122"/>
                      </a:lnTo>
                      <a:lnTo>
                        <a:pt x="15" y="131"/>
                      </a:lnTo>
                      <a:lnTo>
                        <a:pt x="21" y="147"/>
                      </a:lnTo>
                      <a:lnTo>
                        <a:pt x="28" y="181"/>
                      </a:lnTo>
                      <a:lnTo>
                        <a:pt x="32" y="193"/>
                      </a:lnTo>
                      <a:lnTo>
                        <a:pt x="33" y="194"/>
                      </a:lnTo>
                      <a:lnTo>
                        <a:pt x="38" y="188"/>
                      </a:lnTo>
                      <a:lnTo>
                        <a:pt x="42" y="193"/>
                      </a:lnTo>
                      <a:lnTo>
                        <a:pt x="41" y="199"/>
                      </a:lnTo>
                      <a:lnTo>
                        <a:pt x="37" y="205"/>
                      </a:lnTo>
                      <a:lnTo>
                        <a:pt x="37" y="211"/>
                      </a:lnTo>
                      <a:lnTo>
                        <a:pt x="38" y="215"/>
                      </a:lnTo>
                      <a:lnTo>
                        <a:pt x="42" y="216"/>
                      </a:lnTo>
                      <a:lnTo>
                        <a:pt x="46" y="215"/>
                      </a:lnTo>
                      <a:lnTo>
                        <a:pt x="47" y="217"/>
                      </a:lnTo>
                      <a:lnTo>
                        <a:pt x="46" y="225"/>
                      </a:lnTo>
                      <a:lnTo>
                        <a:pt x="47" y="236"/>
                      </a:lnTo>
                      <a:lnTo>
                        <a:pt x="46" y="240"/>
                      </a:lnTo>
                      <a:lnTo>
                        <a:pt x="43" y="238"/>
                      </a:lnTo>
                      <a:lnTo>
                        <a:pt x="42" y="229"/>
                      </a:lnTo>
                      <a:lnTo>
                        <a:pt x="38" y="225"/>
                      </a:lnTo>
                      <a:lnTo>
                        <a:pt x="37" y="238"/>
                      </a:lnTo>
                      <a:lnTo>
                        <a:pt x="39" y="246"/>
                      </a:lnTo>
                      <a:lnTo>
                        <a:pt x="47" y="252"/>
                      </a:lnTo>
                      <a:lnTo>
                        <a:pt x="68" y="251"/>
                      </a:lnTo>
                      <a:lnTo>
                        <a:pt x="74" y="257"/>
                      </a:lnTo>
                      <a:lnTo>
                        <a:pt x="81" y="260"/>
                      </a:lnTo>
                      <a:lnTo>
                        <a:pt x="80" y="264"/>
                      </a:lnTo>
                      <a:lnTo>
                        <a:pt x="68" y="259"/>
                      </a:lnTo>
                      <a:lnTo>
                        <a:pt x="48" y="262"/>
                      </a:lnTo>
                      <a:lnTo>
                        <a:pt x="46" y="264"/>
                      </a:lnTo>
                      <a:lnTo>
                        <a:pt x="44" y="269"/>
                      </a:lnTo>
                      <a:lnTo>
                        <a:pt x="43" y="285"/>
                      </a:lnTo>
                      <a:lnTo>
                        <a:pt x="43" y="291"/>
                      </a:lnTo>
                      <a:lnTo>
                        <a:pt x="47" y="295"/>
                      </a:lnTo>
                      <a:lnTo>
                        <a:pt x="44" y="301"/>
                      </a:lnTo>
                      <a:lnTo>
                        <a:pt x="46" y="312"/>
                      </a:lnTo>
                      <a:lnTo>
                        <a:pt x="42" y="321"/>
                      </a:lnTo>
                      <a:lnTo>
                        <a:pt x="41" y="353"/>
                      </a:lnTo>
                      <a:lnTo>
                        <a:pt x="37" y="366"/>
                      </a:lnTo>
                      <a:lnTo>
                        <a:pt x="38" y="409"/>
                      </a:lnTo>
                      <a:lnTo>
                        <a:pt x="36" y="419"/>
                      </a:lnTo>
                      <a:lnTo>
                        <a:pt x="36" y="431"/>
                      </a:lnTo>
                      <a:lnTo>
                        <a:pt x="30" y="457"/>
                      </a:lnTo>
                      <a:lnTo>
                        <a:pt x="28" y="464"/>
                      </a:lnTo>
                      <a:lnTo>
                        <a:pt x="30" y="466"/>
                      </a:lnTo>
                      <a:lnTo>
                        <a:pt x="31" y="466"/>
                      </a:lnTo>
                      <a:lnTo>
                        <a:pt x="32" y="474"/>
                      </a:lnTo>
                      <a:lnTo>
                        <a:pt x="26" y="478"/>
                      </a:lnTo>
                      <a:lnTo>
                        <a:pt x="20" y="488"/>
                      </a:lnTo>
                      <a:lnTo>
                        <a:pt x="15" y="515"/>
                      </a:lnTo>
                      <a:lnTo>
                        <a:pt x="17" y="529"/>
                      </a:lnTo>
                      <a:lnTo>
                        <a:pt x="20" y="555"/>
                      </a:lnTo>
                      <a:lnTo>
                        <a:pt x="27" y="576"/>
                      </a:lnTo>
                      <a:lnTo>
                        <a:pt x="28" y="580"/>
                      </a:lnTo>
                      <a:lnTo>
                        <a:pt x="31" y="590"/>
                      </a:lnTo>
                      <a:lnTo>
                        <a:pt x="39" y="624"/>
                      </a:lnTo>
                      <a:lnTo>
                        <a:pt x="36" y="646"/>
                      </a:lnTo>
                      <a:lnTo>
                        <a:pt x="36" y="667"/>
                      </a:lnTo>
                      <a:lnTo>
                        <a:pt x="30" y="678"/>
                      </a:lnTo>
                      <a:lnTo>
                        <a:pt x="22" y="688"/>
                      </a:lnTo>
                      <a:lnTo>
                        <a:pt x="22" y="697"/>
                      </a:lnTo>
                      <a:lnTo>
                        <a:pt x="24" y="701"/>
                      </a:lnTo>
                      <a:lnTo>
                        <a:pt x="30" y="706"/>
                      </a:lnTo>
                      <a:lnTo>
                        <a:pt x="54" y="747"/>
                      </a:lnTo>
                      <a:lnTo>
                        <a:pt x="55" y="752"/>
                      </a:lnTo>
                      <a:lnTo>
                        <a:pt x="54" y="758"/>
                      </a:lnTo>
                      <a:lnTo>
                        <a:pt x="54" y="769"/>
                      </a:lnTo>
                      <a:lnTo>
                        <a:pt x="63" y="806"/>
                      </a:lnTo>
                      <a:lnTo>
                        <a:pt x="69" y="813"/>
                      </a:lnTo>
                      <a:lnTo>
                        <a:pt x="78" y="824"/>
                      </a:lnTo>
                      <a:lnTo>
                        <a:pt x="95" y="841"/>
                      </a:lnTo>
                      <a:lnTo>
                        <a:pt x="98" y="850"/>
                      </a:lnTo>
                      <a:lnTo>
                        <a:pt x="98" y="857"/>
                      </a:lnTo>
                      <a:lnTo>
                        <a:pt x="100" y="862"/>
                      </a:lnTo>
                      <a:lnTo>
                        <a:pt x="108" y="868"/>
                      </a:lnTo>
                      <a:lnTo>
                        <a:pt x="114" y="868"/>
                      </a:lnTo>
                      <a:lnTo>
                        <a:pt x="116" y="872"/>
                      </a:lnTo>
                      <a:lnTo>
                        <a:pt x="119" y="872"/>
                      </a:lnTo>
                      <a:lnTo>
                        <a:pt x="122" y="870"/>
                      </a:lnTo>
                      <a:lnTo>
                        <a:pt x="123" y="868"/>
                      </a:lnTo>
                      <a:lnTo>
                        <a:pt x="124" y="854"/>
                      </a:lnTo>
                      <a:lnTo>
                        <a:pt x="138" y="854"/>
                      </a:lnTo>
                      <a:lnTo>
                        <a:pt x="150" y="859"/>
                      </a:lnTo>
                      <a:lnTo>
                        <a:pt x="144" y="864"/>
                      </a:lnTo>
                      <a:lnTo>
                        <a:pt x="138" y="865"/>
                      </a:lnTo>
                      <a:lnTo>
                        <a:pt x="133" y="870"/>
                      </a:lnTo>
                      <a:lnTo>
                        <a:pt x="134" y="876"/>
                      </a:lnTo>
                      <a:lnTo>
                        <a:pt x="144" y="894"/>
                      </a:lnTo>
                      <a:lnTo>
                        <a:pt x="145" y="899"/>
                      </a:lnTo>
                      <a:lnTo>
                        <a:pt x="137" y="893"/>
                      </a:lnTo>
                      <a:lnTo>
                        <a:pt x="130" y="886"/>
                      </a:lnTo>
                      <a:lnTo>
                        <a:pt x="129" y="881"/>
                      </a:lnTo>
                      <a:lnTo>
                        <a:pt x="124" y="880"/>
                      </a:lnTo>
                      <a:lnTo>
                        <a:pt x="123" y="887"/>
                      </a:lnTo>
                      <a:lnTo>
                        <a:pt x="124" y="894"/>
                      </a:lnTo>
                      <a:lnTo>
                        <a:pt x="129" y="905"/>
                      </a:lnTo>
                      <a:lnTo>
                        <a:pt x="133" y="925"/>
                      </a:lnTo>
                      <a:lnTo>
                        <a:pt x="143" y="934"/>
                      </a:lnTo>
                      <a:lnTo>
                        <a:pt x="155" y="936"/>
                      </a:lnTo>
                      <a:lnTo>
                        <a:pt x="161" y="946"/>
                      </a:lnTo>
                      <a:lnTo>
                        <a:pt x="161" y="958"/>
                      </a:lnTo>
                      <a:lnTo>
                        <a:pt x="155" y="963"/>
                      </a:lnTo>
                      <a:lnTo>
                        <a:pt x="155" y="977"/>
                      </a:lnTo>
                      <a:lnTo>
                        <a:pt x="157" y="980"/>
                      </a:lnTo>
                      <a:lnTo>
                        <a:pt x="180" y="1004"/>
                      </a:lnTo>
                      <a:lnTo>
                        <a:pt x="192" y="1023"/>
                      </a:lnTo>
                      <a:lnTo>
                        <a:pt x="207" y="1038"/>
                      </a:lnTo>
                      <a:lnTo>
                        <a:pt x="213" y="1042"/>
                      </a:lnTo>
                      <a:lnTo>
                        <a:pt x="214" y="1053"/>
                      </a:lnTo>
                      <a:lnTo>
                        <a:pt x="223" y="1056"/>
                      </a:lnTo>
                      <a:lnTo>
                        <a:pt x="227" y="1064"/>
                      </a:lnTo>
                      <a:lnTo>
                        <a:pt x="227" y="1066"/>
                      </a:lnTo>
                      <a:lnTo>
                        <a:pt x="226" y="1072"/>
                      </a:lnTo>
                      <a:lnTo>
                        <a:pt x="226" y="1081"/>
                      </a:lnTo>
                      <a:lnTo>
                        <a:pt x="229" y="1096"/>
                      </a:lnTo>
                      <a:lnTo>
                        <a:pt x="231" y="1099"/>
                      </a:lnTo>
                      <a:lnTo>
                        <a:pt x="238" y="1102"/>
                      </a:lnTo>
                      <a:lnTo>
                        <a:pt x="257" y="1104"/>
                      </a:lnTo>
                      <a:lnTo>
                        <a:pt x="268" y="1110"/>
                      </a:lnTo>
                      <a:lnTo>
                        <a:pt x="273" y="1108"/>
                      </a:lnTo>
                      <a:lnTo>
                        <a:pt x="280" y="1109"/>
                      </a:lnTo>
                      <a:lnTo>
                        <a:pt x="289" y="1114"/>
                      </a:lnTo>
                      <a:lnTo>
                        <a:pt x="299" y="1118"/>
                      </a:lnTo>
                      <a:lnTo>
                        <a:pt x="302" y="1124"/>
                      </a:lnTo>
                      <a:lnTo>
                        <a:pt x="318" y="1130"/>
                      </a:lnTo>
                      <a:lnTo>
                        <a:pt x="324" y="1134"/>
                      </a:lnTo>
                      <a:lnTo>
                        <a:pt x="328" y="1137"/>
                      </a:lnTo>
                      <a:lnTo>
                        <a:pt x="331" y="1131"/>
                      </a:lnTo>
                      <a:lnTo>
                        <a:pt x="336" y="1131"/>
                      </a:lnTo>
                      <a:lnTo>
                        <a:pt x="339" y="1134"/>
                      </a:lnTo>
                      <a:lnTo>
                        <a:pt x="348" y="1141"/>
                      </a:lnTo>
                      <a:lnTo>
                        <a:pt x="349" y="1151"/>
                      </a:lnTo>
                      <a:lnTo>
                        <a:pt x="350" y="1153"/>
                      </a:lnTo>
                      <a:lnTo>
                        <a:pt x="364" y="1155"/>
                      </a:lnTo>
                      <a:lnTo>
                        <a:pt x="376" y="1161"/>
                      </a:lnTo>
                      <a:lnTo>
                        <a:pt x="383" y="1167"/>
                      </a:lnTo>
                      <a:lnTo>
                        <a:pt x="397" y="1183"/>
                      </a:lnTo>
                      <a:lnTo>
                        <a:pt x="406" y="1192"/>
                      </a:lnTo>
                      <a:lnTo>
                        <a:pt x="412" y="1201"/>
                      </a:lnTo>
                      <a:lnTo>
                        <a:pt x="415" y="1227"/>
                      </a:lnTo>
                      <a:lnTo>
                        <a:pt x="417" y="1233"/>
                      </a:lnTo>
                      <a:lnTo>
                        <a:pt x="541" y="1223"/>
                      </a:lnTo>
                      <a:lnTo>
                        <a:pt x="542" y="1230"/>
                      </a:lnTo>
                      <a:lnTo>
                        <a:pt x="751" y="1307"/>
                      </a:lnTo>
                      <a:lnTo>
                        <a:pt x="854" y="1307"/>
                      </a:lnTo>
                      <a:lnTo>
                        <a:pt x="898" y="1307"/>
                      </a:lnTo>
                      <a:lnTo>
                        <a:pt x="899" y="1277"/>
                      </a:lnTo>
                      <a:lnTo>
                        <a:pt x="989" y="1276"/>
                      </a:lnTo>
                      <a:lnTo>
                        <a:pt x="999" y="1282"/>
                      </a:lnTo>
                      <a:lnTo>
                        <a:pt x="1004" y="1285"/>
                      </a:lnTo>
                      <a:lnTo>
                        <a:pt x="1011" y="1297"/>
                      </a:lnTo>
                      <a:lnTo>
                        <a:pt x="1023" y="1303"/>
                      </a:lnTo>
                      <a:lnTo>
                        <a:pt x="1032" y="1316"/>
                      </a:lnTo>
                      <a:lnTo>
                        <a:pt x="1052" y="1333"/>
                      </a:lnTo>
                      <a:lnTo>
                        <a:pt x="1081" y="1352"/>
                      </a:lnTo>
                      <a:lnTo>
                        <a:pt x="1095" y="1403"/>
                      </a:lnTo>
                      <a:lnTo>
                        <a:pt x="1109" y="1421"/>
                      </a:lnTo>
                      <a:lnTo>
                        <a:pt x="1128" y="1437"/>
                      </a:lnTo>
                      <a:lnTo>
                        <a:pt x="1152" y="1453"/>
                      </a:lnTo>
                      <a:lnTo>
                        <a:pt x="1176" y="1458"/>
                      </a:lnTo>
                      <a:lnTo>
                        <a:pt x="1199" y="1411"/>
                      </a:lnTo>
                      <a:lnTo>
                        <a:pt x="1202" y="1408"/>
                      </a:lnTo>
                      <a:lnTo>
                        <a:pt x="1213" y="1403"/>
                      </a:lnTo>
                      <a:lnTo>
                        <a:pt x="1224" y="1406"/>
                      </a:lnTo>
                      <a:lnTo>
                        <a:pt x="1269" y="1404"/>
                      </a:lnTo>
                      <a:lnTo>
                        <a:pt x="1277" y="1414"/>
                      </a:lnTo>
                      <a:lnTo>
                        <a:pt x="1294" y="1430"/>
                      </a:lnTo>
                      <a:lnTo>
                        <a:pt x="1300" y="1440"/>
                      </a:lnTo>
                      <a:lnTo>
                        <a:pt x="1311" y="1448"/>
                      </a:lnTo>
                      <a:lnTo>
                        <a:pt x="1331" y="1494"/>
                      </a:lnTo>
                      <a:lnTo>
                        <a:pt x="1347" y="1511"/>
                      </a:lnTo>
                      <a:lnTo>
                        <a:pt x="1355" y="1531"/>
                      </a:lnTo>
                      <a:lnTo>
                        <a:pt x="1372" y="1542"/>
                      </a:lnTo>
                      <a:lnTo>
                        <a:pt x="1387" y="1589"/>
                      </a:lnTo>
                      <a:lnTo>
                        <a:pt x="1404" y="1615"/>
                      </a:lnTo>
                      <a:lnTo>
                        <a:pt x="1421" y="1626"/>
                      </a:lnTo>
                      <a:lnTo>
                        <a:pt x="1435" y="1628"/>
                      </a:lnTo>
                      <a:lnTo>
                        <a:pt x="1450" y="1636"/>
                      </a:lnTo>
                      <a:lnTo>
                        <a:pt x="1477" y="1639"/>
                      </a:lnTo>
                      <a:lnTo>
                        <a:pt x="1495" y="1647"/>
                      </a:lnTo>
                      <a:lnTo>
                        <a:pt x="1512" y="1648"/>
                      </a:lnTo>
                      <a:lnTo>
                        <a:pt x="1514" y="1647"/>
                      </a:lnTo>
                      <a:lnTo>
                        <a:pt x="1509" y="1644"/>
                      </a:lnTo>
                      <a:lnTo>
                        <a:pt x="1505" y="1632"/>
                      </a:lnTo>
                      <a:lnTo>
                        <a:pt x="1503" y="1625"/>
                      </a:lnTo>
                      <a:lnTo>
                        <a:pt x="1501" y="1624"/>
                      </a:lnTo>
                      <a:lnTo>
                        <a:pt x="1495" y="1598"/>
                      </a:lnTo>
                      <a:lnTo>
                        <a:pt x="1494" y="1588"/>
                      </a:lnTo>
                      <a:lnTo>
                        <a:pt x="1499" y="1585"/>
                      </a:lnTo>
                      <a:lnTo>
                        <a:pt x="1499" y="1572"/>
                      </a:lnTo>
                      <a:lnTo>
                        <a:pt x="1498" y="1571"/>
                      </a:lnTo>
                      <a:lnTo>
                        <a:pt x="1491" y="1570"/>
                      </a:lnTo>
                      <a:lnTo>
                        <a:pt x="1489" y="1567"/>
                      </a:lnTo>
                      <a:lnTo>
                        <a:pt x="1490" y="1564"/>
                      </a:lnTo>
                      <a:lnTo>
                        <a:pt x="1498" y="1564"/>
                      </a:lnTo>
                      <a:lnTo>
                        <a:pt x="1500" y="1566"/>
                      </a:lnTo>
                      <a:lnTo>
                        <a:pt x="1505" y="1564"/>
                      </a:lnTo>
                      <a:lnTo>
                        <a:pt x="1506" y="1556"/>
                      </a:lnTo>
                      <a:lnTo>
                        <a:pt x="1506" y="1543"/>
                      </a:lnTo>
                      <a:lnTo>
                        <a:pt x="1501" y="1533"/>
                      </a:lnTo>
                      <a:lnTo>
                        <a:pt x="1516" y="1531"/>
                      </a:lnTo>
                      <a:lnTo>
                        <a:pt x="1521" y="1521"/>
                      </a:lnTo>
                      <a:lnTo>
                        <a:pt x="1520" y="1518"/>
                      </a:lnTo>
                      <a:lnTo>
                        <a:pt x="1515" y="1519"/>
                      </a:lnTo>
                      <a:lnTo>
                        <a:pt x="1515" y="1515"/>
                      </a:lnTo>
                      <a:lnTo>
                        <a:pt x="1525" y="1508"/>
                      </a:lnTo>
                      <a:lnTo>
                        <a:pt x="1528" y="1510"/>
                      </a:lnTo>
                      <a:lnTo>
                        <a:pt x="1533" y="1502"/>
                      </a:lnTo>
                      <a:lnTo>
                        <a:pt x="1534" y="1500"/>
                      </a:lnTo>
                      <a:lnTo>
                        <a:pt x="1537" y="1496"/>
                      </a:lnTo>
                      <a:lnTo>
                        <a:pt x="1547" y="1496"/>
                      </a:lnTo>
                      <a:lnTo>
                        <a:pt x="1550" y="1494"/>
                      </a:lnTo>
                      <a:lnTo>
                        <a:pt x="1552" y="1489"/>
                      </a:lnTo>
                      <a:lnTo>
                        <a:pt x="1546" y="1485"/>
                      </a:lnTo>
                      <a:lnTo>
                        <a:pt x="1546" y="1480"/>
                      </a:lnTo>
                      <a:lnTo>
                        <a:pt x="1547" y="1476"/>
                      </a:lnTo>
                      <a:lnTo>
                        <a:pt x="1552" y="1479"/>
                      </a:lnTo>
                      <a:lnTo>
                        <a:pt x="1555" y="1481"/>
                      </a:lnTo>
                      <a:lnTo>
                        <a:pt x="1557" y="1481"/>
                      </a:lnTo>
                      <a:lnTo>
                        <a:pt x="1557" y="1476"/>
                      </a:lnTo>
                      <a:lnTo>
                        <a:pt x="1558" y="1475"/>
                      </a:lnTo>
                      <a:lnTo>
                        <a:pt x="1559" y="1476"/>
                      </a:lnTo>
                      <a:lnTo>
                        <a:pt x="1563" y="1480"/>
                      </a:lnTo>
                      <a:lnTo>
                        <a:pt x="1564" y="1480"/>
                      </a:lnTo>
                      <a:lnTo>
                        <a:pt x="1566" y="1479"/>
                      </a:lnTo>
                      <a:lnTo>
                        <a:pt x="1569" y="1475"/>
                      </a:lnTo>
                      <a:lnTo>
                        <a:pt x="1570" y="1474"/>
                      </a:lnTo>
                      <a:lnTo>
                        <a:pt x="1571" y="1483"/>
                      </a:lnTo>
                      <a:lnTo>
                        <a:pt x="1587" y="1476"/>
                      </a:lnTo>
                      <a:lnTo>
                        <a:pt x="1590" y="1478"/>
                      </a:lnTo>
                      <a:lnTo>
                        <a:pt x="1590" y="1479"/>
                      </a:lnTo>
                      <a:lnTo>
                        <a:pt x="1585" y="1481"/>
                      </a:lnTo>
                      <a:lnTo>
                        <a:pt x="1575" y="1485"/>
                      </a:lnTo>
                      <a:lnTo>
                        <a:pt x="1566" y="1489"/>
                      </a:lnTo>
                      <a:lnTo>
                        <a:pt x="1565" y="1492"/>
                      </a:lnTo>
                      <a:lnTo>
                        <a:pt x="1568" y="1492"/>
                      </a:lnTo>
                      <a:lnTo>
                        <a:pt x="1584" y="1486"/>
                      </a:lnTo>
                      <a:lnTo>
                        <a:pt x="1598" y="1479"/>
                      </a:lnTo>
                      <a:lnTo>
                        <a:pt x="1606" y="1473"/>
                      </a:lnTo>
                      <a:lnTo>
                        <a:pt x="1619" y="1463"/>
                      </a:lnTo>
                      <a:lnTo>
                        <a:pt x="1622" y="1459"/>
                      </a:lnTo>
                      <a:lnTo>
                        <a:pt x="1628" y="1443"/>
                      </a:lnTo>
                      <a:lnTo>
                        <a:pt x="1629" y="1410"/>
                      </a:lnTo>
                      <a:lnTo>
                        <a:pt x="1632" y="1408"/>
                      </a:lnTo>
                      <a:lnTo>
                        <a:pt x="1635" y="1406"/>
                      </a:lnTo>
                      <a:lnTo>
                        <a:pt x="1638" y="1406"/>
                      </a:lnTo>
                      <a:lnTo>
                        <a:pt x="1638" y="1419"/>
                      </a:lnTo>
                      <a:lnTo>
                        <a:pt x="1645" y="1419"/>
                      </a:lnTo>
                      <a:lnTo>
                        <a:pt x="1643" y="1422"/>
                      </a:lnTo>
                      <a:lnTo>
                        <a:pt x="1636" y="1425"/>
                      </a:lnTo>
                      <a:lnTo>
                        <a:pt x="1639" y="1426"/>
                      </a:lnTo>
                      <a:lnTo>
                        <a:pt x="1659" y="1419"/>
                      </a:lnTo>
                      <a:lnTo>
                        <a:pt x="1671" y="1411"/>
                      </a:lnTo>
                      <a:lnTo>
                        <a:pt x="1688" y="1411"/>
                      </a:lnTo>
                      <a:lnTo>
                        <a:pt x="1719" y="1406"/>
                      </a:lnTo>
                      <a:lnTo>
                        <a:pt x="1740" y="1413"/>
                      </a:lnTo>
                      <a:lnTo>
                        <a:pt x="1751" y="1418"/>
                      </a:lnTo>
                      <a:lnTo>
                        <a:pt x="1763" y="1420"/>
                      </a:lnTo>
                      <a:lnTo>
                        <a:pt x="1775" y="1420"/>
                      </a:lnTo>
                      <a:lnTo>
                        <a:pt x="1781" y="1414"/>
                      </a:lnTo>
                      <a:lnTo>
                        <a:pt x="1781" y="1409"/>
                      </a:lnTo>
                      <a:lnTo>
                        <a:pt x="1784" y="1405"/>
                      </a:lnTo>
                      <a:lnTo>
                        <a:pt x="1794" y="1405"/>
                      </a:lnTo>
                      <a:lnTo>
                        <a:pt x="1810" y="1414"/>
                      </a:lnTo>
                      <a:lnTo>
                        <a:pt x="1816" y="1421"/>
                      </a:lnTo>
                      <a:lnTo>
                        <a:pt x="1822" y="1422"/>
                      </a:lnTo>
                      <a:lnTo>
                        <a:pt x="1833" y="1440"/>
                      </a:lnTo>
                      <a:lnTo>
                        <a:pt x="1845" y="1440"/>
                      </a:lnTo>
                      <a:lnTo>
                        <a:pt x="1848" y="1442"/>
                      </a:lnTo>
                      <a:lnTo>
                        <a:pt x="1856" y="1445"/>
                      </a:lnTo>
                      <a:lnTo>
                        <a:pt x="1864" y="1441"/>
                      </a:lnTo>
                      <a:lnTo>
                        <a:pt x="1870" y="1445"/>
                      </a:lnTo>
                      <a:lnTo>
                        <a:pt x="1875" y="1442"/>
                      </a:lnTo>
                      <a:lnTo>
                        <a:pt x="1880" y="1442"/>
                      </a:lnTo>
                      <a:lnTo>
                        <a:pt x="1890" y="1445"/>
                      </a:lnTo>
                      <a:lnTo>
                        <a:pt x="1897" y="1436"/>
                      </a:lnTo>
                      <a:lnTo>
                        <a:pt x="1898" y="1433"/>
                      </a:lnTo>
                      <a:lnTo>
                        <a:pt x="1897" y="1429"/>
                      </a:lnTo>
                      <a:lnTo>
                        <a:pt x="1899" y="1427"/>
                      </a:lnTo>
                      <a:lnTo>
                        <a:pt x="1904" y="1427"/>
                      </a:lnTo>
                      <a:lnTo>
                        <a:pt x="1912" y="1435"/>
                      </a:lnTo>
                      <a:lnTo>
                        <a:pt x="1923" y="1440"/>
                      </a:lnTo>
                      <a:lnTo>
                        <a:pt x="1934" y="1453"/>
                      </a:lnTo>
                      <a:lnTo>
                        <a:pt x="1937" y="1452"/>
                      </a:lnTo>
                      <a:lnTo>
                        <a:pt x="1945" y="1449"/>
                      </a:lnTo>
                      <a:lnTo>
                        <a:pt x="1946" y="1445"/>
                      </a:lnTo>
                      <a:lnTo>
                        <a:pt x="1941" y="1438"/>
                      </a:lnTo>
                      <a:lnTo>
                        <a:pt x="1925" y="1430"/>
                      </a:lnTo>
                      <a:lnTo>
                        <a:pt x="1918" y="1420"/>
                      </a:lnTo>
                      <a:lnTo>
                        <a:pt x="1918" y="1418"/>
                      </a:lnTo>
                      <a:lnTo>
                        <a:pt x="1923" y="1410"/>
                      </a:lnTo>
                      <a:lnTo>
                        <a:pt x="1934" y="1402"/>
                      </a:lnTo>
                      <a:lnTo>
                        <a:pt x="1936" y="1387"/>
                      </a:lnTo>
                      <a:lnTo>
                        <a:pt x="1934" y="1386"/>
                      </a:lnTo>
                      <a:lnTo>
                        <a:pt x="1933" y="1384"/>
                      </a:lnTo>
                      <a:lnTo>
                        <a:pt x="1920" y="1389"/>
                      </a:lnTo>
                      <a:lnTo>
                        <a:pt x="1914" y="1395"/>
                      </a:lnTo>
                      <a:lnTo>
                        <a:pt x="1910" y="1394"/>
                      </a:lnTo>
                      <a:lnTo>
                        <a:pt x="1908" y="1383"/>
                      </a:lnTo>
                      <a:lnTo>
                        <a:pt x="1905" y="1382"/>
                      </a:lnTo>
                      <a:lnTo>
                        <a:pt x="1902" y="1383"/>
                      </a:lnTo>
                      <a:lnTo>
                        <a:pt x="1893" y="1388"/>
                      </a:lnTo>
                      <a:lnTo>
                        <a:pt x="1883" y="1389"/>
                      </a:lnTo>
                      <a:lnTo>
                        <a:pt x="1876" y="1382"/>
                      </a:lnTo>
                      <a:lnTo>
                        <a:pt x="1878" y="1371"/>
                      </a:lnTo>
                      <a:lnTo>
                        <a:pt x="1891" y="1367"/>
                      </a:lnTo>
                      <a:lnTo>
                        <a:pt x="1905" y="1375"/>
                      </a:lnTo>
                      <a:lnTo>
                        <a:pt x="1921" y="1377"/>
                      </a:lnTo>
                      <a:lnTo>
                        <a:pt x="1934" y="1371"/>
                      </a:lnTo>
                      <a:lnTo>
                        <a:pt x="1942" y="1373"/>
                      </a:lnTo>
                      <a:lnTo>
                        <a:pt x="1953" y="1366"/>
                      </a:lnTo>
                      <a:lnTo>
                        <a:pt x="1987" y="1368"/>
                      </a:lnTo>
                      <a:lnTo>
                        <a:pt x="1995" y="1370"/>
                      </a:lnTo>
                      <a:lnTo>
                        <a:pt x="1999" y="1367"/>
                      </a:lnTo>
                      <a:lnTo>
                        <a:pt x="2007" y="1334"/>
                      </a:lnTo>
                      <a:lnTo>
                        <a:pt x="2010" y="1341"/>
                      </a:lnTo>
                      <a:lnTo>
                        <a:pt x="2010" y="1350"/>
                      </a:lnTo>
                      <a:lnTo>
                        <a:pt x="2012" y="1363"/>
                      </a:lnTo>
                      <a:lnTo>
                        <a:pt x="2012" y="1367"/>
                      </a:lnTo>
                      <a:lnTo>
                        <a:pt x="2010" y="1373"/>
                      </a:lnTo>
                      <a:lnTo>
                        <a:pt x="2011" y="1377"/>
                      </a:lnTo>
                      <a:lnTo>
                        <a:pt x="2020" y="1376"/>
                      </a:lnTo>
                      <a:lnTo>
                        <a:pt x="2041" y="1370"/>
                      </a:lnTo>
                      <a:lnTo>
                        <a:pt x="2049" y="1361"/>
                      </a:lnTo>
                      <a:lnTo>
                        <a:pt x="2054" y="1361"/>
                      </a:lnTo>
                      <a:lnTo>
                        <a:pt x="2059" y="1356"/>
                      </a:lnTo>
                      <a:lnTo>
                        <a:pt x="2061" y="1356"/>
                      </a:lnTo>
                      <a:lnTo>
                        <a:pt x="2061" y="1359"/>
                      </a:lnTo>
                      <a:lnTo>
                        <a:pt x="2058" y="1366"/>
                      </a:lnTo>
                      <a:lnTo>
                        <a:pt x="2065" y="1366"/>
                      </a:lnTo>
                      <a:lnTo>
                        <a:pt x="2087" y="1361"/>
                      </a:lnTo>
                      <a:lnTo>
                        <a:pt x="2098" y="1361"/>
                      </a:lnTo>
                      <a:lnTo>
                        <a:pt x="2103" y="1362"/>
                      </a:lnTo>
                      <a:lnTo>
                        <a:pt x="2102" y="1366"/>
                      </a:lnTo>
                      <a:lnTo>
                        <a:pt x="2100" y="1367"/>
                      </a:lnTo>
                      <a:lnTo>
                        <a:pt x="2100" y="1370"/>
                      </a:lnTo>
                      <a:lnTo>
                        <a:pt x="2107" y="1373"/>
                      </a:lnTo>
                      <a:lnTo>
                        <a:pt x="2117" y="1377"/>
                      </a:lnTo>
                      <a:lnTo>
                        <a:pt x="2143" y="1392"/>
                      </a:lnTo>
                      <a:lnTo>
                        <a:pt x="2147" y="1397"/>
                      </a:lnTo>
                      <a:lnTo>
                        <a:pt x="2152" y="1406"/>
                      </a:lnTo>
                      <a:lnTo>
                        <a:pt x="2157" y="1410"/>
                      </a:lnTo>
                      <a:lnTo>
                        <a:pt x="2171" y="1406"/>
                      </a:lnTo>
                      <a:lnTo>
                        <a:pt x="2186" y="1404"/>
                      </a:lnTo>
                      <a:lnTo>
                        <a:pt x="2199" y="1397"/>
                      </a:lnTo>
                      <a:lnTo>
                        <a:pt x="2205" y="1397"/>
                      </a:lnTo>
                      <a:lnTo>
                        <a:pt x="2206" y="1397"/>
                      </a:lnTo>
                      <a:lnTo>
                        <a:pt x="2208" y="1390"/>
                      </a:lnTo>
                      <a:lnTo>
                        <a:pt x="2213" y="1387"/>
                      </a:lnTo>
                      <a:lnTo>
                        <a:pt x="2221" y="1387"/>
                      </a:lnTo>
                      <a:lnTo>
                        <a:pt x="2226" y="1387"/>
                      </a:lnTo>
                      <a:lnTo>
                        <a:pt x="2236" y="1390"/>
                      </a:lnTo>
                      <a:lnTo>
                        <a:pt x="2243" y="1398"/>
                      </a:lnTo>
                      <a:lnTo>
                        <a:pt x="2253" y="1409"/>
                      </a:lnTo>
                      <a:lnTo>
                        <a:pt x="2258" y="1411"/>
                      </a:lnTo>
                      <a:lnTo>
                        <a:pt x="2259" y="1421"/>
                      </a:lnTo>
                      <a:lnTo>
                        <a:pt x="2264" y="1424"/>
                      </a:lnTo>
                      <a:lnTo>
                        <a:pt x="2274" y="1437"/>
                      </a:lnTo>
                      <a:lnTo>
                        <a:pt x="2280" y="1441"/>
                      </a:lnTo>
                      <a:lnTo>
                        <a:pt x="2292" y="1446"/>
                      </a:lnTo>
                      <a:lnTo>
                        <a:pt x="2295" y="1449"/>
                      </a:lnTo>
                      <a:lnTo>
                        <a:pt x="2296" y="1457"/>
                      </a:lnTo>
                      <a:lnTo>
                        <a:pt x="2297" y="1476"/>
                      </a:lnTo>
                      <a:lnTo>
                        <a:pt x="2292" y="1511"/>
                      </a:lnTo>
                      <a:lnTo>
                        <a:pt x="2292" y="1517"/>
                      </a:lnTo>
                      <a:lnTo>
                        <a:pt x="2295" y="1527"/>
                      </a:lnTo>
                      <a:lnTo>
                        <a:pt x="2295" y="1528"/>
                      </a:lnTo>
                      <a:lnTo>
                        <a:pt x="2300" y="1528"/>
                      </a:lnTo>
                      <a:lnTo>
                        <a:pt x="2301" y="1518"/>
                      </a:lnTo>
                      <a:lnTo>
                        <a:pt x="2305" y="1521"/>
                      </a:lnTo>
                      <a:lnTo>
                        <a:pt x="2308" y="1524"/>
                      </a:lnTo>
                      <a:lnTo>
                        <a:pt x="2305" y="1537"/>
                      </a:lnTo>
                      <a:lnTo>
                        <a:pt x="2303" y="1545"/>
                      </a:lnTo>
                      <a:lnTo>
                        <a:pt x="2305" y="1556"/>
                      </a:lnTo>
                      <a:lnTo>
                        <a:pt x="2310" y="1566"/>
                      </a:lnTo>
                      <a:lnTo>
                        <a:pt x="2323" y="1587"/>
                      </a:lnTo>
                      <a:lnTo>
                        <a:pt x="2326" y="1587"/>
                      </a:lnTo>
                      <a:lnTo>
                        <a:pt x="2333" y="1585"/>
                      </a:lnTo>
                      <a:lnTo>
                        <a:pt x="2335" y="1602"/>
                      </a:lnTo>
                      <a:lnTo>
                        <a:pt x="2340" y="1601"/>
                      </a:lnTo>
                      <a:lnTo>
                        <a:pt x="2340" y="1601"/>
                      </a:lnTo>
                      <a:lnTo>
                        <a:pt x="2338" y="1605"/>
                      </a:lnTo>
                      <a:lnTo>
                        <a:pt x="2337" y="1609"/>
                      </a:lnTo>
                      <a:lnTo>
                        <a:pt x="2345" y="1623"/>
                      </a:lnTo>
                      <a:lnTo>
                        <a:pt x="2349" y="1635"/>
                      </a:lnTo>
                      <a:lnTo>
                        <a:pt x="2353" y="1641"/>
                      </a:lnTo>
                      <a:lnTo>
                        <a:pt x="2358" y="1647"/>
                      </a:lnTo>
                      <a:lnTo>
                        <a:pt x="2366" y="1647"/>
                      </a:lnTo>
                      <a:lnTo>
                        <a:pt x="2371" y="1653"/>
                      </a:lnTo>
                      <a:lnTo>
                        <a:pt x="2381" y="1674"/>
                      </a:lnTo>
                      <a:lnTo>
                        <a:pt x="2381" y="1688"/>
                      </a:lnTo>
                      <a:lnTo>
                        <a:pt x="2382" y="1690"/>
                      </a:lnTo>
                      <a:lnTo>
                        <a:pt x="2386" y="1693"/>
                      </a:lnTo>
                      <a:lnTo>
                        <a:pt x="2399" y="1693"/>
                      </a:lnTo>
                      <a:lnTo>
                        <a:pt x="2409" y="1690"/>
                      </a:lnTo>
                      <a:lnTo>
                        <a:pt x="2421" y="1684"/>
                      </a:lnTo>
                      <a:lnTo>
                        <a:pt x="2429" y="1688"/>
                      </a:lnTo>
                      <a:lnTo>
                        <a:pt x="2432" y="1680"/>
                      </a:lnTo>
                      <a:lnTo>
                        <a:pt x="2429" y="1677"/>
                      </a:lnTo>
                      <a:lnTo>
                        <a:pt x="2434" y="1657"/>
                      </a:lnTo>
                      <a:lnTo>
                        <a:pt x="2440" y="1636"/>
                      </a:lnTo>
                      <a:lnTo>
                        <a:pt x="2442" y="1617"/>
                      </a:lnTo>
                      <a:lnTo>
                        <a:pt x="2440" y="1597"/>
                      </a:lnTo>
                      <a:lnTo>
                        <a:pt x="2441" y="1583"/>
                      </a:lnTo>
                      <a:lnTo>
                        <a:pt x="2424" y="1539"/>
                      </a:lnTo>
                      <a:lnTo>
                        <a:pt x="2414" y="1522"/>
                      </a:lnTo>
                      <a:lnTo>
                        <a:pt x="2412" y="1508"/>
                      </a:lnTo>
                      <a:lnTo>
                        <a:pt x="2414" y="1492"/>
                      </a:lnTo>
                      <a:lnTo>
                        <a:pt x="2412" y="1483"/>
                      </a:lnTo>
                      <a:lnTo>
                        <a:pt x="2404" y="1469"/>
                      </a:lnTo>
                      <a:lnTo>
                        <a:pt x="2387" y="1441"/>
                      </a:lnTo>
                      <a:lnTo>
                        <a:pt x="2374" y="1400"/>
                      </a:lnTo>
                      <a:lnTo>
                        <a:pt x="2362" y="1354"/>
                      </a:lnTo>
                      <a:lnTo>
                        <a:pt x="2365" y="1348"/>
                      </a:lnTo>
                      <a:lnTo>
                        <a:pt x="2365" y="1332"/>
                      </a:lnTo>
                      <a:lnTo>
                        <a:pt x="2371" y="1322"/>
                      </a:lnTo>
                      <a:lnTo>
                        <a:pt x="2374" y="1311"/>
                      </a:lnTo>
                      <a:lnTo>
                        <a:pt x="2377" y="1302"/>
                      </a:lnTo>
                      <a:lnTo>
                        <a:pt x="2389" y="1274"/>
                      </a:lnTo>
                      <a:lnTo>
                        <a:pt x="2396" y="1264"/>
                      </a:lnTo>
                      <a:lnTo>
                        <a:pt x="2398" y="1264"/>
                      </a:lnTo>
                      <a:lnTo>
                        <a:pt x="2398" y="1259"/>
                      </a:lnTo>
                      <a:lnTo>
                        <a:pt x="2399" y="1257"/>
                      </a:lnTo>
                      <a:lnTo>
                        <a:pt x="2408" y="1252"/>
                      </a:lnTo>
                      <a:lnTo>
                        <a:pt x="2413" y="1252"/>
                      </a:lnTo>
                      <a:lnTo>
                        <a:pt x="2417" y="1247"/>
                      </a:lnTo>
                      <a:lnTo>
                        <a:pt x="2414" y="1242"/>
                      </a:lnTo>
                      <a:lnTo>
                        <a:pt x="2409" y="1234"/>
                      </a:lnTo>
                      <a:lnTo>
                        <a:pt x="2409" y="1232"/>
                      </a:lnTo>
                      <a:lnTo>
                        <a:pt x="2409" y="1230"/>
                      </a:lnTo>
                      <a:lnTo>
                        <a:pt x="2425" y="1228"/>
                      </a:lnTo>
                      <a:lnTo>
                        <a:pt x="2441" y="1230"/>
                      </a:lnTo>
                      <a:lnTo>
                        <a:pt x="2446" y="1228"/>
                      </a:lnTo>
                      <a:lnTo>
                        <a:pt x="2468" y="1210"/>
                      </a:lnTo>
                      <a:lnTo>
                        <a:pt x="2471" y="1210"/>
                      </a:lnTo>
                      <a:lnTo>
                        <a:pt x="2475" y="1206"/>
                      </a:lnTo>
                      <a:lnTo>
                        <a:pt x="2478" y="1199"/>
                      </a:lnTo>
                      <a:lnTo>
                        <a:pt x="2487" y="1196"/>
                      </a:lnTo>
                      <a:lnTo>
                        <a:pt x="2493" y="1192"/>
                      </a:lnTo>
                      <a:lnTo>
                        <a:pt x="2495" y="1185"/>
                      </a:lnTo>
                      <a:lnTo>
                        <a:pt x="2493" y="1179"/>
                      </a:lnTo>
                      <a:lnTo>
                        <a:pt x="2499" y="1174"/>
                      </a:lnTo>
                      <a:lnTo>
                        <a:pt x="2505" y="1163"/>
                      </a:lnTo>
                      <a:lnTo>
                        <a:pt x="2512" y="1156"/>
                      </a:lnTo>
                      <a:lnTo>
                        <a:pt x="2526" y="1150"/>
                      </a:lnTo>
                      <a:lnTo>
                        <a:pt x="2527" y="1145"/>
                      </a:lnTo>
                      <a:lnTo>
                        <a:pt x="2533" y="1144"/>
                      </a:lnTo>
                      <a:lnTo>
                        <a:pt x="2550" y="1141"/>
                      </a:lnTo>
                      <a:lnTo>
                        <a:pt x="2569" y="1133"/>
                      </a:lnTo>
                      <a:lnTo>
                        <a:pt x="2571" y="1126"/>
                      </a:lnTo>
                      <a:lnTo>
                        <a:pt x="2574" y="1123"/>
                      </a:lnTo>
                      <a:lnTo>
                        <a:pt x="2579" y="1118"/>
                      </a:lnTo>
                      <a:lnTo>
                        <a:pt x="2585" y="1109"/>
                      </a:lnTo>
                      <a:lnTo>
                        <a:pt x="2592" y="1103"/>
                      </a:lnTo>
                      <a:lnTo>
                        <a:pt x="2611" y="1094"/>
                      </a:lnTo>
                      <a:lnTo>
                        <a:pt x="2631" y="1093"/>
                      </a:lnTo>
                      <a:lnTo>
                        <a:pt x="2646" y="1083"/>
                      </a:lnTo>
                      <a:lnTo>
                        <a:pt x="2649" y="1079"/>
                      </a:lnTo>
                      <a:lnTo>
                        <a:pt x="2649" y="1071"/>
                      </a:lnTo>
                      <a:lnTo>
                        <a:pt x="2640" y="1069"/>
                      </a:lnTo>
                      <a:lnTo>
                        <a:pt x="2635" y="1071"/>
                      </a:lnTo>
                      <a:lnTo>
                        <a:pt x="2634" y="1074"/>
                      </a:lnTo>
                      <a:lnTo>
                        <a:pt x="2634" y="1071"/>
                      </a:lnTo>
                      <a:lnTo>
                        <a:pt x="2634" y="1065"/>
                      </a:lnTo>
                      <a:lnTo>
                        <a:pt x="2639" y="1061"/>
                      </a:lnTo>
                      <a:lnTo>
                        <a:pt x="2640" y="1056"/>
                      </a:lnTo>
                      <a:lnTo>
                        <a:pt x="2645" y="1053"/>
                      </a:lnTo>
                      <a:lnTo>
                        <a:pt x="2641" y="1048"/>
                      </a:lnTo>
                      <a:lnTo>
                        <a:pt x="2625" y="1042"/>
                      </a:lnTo>
                      <a:lnTo>
                        <a:pt x="2639" y="1042"/>
                      </a:lnTo>
                      <a:lnTo>
                        <a:pt x="2645" y="1037"/>
                      </a:lnTo>
                      <a:lnTo>
                        <a:pt x="2647" y="1043"/>
                      </a:lnTo>
                      <a:lnTo>
                        <a:pt x="2651" y="1043"/>
                      </a:lnTo>
                      <a:lnTo>
                        <a:pt x="2655" y="1048"/>
                      </a:lnTo>
                      <a:lnTo>
                        <a:pt x="2665" y="1048"/>
                      </a:lnTo>
                      <a:lnTo>
                        <a:pt x="2671" y="1044"/>
                      </a:lnTo>
                      <a:lnTo>
                        <a:pt x="2679" y="1032"/>
                      </a:lnTo>
                      <a:lnTo>
                        <a:pt x="2686" y="1028"/>
                      </a:lnTo>
                      <a:lnTo>
                        <a:pt x="2686" y="1020"/>
                      </a:lnTo>
                      <a:lnTo>
                        <a:pt x="2684" y="1013"/>
                      </a:lnTo>
                      <a:lnTo>
                        <a:pt x="2679" y="1007"/>
                      </a:lnTo>
                      <a:lnTo>
                        <a:pt x="2674" y="1012"/>
                      </a:lnTo>
                      <a:lnTo>
                        <a:pt x="2670" y="1023"/>
                      </a:lnTo>
                      <a:lnTo>
                        <a:pt x="2670" y="1023"/>
                      </a:lnTo>
                      <a:lnTo>
                        <a:pt x="2667" y="1018"/>
                      </a:lnTo>
                      <a:lnTo>
                        <a:pt x="2666" y="1006"/>
                      </a:lnTo>
                      <a:lnTo>
                        <a:pt x="2641" y="1010"/>
                      </a:lnTo>
                      <a:lnTo>
                        <a:pt x="2635" y="1008"/>
                      </a:lnTo>
                      <a:lnTo>
                        <a:pt x="2634" y="1001"/>
                      </a:lnTo>
                      <a:lnTo>
                        <a:pt x="2634" y="986"/>
                      </a:lnTo>
                      <a:lnTo>
                        <a:pt x="2635" y="984"/>
                      </a:lnTo>
                      <a:lnTo>
                        <a:pt x="2639" y="997"/>
                      </a:lnTo>
                      <a:lnTo>
                        <a:pt x="2643" y="1000"/>
                      </a:lnTo>
                      <a:lnTo>
                        <a:pt x="2647" y="1000"/>
                      </a:lnTo>
                      <a:lnTo>
                        <a:pt x="2662" y="991"/>
                      </a:lnTo>
                      <a:lnTo>
                        <a:pt x="2666" y="993"/>
                      </a:lnTo>
                      <a:lnTo>
                        <a:pt x="2666" y="989"/>
                      </a:lnTo>
                      <a:lnTo>
                        <a:pt x="2672" y="991"/>
                      </a:lnTo>
                      <a:lnTo>
                        <a:pt x="2678" y="991"/>
                      </a:lnTo>
                      <a:lnTo>
                        <a:pt x="2682" y="999"/>
                      </a:lnTo>
                      <a:lnTo>
                        <a:pt x="2682" y="997"/>
                      </a:lnTo>
                      <a:lnTo>
                        <a:pt x="2679" y="990"/>
                      </a:lnTo>
                      <a:lnTo>
                        <a:pt x="2677" y="984"/>
                      </a:lnTo>
                      <a:lnTo>
                        <a:pt x="2674" y="975"/>
                      </a:lnTo>
                      <a:lnTo>
                        <a:pt x="2673" y="973"/>
                      </a:lnTo>
                      <a:lnTo>
                        <a:pt x="2676" y="957"/>
                      </a:lnTo>
                      <a:lnTo>
                        <a:pt x="2674" y="943"/>
                      </a:lnTo>
                      <a:lnTo>
                        <a:pt x="2657" y="938"/>
                      </a:lnTo>
                      <a:lnTo>
                        <a:pt x="2655" y="940"/>
                      </a:lnTo>
                      <a:lnTo>
                        <a:pt x="2654" y="942"/>
                      </a:lnTo>
                      <a:lnTo>
                        <a:pt x="2647" y="940"/>
                      </a:lnTo>
                      <a:lnTo>
                        <a:pt x="2643" y="936"/>
                      </a:lnTo>
                      <a:lnTo>
                        <a:pt x="2643" y="931"/>
                      </a:lnTo>
                      <a:lnTo>
                        <a:pt x="2652" y="931"/>
                      </a:lnTo>
                      <a:lnTo>
                        <a:pt x="2657" y="929"/>
                      </a:lnTo>
                      <a:lnTo>
                        <a:pt x="2656" y="925"/>
                      </a:lnTo>
                      <a:lnTo>
                        <a:pt x="2651" y="923"/>
                      </a:lnTo>
                      <a:lnTo>
                        <a:pt x="2649" y="916"/>
                      </a:lnTo>
                      <a:lnTo>
                        <a:pt x="2649" y="913"/>
                      </a:lnTo>
                      <a:lnTo>
                        <a:pt x="2654" y="910"/>
                      </a:lnTo>
                      <a:lnTo>
                        <a:pt x="2657" y="910"/>
                      </a:lnTo>
                      <a:lnTo>
                        <a:pt x="2654" y="903"/>
                      </a:lnTo>
                      <a:lnTo>
                        <a:pt x="2649" y="899"/>
                      </a:lnTo>
                      <a:lnTo>
                        <a:pt x="2647" y="892"/>
                      </a:lnTo>
                      <a:lnTo>
                        <a:pt x="2647" y="891"/>
                      </a:lnTo>
                      <a:lnTo>
                        <a:pt x="2651" y="889"/>
                      </a:lnTo>
                      <a:lnTo>
                        <a:pt x="2654" y="877"/>
                      </a:lnTo>
                      <a:lnTo>
                        <a:pt x="2654" y="871"/>
                      </a:lnTo>
                      <a:lnTo>
                        <a:pt x="2647" y="864"/>
                      </a:lnTo>
                      <a:lnTo>
                        <a:pt x="2635" y="857"/>
                      </a:lnTo>
                      <a:lnTo>
                        <a:pt x="2625" y="855"/>
                      </a:lnTo>
                      <a:lnTo>
                        <a:pt x="2616" y="846"/>
                      </a:lnTo>
                      <a:lnTo>
                        <a:pt x="2598" y="838"/>
                      </a:lnTo>
                      <a:lnTo>
                        <a:pt x="2597" y="835"/>
                      </a:lnTo>
                      <a:lnTo>
                        <a:pt x="2597" y="832"/>
                      </a:lnTo>
                      <a:lnTo>
                        <a:pt x="2600" y="825"/>
                      </a:lnTo>
                      <a:lnTo>
                        <a:pt x="2604" y="824"/>
                      </a:lnTo>
                      <a:lnTo>
                        <a:pt x="2604" y="827"/>
                      </a:lnTo>
                      <a:lnTo>
                        <a:pt x="2601" y="833"/>
                      </a:lnTo>
                      <a:lnTo>
                        <a:pt x="2603" y="835"/>
                      </a:lnTo>
                      <a:lnTo>
                        <a:pt x="2611" y="837"/>
                      </a:lnTo>
                      <a:lnTo>
                        <a:pt x="2622" y="843"/>
                      </a:lnTo>
                      <a:lnTo>
                        <a:pt x="2628" y="843"/>
                      </a:lnTo>
                      <a:lnTo>
                        <a:pt x="2631" y="846"/>
                      </a:lnTo>
                      <a:lnTo>
                        <a:pt x="2639" y="849"/>
                      </a:lnTo>
                      <a:lnTo>
                        <a:pt x="2644" y="854"/>
                      </a:lnTo>
                      <a:lnTo>
                        <a:pt x="2651" y="857"/>
                      </a:lnTo>
                      <a:lnTo>
                        <a:pt x="2646" y="841"/>
                      </a:lnTo>
                      <a:lnTo>
                        <a:pt x="2640" y="835"/>
                      </a:lnTo>
                      <a:lnTo>
                        <a:pt x="2645" y="834"/>
                      </a:lnTo>
                      <a:lnTo>
                        <a:pt x="2645" y="833"/>
                      </a:lnTo>
                      <a:lnTo>
                        <a:pt x="2643" y="828"/>
                      </a:lnTo>
                      <a:lnTo>
                        <a:pt x="2641" y="816"/>
                      </a:lnTo>
                      <a:lnTo>
                        <a:pt x="2644" y="790"/>
                      </a:lnTo>
                      <a:lnTo>
                        <a:pt x="2641" y="781"/>
                      </a:lnTo>
                      <a:lnTo>
                        <a:pt x="2649" y="778"/>
                      </a:lnTo>
                      <a:lnTo>
                        <a:pt x="2662" y="767"/>
                      </a:lnTo>
                      <a:lnTo>
                        <a:pt x="2666" y="760"/>
                      </a:lnTo>
                      <a:lnTo>
                        <a:pt x="2668" y="755"/>
                      </a:lnTo>
                      <a:lnTo>
                        <a:pt x="2671" y="755"/>
                      </a:lnTo>
                      <a:lnTo>
                        <a:pt x="2673" y="758"/>
                      </a:lnTo>
                      <a:lnTo>
                        <a:pt x="2674" y="760"/>
                      </a:lnTo>
                      <a:lnTo>
                        <a:pt x="2672" y="767"/>
                      </a:lnTo>
                      <a:lnTo>
                        <a:pt x="2670" y="770"/>
                      </a:lnTo>
                      <a:lnTo>
                        <a:pt x="2665" y="773"/>
                      </a:lnTo>
                      <a:lnTo>
                        <a:pt x="2661" y="778"/>
                      </a:lnTo>
                      <a:lnTo>
                        <a:pt x="2661" y="782"/>
                      </a:lnTo>
                      <a:lnTo>
                        <a:pt x="2663" y="789"/>
                      </a:lnTo>
                      <a:lnTo>
                        <a:pt x="2662" y="792"/>
                      </a:lnTo>
                      <a:lnTo>
                        <a:pt x="2655" y="801"/>
                      </a:lnTo>
                      <a:lnTo>
                        <a:pt x="2656" y="803"/>
                      </a:lnTo>
                      <a:lnTo>
                        <a:pt x="2662" y="803"/>
                      </a:lnTo>
                      <a:lnTo>
                        <a:pt x="2663" y="806"/>
                      </a:lnTo>
                      <a:lnTo>
                        <a:pt x="2663" y="812"/>
                      </a:lnTo>
                      <a:lnTo>
                        <a:pt x="2663" y="821"/>
                      </a:lnTo>
                      <a:lnTo>
                        <a:pt x="2660" y="823"/>
                      </a:lnTo>
                      <a:lnTo>
                        <a:pt x="2657" y="827"/>
                      </a:lnTo>
                      <a:lnTo>
                        <a:pt x="2656" y="832"/>
                      </a:lnTo>
                      <a:lnTo>
                        <a:pt x="2657" y="838"/>
                      </a:lnTo>
                      <a:lnTo>
                        <a:pt x="2663" y="845"/>
                      </a:lnTo>
                      <a:lnTo>
                        <a:pt x="2672" y="846"/>
                      </a:lnTo>
                      <a:lnTo>
                        <a:pt x="2676" y="848"/>
                      </a:lnTo>
                      <a:lnTo>
                        <a:pt x="2681" y="859"/>
                      </a:lnTo>
                      <a:lnTo>
                        <a:pt x="2682" y="865"/>
                      </a:lnTo>
                      <a:lnTo>
                        <a:pt x="2683" y="867"/>
                      </a:lnTo>
                      <a:lnTo>
                        <a:pt x="2688" y="870"/>
                      </a:lnTo>
                      <a:lnTo>
                        <a:pt x="2687" y="876"/>
                      </a:lnTo>
                      <a:lnTo>
                        <a:pt x="2682" y="877"/>
                      </a:lnTo>
                      <a:lnTo>
                        <a:pt x="2679" y="881"/>
                      </a:lnTo>
                      <a:lnTo>
                        <a:pt x="2671" y="903"/>
                      </a:lnTo>
                      <a:lnTo>
                        <a:pt x="2671" y="911"/>
                      </a:lnTo>
                      <a:lnTo>
                        <a:pt x="2672" y="923"/>
                      </a:lnTo>
                      <a:lnTo>
                        <a:pt x="2674" y="925"/>
                      </a:lnTo>
                      <a:lnTo>
                        <a:pt x="2679" y="924"/>
                      </a:lnTo>
                      <a:lnTo>
                        <a:pt x="2683" y="921"/>
                      </a:lnTo>
                      <a:lnTo>
                        <a:pt x="2686" y="916"/>
                      </a:lnTo>
                      <a:lnTo>
                        <a:pt x="2693" y="892"/>
                      </a:lnTo>
                      <a:lnTo>
                        <a:pt x="2709" y="862"/>
                      </a:lnTo>
                      <a:lnTo>
                        <a:pt x="2709" y="854"/>
                      </a:lnTo>
                      <a:lnTo>
                        <a:pt x="2717" y="843"/>
                      </a:lnTo>
                      <a:lnTo>
                        <a:pt x="2720" y="834"/>
                      </a:lnTo>
                      <a:lnTo>
                        <a:pt x="2722" y="828"/>
                      </a:lnTo>
                      <a:lnTo>
                        <a:pt x="2717" y="811"/>
                      </a:lnTo>
                      <a:lnTo>
                        <a:pt x="2708" y="796"/>
                      </a:lnTo>
                      <a:lnTo>
                        <a:pt x="2694" y="771"/>
                      </a:lnTo>
                      <a:lnTo>
                        <a:pt x="2692" y="763"/>
                      </a:lnTo>
                      <a:lnTo>
                        <a:pt x="2694" y="757"/>
                      </a:lnTo>
                      <a:lnTo>
                        <a:pt x="2700" y="764"/>
                      </a:lnTo>
                      <a:lnTo>
                        <a:pt x="2708" y="773"/>
                      </a:lnTo>
                      <a:lnTo>
                        <a:pt x="2715" y="775"/>
                      </a:lnTo>
                      <a:lnTo>
                        <a:pt x="2721" y="780"/>
                      </a:lnTo>
                      <a:lnTo>
                        <a:pt x="2732" y="781"/>
                      </a:lnTo>
                      <a:lnTo>
                        <a:pt x="2731" y="795"/>
                      </a:lnTo>
                      <a:lnTo>
                        <a:pt x="2732" y="797"/>
                      </a:lnTo>
                      <a:lnTo>
                        <a:pt x="2740" y="790"/>
                      </a:lnTo>
                      <a:lnTo>
                        <a:pt x="2751" y="773"/>
                      </a:lnTo>
                      <a:lnTo>
                        <a:pt x="2758" y="765"/>
                      </a:lnTo>
                      <a:lnTo>
                        <a:pt x="2762" y="759"/>
                      </a:lnTo>
                      <a:lnTo>
                        <a:pt x="2762" y="754"/>
                      </a:lnTo>
                      <a:lnTo>
                        <a:pt x="2767" y="752"/>
                      </a:lnTo>
                      <a:lnTo>
                        <a:pt x="2769" y="749"/>
                      </a:lnTo>
                      <a:lnTo>
                        <a:pt x="2773" y="730"/>
                      </a:lnTo>
                      <a:lnTo>
                        <a:pt x="2774" y="727"/>
                      </a:lnTo>
                      <a:lnTo>
                        <a:pt x="2776" y="728"/>
                      </a:lnTo>
                      <a:lnTo>
                        <a:pt x="2779" y="727"/>
                      </a:lnTo>
                      <a:lnTo>
                        <a:pt x="2783" y="712"/>
                      </a:lnTo>
                      <a:lnTo>
                        <a:pt x="2784" y="708"/>
                      </a:lnTo>
                      <a:lnTo>
                        <a:pt x="2781" y="703"/>
                      </a:lnTo>
                      <a:lnTo>
                        <a:pt x="2776" y="697"/>
                      </a:lnTo>
                      <a:lnTo>
                        <a:pt x="2769" y="693"/>
                      </a:lnTo>
                      <a:lnTo>
                        <a:pt x="2769" y="690"/>
                      </a:lnTo>
                      <a:lnTo>
                        <a:pt x="2769" y="687"/>
                      </a:lnTo>
                      <a:lnTo>
                        <a:pt x="2773" y="678"/>
                      </a:lnTo>
                      <a:lnTo>
                        <a:pt x="2775" y="674"/>
                      </a:lnTo>
                      <a:lnTo>
                        <a:pt x="2785" y="662"/>
                      </a:lnTo>
                      <a:lnTo>
                        <a:pt x="2790" y="662"/>
                      </a:lnTo>
                      <a:lnTo>
                        <a:pt x="2796" y="652"/>
                      </a:lnTo>
                      <a:lnTo>
                        <a:pt x="2807" y="650"/>
                      </a:lnTo>
                      <a:lnTo>
                        <a:pt x="2819" y="644"/>
                      </a:lnTo>
                      <a:lnTo>
                        <a:pt x="2830" y="641"/>
                      </a:lnTo>
                      <a:lnTo>
                        <a:pt x="2835" y="635"/>
                      </a:lnTo>
                      <a:lnTo>
                        <a:pt x="2843" y="631"/>
                      </a:lnTo>
                      <a:lnTo>
                        <a:pt x="2856" y="634"/>
                      </a:lnTo>
                      <a:lnTo>
                        <a:pt x="2869" y="631"/>
                      </a:lnTo>
                      <a:lnTo>
                        <a:pt x="2894" y="630"/>
                      </a:lnTo>
                      <a:lnTo>
                        <a:pt x="2913" y="625"/>
                      </a:lnTo>
                      <a:lnTo>
                        <a:pt x="2918" y="623"/>
                      </a:lnTo>
                      <a:lnTo>
                        <a:pt x="2923" y="619"/>
                      </a:lnTo>
                      <a:lnTo>
                        <a:pt x="2929" y="604"/>
                      </a:lnTo>
                      <a:lnTo>
                        <a:pt x="2931" y="602"/>
                      </a:lnTo>
                      <a:lnTo>
                        <a:pt x="2936" y="604"/>
                      </a:lnTo>
                      <a:lnTo>
                        <a:pt x="2937" y="614"/>
                      </a:lnTo>
                      <a:lnTo>
                        <a:pt x="2941" y="614"/>
                      </a:lnTo>
                      <a:lnTo>
                        <a:pt x="2948" y="613"/>
                      </a:lnTo>
                      <a:lnTo>
                        <a:pt x="2963" y="604"/>
                      </a:lnTo>
                      <a:lnTo>
                        <a:pt x="2967" y="604"/>
                      </a:lnTo>
                      <a:lnTo>
                        <a:pt x="2969" y="612"/>
                      </a:lnTo>
                      <a:lnTo>
                        <a:pt x="2974" y="613"/>
                      </a:lnTo>
                      <a:lnTo>
                        <a:pt x="2987" y="608"/>
                      </a:lnTo>
                      <a:lnTo>
                        <a:pt x="2993" y="609"/>
                      </a:lnTo>
                      <a:lnTo>
                        <a:pt x="3004" y="602"/>
                      </a:lnTo>
                      <a:lnTo>
                        <a:pt x="3006" y="599"/>
                      </a:lnTo>
                      <a:lnTo>
                        <a:pt x="3004" y="586"/>
                      </a:lnTo>
                      <a:lnTo>
                        <a:pt x="3002" y="583"/>
                      </a:lnTo>
                      <a:lnTo>
                        <a:pt x="3000" y="583"/>
                      </a:lnTo>
                      <a:lnTo>
                        <a:pt x="3000" y="596"/>
                      </a:lnTo>
                      <a:lnTo>
                        <a:pt x="2999" y="599"/>
                      </a:lnTo>
                      <a:lnTo>
                        <a:pt x="2991" y="602"/>
                      </a:lnTo>
                      <a:lnTo>
                        <a:pt x="2982" y="599"/>
                      </a:lnTo>
                      <a:lnTo>
                        <a:pt x="2972" y="593"/>
                      </a:lnTo>
                      <a:lnTo>
                        <a:pt x="2967" y="582"/>
                      </a:lnTo>
                      <a:lnTo>
                        <a:pt x="2963" y="580"/>
                      </a:lnTo>
                      <a:lnTo>
                        <a:pt x="2962" y="569"/>
                      </a:lnTo>
                      <a:lnTo>
                        <a:pt x="2957" y="564"/>
                      </a:lnTo>
                      <a:lnTo>
                        <a:pt x="2948" y="559"/>
                      </a:lnTo>
                      <a:lnTo>
                        <a:pt x="2947" y="558"/>
                      </a:lnTo>
                      <a:lnTo>
                        <a:pt x="2947" y="552"/>
                      </a:lnTo>
                      <a:lnTo>
                        <a:pt x="2950" y="548"/>
                      </a:lnTo>
                      <a:lnTo>
                        <a:pt x="2953" y="547"/>
                      </a:lnTo>
                      <a:lnTo>
                        <a:pt x="2957" y="538"/>
                      </a:lnTo>
                      <a:lnTo>
                        <a:pt x="2962" y="536"/>
                      </a:lnTo>
                      <a:lnTo>
                        <a:pt x="2957" y="528"/>
                      </a:lnTo>
                      <a:lnTo>
                        <a:pt x="2951" y="515"/>
                      </a:lnTo>
                      <a:lnTo>
                        <a:pt x="2956" y="500"/>
                      </a:lnTo>
                      <a:lnTo>
                        <a:pt x="2971" y="488"/>
                      </a:lnTo>
                      <a:lnTo>
                        <a:pt x="2982" y="470"/>
                      </a:lnTo>
                      <a:lnTo>
                        <a:pt x="2987" y="466"/>
                      </a:lnTo>
                      <a:lnTo>
                        <a:pt x="2989" y="455"/>
                      </a:lnTo>
                      <a:lnTo>
                        <a:pt x="2996" y="446"/>
                      </a:lnTo>
                      <a:lnTo>
                        <a:pt x="3005" y="442"/>
                      </a:lnTo>
                      <a:lnTo>
                        <a:pt x="3009" y="443"/>
                      </a:lnTo>
                      <a:lnTo>
                        <a:pt x="3011" y="451"/>
                      </a:lnTo>
                      <a:lnTo>
                        <a:pt x="3014" y="451"/>
                      </a:lnTo>
                      <a:lnTo>
                        <a:pt x="3017" y="447"/>
                      </a:lnTo>
                      <a:lnTo>
                        <a:pt x="3020" y="437"/>
                      </a:lnTo>
                      <a:lnTo>
                        <a:pt x="3022" y="437"/>
                      </a:lnTo>
                      <a:lnTo>
                        <a:pt x="3025" y="441"/>
                      </a:lnTo>
                      <a:lnTo>
                        <a:pt x="3027" y="441"/>
                      </a:lnTo>
                      <a:lnTo>
                        <a:pt x="3032" y="440"/>
                      </a:lnTo>
                      <a:lnTo>
                        <a:pt x="3036" y="432"/>
                      </a:lnTo>
                      <a:lnTo>
                        <a:pt x="3039" y="429"/>
                      </a:lnTo>
                      <a:lnTo>
                        <a:pt x="3045" y="431"/>
                      </a:lnTo>
                      <a:lnTo>
                        <a:pt x="3048" y="430"/>
                      </a:lnTo>
                      <a:lnTo>
                        <a:pt x="3053" y="421"/>
                      </a:lnTo>
                      <a:lnTo>
                        <a:pt x="3054" y="414"/>
                      </a:lnTo>
                      <a:lnTo>
                        <a:pt x="3058" y="408"/>
                      </a:lnTo>
                      <a:lnTo>
                        <a:pt x="3059" y="398"/>
                      </a:lnTo>
                      <a:lnTo>
                        <a:pt x="3065" y="393"/>
                      </a:lnTo>
                      <a:lnTo>
                        <a:pt x="3068" y="392"/>
                      </a:lnTo>
                      <a:lnTo>
                        <a:pt x="3070" y="393"/>
                      </a:lnTo>
                      <a:lnTo>
                        <a:pt x="3071" y="400"/>
                      </a:lnTo>
                      <a:lnTo>
                        <a:pt x="3072" y="405"/>
                      </a:lnTo>
                      <a:lnTo>
                        <a:pt x="3077" y="407"/>
                      </a:lnTo>
                      <a:lnTo>
                        <a:pt x="3082" y="404"/>
                      </a:lnTo>
                      <a:lnTo>
                        <a:pt x="3092" y="412"/>
                      </a:lnTo>
                      <a:lnTo>
                        <a:pt x="3097" y="410"/>
                      </a:lnTo>
                      <a:lnTo>
                        <a:pt x="3100" y="405"/>
                      </a:lnTo>
                      <a:lnTo>
                        <a:pt x="3107" y="399"/>
                      </a:lnTo>
                      <a:lnTo>
                        <a:pt x="3112" y="399"/>
                      </a:lnTo>
                      <a:lnTo>
                        <a:pt x="3118" y="396"/>
                      </a:lnTo>
                      <a:lnTo>
                        <a:pt x="3120" y="389"/>
                      </a:lnTo>
                      <a:lnTo>
                        <a:pt x="3133" y="388"/>
                      </a:lnTo>
                      <a:lnTo>
                        <a:pt x="3136" y="387"/>
                      </a:lnTo>
                      <a:lnTo>
                        <a:pt x="3141" y="383"/>
                      </a:lnTo>
                      <a:lnTo>
                        <a:pt x="3147" y="383"/>
                      </a:lnTo>
                      <a:lnTo>
                        <a:pt x="3151" y="380"/>
                      </a:lnTo>
                      <a:lnTo>
                        <a:pt x="3158" y="380"/>
                      </a:lnTo>
                      <a:lnTo>
                        <a:pt x="3165" y="375"/>
                      </a:lnTo>
                      <a:lnTo>
                        <a:pt x="3166" y="370"/>
                      </a:lnTo>
                      <a:lnTo>
                        <a:pt x="3165" y="36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endParaRPr lang="uk-UA" sz="1693" dirty="0"/>
                </a:p>
              </p:txBody>
            </p:sp>
          </p:grpSp>
        </p:grpSp>
        <p:grpSp>
          <p:nvGrpSpPr>
            <p:cNvPr id="140" name="Group 283"/>
            <p:cNvGrpSpPr>
              <a:grpSpLocks noChangeAspect="1"/>
            </p:cNvGrpSpPr>
            <p:nvPr/>
          </p:nvGrpSpPr>
          <p:grpSpPr bwMode="gray">
            <a:xfrm>
              <a:off x="1213701" y="2187153"/>
              <a:ext cx="1279798" cy="1349798"/>
              <a:chOff x="969" y="960"/>
              <a:chExt cx="969" cy="1022"/>
            </a:xfrm>
            <a:solidFill>
              <a:srgbClr val="C9C7C3"/>
            </a:solidFill>
          </p:grpSpPr>
          <p:sp>
            <p:nvSpPr>
              <p:cNvPr id="183" name="Freeform 284"/>
              <p:cNvSpPr>
                <a:spLocks noChangeAspect="1"/>
              </p:cNvSpPr>
              <p:nvPr/>
            </p:nvSpPr>
            <p:spPr bwMode="gray">
              <a:xfrm>
                <a:off x="1903" y="1791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3" y="2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1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4" name="Freeform 285"/>
              <p:cNvSpPr>
                <a:spLocks noChangeAspect="1"/>
              </p:cNvSpPr>
              <p:nvPr/>
            </p:nvSpPr>
            <p:spPr bwMode="gray">
              <a:xfrm>
                <a:off x="1865" y="1826"/>
                <a:ext cx="73" cy="84"/>
              </a:xfrm>
              <a:custGeom>
                <a:avLst/>
                <a:gdLst/>
                <a:ahLst/>
                <a:cxnLst>
                  <a:cxn ang="0">
                    <a:pos x="147" y="25"/>
                  </a:cxn>
                  <a:cxn ang="0">
                    <a:pos x="138" y="43"/>
                  </a:cxn>
                  <a:cxn ang="0">
                    <a:pos x="129" y="52"/>
                  </a:cxn>
                  <a:cxn ang="0">
                    <a:pos x="120" y="75"/>
                  </a:cxn>
                  <a:cxn ang="0">
                    <a:pos x="115" y="89"/>
                  </a:cxn>
                  <a:cxn ang="0">
                    <a:pos x="103" y="121"/>
                  </a:cxn>
                  <a:cxn ang="0">
                    <a:pos x="92" y="139"/>
                  </a:cxn>
                  <a:cxn ang="0">
                    <a:pos x="82" y="178"/>
                  </a:cxn>
                  <a:cxn ang="0">
                    <a:pos x="65" y="193"/>
                  </a:cxn>
                  <a:cxn ang="0">
                    <a:pos x="71" y="208"/>
                  </a:cxn>
                  <a:cxn ang="0">
                    <a:pos x="71" y="221"/>
                  </a:cxn>
                  <a:cxn ang="0">
                    <a:pos x="31" y="259"/>
                  </a:cxn>
                  <a:cxn ang="0">
                    <a:pos x="11" y="263"/>
                  </a:cxn>
                  <a:cxn ang="0">
                    <a:pos x="44" y="267"/>
                  </a:cxn>
                  <a:cxn ang="0">
                    <a:pos x="1" y="318"/>
                  </a:cxn>
                  <a:cxn ang="0">
                    <a:pos x="18" y="344"/>
                  </a:cxn>
                  <a:cxn ang="0">
                    <a:pos x="90" y="338"/>
                  </a:cxn>
                  <a:cxn ang="0">
                    <a:pos x="141" y="343"/>
                  </a:cxn>
                  <a:cxn ang="0">
                    <a:pos x="180" y="329"/>
                  </a:cxn>
                  <a:cxn ang="0">
                    <a:pos x="194" y="339"/>
                  </a:cxn>
                  <a:cxn ang="0">
                    <a:pos x="187" y="350"/>
                  </a:cxn>
                  <a:cxn ang="0">
                    <a:pos x="221" y="336"/>
                  </a:cxn>
                  <a:cxn ang="0">
                    <a:pos x="248" y="343"/>
                  </a:cxn>
                  <a:cxn ang="0">
                    <a:pos x="212" y="380"/>
                  </a:cxn>
                  <a:cxn ang="0">
                    <a:pos x="189" y="397"/>
                  </a:cxn>
                  <a:cxn ang="0">
                    <a:pos x="224" y="392"/>
                  </a:cxn>
                  <a:cxn ang="0">
                    <a:pos x="264" y="354"/>
                  </a:cxn>
                  <a:cxn ang="0">
                    <a:pos x="289" y="315"/>
                  </a:cxn>
                  <a:cxn ang="0">
                    <a:pos x="297" y="361"/>
                  </a:cxn>
                  <a:cxn ang="0">
                    <a:pos x="294" y="403"/>
                  </a:cxn>
                  <a:cxn ang="0">
                    <a:pos x="314" y="392"/>
                  </a:cxn>
                  <a:cxn ang="0">
                    <a:pos x="320" y="420"/>
                  </a:cxn>
                  <a:cxn ang="0">
                    <a:pos x="351" y="396"/>
                  </a:cxn>
                  <a:cxn ang="0">
                    <a:pos x="362" y="332"/>
                  </a:cxn>
                  <a:cxn ang="0">
                    <a:pos x="339" y="347"/>
                  </a:cxn>
                  <a:cxn ang="0">
                    <a:pos x="348" y="306"/>
                  </a:cxn>
                  <a:cxn ang="0">
                    <a:pos x="332" y="307"/>
                  </a:cxn>
                  <a:cxn ang="0">
                    <a:pos x="313" y="337"/>
                  </a:cxn>
                  <a:cxn ang="0">
                    <a:pos x="307" y="320"/>
                  </a:cxn>
                  <a:cxn ang="0">
                    <a:pos x="307" y="300"/>
                  </a:cxn>
                  <a:cxn ang="0">
                    <a:pos x="326" y="274"/>
                  </a:cxn>
                  <a:cxn ang="0">
                    <a:pos x="340" y="254"/>
                  </a:cxn>
                  <a:cxn ang="0">
                    <a:pos x="293" y="272"/>
                  </a:cxn>
                  <a:cxn ang="0">
                    <a:pos x="304" y="247"/>
                  </a:cxn>
                  <a:cxn ang="0">
                    <a:pos x="300" y="226"/>
                  </a:cxn>
                  <a:cxn ang="0">
                    <a:pos x="318" y="197"/>
                  </a:cxn>
                  <a:cxn ang="0">
                    <a:pos x="275" y="192"/>
                  </a:cxn>
                  <a:cxn ang="0">
                    <a:pos x="218" y="204"/>
                  </a:cxn>
                  <a:cxn ang="0">
                    <a:pos x="218" y="184"/>
                  </a:cxn>
                  <a:cxn ang="0">
                    <a:pos x="189" y="184"/>
                  </a:cxn>
                  <a:cxn ang="0">
                    <a:pos x="191" y="157"/>
                  </a:cxn>
                  <a:cxn ang="0">
                    <a:pos x="176" y="144"/>
                  </a:cxn>
                  <a:cxn ang="0">
                    <a:pos x="162" y="148"/>
                  </a:cxn>
                  <a:cxn ang="0">
                    <a:pos x="137" y="161"/>
                  </a:cxn>
                  <a:cxn ang="0">
                    <a:pos x="153" y="122"/>
                  </a:cxn>
                  <a:cxn ang="0">
                    <a:pos x="172" y="81"/>
                  </a:cxn>
                  <a:cxn ang="0">
                    <a:pos x="176" y="71"/>
                  </a:cxn>
                  <a:cxn ang="0">
                    <a:pos x="185" y="33"/>
                  </a:cxn>
                  <a:cxn ang="0">
                    <a:pos x="207" y="8"/>
                  </a:cxn>
                  <a:cxn ang="0">
                    <a:pos x="194" y="5"/>
                  </a:cxn>
                </a:cxnLst>
                <a:rect l="0" t="0" r="r" b="b"/>
                <a:pathLst>
                  <a:path w="362" h="420">
                    <a:moveTo>
                      <a:pt x="170" y="11"/>
                    </a:moveTo>
                    <a:lnTo>
                      <a:pt x="159" y="16"/>
                    </a:lnTo>
                    <a:lnTo>
                      <a:pt x="147" y="25"/>
                    </a:lnTo>
                    <a:lnTo>
                      <a:pt x="144" y="33"/>
                    </a:lnTo>
                    <a:lnTo>
                      <a:pt x="141" y="38"/>
                    </a:lnTo>
                    <a:lnTo>
                      <a:pt x="138" y="43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29" y="52"/>
                    </a:lnTo>
                    <a:lnTo>
                      <a:pt x="127" y="60"/>
                    </a:lnTo>
                    <a:lnTo>
                      <a:pt x="126" y="68"/>
                    </a:lnTo>
                    <a:lnTo>
                      <a:pt x="120" y="75"/>
                    </a:lnTo>
                    <a:lnTo>
                      <a:pt x="111" y="78"/>
                    </a:lnTo>
                    <a:lnTo>
                      <a:pt x="106" y="83"/>
                    </a:lnTo>
                    <a:lnTo>
                      <a:pt x="115" y="89"/>
                    </a:lnTo>
                    <a:lnTo>
                      <a:pt x="109" y="96"/>
                    </a:lnTo>
                    <a:lnTo>
                      <a:pt x="103" y="119"/>
                    </a:lnTo>
                    <a:lnTo>
                      <a:pt x="103" y="121"/>
                    </a:lnTo>
                    <a:lnTo>
                      <a:pt x="110" y="128"/>
                    </a:lnTo>
                    <a:lnTo>
                      <a:pt x="93" y="134"/>
                    </a:lnTo>
                    <a:lnTo>
                      <a:pt x="92" y="139"/>
                    </a:lnTo>
                    <a:lnTo>
                      <a:pt x="81" y="164"/>
                    </a:lnTo>
                    <a:lnTo>
                      <a:pt x="79" y="175"/>
                    </a:lnTo>
                    <a:lnTo>
                      <a:pt x="82" y="178"/>
                    </a:lnTo>
                    <a:lnTo>
                      <a:pt x="82" y="182"/>
                    </a:lnTo>
                    <a:lnTo>
                      <a:pt x="73" y="182"/>
                    </a:lnTo>
                    <a:lnTo>
                      <a:pt x="65" y="193"/>
                    </a:lnTo>
                    <a:lnTo>
                      <a:pt x="61" y="202"/>
                    </a:lnTo>
                    <a:lnTo>
                      <a:pt x="63" y="207"/>
                    </a:lnTo>
                    <a:lnTo>
                      <a:pt x="71" y="208"/>
                    </a:lnTo>
                    <a:lnTo>
                      <a:pt x="71" y="210"/>
                    </a:lnTo>
                    <a:lnTo>
                      <a:pt x="68" y="215"/>
                    </a:lnTo>
                    <a:lnTo>
                      <a:pt x="71" y="221"/>
                    </a:lnTo>
                    <a:lnTo>
                      <a:pt x="52" y="219"/>
                    </a:lnTo>
                    <a:lnTo>
                      <a:pt x="39" y="254"/>
                    </a:lnTo>
                    <a:lnTo>
                      <a:pt x="31" y="259"/>
                    </a:lnTo>
                    <a:lnTo>
                      <a:pt x="27" y="252"/>
                    </a:lnTo>
                    <a:lnTo>
                      <a:pt x="19" y="257"/>
                    </a:lnTo>
                    <a:lnTo>
                      <a:pt x="11" y="263"/>
                    </a:lnTo>
                    <a:lnTo>
                      <a:pt x="11" y="267"/>
                    </a:lnTo>
                    <a:lnTo>
                      <a:pt x="33" y="264"/>
                    </a:lnTo>
                    <a:lnTo>
                      <a:pt x="44" y="267"/>
                    </a:lnTo>
                    <a:lnTo>
                      <a:pt x="47" y="274"/>
                    </a:lnTo>
                    <a:lnTo>
                      <a:pt x="18" y="300"/>
                    </a:lnTo>
                    <a:lnTo>
                      <a:pt x="1" y="318"/>
                    </a:lnTo>
                    <a:lnTo>
                      <a:pt x="0" y="332"/>
                    </a:lnTo>
                    <a:lnTo>
                      <a:pt x="4" y="342"/>
                    </a:lnTo>
                    <a:lnTo>
                      <a:pt x="18" y="344"/>
                    </a:lnTo>
                    <a:lnTo>
                      <a:pt x="38" y="339"/>
                    </a:lnTo>
                    <a:lnTo>
                      <a:pt x="68" y="334"/>
                    </a:lnTo>
                    <a:lnTo>
                      <a:pt x="90" y="338"/>
                    </a:lnTo>
                    <a:lnTo>
                      <a:pt x="103" y="338"/>
                    </a:lnTo>
                    <a:lnTo>
                      <a:pt x="113" y="342"/>
                    </a:lnTo>
                    <a:lnTo>
                      <a:pt x="141" y="343"/>
                    </a:lnTo>
                    <a:lnTo>
                      <a:pt x="156" y="339"/>
                    </a:lnTo>
                    <a:lnTo>
                      <a:pt x="173" y="337"/>
                    </a:lnTo>
                    <a:lnTo>
                      <a:pt x="180" y="329"/>
                    </a:lnTo>
                    <a:lnTo>
                      <a:pt x="196" y="322"/>
                    </a:lnTo>
                    <a:lnTo>
                      <a:pt x="194" y="332"/>
                    </a:lnTo>
                    <a:lnTo>
                      <a:pt x="194" y="339"/>
                    </a:lnTo>
                    <a:lnTo>
                      <a:pt x="179" y="345"/>
                    </a:lnTo>
                    <a:lnTo>
                      <a:pt x="176" y="350"/>
                    </a:lnTo>
                    <a:lnTo>
                      <a:pt x="187" y="350"/>
                    </a:lnTo>
                    <a:lnTo>
                      <a:pt x="189" y="354"/>
                    </a:lnTo>
                    <a:lnTo>
                      <a:pt x="211" y="352"/>
                    </a:lnTo>
                    <a:lnTo>
                      <a:pt x="221" y="336"/>
                    </a:lnTo>
                    <a:lnTo>
                      <a:pt x="229" y="339"/>
                    </a:lnTo>
                    <a:lnTo>
                      <a:pt x="244" y="339"/>
                    </a:lnTo>
                    <a:lnTo>
                      <a:pt x="248" y="343"/>
                    </a:lnTo>
                    <a:lnTo>
                      <a:pt x="235" y="352"/>
                    </a:lnTo>
                    <a:lnTo>
                      <a:pt x="224" y="361"/>
                    </a:lnTo>
                    <a:lnTo>
                      <a:pt x="212" y="380"/>
                    </a:lnTo>
                    <a:lnTo>
                      <a:pt x="199" y="383"/>
                    </a:lnTo>
                    <a:lnTo>
                      <a:pt x="191" y="387"/>
                    </a:lnTo>
                    <a:lnTo>
                      <a:pt x="189" y="397"/>
                    </a:lnTo>
                    <a:lnTo>
                      <a:pt x="200" y="399"/>
                    </a:lnTo>
                    <a:lnTo>
                      <a:pt x="213" y="397"/>
                    </a:lnTo>
                    <a:lnTo>
                      <a:pt x="224" y="392"/>
                    </a:lnTo>
                    <a:lnTo>
                      <a:pt x="234" y="376"/>
                    </a:lnTo>
                    <a:lnTo>
                      <a:pt x="248" y="360"/>
                    </a:lnTo>
                    <a:lnTo>
                      <a:pt x="264" y="354"/>
                    </a:lnTo>
                    <a:lnTo>
                      <a:pt x="267" y="356"/>
                    </a:lnTo>
                    <a:lnTo>
                      <a:pt x="281" y="315"/>
                    </a:lnTo>
                    <a:lnTo>
                      <a:pt x="289" y="315"/>
                    </a:lnTo>
                    <a:lnTo>
                      <a:pt x="291" y="327"/>
                    </a:lnTo>
                    <a:lnTo>
                      <a:pt x="294" y="344"/>
                    </a:lnTo>
                    <a:lnTo>
                      <a:pt x="297" y="361"/>
                    </a:lnTo>
                    <a:lnTo>
                      <a:pt x="289" y="382"/>
                    </a:lnTo>
                    <a:lnTo>
                      <a:pt x="287" y="401"/>
                    </a:lnTo>
                    <a:lnTo>
                      <a:pt x="294" y="403"/>
                    </a:lnTo>
                    <a:lnTo>
                      <a:pt x="314" y="376"/>
                    </a:lnTo>
                    <a:lnTo>
                      <a:pt x="319" y="380"/>
                    </a:lnTo>
                    <a:lnTo>
                      <a:pt x="314" y="392"/>
                    </a:lnTo>
                    <a:lnTo>
                      <a:pt x="315" y="402"/>
                    </a:lnTo>
                    <a:lnTo>
                      <a:pt x="315" y="412"/>
                    </a:lnTo>
                    <a:lnTo>
                      <a:pt x="320" y="420"/>
                    </a:lnTo>
                    <a:lnTo>
                      <a:pt x="330" y="412"/>
                    </a:lnTo>
                    <a:lnTo>
                      <a:pt x="343" y="414"/>
                    </a:lnTo>
                    <a:lnTo>
                      <a:pt x="351" y="396"/>
                    </a:lnTo>
                    <a:lnTo>
                      <a:pt x="356" y="372"/>
                    </a:lnTo>
                    <a:lnTo>
                      <a:pt x="362" y="354"/>
                    </a:lnTo>
                    <a:lnTo>
                      <a:pt x="362" y="332"/>
                    </a:lnTo>
                    <a:lnTo>
                      <a:pt x="357" y="329"/>
                    </a:lnTo>
                    <a:lnTo>
                      <a:pt x="343" y="353"/>
                    </a:lnTo>
                    <a:lnTo>
                      <a:pt x="339" y="347"/>
                    </a:lnTo>
                    <a:lnTo>
                      <a:pt x="339" y="332"/>
                    </a:lnTo>
                    <a:lnTo>
                      <a:pt x="343" y="317"/>
                    </a:lnTo>
                    <a:lnTo>
                      <a:pt x="348" y="306"/>
                    </a:lnTo>
                    <a:lnTo>
                      <a:pt x="353" y="301"/>
                    </a:lnTo>
                    <a:lnTo>
                      <a:pt x="353" y="293"/>
                    </a:lnTo>
                    <a:lnTo>
                      <a:pt x="332" y="307"/>
                    </a:lnTo>
                    <a:lnTo>
                      <a:pt x="324" y="323"/>
                    </a:lnTo>
                    <a:lnTo>
                      <a:pt x="319" y="337"/>
                    </a:lnTo>
                    <a:lnTo>
                      <a:pt x="313" y="337"/>
                    </a:lnTo>
                    <a:lnTo>
                      <a:pt x="307" y="333"/>
                    </a:lnTo>
                    <a:lnTo>
                      <a:pt x="304" y="327"/>
                    </a:lnTo>
                    <a:lnTo>
                      <a:pt x="307" y="320"/>
                    </a:lnTo>
                    <a:lnTo>
                      <a:pt x="310" y="306"/>
                    </a:lnTo>
                    <a:lnTo>
                      <a:pt x="308" y="305"/>
                    </a:lnTo>
                    <a:lnTo>
                      <a:pt x="307" y="300"/>
                    </a:lnTo>
                    <a:lnTo>
                      <a:pt x="298" y="291"/>
                    </a:lnTo>
                    <a:lnTo>
                      <a:pt x="319" y="284"/>
                    </a:lnTo>
                    <a:lnTo>
                      <a:pt x="326" y="274"/>
                    </a:lnTo>
                    <a:lnTo>
                      <a:pt x="336" y="270"/>
                    </a:lnTo>
                    <a:lnTo>
                      <a:pt x="342" y="259"/>
                    </a:lnTo>
                    <a:lnTo>
                      <a:pt x="340" y="254"/>
                    </a:lnTo>
                    <a:lnTo>
                      <a:pt x="314" y="267"/>
                    </a:lnTo>
                    <a:lnTo>
                      <a:pt x="308" y="266"/>
                    </a:lnTo>
                    <a:lnTo>
                      <a:pt x="293" y="272"/>
                    </a:lnTo>
                    <a:lnTo>
                      <a:pt x="291" y="268"/>
                    </a:lnTo>
                    <a:lnTo>
                      <a:pt x="297" y="259"/>
                    </a:lnTo>
                    <a:lnTo>
                      <a:pt x="304" y="247"/>
                    </a:lnTo>
                    <a:lnTo>
                      <a:pt x="300" y="242"/>
                    </a:lnTo>
                    <a:lnTo>
                      <a:pt x="294" y="241"/>
                    </a:lnTo>
                    <a:lnTo>
                      <a:pt x="300" y="226"/>
                    </a:lnTo>
                    <a:lnTo>
                      <a:pt x="312" y="215"/>
                    </a:lnTo>
                    <a:lnTo>
                      <a:pt x="319" y="202"/>
                    </a:lnTo>
                    <a:lnTo>
                      <a:pt x="318" y="197"/>
                    </a:lnTo>
                    <a:lnTo>
                      <a:pt x="313" y="196"/>
                    </a:lnTo>
                    <a:lnTo>
                      <a:pt x="293" y="189"/>
                    </a:lnTo>
                    <a:lnTo>
                      <a:pt x="275" y="192"/>
                    </a:lnTo>
                    <a:lnTo>
                      <a:pt x="267" y="184"/>
                    </a:lnTo>
                    <a:lnTo>
                      <a:pt x="229" y="203"/>
                    </a:lnTo>
                    <a:lnTo>
                      <a:pt x="218" y="204"/>
                    </a:lnTo>
                    <a:lnTo>
                      <a:pt x="228" y="186"/>
                    </a:lnTo>
                    <a:lnTo>
                      <a:pt x="229" y="178"/>
                    </a:lnTo>
                    <a:lnTo>
                      <a:pt x="218" y="184"/>
                    </a:lnTo>
                    <a:lnTo>
                      <a:pt x="216" y="189"/>
                    </a:lnTo>
                    <a:lnTo>
                      <a:pt x="210" y="186"/>
                    </a:lnTo>
                    <a:lnTo>
                      <a:pt x="189" y="184"/>
                    </a:lnTo>
                    <a:lnTo>
                      <a:pt x="190" y="172"/>
                    </a:lnTo>
                    <a:lnTo>
                      <a:pt x="179" y="168"/>
                    </a:lnTo>
                    <a:lnTo>
                      <a:pt x="191" y="157"/>
                    </a:lnTo>
                    <a:lnTo>
                      <a:pt x="210" y="149"/>
                    </a:lnTo>
                    <a:lnTo>
                      <a:pt x="202" y="145"/>
                    </a:lnTo>
                    <a:lnTo>
                      <a:pt x="176" y="144"/>
                    </a:lnTo>
                    <a:lnTo>
                      <a:pt x="179" y="132"/>
                    </a:lnTo>
                    <a:lnTo>
                      <a:pt x="172" y="132"/>
                    </a:lnTo>
                    <a:lnTo>
                      <a:pt x="162" y="148"/>
                    </a:lnTo>
                    <a:lnTo>
                      <a:pt x="149" y="159"/>
                    </a:lnTo>
                    <a:lnTo>
                      <a:pt x="142" y="173"/>
                    </a:lnTo>
                    <a:lnTo>
                      <a:pt x="137" y="161"/>
                    </a:lnTo>
                    <a:lnTo>
                      <a:pt x="142" y="149"/>
                    </a:lnTo>
                    <a:lnTo>
                      <a:pt x="142" y="137"/>
                    </a:lnTo>
                    <a:lnTo>
                      <a:pt x="153" y="122"/>
                    </a:lnTo>
                    <a:lnTo>
                      <a:pt x="160" y="105"/>
                    </a:lnTo>
                    <a:lnTo>
                      <a:pt x="170" y="91"/>
                    </a:lnTo>
                    <a:lnTo>
                      <a:pt x="172" y="81"/>
                    </a:lnTo>
                    <a:lnTo>
                      <a:pt x="170" y="75"/>
                    </a:lnTo>
                    <a:lnTo>
                      <a:pt x="172" y="64"/>
                    </a:lnTo>
                    <a:lnTo>
                      <a:pt x="176" y="71"/>
                    </a:lnTo>
                    <a:lnTo>
                      <a:pt x="187" y="64"/>
                    </a:lnTo>
                    <a:lnTo>
                      <a:pt x="195" y="42"/>
                    </a:lnTo>
                    <a:lnTo>
                      <a:pt x="185" y="33"/>
                    </a:lnTo>
                    <a:lnTo>
                      <a:pt x="186" y="26"/>
                    </a:lnTo>
                    <a:lnTo>
                      <a:pt x="200" y="25"/>
                    </a:lnTo>
                    <a:lnTo>
                      <a:pt x="207" y="8"/>
                    </a:lnTo>
                    <a:lnTo>
                      <a:pt x="207" y="0"/>
                    </a:lnTo>
                    <a:lnTo>
                      <a:pt x="199" y="8"/>
                    </a:lnTo>
                    <a:lnTo>
                      <a:pt x="194" y="5"/>
                    </a:lnTo>
                    <a:lnTo>
                      <a:pt x="183" y="5"/>
                    </a:lnTo>
                    <a:lnTo>
                      <a:pt x="170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5" name="Freeform 286"/>
              <p:cNvSpPr>
                <a:spLocks noChangeAspect="1"/>
              </p:cNvSpPr>
              <p:nvPr/>
            </p:nvSpPr>
            <p:spPr bwMode="gray">
              <a:xfrm>
                <a:off x="1108" y="1839"/>
                <a:ext cx="55" cy="43"/>
              </a:xfrm>
              <a:custGeom>
                <a:avLst/>
                <a:gdLst/>
                <a:ahLst/>
                <a:cxnLst>
                  <a:cxn ang="0">
                    <a:pos x="48" y="41"/>
                  </a:cxn>
                  <a:cxn ang="0">
                    <a:pos x="48" y="41"/>
                  </a:cxn>
                  <a:cxn ang="0">
                    <a:pos x="45" y="22"/>
                  </a:cxn>
                  <a:cxn ang="0">
                    <a:pos x="19" y="15"/>
                  </a:cxn>
                  <a:cxn ang="0">
                    <a:pos x="13" y="27"/>
                  </a:cxn>
                  <a:cxn ang="0">
                    <a:pos x="0" y="19"/>
                  </a:cxn>
                  <a:cxn ang="0">
                    <a:pos x="2" y="6"/>
                  </a:cxn>
                  <a:cxn ang="0">
                    <a:pos x="18" y="0"/>
                  </a:cxn>
                  <a:cxn ang="0">
                    <a:pos x="38" y="9"/>
                  </a:cxn>
                  <a:cxn ang="0">
                    <a:pos x="56" y="18"/>
                  </a:cxn>
                  <a:cxn ang="0">
                    <a:pos x="119" y="38"/>
                  </a:cxn>
                  <a:cxn ang="0">
                    <a:pos x="148" y="46"/>
                  </a:cxn>
                  <a:cxn ang="0">
                    <a:pos x="157" y="57"/>
                  </a:cxn>
                  <a:cxn ang="0">
                    <a:pos x="188" y="99"/>
                  </a:cxn>
                  <a:cxn ang="0">
                    <a:pos x="188" y="106"/>
                  </a:cxn>
                  <a:cxn ang="0">
                    <a:pos x="194" y="116"/>
                  </a:cxn>
                  <a:cxn ang="0">
                    <a:pos x="215" y="129"/>
                  </a:cxn>
                  <a:cxn ang="0">
                    <a:pos x="228" y="134"/>
                  </a:cxn>
                  <a:cxn ang="0">
                    <a:pos x="250" y="151"/>
                  </a:cxn>
                  <a:cxn ang="0">
                    <a:pos x="260" y="174"/>
                  </a:cxn>
                  <a:cxn ang="0">
                    <a:pos x="264" y="189"/>
                  </a:cxn>
                  <a:cxn ang="0">
                    <a:pos x="269" y="188"/>
                  </a:cxn>
                  <a:cxn ang="0">
                    <a:pos x="272" y="203"/>
                  </a:cxn>
                  <a:cxn ang="0">
                    <a:pos x="264" y="214"/>
                  </a:cxn>
                  <a:cxn ang="0">
                    <a:pos x="239" y="207"/>
                  </a:cxn>
                  <a:cxn ang="0">
                    <a:pos x="222" y="196"/>
                  </a:cxn>
                  <a:cxn ang="0">
                    <a:pos x="211" y="196"/>
                  </a:cxn>
                  <a:cxn ang="0">
                    <a:pos x="196" y="185"/>
                  </a:cxn>
                  <a:cxn ang="0">
                    <a:pos x="202" y="175"/>
                  </a:cxn>
                  <a:cxn ang="0">
                    <a:pos x="196" y="182"/>
                  </a:cxn>
                  <a:cxn ang="0">
                    <a:pos x="182" y="176"/>
                  </a:cxn>
                  <a:cxn ang="0">
                    <a:pos x="179" y="167"/>
                  </a:cxn>
                  <a:cxn ang="0">
                    <a:pos x="190" y="160"/>
                  </a:cxn>
                  <a:cxn ang="0">
                    <a:pos x="178" y="155"/>
                  </a:cxn>
                  <a:cxn ang="0">
                    <a:pos x="166" y="160"/>
                  </a:cxn>
                  <a:cxn ang="0">
                    <a:pos x="143" y="154"/>
                  </a:cxn>
                  <a:cxn ang="0">
                    <a:pos x="157" y="153"/>
                  </a:cxn>
                  <a:cxn ang="0">
                    <a:pos x="143" y="135"/>
                  </a:cxn>
                  <a:cxn ang="0">
                    <a:pos x="130" y="129"/>
                  </a:cxn>
                  <a:cxn ang="0">
                    <a:pos x="109" y="126"/>
                  </a:cxn>
                  <a:cxn ang="0">
                    <a:pos x="100" y="112"/>
                  </a:cxn>
                  <a:cxn ang="0">
                    <a:pos x="118" y="110"/>
                  </a:cxn>
                  <a:cxn ang="0">
                    <a:pos x="119" y="100"/>
                  </a:cxn>
                  <a:cxn ang="0">
                    <a:pos x="107" y="100"/>
                  </a:cxn>
                  <a:cxn ang="0">
                    <a:pos x="99" y="99"/>
                  </a:cxn>
                  <a:cxn ang="0">
                    <a:pos x="86" y="83"/>
                  </a:cxn>
                  <a:cxn ang="0">
                    <a:pos x="80" y="80"/>
                  </a:cxn>
                  <a:cxn ang="0">
                    <a:pos x="65" y="80"/>
                  </a:cxn>
                  <a:cxn ang="0">
                    <a:pos x="70" y="65"/>
                  </a:cxn>
                  <a:cxn ang="0">
                    <a:pos x="60" y="61"/>
                  </a:cxn>
                  <a:cxn ang="0">
                    <a:pos x="49" y="61"/>
                  </a:cxn>
                  <a:cxn ang="0">
                    <a:pos x="40" y="59"/>
                  </a:cxn>
                  <a:cxn ang="0">
                    <a:pos x="29" y="64"/>
                  </a:cxn>
                  <a:cxn ang="0">
                    <a:pos x="29" y="57"/>
                  </a:cxn>
                  <a:cxn ang="0">
                    <a:pos x="24" y="45"/>
                  </a:cxn>
                  <a:cxn ang="0">
                    <a:pos x="33" y="35"/>
                  </a:cxn>
                  <a:cxn ang="0">
                    <a:pos x="45" y="41"/>
                  </a:cxn>
                </a:cxnLst>
                <a:rect l="0" t="0" r="r" b="b"/>
                <a:pathLst>
                  <a:path w="275" h="214">
                    <a:moveTo>
                      <a:pt x="45" y="41"/>
                    </a:moveTo>
                    <a:lnTo>
                      <a:pt x="48" y="41"/>
                    </a:lnTo>
                    <a:lnTo>
                      <a:pt x="48" y="42"/>
                    </a:lnTo>
                    <a:lnTo>
                      <a:pt x="48" y="41"/>
                    </a:lnTo>
                    <a:lnTo>
                      <a:pt x="45" y="31"/>
                    </a:lnTo>
                    <a:lnTo>
                      <a:pt x="45" y="22"/>
                    </a:lnTo>
                    <a:lnTo>
                      <a:pt x="24" y="20"/>
                    </a:lnTo>
                    <a:lnTo>
                      <a:pt x="19" y="15"/>
                    </a:lnTo>
                    <a:lnTo>
                      <a:pt x="16" y="21"/>
                    </a:lnTo>
                    <a:lnTo>
                      <a:pt x="13" y="27"/>
                    </a:lnTo>
                    <a:lnTo>
                      <a:pt x="6" y="24"/>
                    </a:lnTo>
                    <a:lnTo>
                      <a:pt x="0" y="19"/>
                    </a:lnTo>
                    <a:lnTo>
                      <a:pt x="0" y="11"/>
                    </a:lnTo>
                    <a:lnTo>
                      <a:pt x="2" y="6"/>
                    </a:lnTo>
                    <a:lnTo>
                      <a:pt x="8" y="2"/>
                    </a:lnTo>
                    <a:lnTo>
                      <a:pt x="18" y="0"/>
                    </a:lnTo>
                    <a:lnTo>
                      <a:pt x="28" y="4"/>
                    </a:lnTo>
                    <a:lnTo>
                      <a:pt x="38" y="9"/>
                    </a:lnTo>
                    <a:lnTo>
                      <a:pt x="46" y="10"/>
                    </a:lnTo>
                    <a:lnTo>
                      <a:pt x="56" y="18"/>
                    </a:lnTo>
                    <a:lnTo>
                      <a:pt x="89" y="31"/>
                    </a:lnTo>
                    <a:lnTo>
                      <a:pt x="119" y="38"/>
                    </a:lnTo>
                    <a:lnTo>
                      <a:pt x="134" y="43"/>
                    </a:lnTo>
                    <a:lnTo>
                      <a:pt x="148" y="46"/>
                    </a:lnTo>
                    <a:lnTo>
                      <a:pt x="153" y="51"/>
                    </a:lnTo>
                    <a:lnTo>
                      <a:pt x="157" y="57"/>
                    </a:lnTo>
                    <a:lnTo>
                      <a:pt x="158" y="65"/>
                    </a:lnTo>
                    <a:lnTo>
                      <a:pt x="188" y="99"/>
                    </a:lnTo>
                    <a:lnTo>
                      <a:pt x="189" y="101"/>
                    </a:lnTo>
                    <a:lnTo>
                      <a:pt x="188" y="106"/>
                    </a:lnTo>
                    <a:lnTo>
                      <a:pt x="190" y="112"/>
                    </a:lnTo>
                    <a:lnTo>
                      <a:pt x="194" y="116"/>
                    </a:lnTo>
                    <a:lnTo>
                      <a:pt x="206" y="126"/>
                    </a:lnTo>
                    <a:lnTo>
                      <a:pt x="215" y="129"/>
                    </a:lnTo>
                    <a:lnTo>
                      <a:pt x="225" y="131"/>
                    </a:lnTo>
                    <a:lnTo>
                      <a:pt x="228" y="134"/>
                    </a:lnTo>
                    <a:lnTo>
                      <a:pt x="236" y="137"/>
                    </a:lnTo>
                    <a:lnTo>
                      <a:pt x="250" y="151"/>
                    </a:lnTo>
                    <a:lnTo>
                      <a:pt x="253" y="160"/>
                    </a:lnTo>
                    <a:lnTo>
                      <a:pt x="260" y="174"/>
                    </a:lnTo>
                    <a:lnTo>
                      <a:pt x="261" y="180"/>
                    </a:lnTo>
                    <a:lnTo>
                      <a:pt x="264" y="189"/>
                    </a:lnTo>
                    <a:lnTo>
                      <a:pt x="266" y="194"/>
                    </a:lnTo>
                    <a:lnTo>
                      <a:pt x="269" y="188"/>
                    </a:lnTo>
                    <a:lnTo>
                      <a:pt x="275" y="202"/>
                    </a:lnTo>
                    <a:lnTo>
                      <a:pt x="272" y="203"/>
                    </a:lnTo>
                    <a:lnTo>
                      <a:pt x="271" y="209"/>
                    </a:lnTo>
                    <a:lnTo>
                      <a:pt x="264" y="214"/>
                    </a:lnTo>
                    <a:lnTo>
                      <a:pt x="258" y="214"/>
                    </a:lnTo>
                    <a:lnTo>
                      <a:pt x="239" y="207"/>
                    </a:lnTo>
                    <a:lnTo>
                      <a:pt x="222" y="198"/>
                    </a:lnTo>
                    <a:lnTo>
                      <a:pt x="222" y="196"/>
                    </a:lnTo>
                    <a:lnTo>
                      <a:pt x="217" y="193"/>
                    </a:lnTo>
                    <a:lnTo>
                      <a:pt x="211" y="196"/>
                    </a:lnTo>
                    <a:lnTo>
                      <a:pt x="196" y="189"/>
                    </a:lnTo>
                    <a:lnTo>
                      <a:pt x="196" y="185"/>
                    </a:lnTo>
                    <a:lnTo>
                      <a:pt x="200" y="180"/>
                    </a:lnTo>
                    <a:lnTo>
                      <a:pt x="202" y="175"/>
                    </a:lnTo>
                    <a:lnTo>
                      <a:pt x="199" y="176"/>
                    </a:lnTo>
                    <a:lnTo>
                      <a:pt x="196" y="182"/>
                    </a:lnTo>
                    <a:lnTo>
                      <a:pt x="190" y="183"/>
                    </a:lnTo>
                    <a:lnTo>
                      <a:pt x="182" y="176"/>
                    </a:lnTo>
                    <a:lnTo>
                      <a:pt x="179" y="172"/>
                    </a:lnTo>
                    <a:lnTo>
                      <a:pt x="179" y="167"/>
                    </a:lnTo>
                    <a:lnTo>
                      <a:pt x="184" y="165"/>
                    </a:lnTo>
                    <a:lnTo>
                      <a:pt x="190" y="160"/>
                    </a:lnTo>
                    <a:lnTo>
                      <a:pt x="184" y="159"/>
                    </a:lnTo>
                    <a:lnTo>
                      <a:pt x="178" y="155"/>
                    </a:lnTo>
                    <a:lnTo>
                      <a:pt x="173" y="161"/>
                    </a:lnTo>
                    <a:lnTo>
                      <a:pt x="166" y="160"/>
                    </a:lnTo>
                    <a:lnTo>
                      <a:pt x="153" y="162"/>
                    </a:lnTo>
                    <a:lnTo>
                      <a:pt x="143" y="154"/>
                    </a:lnTo>
                    <a:lnTo>
                      <a:pt x="147" y="155"/>
                    </a:lnTo>
                    <a:lnTo>
                      <a:pt x="157" y="153"/>
                    </a:lnTo>
                    <a:lnTo>
                      <a:pt x="153" y="145"/>
                    </a:lnTo>
                    <a:lnTo>
                      <a:pt x="143" y="135"/>
                    </a:lnTo>
                    <a:lnTo>
                      <a:pt x="132" y="134"/>
                    </a:lnTo>
                    <a:lnTo>
                      <a:pt x="130" y="129"/>
                    </a:lnTo>
                    <a:lnTo>
                      <a:pt x="120" y="124"/>
                    </a:lnTo>
                    <a:lnTo>
                      <a:pt x="109" y="126"/>
                    </a:lnTo>
                    <a:lnTo>
                      <a:pt x="104" y="124"/>
                    </a:lnTo>
                    <a:lnTo>
                      <a:pt x="100" y="112"/>
                    </a:lnTo>
                    <a:lnTo>
                      <a:pt x="105" y="108"/>
                    </a:lnTo>
                    <a:lnTo>
                      <a:pt x="118" y="110"/>
                    </a:lnTo>
                    <a:lnTo>
                      <a:pt x="129" y="105"/>
                    </a:lnTo>
                    <a:lnTo>
                      <a:pt x="119" y="100"/>
                    </a:lnTo>
                    <a:lnTo>
                      <a:pt x="109" y="102"/>
                    </a:lnTo>
                    <a:lnTo>
                      <a:pt x="107" y="100"/>
                    </a:lnTo>
                    <a:lnTo>
                      <a:pt x="105" y="94"/>
                    </a:lnTo>
                    <a:lnTo>
                      <a:pt x="99" y="99"/>
                    </a:lnTo>
                    <a:lnTo>
                      <a:pt x="96" y="89"/>
                    </a:lnTo>
                    <a:lnTo>
                      <a:pt x="86" y="83"/>
                    </a:lnTo>
                    <a:lnTo>
                      <a:pt x="82" y="84"/>
                    </a:lnTo>
                    <a:lnTo>
                      <a:pt x="80" y="80"/>
                    </a:lnTo>
                    <a:lnTo>
                      <a:pt x="72" y="86"/>
                    </a:lnTo>
                    <a:lnTo>
                      <a:pt x="65" y="80"/>
                    </a:lnTo>
                    <a:lnTo>
                      <a:pt x="66" y="70"/>
                    </a:lnTo>
                    <a:lnTo>
                      <a:pt x="70" y="65"/>
                    </a:lnTo>
                    <a:lnTo>
                      <a:pt x="66" y="65"/>
                    </a:lnTo>
                    <a:lnTo>
                      <a:pt x="60" y="61"/>
                    </a:lnTo>
                    <a:lnTo>
                      <a:pt x="56" y="70"/>
                    </a:lnTo>
                    <a:lnTo>
                      <a:pt x="49" y="61"/>
                    </a:lnTo>
                    <a:lnTo>
                      <a:pt x="45" y="62"/>
                    </a:lnTo>
                    <a:lnTo>
                      <a:pt x="40" y="59"/>
                    </a:lnTo>
                    <a:lnTo>
                      <a:pt x="34" y="67"/>
                    </a:lnTo>
                    <a:lnTo>
                      <a:pt x="29" y="64"/>
                    </a:lnTo>
                    <a:lnTo>
                      <a:pt x="27" y="62"/>
                    </a:lnTo>
                    <a:lnTo>
                      <a:pt x="29" y="57"/>
                    </a:lnTo>
                    <a:lnTo>
                      <a:pt x="30" y="48"/>
                    </a:lnTo>
                    <a:lnTo>
                      <a:pt x="24" y="45"/>
                    </a:lnTo>
                    <a:lnTo>
                      <a:pt x="23" y="37"/>
                    </a:lnTo>
                    <a:lnTo>
                      <a:pt x="33" y="35"/>
                    </a:lnTo>
                    <a:lnTo>
                      <a:pt x="41" y="36"/>
                    </a:lnTo>
                    <a:lnTo>
                      <a:pt x="45" y="4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6" name="Freeform 287"/>
              <p:cNvSpPr>
                <a:spLocks noChangeAspect="1"/>
              </p:cNvSpPr>
              <p:nvPr/>
            </p:nvSpPr>
            <p:spPr bwMode="gray">
              <a:xfrm>
                <a:off x="1425" y="1404"/>
                <a:ext cx="47" cy="44"/>
              </a:xfrm>
              <a:custGeom>
                <a:avLst/>
                <a:gdLst/>
                <a:ahLst/>
                <a:cxnLst>
                  <a:cxn ang="0">
                    <a:pos x="132" y="38"/>
                  </a:cxn>
                  <a:cxn ang="0">
                    <a:pos x="118" y="33"/>
                  </a:cxn>
                  <a:cxn ang="0">
                    <a:pos x="118" y="18"/>
                  </a:cxn>
                  <a:cxn ang="0">
                    <a:pos x="104" y="4"/>
                  </a:cxn>
                  <a:cxn ang="0">
                    <a:pos x="86" y="0"/>
                  </a:cxn>
                  <a:cxn ang="0">
                    <a:pos x="73" y="20"/>
                  </a:cxn>
                  <a:cxn ang="0">
                    <a:pos x="71" y="52"/>
                  </a:cxn>
                  <a:cxn ang="0">
                    <a:pos x="66" y="51"/>
                  </a:cxn>
                  <a:cxn ang="0">
                    <a:pos x="53" y="57"/>
                  </a:cxn>
                  <a:cxn ang="0">
                    <a:pos x="53" y="73"/>
                  </a:cxn>
                  <a:cxn ang="0">
                    <a:pos x="50" y="98"/>
                  </a:cxn>
                  <a:cxn ang="0">
                    <a:pos x="40" y="109"/>
                  </a:cxn>
                  <a:cxn ang="0">
                    <a:pos x="11" y="119"/>
                  </a:cxn>
                  <a:cxn ang="0">
                    <a:pos x="0" y="136"/>
                  </a:cxn>
                  <a:cxn ang="0">
                    <a:pos x="10" y="163"/>
                  </a:cxn>
                  <a:cxn ang="0">
                    <a:pos x="21" y="158"/>
                  </a:cxn>
                  <a:cxn ang="0">
                    <a:pos x="32" y="152"/>
                  </a:cxn>
                  <a:cxn ang="0">
                    <a:pos x="44" y="167"/>
                  </a:cxn>
                  <a:cxn ang="0">
                    <a:pos x="55" y="175"/>
                  </a:cxn>
                  <a:cxn ang="0">
                    <a:pos x="62" y="165"/>
                  </a:cxn>
                  <a:cxn ang="0">
                    <a:pos x="71" y="180"/>
                  </a:cxn>
                  <a:cxn ang="0">
                    <a:pos x="89" y="180"/>
                  </a:cxn>
                  <a:cxn ang="0">
                    <a:pos x="109" y="202"/>
                  </a:cxn>
                  <a:cxn ang="0">
                    <a:pos x="132" y="210"/>
                  </a:cxn>
                  <a:cxn ang="0">
                    <a:pos x="136" y="202"/>
                  </a:cxn>
                  <a:cxn ang="0">
                    <a:pos x="167" y="221"/>
                  </a:cxn>
                  <a:cxn ang="0">
                    <a:pos x="186" y="195"/>
                  </a:cxn>
                  <a:cxn ang="0">
                    <a:pos x="209" y="179"/>
                  </a:cxn>
                  <a:cxn ang="0">
                    <a:pos x="216" y="186"/>
                  </a:cxn>
                  <a:cxn ang="0">
                    <a:pos x="233" y="174"/>
                  </a:cxn>
                  <a:cxn ang="0">
                    <a:pos x="231" y="163"/>
                  </a:cxn>
                  <a:cxn ang="0">
                    <a:pos x="207" y="153"/>
                  </a:cxn>
                  <a:cxn ang="0">
                    <a:pos x="202" y="132"/>
                  </a:cxn>
                  <a:cxn ang="0">
                    <a:pos x="179" y="100"/>
                  </a:cxn>
                  <a:cxn ang="0">
                    <a:pos x="143" y="60"/>
                  </a:cxn>
                </a:cxnLst>
                <a:rect l="0" t="0" r="r" b="b"/>
                <a:pathLst>
                  <a:path w="236" h="221">
                    <a:moveTo>
                      <a:pt x="141" y="55"/>
                    </a:moveTo>
                    <a:lnTo>
                      <a:pt x="132" y="38"/>
                    </a:lnTo>
                    <a:lnTo>
                      <a:pt x="126" y="33"/>
                    </a:lnTo>
                    <a:lnTo>
                      <a:pt x="118" y="33"/>
                    </a:lnTo>
                    <a:lnTo>
                      <a:pt x="120" y="24"/>
                    </a:lnTo>
                    <a:lnTo>
                      <a:pt x="118" y="18"/>
                    </a:lnTo>
                    <a:lnTo>
                      <a:pt x="108" y="14"/>
                    </a:lnTo>
                    <a:lnTo>
                      <a:pt x="104" y="4"/>
                    </a:lnTo>
                    <a:lnTo>
                      <a:pt x="96" y="0"/>
                    </a:lnTo>
                    <a:lnTo>
                      <a:pt x="86" y="0"/>
                    </a:lnTo>
                    <a:lnTo>
                      <a:pt x="84" y="11"/>
                    </a:lnTo>
                    <a:lnTo>
                      <a:pt x="73" y="20"/>
                    </a:lnTo>
                    <a:lnTo>
                      <a:pt x="65" y="44"/>
                    </a:lnTo>
                    <a:lnTo>
                      <a:pt x="71" y="52"/>
                    </a:lnTo>
                    <a:lnTo>
                      <a:pt x="71" y="57"/>
                    </a:lnTo>
                    <a:lnTo>
                      <a:pt x="66" y="51"/>
                    </a:lnTo>
                    <a:lnTo>
                      <a:pt x="56" y="51"/>
                    </a:lnTo>
                    <a:lnTo>
                      <a:pt x="53" y="57"/>
                    </a:lnTo>
                    <a:lnTo>
                      <a:pt x="54" y="62"/>
                    </a:lnTo>
                    <a:lnTo>
                      <a:pt x="53" y="73"/>
                    </a:lnTo>
                    <a:lnTo>
                      <a:pt x="57" y="90"/>
                    </a:lnTo>
                    <a:lnTo>
                      <a:pt x="50" y="98"/>
                    </a:lnTo>
                    <a:lnTo>
                      <a:pt x="48" y="108"/>
                    </a:lnTo>
                    <a:lnTo>
                      <a:pt x="40" y="109"/>
                    </a:lnTo>
                    <a:lnTo>
                      <a:pt x="24" y="117"/>
                    </a:lnTo>
                    <a:lnTo>
                      <a:pt x="11" y="119"/>
                    </a:lnTo>
                    <a:lnTo>
                      <a:pt x="2" y="125"/>
                    </a:lnTo>
                    <a:lnTo>
                      <a:pt x="0" y="136"/>
                    </a:lnTo>
                    <a:lnTo>
                      <a:pt x="0" y="152"/>
                    </a:lnTo>
                    <a:lnTo>
                      <a:pt x="10" y="163"/>
                    </a:lnTo>
                    <a:lnTo>
                      <a:pt x="21" y="168"/>
                    </a:lnTo>
                    <a:lnTo>
                      <a:pt x="21" y="158"/>
                    </a:lnTo>
                    <a:lnTo>
                      <a:pt x="24" y="153"/>
                    </a:lnTo>
                    <a:lnTo>
                      <a:pt x="32" y="152"/>
                    </a:lnTo>
                    <a:lnTo>
                      <a:pt x="41" y="158"/>
                    </a:lnTo>
                    <a:lnTo>
                      <a:pt x="44" y="167"/>
                    </a:lnTo>
                    <a:lnTo>
                      <a:pt x="51" y="170"/>
                    </a:lnTo>
                    <a:lnTo>
                      <a:pt x="55" y="175"/>
                    </a:lnTo>
                    <a:lnTo>
                      <a:pt x="60" y="172"/>
                    </a:lnTo>
                    <a:lnTo>
                      <a:pt x="62" y="165"/>
                    </a:lnTo>
                    <a:lnTo>
                      <a:pt x="71" y="172"/>
                    </a:lnTo>
                    <a:lnTo>
                      <a:pt x="71" y="180"/>
                    </a:lnTo>
                    <a:lnTo>
                      <a:pt x="77" y="183"/>
                    </a:lnTo>
                    <a:lnTo>
                      <a:pt x="89" y="180"/>
                    </a:lnTo>
                    <a:lnTo>
                      <a:pt x="99" y="196"/>
                    </a:lnTo>
                    <a:lnTo>
                      <a:pt x="109" y="202"/>
                    </a:lnTo>
                    <a:lnTo>
                      <a:pt x="129" y="206"/>
                    </a:lnTo>
                    <a:lnTo>
                      <a:pt x="132" y="210"/>
                    </a:lnTo>
                    <a:lnTo>
                      <a:pt x="134" y="202"/>
                    </a:lnTo>
                    <a:lnTo>
                      <a:pt x="136" y="202"/>
                    </a:lnTo>
                    <a:lnTo>
                      <a:pt x="152" y="213"/>
                    </a:lnTo>
                    <a:lnTo>
                      <a:pt x="167" y="221"/>
                    </a:lnTo>
                    <a:lnTo>
                      <a:pt x="177" y="216"/>
                    </a:lnTo>
                    <a:lnTo>
                      <a:pt x="186" y="195"/>
                    </a:lnTo>
                    <a:lnTo>
                      <a:pt x="194" y="194"/>
                    </a:lnTo>
                    <a:lnTo>
                      <a:pt x="209" y="179"/>
                    </a:lnTo>
                    <a:lnTo>
                      <a:pt x="216" y="178"/>
                    </a:lnTo>
                    <a:lnTo>
                      <a:pt x="216" y="186"/>
                    </a:lnTo>
                    <a:lnTo>
                      <a:pt x="223" y="183"/>
                    </a:lnTo>
                    <a:lnTo>
                      <a:pt x="233" y="174"/>
                    </a:lnTo>
                    <a:lnTo>
                      <a:pt x="236" y="164"/>
                    </a:lnTo>
                    <a:lnTo>
                      <a:pt x="231" y="163"/>
                    </a:lnTo>
                    <a:lnTo>
                      <a:pt x="220" y="169"/>
                    </a:lnTo>
                    <a:lnTo>
                      <a:pt x="207" y="153"/>
                    </a:lnTo>
                    <a:lnTo>
                      <a:pt x="202" y="142"/>
                    </a:lnTo>
                    <a:lnTo>
                      <a:pt x="202" y="132"/>
                    </a:lnTo>
                    <a:lnTo>
                      <a:pt x="190" y="110"/>
                    </a:lnTo>
                    <a:lnTo>
                      <a:pt x="179" y="100"/>
                    </a:lnTo>
                    <a:lnTo>
                      <a:pt x="174" y="89"/>
                    </a:lnTo>
                    <a:lnTo>
                      <a:pt x="143" y="60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7" name="Freeform 288"/>
              <p:cNvSpPr>
                <a:spLocks noChangeAspect="1"/>
              </p:cNvSpPr>
              <p:nvPr/>
            </p:nvSpPr>
            <p:spPr bwMode="gray">
              <a:xfrm>
                <a:off x="1134" y="1234"/>
                <a:ext cx="117" cy="130"/>
              </a:xfrm>
              <a:custGeom>
                <a:avLst/>
                <a:gdLst/>
                <a:ahLst/>
                <a:cxnLst>
                  <a:cxn ang="0">
                    <a:pos x="109" y="137"/>
                  </a:cxn>
                  <a:cxn ang="0">
                    <a:pos x="97" y="189"/>
                  </a:cxn>
                  <a:cxn ang="0">
                    <a:pos x="84" y="213"/>
                  </a:cxn>
                  <a:cxn ang="0">
                    <a:pos x="72" y="242"/>
                  </a:cxn>
                  <a:cxn ang="0">
                    <a:pos x="66" y="272"/>
                  </a:cxn>
                  <a:cxn ang="0">
                    <a:pos x="55" y="288"/>
                  </a:cxn>
                  <a:cxn ang="0">
                    <a:pos x="66" y="305"/>
                  </a:cxn>
                  <a:cxn ang="0">
                    <a:pos x="72" y="321"/>
                  </a:cxn>
                  <a:cxn ang="0">
                    <a:pos x="41" y="333"/>
                  </a:cxn>
                  <a:cxn ang="0">
                    <a:pos x="46" y="358"/>
                  </a:cxn>
                  <a:cxn ang="0">
                    <a:pos x="44" y="380"/>
                  </a:cxn>
                  <a:cxn ang="0">
                    <a:pos x="44" y="391"/>
                  </a:cxn>
                  <a:cxn ang="0">
                    <a:pos x="40" y="409"/>
                  </a:cxn>
                  <a:cxn ang="0">
                    <a:pos x="27" y="430"/>
                  </a:cxn>
                  <a:cxn ang="0">
                    <a:pos x="30" y="449"/>
                  </a:cxn>
                  <a:cxn ang="0">
                    <a:pos x="18" y="465"/>
                  </a:cxn>
                  <a:cxn ang="0">
                    <a:pos x="11" y="479"/>
                  </a:cxn>
                  <a:cxn ang="0">
                    <a:pos x="0" y="500"/>
                  </a:cxn>
                  <a:cxn ang="0">
                    <a:pos x="49" y="504"/>
                  </a:cxn>
                  <a:cxn ang="0">
                    <a:pos x="41" y="511"/>
                  </a:cxn>
                  <a:cxn ang="0">
                    <a:pos x="66" y="519"/>
                  </a:cxn>
                  <a:cxn ang="0">
                    <a:pos x="99" y="541"/>
                  </a:cxn>
                  <a:cxn ang="0">
                    <a:pos x="124" y="585"/>
                  </a:cxn>
                  <a:cxn ang="0">
                    <a:pos x="163" y="650"/>
                  </a:cxn>
                  <a:cxn ang="0">
                    <a:pos x="215" y="603"/>
                  </a:cxn>
                  <a:cxn ang="0">
                    <a:pos x="238" y="587"/>
                  </a:cxn>
                  <a:cxn ang="0">
                    <a:pos x="249" y="601"/>
                  </a:cxn>
                  <a:cxn ang="0">
                    <a:pos x="264" y="581"/>
                  </a:cxn>
                  <a:cxn ang="0">
                    <a:pos x="279" y="587"/>
                  </a:cxn>
                  <a:cxn ang="0">
                    <a:pos x="298" y="549"/>
                  </a:cxn>
                  <a:cxn ang="0">
                    <a:pos x="299" y="511"/>
                  </a:cxn>
                  <a:cxn ang="0">
                    <a:pos x="313" y="461"/>
                  </a:cxn>
                  <a:cxn ang="0">
                    <a:pos x="328" y="455"/>
                  </a:cxn>
                  <a:cxn ang="0">
                    <a:pos x="362" y="433"/>
                  </a:cxn>
                  <a:cxn ang="0">
                    <a:pos x="371" y="381"/>
                  </a:cxn>
                  <a:cxn ang="0">
                    <a:pos x="406" y="357"/>
                  </a:cxn>
                  <a:cxn ang="0">
                    <a:pos x="462" y="309"/>
                  </a:cxn>
                  <a:cxn ang="0">
                    <a:pos x="514" y="267"/>
                  </a:cxn>
                  <a:cxn ang="0">
                    <a:pos x="581" y="203"/>
                  </a:cxn>
                  <a:cxn ang="0">
                    <a:pos x="552" y="176"/>
                  </a:cxn>
                  <a:cxn ang="0">
                    <a:pos x="506" y="119"/>
                  </a:cxn>
                  <a:cxn ang="0">
                    <a:pos x="462" y="69"/>
                  </a:cxn>
                  <a:cxn ang="0">
                    <a:pos x="385" y="78"/>
                  </a:cxn>
                  <a:cxn ang="0">
                    <a:pos x="384" y="105"/>
                  </a:cxn>
                  <a:cxn ang="0">
                    <a:pos x="368" y="108"/>
                  </a:cxn>
                  <a:cxn ang="0">
                    <a:pos x="373" y="78"/>
                  </a:cxn>
                  <a:cxn ang="0">
                    <a:pos x="352" y="86"/>
                  </a:cxn>
                  <a:cxn ang="0">
                    <a:pos x="338" y="102"/>
                  </a:cxn>
                  <a:cxn ang="0">
                    <a:pos x="304" y="52"/>
                  </a:cxn>
                  <a:cxn ang="0">
                    <a:pos x="276" y="13"/>
                  </a:cxn>
                  <a:cxn ang="0">
                    <a:pos x="224" y="14"/>
                  </a:cxn>
                  <a:cxn ang="0">
                    <a:pos x="157" y="19"/>
                  </a:cxn>
                  <a:cxn ang="0">
                    <a:pos x="158" y="46"/>
                  </a:cxn>
                  <a:cxn ang="0">
                    <a:pos x="150" y="21"/>
                  </a:cxn>
                  <a:cxn ang="0">
                    <a:pos x="139" y="27"/>
                  </a:cxn>
                  <a:cxn ang="0">
                    <a:pos x="120" y="27"/>
                  </a:cxn>
                  <a:cxn ang="0">
                    <a:pos x="99" y="31"/>
                  </a:cxn>
                  <a:cxn ang="0">
                    <a:pos x="75" y="42"/>
                  </a:cxn>
                  <a:cxn ang="0">
                    <a:pos x="84" y="78"/>
                  </a:cxn>
                </a:cxnLst>
                <a:rect l="0" t="0" r="r" b="b"/>
                <a:pathLst>
                  <a:path w="582" h="653">
                    <a:moveTo>
                      <a:pt x="93" y="117"/>
                    </a:moveTo>
                    <a:lnTo>
                      <a:pt x="100" y="129"/>
                    </a:lnTo>
                    <a:lnTo>
                      <a:pt x="109" y="137"/>
                    </a:lnTo>
                    <a:lnTo>
                      <a:pt x="113" y="148"/>
                    </a:lnTo>
                    <a:lnTo>
                      <a:pt x="105" y="161"/>
                    </a:lnTo>
                    <a:lnTo>
                      <a:pt x="97" y="189"/>
                    </a:lnTo>
                    <a:lnTo>
                      <a:pt x="93" y="198"/>
                    </a:lnTo>
                    <a:lnTo>
                      <a:pt x="84" y="208"/>
                    </a:lnTo>
                    <a:lnTo>
                      <a:pt x="84" y="213"/>
                    </a:lnTo>
                    <a:lnTo>
                      <a:pt x="81" y="225"/>
                    </a:lnTo>
                    <a:lnTo>
                      <a:pt x="76" y="229"/>
                    </a:lnTo>
                    <a:lnTo>
                      <a:pt x="72" y="242"/>
                    </a:lnTo>
                    <a:lnTo>
                      <a:pt x="72" y="251"/>
                    </a:lnTo>
                    <a:lnTo>
                      <a:pt x="65" y="263"/>
                    </a:lnTo>
                    <a:lnTo>
                      <a:pt x="66" y="272"/>
                    </a:lnTo>
                    <a:lnTo>
                      <a:pt x="64" y="275"/>
                    </a:lnTo>
                    <a:lnTo>
                      <a:pt x="60" y="284"/>
                    </a:lnTo>
                    <a:lnTo>
                      <a:pt x="55" y="288"/>
                    </a:lnTo>
                    <a:lnTo>
                      <a:pt x="57" y="299"/>
                    </a:lnTo>
                    <a:lnTo>
                      <a:pt x="64" y="298"/>
                    </a:lnTo>
                    <a:lnTo>
                      <a:pt x="66" y="305"/>
                    </a:lnTo>
                    <a:lnTo>
                      <a:pt x="72" y="309"/>
                    </a:lnTo>
                    <a:lnTo>
                      <a:pt x="73" y="315"/>
                    </a:lnTo>
                    <a:lnTo>
                      <a:pt x="72" y="321"/>
                    </a:lnTo>
                    <a:lnTo>
                      <a:pt x="51" y="331"/>
                    </a:lnTo>
                    <a:lnTo>
                      <a:pt x="43" y="327"/>
                    </a:lnTo>
                    <a:lnTo>
                      <a:pt x="41" y="333"/>
                    </a:lnTo>
                    <a:lnTo>
                      <a:pt x="44" y="342"/>
                    </a:lnTo>
                    <a:lnTo>
                      <a:pt x="46" y="345"/>
                    </a:lnTo>
                    <a:lnTo>
                      <a:pt x="46" y="358"/>
                    </a:lnTo>
                    <a:lnTo>
                      <a:pt x="48" y="359"/>
                    </a:lnTo>
                    <a:lnTo>
                      <a:pt x="48" y="366"/>
                    </a:lnTo>
                    <a:lnTo>
                      <a:pt x="44" y="380"/>
                    </a:lnTo>
                    <a:lnTo>
                      <a:pt x="49" y="377"/>
                    </a:lnTo>
                    <a:lnTo>
                      <a:pt x="50" y="387"/>
                    </a:lnTo>
                    <a:lnTo>
                      <a:pt x="44" y="391"/>
                    </a:lnTo>
                    <a:lnTo>
                      <a:pt x="38" y="400"/>
                    </a:lnTo>
                    <a:lnTo>
                      <a:pt x="45" y="404"/>
                    </a:lnTo>
                    <a:lnTo>
                      <a:pt x="40" y="409"/>
                    </a:lnTo>
                    <a:lnTo>
                      <a:pt x="33" y="406"/>
                    </a:lnTo>
                    <a:lnTo>
                      <a:pt x="27" y="418"/>
                    </a:lnTo>
                    <a:lnTo>
                      <a:pt x="27" y="430"/>
                    </a:lnTo>
                    <a:lnTo>
                      <a:pt x="21" y="435"/>
                    </a:lnTo>
                    <a:lnTo>
                      <a:pt x="22" y="441"/>
                    </a:lnTo>
                    <a:lnTo>
                      <a:pt x="30" y="449"/>
                    </a:lnTo>
                    <a:lnTo>
                      <a:pt x="12" y="455"/>
                    </a:lnTo>
                    <a:lnTo>
                      <a:pt x="17" y="457"/>
                    </a:lnTo>
                    <a:lnTo>
                      <a:pt x="18" y="465"/>
                    </a:lnTo>
                    <a:lnTo>
                      <a:pt x="13" y="463"/>
                    </a:lnTo>
                    <a:lnTo>
                      <a:pt x="10" y="471"/>
                    </a:lnTo>
                    <a:lnTo>
                      <a:pt x="11" y="479"/>
                    </a:lnTo>
                    <a:lnTo>
                      <a:pt x="16" y="482"/>
                    </a:lnTo>
                    <a:lnTo>
                      <a:pt x="8" y="499"/>
                    </a:lnTo>
                    <a:lnTo>
                      <a:pt x="0" y="500"/>
                    </a:lnTo>
                    <a:lnTo>
                      <a:pt x="3" y="509"/>
                    </a:lnTo>
                    <a:lnTo>
                      <a:pt x="30" y="499"/>
                    </a:lnTo>
                    <a:lnTo>
                      <a:pt x="49" y="504"/>
                    </a:lnTo>
                    <a:lnTo>
                      <a:pt x="51" y="509"/>
                    </a:lnTo>
                    <a:lnTo>
                      <a:pt x="41" y="505"/>
                    </a:lnTo>
                    <a:lnTo>
                      <a:pt x="41" y="511"/>
                    </a:lnTo>
                    <a:lnTo>
                      <a:pt x="60" y="522"/>
                    </a:lnTo>
                    <a:lnTo>
                      <a:pt x="66" y="530"/>
                    </a:lnTo>
                    <a:lnTo>
                      <a:pt x="66" y="519"/>
                    </a:lnTo>
                    <a:lnTo>
                      <a:pt x="75" y="520"/>
                    </a:lnTo>
                    <a:lnTo>
                      <a:pt x="75" y="531"/>
                    </a:lnTo>
                    <a:lnTo>
                      <a:pt x="99" y="541"/>
                    </a:lnTo>
                    <a:lnTo>
                      <a:pt x="113" y="560"/>
                    </a:lnTo>
                    <a:lnTo>
                      <a:pt x="116" y="575"/>
                    </a:lnTo>
                    <a:lnTo>
                      <a:pt x="124" y="585"/>
                    </a:lnTo>
                    <a:lnTo>
                      <a:pt x="139" y="632"/>
                    </a:lnTo>
                    <a:lnTo>
                      <a:pt x="151" y="653"/>
                    </a:lnTo>
                    <a:lnTo>
                      <a:pt x="163" y="650"/>
                    </a:lnTo>
                    <a:lnTo>
                      <a:pt x="180" y="628"/>
                    </a:lnTo>
                    <a:lnTo>
                      <a:pt x="194" y="624"/>
                    </a:lnTo>
                    <a:lnTo>
                      <a:pt x="215" y="603"/>
                    </a:lnTo>
                    <a:lnTo>
                      <a:pt x="223" y="592"/>
                    </a:lnTo>
                    <a:lnTo>
                      <a:pt x="229" y="580"/>
                    </a:lnTo>
                    <a:lnTo>
                      <a:pt x="238" y="587"/>
                    </a:lnTo>
                    <a:lnTo>
                      <a:pt x="239" y="592"/>
                    </a:lnTo>
                    <a:lnTo>
                      <a:pt x="238" y="600"/>
                    </a:lnTo>
                    <a:lnTo>
                      <a:pt x="249" y="601"/>
                    </a:lnTo>
                    <a:lnTo>
                      <a:pt x="259" y="600"/>
                    </a:lnTo>
                    <a:lnTo>
                      <a:pt x="263" y="591"/>
                    </a:lnTo>
                    <a:lnTo>
                      <a:pt x="264" y="581"/>
                    </a:lnTo>
                    <a:lnTo>
                      <a:pt x="269" y="590"/>
                    </a:lnTo>
                    <a:lnTo>
                      <a:pt x="272" y="591"/>
                    </a:lnTo>
                    <a:lnTo>
                      <a:pt x="279" y="587"/>
                    </a:lnTo>
                    <a:lnTo>
                      <a:pt x="291" y="575"/>
                    </a:lnTo>
                    <a:lnTo>
                      <a:pt x="298" y="562"/>
                    </a:lnTo>
                    <a:lnTo>
                      <a:pt x="298" y="549"/>
                    </a:lnTo>
                    <a:lnTo>
                      <a:pt x="301" y="542"/>
                    </a:lnTo>
                    <a:lnTo>
                      <a:pt x="298" y="537"/>
                    </a:lnTo>
                    <a:lnTo>
                      <a:pt x="299" y="511"/>
                    </a:lnTo>
                    <a:lnTo>
                      <a:pt x="297" y="501"/>
                    </a:lnTo>
                    <a:lnTo>
                      <a:pt x="310" y="474"/>
                    </a:lnTo>
                    <a:lnTo>
                      <a:pt x="313" y="461"/>
                    </a:lnTo>
                    <a:lnTo>
                      <a:pt x="314" y="449"/>
                    </a:lnTo>
                    <a:lnTo>
                      <a:pt x="317" y="446"/>
                    </a:lnTo>
                    <a:lnTo>
                      <a:pt x="328" y="455"/>
                    </a:lnTo>
                    <a:lnTo>
                      <a:pt x="336" y="446"/>
                    </a:lnTo>
                    <a:lnTo>
                      <a:pt x="346" y="444"/>
                    </a:lnTo>
                    <a:lnTo>
                      <a:pt x="362" y="433"/>
                    </a:lnTo>
                    <a:lnTo>
                      <a:pt x="366" y="412"/>
                    </a:lnTo>
                    <a:lnTo>
                      <a:pt x="371" y="395"/>
                    </a:lnTo>
                    <a:lnTo>
                      <a:pt x="371" y="381"/>
                    </a:lnTo>
                    <a:lnTo>
                      <a:pt x="379" y="370"/>
                    </a:lnTo>
                    <a:lnTo>
                      <a:pt x="392" y="361"/>
                    </a:lnTo>
                    <a:lnTo>
                      <a:pt x="406" y="357"/>
                    </a:lnTo>
                    <a:lnTo>
                      <a:pt x="416" y="343"/>
                    </a:lnTo>
                    <a:lnTo>
                      <a:pt x="438" y="330"/>
                    </a:lnTo>
                    <a:lnTo>
                      <a:pt x="462" y="309"/>
                    </a:lnTo>
                    <a:lnTo>
                      <a:pt x="474" y="304"/>
                    </a:lnTo>
                    <a:lnTo>
                      <a:pt x="481" y="294"/>
                    </a:lnTo>
                    <a:lnTo>
                      <a:pt x="514" y="267"/>
                    </a:lnTo>
                    <a:lnTo>
                      <a:pt x="550" y="251"/>
                    </a:lnTo>
                    <a:lnTo>
                      <a:pt x="582" y="224"/>
                    </a:lnTo>
                    <a:lnTo>
                      <a:pt x="581" y="203"/>
                    </a:lnTo>
                    <a:lnTo>
                      <a:pt x="573" y="198"/>
                    </a:lnTo>
                    <a:lnTo>
                      <a:pt x="561" y="180"/>
                    </a:lnTo>
                    <a:lnTo>
                      <a:pt x="552" y="176"/>
                    </a:lnTo>
                    <a:lnTo>
                      <a:pt x="535" y="150"/>
                    </a:lnTo>
                    <a:lnTo>
                      <a:pt x="512" y="129"/>
                    </a:lnTo>
                    <a:lnTo>
                      <a:pt x="506" y="119"/>
                    </a:lnTo>
                    <a:lnTo>
                      <a:pt x="487" y="95"/>
                    </a:lnTo>
                    <a:lnTo>
                      <a:pt x="478" y="89"/>
                    </a:lnTo>
                    <a:lnTo>
                      <a:pt x="462" y="69"/>
                    </a:lnTo>
                    <a:lnTo>
                      <a:pt x="420" y="59"/>
                    </a:lnTo>
                    <a:lnTo>
                      <a:pt x="390" y="73"/>
                    </a:lnTo>
                    <a:lnTo>
                      <a:pt x="385" y="78"/>
                    </a:lnTo>
                    <a:lnTo>
                      <a:pt x="382" y="86"/>
                    </a:lnTo>
                    <a:lnTo>
                      <a:pt x="389" y="96"/>
                    </a:lnTo>
                    <a:lnTo>
                      <a:pt x="384" y="105"/>
                    </a:lnTo>
                    <a:lnTo>
                      <a:pt x="382" y="115"/>
                    </a:lnTo>
                    <a:lnTo>
                      <a:pt x="371" y="121"/>
                    </a:lnTo>
                    <a:lnTo>
                      <a:pt x="368" y="108"/>
                    </a:lnTo>
                    <a:lnTo>
                      <a:pt x="374" y="101"/>
                    </a:lnTo>
                    <a:lnTo>
                      <a:pt x="374" y="85"/>
                    </a:lnTo>
                    <a:lnTo>
                      <a:pt x="373" y="78"/>
                    </a:lnTo>
                    <a:lnTo>
                      <a:pt x="358" y="75"/>
                    </a:lnTo>
                    <a:lnTo>
                      <a:pt x="352" y="81"/>
                    </a:lnTo>
                    <a:lnTo>
                      <a:pt x="352" y="86"/>
                    </a:lnTo>
                    <a:lnTo>
                      <a:pt x="345" y="92"/>
                    </a:lnTo>
                    <a:lnTo>
                      <a:pt x="340" y="111"/>
                    </a:lnTo>
                    <a:lnTo>
                      <a:pt x="338" y="102"/>
                    </a:lnTo>
                    <a:lnTo>
                      <a:pt x="336" y="90"/>
                    </a:lnTo>
                    <a:lnTo>
                      <a:pt x="345" y="76"/>
                    </a:lnTo>
                    <a:lnTo>
                      <a:pt x="304" y="52"/>
                    </a:lnTo>
                    <a:lnTo>
                      <a:pt x="291" y="33"/>
                    </a:lnTo>
                    <a:lnTo>
                      <a:pt x="279" y="24"/>
                    </a:lnTo>
                    <a:lnTo>
                      <a:pt x="276" y="13"/>
                    </a:lnTo>
                    <a:lnTo>
                      <a:pt x="244" y="0"/>
                    </a:lnTo>
                    <a:lnTo>
                      <a:pt x="231" y="3"/>
                    </a:lnTo>
                    <a:lnTo>
                      <a:pt x="224" y="14"/>
                    </a:lnTo>
                    <a:lnTo>
                      <a:pt x="213" y="9"/>
                    </a:lnTo>
                    <a:lnTo>
                      <a:pt x="197" y="16"/>
                    </a:lnTo>
                    <a:lnTo>
                      <a:pt x="157" y="19"/>
                    </a:lnTo>
                    <a:lnTo>
                      <a:pt x="156" y="24"/>
                    </a:lnTo>
                    <a:lnTo>
                      <a:pt x="158" y="36"/>
                    </a:lnTo>
                    <a:lnTo>
                      <a:pt x="158" y="46"/>
                    </a:lnTo>
                    <a:lnTo>
                      <a:pt x="154" y="36"/>
                    </a:lnTo>
                    <a:lnTo>
                      <a:pt x="151" y="31"/>
                    </a:lnTo>
                    <a:lnTo>
                      <a:pt x="150" y="21"/>
                    </a:lnTo>
                    <a:lnTo>
                      <a:pt x="146" y="19"/>
                    </a:lnTo>
                    <a:lnTo>
                      <a:pt x="141" y="29"/>
                    </a:lnTo>
                    <a:lnTo>
                      <a:pt x="139" y="27"/>
                    </a:lnTo>
                    <a:lnTo>
                      <a:pt x="136" y="20"/>
                    </a:lnTo>
                    <a:lnTo>
                      <a:pt x="120" y="24"/>
                    </a:lnTo>
                    <a:lnTo>
                      <a:pt x="120" y="27"/>
                    </a:lnTo>
                    <a:lnTo>
                      <a:pt x="105" y="24"/>
                    </a:lnTo>
                    <a:lnTo>
                      <a:pt x="99" y="25"/>
                    </a:lnTo>
                    <a:lnTo>
                      <a:pt x="99" y="31"/>
                    </a:lnTo>
                    <a:lnTo>
                      <a:pt x="83" y="33"/>
                    </a:lnTo>
                    <a:lnTo>
                      <a:pt x="70" y="40"/>
                    </a:lnTo>
                    <a:lnTo>
                      <a:pt x="75" y="42"/>
                    </a:lnTo>
                    <a:lnTo>
                      <a:pt x="80" y="63"/>
                    </a:lnTo>
                    <a:lnTo>
                      <a:pt x="93" y="73"/>
                    </a:lnTo>
                    <a:lnTo>
                      <a:pt x="84" y="78"/>
                    </a:lnTo>
                    <a:lnTo>
                      <a:pt x="83" y="89"/>
                    </a:lnTo>
                    <a:lnTo>
                      <a:pt x="93" y="1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8" name="Freeform 289"/>
              <p:cNvSpPr>
                <a:spLocks noChangeAspect="1"/>
              </p:cNvSpPr>
              <p:nvPr/>
            </p:nvSpPr>
            <p:spPr bwMode="gray">
              <a:xfrm>
                <a:off x="1210" y="1283"/>
                <a:ext cx="200" cy="164"/>
              </a:xfrm>
              <a:custGeom>
                <a:avLst/>
                <a:gdLst/>
                <a:ahLst/>
                <a:cxnLst>
                  <a:cxn ang="0">
                    <a:pos x="126" y="657"/>
                  </a:cxn>
                  <a:cxn ang="0">
                    <a:pos x="169" y="549"/>
                  </a:cxn>
                  <a:cxn ang="0">
                    <a:pos x="358" y="544"/>
                  </a:cxn>
                  <a:cxn ang="0">
                    <a:pos x="368" y="506"/>
                  </a:cxn>
                  <a:cxn ang="0">
                    <a:pos x="282" y="473"/>
                  </a:cxn>
                  <a:cxn ang="0">
                    <a:pos x="101" y="478"/>
                  </a:cxn>
                  <a:cxn ang="0">
                    <a:pos x="62" y="396"/>
                  </a:cxn>
                  <a:cxn ang="0">
                    <a:pos x="178" y="361"/>
                  </a:cxn>
                  <a:cxn ang="0">
                    <a:pos x="133" y="340"/>
                  </a:cxn>
                  <a:cxn ang="0">
                    <a:pos x="79" y="345"/>
                  </a:cxn>
                  <a:cxn ang="0">
                    <a:pos x="47" y="338"/>
                  </a:cxn>
                  <a:cxn ang="0">
                    <a:pos x="29" y="309"/>
                  </a:cxn>
                  <a:cxn ang="0">
                    <a:pos x="52" y="209"/>
                  </a:cxn>
                  <a:cxn ang="0">
                    <a:pos x="46" y="135"/>
                  </a:cxn>
                  <a:cxn ang="0">
                    <a:pos x="239" y="0"/>
                  </a:cxn>
                  <a:cxn ang="0">
                    <a:pos x="272" y="94"/>
                  </a:cxn>
                  <a:cxn ang="0">
                    <a:pos x="244" y="146"/>
                  </a:cxn>
                  <a:cxn ang="0">
                    <a:pos x="300" y="81"/>
                  </a:cxn>
                  <a:cxn ang="0">
                    <a:pos x="406" y="106"/>
                  </a:cxn>
                  <a:cxn ang="0">
                    <a:pos x="415" y="173"/>
                  </a:cxn>
                  <a:cxn ang="0">
                    <a:pos x="446" y="157"/>
                  </a:cxn>
                  <a:cxn ang="0">
                    <a:pos x="486" y="144"/>
                  </a:cxn>
                  <a:cxn ang="0">
                    <a:pos x="503" y="123"/>
                  </a:cxn>
                  <a:cxn ang="0">
                    <a:pos x="504" y="76"/>
                  </a:cxn>
                  <a:cxn ang="0">
                    <a:pos x="546" y="121"/>
                  </a:cxn>
                  <a:cxn ang="0">
                    <a:pos x="570" y="205"/>
                  </a:cxn>
                  <a:cxn ang="0">
                    <a:pos x="606" y="310"/>
                  </a:cxn>
                  <a:cxn ang="0">
                    <a:pos x="627" y="247"/>
                  </a:cxn>
                  <a:cxn ang="0">
                    <a:pos x="617" y="166"/>
                  </a:cxn>
                  <a:cxn ang="0">
                    <a:pos x="600" y="49"/>
                  </a:cxn>
                  <a:cxn ang="0">
                    <a:pos x="602" y="8"/>
                  </a:cxn>
                  <a:cxn ang="0">
                    <a:pos x="669" y="31"/>
                  </a:cxn>
                  <a:cxn ang="0">
                    <a:pos x="691" y="44"/>
                  </a:cxn>
                  <a:cxn ang="0">
                    <a:pos x="751" y="110"/>
                  </a:cxn>
                  <a:cxn ang="0">
                    <a:pos x="766" y="200"/>
                  </a:cxn>
                  <a:cxn ang="0">
                    <a:pos x="805" y="336"/>
                  </a:cxn>
                  <a:cxn ang="0">
                    <a:pos x="815" y="428"/>
                  </a:cxn>
                  <a:cxn ang="0">
                    <a:pos x="881" y="478"/>
                  </a:cxn>
                  <a:cxn ang="0">
                    <a:pos x="963" y="543"/>
                  </a:cxn>
                  <a:cxn ang="0">
                    <a:pos x="999" y="584"/>
                  </a:cxn>
                  <a:cxn ang="0">
                    <a:pos x="961" y="616"/>
                  </a:cxn>
                  <a:cxn ang="0">
                    <a:pos x="934" y="597"/>
                  </a:cxn>
                  <a:cxn ang="0">
                    <a:pos x="906" y="632"/>
                  </a:cxn>
                  <a:cxn ang="0">
                    <a:pos x="880" y="677"/>
                  </a:cxn>
                  <a:cxn ang="0">
                    <a:pos x="940" y="671"/>
                  </a:cxn>
                  <a:cxn ang="0">
                    <a:pos x="933" y="711"/>
                  </a:cxn>
                  <a:cxn ang="0">
                    <a:pos x="949" y="734"/>
                  </a:cxn>
                  <a:cxn ang="0">
                    <a:pos x="893" y="767"/>
                  </a:cxn>
                  <a:cxn ang="0">
                    <a:pos x="809" y="749"/>
                  </a:cxn>
                  <a:cxn ang="0">
                    <a:pos x="758" y="724"/>
                  </a:cxn>
                  <a:cxn ang="0">
                    <a:pos x="697" y="677"/>
                  </a:cxn>
                  <a:cxn ang="0">
                    <a:pos x="655" y="718"/>
                  </a:cxn>
                  <a:cxn ang="0">
                    <a:pos x="521" y="796"/>
                  </a:cxn>
                  <a:cxn ang="0">
                    <a:pos x="425" y="805"/>
                  </a:cxn>
                  <a:cxn ang="0">
                    <a:pos x="320" y="819"/>
                  </a:cxn>
                  <a:cxn ang="0">
                    <a:pos x="300" y="732"/>
                  </a:cxn>
                  <a:cxn ang="0">
                    <a:pos x="230" y="698"/>
                  </a:cxn>
                </a:cxnLst>
                <a:rect l="0" t="0" r="r" b="b"/>
                <a:pathLst>
                  <a:path w="999" h="819">
                    <a:moveTo>
                      <a:pt x="230" y="698"/>
                    </a:moveTo>
                    <a:lnTo>
                      <a:pt x="225" y="704"/>
                    </a:lnTo>
                    <a:lnTo>
                      <a:pt x="203" y="704"/>
                    </a:lnTo>
                    <a:lnTo>
                      <a:pt x="196" y="698"/>
                    </a:lnTo>
                    <a:lnTo>
                      <a:pt x="173" y="697"/>
                    </a:lnTo>
                    <a:lnTo>
                      <a:pt x="137" y="671"/>
                    </a:lnTo>
                    <a:lnTo>
                      <a:pt x="137" y="660"/>
                    </a:lnTo>
                    <a:lnTo>
                      <a:pt x="126" y="657"/>
                    </a:lnTo>
                    <a:lnTo>
                      <a:pt x="118" y="650"/>
                    </a:lnTo>
                    <a:lnTo>
                      <a:pt x="116" y="630"/>
                    </a:lnTo>
                    <a:lnTo>
                      <a:pt x="105" y="622"/>
                    </a:lnTo>
                    <a:lnTo>
                      <a:pt x="101" y="613"/>
                    </a:lnTo>
                    <a:lnTo>
                      <a:pt x="94" y="593"/>
                    </a:lnTo>
                    <a:lnTo>
                      <a:pt x="91" y="581"/>
                    </a:lnTo>
                    <a:lnTo>
                      <a:pt x="112" y="571"/>
                    </a:lnTo>
                    <a:lnTo>
                      <a:pt x="169" y="549"/>
                    </a:lnTo>
                    <a:lnTo>
                      <a:pt x="209" y="539"/>
                    </a:lnTo>
                    <a:lnTo>
                      <a:pt x="232" y="538"/>
                    </a:lnTo>
                    <a:lnTo>
                      <a:pt x="253" y="530"/>
                    </a:lnTo>
                    <a:lnTo>
                      <a:pt x="266" y="528"/>
                    </a:lnTo>
                    <a:lnTo>
                      <a:pt x="279" y="536"/>
                    </a:lnTo>
                    <a:lnTo>
                      <a:pt x="318" y="539"/>
                    </a:lnTo>
                    <a:lnTo>
                      <a:pt x="339" y="546"/>
                    </a:lnTo>
                    <a:lnTo>
                      <a:pt x="358" y="544"/>
                    </a:lnTo>
                    <a:lnTo>
                      <a:pt x="369" y="533"/>
                    </a:lnTo>
                    <a:lnTo>
                      <a:pt x="365" y="526"/>
                    </a:lnTo>
                    <a:lnTo>
                      <a:pt x="365" y="522"/>
                    </a:lnTo>
                    <a:lnTo>
                      <a:pt x="374" y="527"/>
                    </a:lnTo>
                    <a:lnTo>
                      <a:pt x="382" y="525"/>
                    </a:lnTo>
                    <a:lnTo>
                      <a:pt x="381" y="520"/>
                    </a:lnTo>
                    <a:lnTo>
                      <a:pt x="375" y="510"/>
                    </a:lnTo>
                    <a:lnTo>
                      <a:pt x="368" y="506"/>
                    </a:lnTo>
                    <a:lnTo>
                      <a:pt x="348" y="503"/>
                    </a:lnTo>
                    <a:lnTo>
                      <a:pt x="344" y="495"/>
                    </a:lnTo>
                    <a:lnTo>
                      <a:pt x="332" y="495"/>
                    </a:lnTo>
                    <a:lnTo>
                      <a:pt x="317" y="488"/>
                    </a:lnTo>
                    <a:lnTo>
                      <a:pt x="312" y="482"/>
                    </a:lnTo>
                    <a:lnTo>
                      <a:pt x="296" y="479"/>
                    </a:lnTo>
                    <a:lnTo>
                      <a:pt x="289" y="480"/>
                    </a:lnTo>
                    <a:lnTo>
                      <a:pt x="282" y="473"/>
                    </a:lnTo>
                    <a:lnTo>
                      <a:pt x="248" y="479"/>
                    </a:lnTo>
                    <a:lnTo>
                      <a:pt x="196" y="499"/>
                    </a:lnTo>
                    <a:lnTo>
                      <a:pt x="188" y="493"/>
                    </a:lnTo>
                    <a:lnTo>
                      <a:pt x="172" y="493"/>
                    </a:lnTo>
                    <a:lnTo>
                      <a:pt x="162" y="488"/>
                    </a:lnTo>
                    <a:lnTo>
                      <a:pt x="158" y="480"/>
                    </a:lnTo>
                    <a:lnTo>
                      <a:pt x="118" y="489"/>
                    </a:lnTo>
                    <a:lnTo>
                      <a:pt x="101" y="478"/>
                    </a:lnTo>
                    <a:lnTo>
                      <a:pt x="83" y="482"/>
                    </a:lnTo>
                    <a:lnTo>
                      <a:pt x="81" y="476"/>
                    </a:lnTo>
                    <a:lnTo>
                      <a:pt x="81" y="472"/>
                    </a:lnTo>
                    <a:lnTo>
                      <a:pt x="68" y="467"/>
                    </a:lnTo>
                    <a:lnTo>
                      <a:pt x="57" y="452"/>
                    </a:lnTo>
                    <a:lnTo>
                      <a:pt x="46" y="434"/>
                    </a:lnTo>
                    <a:lnTo>
                      <a:pt x="42" y="418"/>
                    </a:lnTo>
                    <a:lnTo>
                      <a:pt x="62" y="396"/>
                    </a:lnTo>
                    <a:lnTo>
                      <a:pt x="83" y="387"/>
                    </a:lnTo>
                    <a:lnTo>
                      <a:pt x="103" y="385"/>
                    </a:lnTo>
                    <a:lnTo>
                      <a:pt x="122" y="377"/>
                    </a:lnTo>
                    <a:lnTo>
                      <a:pt x="142" y="363"/>
                    </a:lnTo>
                    <a:lnTo>
                      <a:pt x="161" y="358"/>
                    </a:lnTo>
                    <a:lnTo>
                      <a:pt x="160" y="361"/>
                    </a:lnTo>
                    <a:lnTo>
                      <a:pt x="165" y="364"/>
                    </a:lnTo>
                    <a:lnTo>
                      <a:pt x="178" y="361"/>
                    </a:lnTo>
                    <a:lnTo>
                      <a:pt x="185" y="358"/>
                    </a:lnTo>
                    <a:lnTo>
                      <a:pt x="181" y="353"/>
                    </a:lnTo>
                    <a:lnTo>
                      <a:pt x="165" y="352"/>
                    </a:lnTo>
                    <a:lnTo>
                      <a:pt x="173" y="342"/>
                    </a:lnTo>
                    <a:lnTo>
                      <a:pt x="187" y="339"/>
                    </a:lnTo>
                    <a:lnTo>
                      <a:pt x="193" y="334"/>
                    </a:lnTo>
                    <a:lnTo>
                      <a:pt x="194" y="329"/>
                    </a:lnTo>
                    <a:lnTo>
                      <a:pt x="133" y="340"/>
                    </a:lnTo>
                    <a:lnTo>
                      <a:pt x="122" y="345"/>
                    </a:lnTo>
                    <a:lnTo>
                      <a:pt x="111" y="347"/>
                    </a:lnTo>
                    <a:lnTo>
                      <a:pt x="105" y="352"/>
                    </a:lnTo>
                    <a:lnTo>
                      <a:pt x="96" y="352"/>
                    </a:lnTo>
                    <a:lnTo>
                      <a:pt x="91" y="348"/>
                    </a:lnTo>
                    <a:lnTo>
                      <a:pt x="90" y="344"/>
                    </a:lnTo>
                    <a:lnTo>
                      <a:pt x="83" y="343"/>
                    </a:lnTo>
                    <a:lnTo>
                      <a:pt x="79" y="345"/>
                    </a:lnTo>
                    <a:lnTo>
                      <a:pt x="83" y="348"/>
                    </a:lnTo>
                    <a:lnTo>
                      <a:pt x="83" y="354"/>
                    </a:lnTo>
                    <a:lnTo>
                      <a:pt x="68" y="354"/>
                    </a:lnTo>
                    <a:lnTo>
                      <a:pt x="64" y="359"/>
                    </a:lnTo>
                    <a:lnTo>
                      <a:pt x="51" y="360"/>
                    </a:lnTo>
                    <a:lnTo>
                      <a:pt x="45" y="355"/>
                    </a:lnTo>
                    <a:lnTo>
                      <a:pt x="43" y="347"/>
                    </a:lnTo>
                    <a:lnTo>
                      <a:pt x="47" y="338"/>
                    </a:lnTo>
                    <a:lnTo>
                      <a:pt x="53" y="333"/>
                    </a:lnTo>
                    <a:lnTo>
                      <a:pt x="69" y="332"/>
                    </a:lnTo>
                    <a:lnTo>
                      <a:pt x="67" y="310"/>
                    </a:lnTo>
                    <a:lnTo>
                      <a:pt x="53" y="313"/>
                    </a:lnTo>
                    <a:lnTo>
                      <a:pt x="41" y="322"/>
                    </a:lnTo>
                    <a:lnTo>
                      <a:pt x="35" y="320"/>
                    </a:lnTo>
                    <a:lnTo>
                      <a:pt x="33" y="311"/>
                    </a:lnTo>
                    <a:lnTo>
                      <a:pt x="29" y="309"/>
                    </a:lnTo>
                    <a:lnTo>
                      <a:pt x="8" y="313"/>
                    </a:lnTo>
                    <a:lnTo>
                      <a:pt x="6" y="304"/>
                    </a:lnTo>
                    <a:lnTo>
                      <a:pt x="2" y="290"/>
                    </a:lnTo>
                    <a:lnTo>
                      <a:pt x="0" y="273"/>
                    </a:lnTo>
                    <a:lnTo>
                      <a:pt x="6" y="256"/>
                    </a:lnTo>
                    <a:lnTo>
                      <a:pt x="22" y="234"/>
                    </a:lnTo>
                    <a:lnTo>
                      <a:pt x="32" y="218"/>
                    </a:lnTo>
                    <a:lnTo>
                      <a:pt x="52" y="209"/>
                    </a:lnTo>
                    <a:lnTo>
                      <a:pt x="53" y="202"/>
                    </a:lnTo>
                    <a:lnTo>
                      <a:pt x="51" y="194"/>
                    </a:lnTo>
                    <a:lnTo>
                      <a:pt x="48" y="189"/>
                    </a:lnTo>
                    <a:lnTo>
                      <a:pt x="36" y="189"/>
                    </a:lnTo>
                    <a:lnTo>
                      <a:pt x="32" y="182"/>
                    </a:lnTo>
                    <a:lnTo>
                      <a:pt x="31" y="165"/>
                    </a:lnTo>
                    <a:lnTo>
                      <a:pt x="36" y="151"/>
                    </a:lnTo>
                    <a:lnTo>
                      <a:pt x="46" y="135"/>
                    </a:lnTo>
                    <a:lnTo>
                      <a:pt x="85" y="94"/>
                    </a:lnTo>
                    <a:lnTo>
                      <a:pt x="122" y="68"/>
                    </a:lnTo>
                    <a:lnTo>
                      <a:pt x="129" y="59"/>
                    </a:lnTo>
                    <a:lnTo>
                      <a:pt x="142" y="55"/>
                    </a:lnTo>
                    <a:lnTo>
                      <a:pt x="148" y="44"/>
                    </a:lnTo>
                    <a:lnTo>
                      <a:pt x="162" y="42"/>
                    </a:lnTo>
                    <a:lnTo>
                      <a:pt x="194" y="22"/>
                    </a:lnTo>
                    <a:lnTo>
                      <a:pt x="239" y="0"/>
                    </a:lnTo>
                    <a:lnTo>
                      <a:pt x="252" y="3"/>
                    </a:lnTo>
                    <a:lnTo>
                      <a:pt x="255" y="10"/>
                    </a:lnTo>
                    <a:lnTo>
                      <a:pt x="261" y="14"/>
                    </a:lnTo>
                    <a:lnTo>
                      <a:pt x="262" y="21"/>
                    </a:lnTo>
                    <a:lnTo>
                      <a:pt x="269" y="31"/>
                    </a:lnTo>
                    <a:lnTo>
                      <a:pt x="272" y="43"/>
                    </a:lnTo>
                    <a:lnTo>
                      <a:pt x="273" y="71"/>
                    </a:lnTo>
                    <a:lnTo>
                      <a:pt x="272" y="94"/>
                    </a:lnTo>
                    <a:lnTo>
                      <a:pt x="259" y="101"/>
                    </a:lnTo>
                    <a:lnTo>
                      <a:pt x="255" y="111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2" y="127"/>
                    </a:lnTo>
                    <a:lnTo>
                      <a:pt x="239" y="133"/>
                    </a:lnTo>
                    <a:lnTo>
                      <a:pt x="237" y="138"/>
                    </a:lnTo>
                    <a:lnTo>
                      <a:pt x="244" y="146"/>
                    </a:lnTo>
                    <a:lnTo>
                      <a:pt x="268" y="126"/>
                    </a:lnTo>
                    <a:lnTo>
                      <a:pt x="274" y="126"/>
                    </a:lnTo>
                    <a:lnTo>
                      <a:pt x="277" y="135"/>
                    </a:lnTo>
                    <a:lnTo>
                      <a:pt x="295" y="127"/>
                    </a:lnTo>
                    <a:lnTo>
                      <a:pt x="300" y="113"/>
                    </a:lnTo>
                    <a:lnTo>
                      <a:pt x="294" y="110"/>
                    </a:lnTo>
                    <a:lnTo>
                      <a:pt x="294" y="97"/>
                    </a:lnTo>
                    <a:lnTo>
                      <a:pt x="300" y="81"/>
                    </a:lnTo>
                    <a:lnTo>
                      <a:pt x="309" y="76"/>
                    </a:lnTo>
                    <a:lnTo>
                      <a:pt x="310" y="69"/>
                    </a:lnTo>
                    <a:lnTo>
                      <a:pt x="315" y="64"/>
                    </a:lnTo>
                    <a:lnTo>
                      <a:pt x="329" y="62"/>
                    </a:lnTo>
                    <a:lnTo>
                      <a:pt x="355" y="80"/>
                    </a:lnTo>
                    <a:lnTo>
                      <a:pt x="388" y="91"/>
                    </a:lnTo>
                    <a:lnTo>
                      <a:pt x="396" y="101"/>
                    </a:lnTo>
                    <a:lnTo>
                      <a:pt x="406" y="106"/>
                    </a:lnTo>
                    <a:lnTo>
                      <a:pt x="415" y="113"/>
                    </a:lnTo>
                    <a:lnTo>
                      <a:pt x="424" y="128"/>
                    </a:lnTo>
                    <a:lnTo>
                      <a:pt x="427" y="145"/>
                    </a:lnTo>
                    <a:lnTo>
                      <a:pt x="408" y="171"/>
                    </a:lnTo>
                    <a:lnTo>
                      <a:pt x="388" y="189"/>
                    </a:lnTo>
                    <a:lnTo>
                      <a:pt x="388" y="192"/>
                    </a:lnTo>
                    <a:lnTo>
                      <a:pt x="406" y="188"/>
                    </a:lnTo>
                    <a:lnTo>
                      <a:pt x="415" y="173"/>
                    </a:lnTo>
                    <a:lnTo>
                      <a:pt x="427" y="166"/>
                    </a:lnTo>
                    <a:lnTo>
                      <a:pt x="425" y="173"/>
                    </a:lnTo>
                    <a:lnTo>
                      <a:pt x="420" y="187"/>
                    </a:lnTo>
                    <a:lnTo>
                      <a:pt x="433" y="192"/>
                    </a:lnTo>
                    <a:lnTo>
                      <a:pt x="435" y="187"/>
                    </a:lnTo>
                    <a:lnTo>
                      <a:pt x="439" y="167"/>
                    </a:lnTo>
                    <a:lnTo>
                      <a:pt x="440" y="161"/>
                    </a:lnTo>
                    <a:lnTo>
                      <a:pt x="446" y="157"/>
                    </a:lnTo>
                    <a:lnTo>
                      <a:pt x="454" y="148"/>
                    </a:lnTo>
                    <a:lnTo>
                      <a:pt x="465" y="150"/>
                    </a:lnTo>
                    <a:lnTo>
                      <a:pt x="472" y="146"/>
                    </a:lnTo>
                    <a:lnTo>
                      <a:pt x="486" y="164"/>
                    </a:lnTo>
                    <a:lnTo>
                      <a:pt x="488" y="157"/>
                    </a:lnTo>
                    <a:lnTo>
                      <a:pt x="486" y="148"/>
                    </a:lnTo>
                    <a:lnTo>
                      <a:pt x="483" y="145"/>
                    </a:lnTo>
                    <a:lnTo>
                      <a:pt x="486" y="144"/>
                    </a:lnTo>
                    <a:lnTo>
                      <a:pt x="494" y="151"/>
                    </a:lnTo>
                    <a:lnTo>
                      <a:pt x="499" y="148"/>
                    </a:lnTo>
                    <a:lnTo>
                      <a:pt x="497" y="138"/>
                    </a:lnTo>
                    <a:lnTo>
                      <a:pt x="484" y="129"/>
                    </a:lnTo>
                    <a:lnTo>
                      <a:pt x="484" y="123"/>
                    </a:lnTo>
                    <a:lnTo>
                      <a:pt x="486" y="122"/>
                    </a:lnTo>
                    <a:lnTo>
                      <a:pt x="498" y="132"/>
                    </a:lnTo>
                    <a:lnTo>
                      <a:pt x="503" y="123"/>
                    </a:lnTo>
                    <a:lnTo>
                      <a:pt x="488" y="103"/>
                    </a:lnTo>
                    <a:lnTo>
                      <a:pt x="481" y="100"/>
                    </a:lnTo>
                    <a:lnTo>
                      <a:pt x="473" y="90"/>
                    </a:lnTo>
                    <a:lnTo>
                      <a:pt x="470" y="78"/>
                    </a:lnTo>
                    <a:lnTo>
                      <a:pt x="468" y="68"/>
                    </a:lnTo>
                    <a:lnTo>
                      <a:pt x="477" y="67"/>
                    </a:lnTo>
                    <a:lnTo>
                      <a:pt x="494" y="71"/>
                    </a:lnTo>
                    <a:lnTo>
                      <a:pt x="504" y="76"/>
                    </a:lnTo>
                    <a:lnTo>
                      <a:pt x="508" y="87"/>
                    </a:lnTo>
                    <a:lnTo>
                      <a:pt x="519" y="86"/>
                    </a:lnTo>
                    <a:lnTo>
                      <a:pt x="519" y="92"/>
                    </a:lnTo>
                    <a:lnTo>
                      <a:pt x="526" y="108"/>
                    </a:lnTo>
                    <a:lnTo>
                      <a:pt x="533" y="113"/>
                    </a:lnTo>
                    <a:lnTo>
                      <a:pt x="540" y="111"/>
                    </a:lnTo>
                    <a:lnTo>
                      <a:pt x="546" y="117"/>
                    </a:lnTo>
                    <a:lnTo>
                      <a:pt x="546" y="121"/>
                    </a:lnTo>
                    <a:lnTo>
                      <a:pt x="554" y="127"/>
                    </a:lnTo>
                    <a:lnTo>
                      <a:pt x="553" y="133"/>
                    </a:lnTo>
                    <a:lnTo>
                      <a:pt x="551" y="135"/>
                    </a:lnTo>
                    <a:lnTo>
                      <a:pt x="560" y="139"/>
                    </a:lnTo>
                    <a:lnTo>
                      <a:pt x="568" y="155"/>
                    </a:lnTo>
                    <a:lnTo>
                      <a:pt x="567" y="186"/>
                    </a:lnTo>
                    <a:lnTo>
                      <a:pt x="568" y="197"/>
                    </a:lnTo>
                    <a:lnTo>
                      <a:pt x="570" y="205"/>
                    </a:lnTo>
                    <a:lnTo>
                      <a:pt x="575" y="214"/>
                    </a:lnTo>
                    <a:lnTo>
                      <a:pt x="578" y="243"/>
                    </a:lnTo>
                    <a:lnTo>
                      <a:pt x="592" y="258"/>
                    </a:lnTo>
                    <a:lnTo>
                      <a:pt x="585" y="273"/>
                    </a:lnTo>
                    <a:lnTo>
                      <a:pt x="585" y="295"/>
                    </a:lnTo>
                    <a:lnTo>
                      <a:pt x="591" y="296"/>
                    </a:lnTo>
                    <a:lnTo>
                      <a:pt x="600" y="311"/>
                    </a:lnTo>
                    <a:lnTo>
                      <a:pt x="606" y="310"/>
                    </a:lnTo>
                    <a:lnTo>
                      <a:pt x="608" y="301"/>
                    </a:lnTo>
                    <a:lnTo>
                      <a:pt x="616" y="297"/>
                    </a:lnTo>
                    <a:lnTo>
                      <a:pt x="622" y="295"/>
                    </a:lnTo>
                    <a:lnTo>
                      <a:pt x="629" y="285"/>
                    </a:lnTo>
                    <a:lnTo>
                      <a:pt x="630" y="274"/>
                    </a:lnTo>
                    <a:lnTo>
                      <a:pt x="639" y="270"/>
                    </a:lnTo>
                    <a:lnTo>
                      <a:pt x="639" y="264"/>
                    </a:lnTo>
                    <a:lnTo>
                      <a:pt x="627" y="247"/>
                    </a:lnTo>
                    <a:lnTo>
                      <a:pt x="624" y="236"/>
                    </a:lnTo>
                    <a:lnTo>
                      <a:pt x="624" y="225"/>
                    </a:lnTo>
                    <a:lnTo>
                      <a:pt x="619" y="220"/>
                    </a:lnTo>
                    <a:lnTo>
                      <a:pt x="617" y="203"/>
                    </a:lnTo>
                    <a:lnTo>
                      <a:pt x="614" y="187"/>
                    </a:lnTo>
                    <a:lnTo>
                      <a:pt x="618" y="186"/>
                    </a:lnTo>
                    <a:lnTo>
                      <a:pt x="617" y="177"/>
                    </a:lnTo>
                    <a:lnTo>
                      <a:pt x="617" y="166"/>
                    </a:lnTo>
                    <a:lnTo>
                      <a:pt x="613" y="160"/>
                    </a:lnTo>
                    <a:lnTo>
                      <a:pt x="612" y="139"/>
                    </a:lnTo>
                    <a:lnTo>
                      <a:pt x="610" y="121"/>
                    </a:lnTo>
                    <a:lnTo>
                      <a:pt x="605" y="103"/>
                    </a:lnTo>
                    <a:lnTo>
                      <a:pt x="597" y="68"/>
                    </a:lnTo>
                    <a:lnTo>
                      <a:pt x="595" y="62"/>
                    </a:lnTo>
                    <a:lnTo>
                      <a:pt x="599" y="62"/>
                    </a:lnTo>
                    <a:lnTo>
                      <a:pt x="600" y="49"/>
                    </a:lnTo>
                    <a:lnTo>
                      <a:pt x="596" y="49"/>
                    </a:lnTo>
                    <a:lnTo>
                      <a:pt x="592" y="38"/>
                    </a:lnTo>
                    <a:lnTo>
                      <a:pt x="596" y="33"/>
                    </a:lnTo>
                    <a:lnTo>
                      <a:pt x="606" y="33"/>
                    </a:lnTo>
                    <a:lnTo>
                      <a:pt x="608" y="27"/>
                    </a:lnTo>
                    <a:lnTo>
                      <a:pt x="597" y="16"/>
                    </a:lnTo>
                    <a:lnTo>
                      <a:pt x="599" y="8"/>
                    </a:lnTo>
                    <a:lnTo>
                      <a:pt x="602" y="8"/>
                    </a:lnTo>
                    <a:lnTo>
                      <a:pt x="602" y="3"/>
                    </a:lnTo>
                    <a:lnTo>
                      <a:pt x="608" y="3"/>
                    </a:lnTo>
                    <a:lnTo>
                      <a:pt x="630" y="9"/>
                    </a:lnTo>
                    <a:lnTo>
                      <a:pt x="632" y="15"/>
                    </a:lnTo>
                    <a:lnTo>
                      <a:pt x="650" y="33"/>
                    </a:lnTo>
                    <a:lnTo>
                      <a:pt x="665" y="40"/>
                    </a:lnTo>
                    <a:lnTo>
                      <a:pt x="667" y="37"/>
                    </a:lnTo>
                    <a:lnTo>
                      <a:pt x="669" y="31"/>
                    </a:lnTo>
                    <a:lnTo>
                      <a:pt x="662" y="28"/>
                    </a:lnTo>
                    <a:lnTo>
                      <a:pt x="661" y="21"/>
                    </a:lnTo>
                    <a:lnTo>
                      <a:pt x="661" y="15"/>
                    </a:lnTo>
                    <a:lnTo>
                      <a:pt x="666" y="14"/>
                    </a:lnTo>
                    <a:lnTo>
                      <a:pt x="676" y="19"/>
                    </a:lnTo>
                    <a:lnTo>
                      <a:pt x="678" y="25"/>
                    </a:lnTo>
                    <a:lnTo>
                      <a:pt x="687" y="28"/>
                    </a:lnTo>
                    <a:lnTo>
                      <a:pt x="691" y="44"/>
                    </a:lnTo>
                    <a:lnTo>
                      <a:pt x="696" y="52"/>
                    </a:lnTo>
                    <a:lnTo>
                      <a:pt x="720" y="67"/>
                    </a:lnTo>
                    <a:lnTo>
                      <a:pt x="720" y="74"/>
                    </a:lnTo>
                    <a:lnTo>
                      <a:pt x="734" y="81"/>
                    </a:lnTo>
                    <a:lnTo>
                      <a:pt x="741" y="91"/>
                    </a:lnTo>
                    <a:lnTo>
                      <a:pt x="742" y="96"/>
                    </a:lnTo>
                    <a:lnTo>
                      <a:pt x="750" y="102"/>
                    </a:lnTo>
                    <a:lnTo>
                      <a:pt x="751" y="110"/>
                    </a:lnTo>
                    <a:lnTo>
                      <a:pt x="745" y="123"/>
                    </a:lnTo>
                    <a:lnTo>
                      <a:pt x="751" y="123"/>
                    </a:lnTo>
                    <a:lnTo>
                      <a:pt x="756" y="140"/>
                    </a:lnTo>
                    <a:lnTo>
                      <a:pt x="756" y="151"/>
                    </a:lnTo>
                    <a:lnTo>
                      <a:pt x="755" y="156"/>
                    </a:lnTo>
                    <a:lnTo>
                      <a:pt x="758" y="166"/>
                    </a:lnTo>
                    <a:lnTo>
                      <a:pt x="759" y="177"/>
                    </a:lnTo>
                    <a:lnTo>
                      <a:pt x="766" y="200"/>
                    </a:lnTo>
                    <a:lnTo>
                      <a:pt x="768" y="246"/>
                    </a:lnTo>
                    <a:lnTo>
                      <a:pt x="771" y="250"/>
                    </a:lnTo>
                    <a:lnTo>
                      <a:pt x="775" y="273"/>
                    </a:lnTo>
                    <a:lnTo>
                      <a:pt x="791" y="294"/>
                    </a:lnTo>
                    <a:lnTo>
                      <a:pt x="799" y="306"/>
                    </a:lnTo>
                    <a:lnTo>
                      <a:pt x="804" y="322"/>
                    </a:lnTo>
                    <a:lnTo>
                      <a:pt x="802" y="329"/>
                    </a:lnTo>
                    <a:lnTo>
                      <a:pt x="805" y="336"/>
                    </a:lnTo>
                    <a:lnTo>
                      <a:pt x="806" y="353"/>
                    </a:lnTo>
                    <a:lnTo>
                      <a:pt x="804" y="353"/>
                    </a:lnTo>
                    <a:lnTo>
                      <a:pt x="796" y="358"/>
                    </a:lnTo>
                    <a:lnTo>
                      <a:pt x="798" y="383"/>
                    </a:lnTo>
                    <a:lnTo>
                      <a:pt x="794" y="396"/>
                    </a:lnTo>
                    <a:lnTo>
                      <a:pt x="798" y="409"/>
                    </a:lnTo>
                    <a:lnTo>
                      <a:pt x="812" y="419"/>
                    </a:lnTo>
                    <a:lnTo>
                      <a:pt x="815" y="428"/>
                    </a:lnTo>
                    <a:lnTo>
                      <a:pt x="829" y="455"/>
                    </a:lnTo>
                    <a:lnTo>
                      <a:pt x="847" y="460"/>
                    </a:lnTo>
                    <a:lnTo>
                      <a:pt x="854" y="479"/>
                    </a:lnTo>
                    <a:lnTo>
                      <a:pt x="860" y="483"/>
                    </a:lnTo>
                    <a:lnTo>
                      <a:pt x="870" y="484"/>
                    </a:lnTo>
                    <a:lnTo>
                      <a:pt x="876" y="492"/>
                    </a:lnTo>
                    <a:lnTo>
                      <a:pt x="881" y="487"/>
                    </a:lnTo>
                    <a:lnTo>
                      <a:pt x="881" y="478"/>
                    </a:lnTo>
                    <a:lnTo>
                      <a:pt x="885" y="476"/>
                    </a:lnTo>
                    <a:lnTo>
                      <a:pt x="896" y="480"/>
                    </a:lnTo>
                    <a:lnTo>
                      <a:pt x="901" y="485"/>
                    </a:lnTo>
                    <a:lnTo>
                      <a:pt x="898" y="494"/>
                    </a:lnTo>
                    <a:lnTo>
                      <a:pt x="938" y="531"/>
                    </a:lnTo>
                    <a:lnTo>
                      <a:pt x="946" y="536"/>
                    </a:lnTo>
                    <a:lnTo>
                      <a:pt x="958" y="536"/>
                    </a:lnTo>
                    <a:lnTo>
                      <a:pt x="963" y="543"/>
                    </a:lnTo>
                    <a:lnTo>
                      <a:pt x="962" y="552"/>
                    </a:lnTo>
                    <a:lnTo>
                      <a:pt x="963" y="560"/>
                    </a:lnTo>
                    <a:lnTo>
                      <a:pt x="972" y="562"/>
                    </a:lnTo>
                    <a:lnTo>
                      <a:pt x="978" y="558"/>
                    </a:lnTo>
                    <a:lnTo>
                      <a:pt x="981" y="562"/>
                    </a:lnTo>
                    <a:lnTo>
                      <a:pt x="989" y="558"/>
                    </a:lnTo>
                    <a:lnTo>
                      <a:pt x="994" y="560"/>
                    </a:lnTo>
                    <a:lnTo>
                      <a:pt x="999" y="584"/>
                    </a:lnTo>
                    <a:lnTo>
                      <a:pt x="994" y="596"/>
                    </a:lnTo>
                    <a:lnTo>
                      <a:pt x="997" y="622"/>
                    </a:lnTo>
                    <a:lnTo>
                      <a:pt x="992" y="635"/>
                    </a:lnTo>
                    <a:lnTo>
                      <a:pt x="984" y="638"/>
                    </a:lnTo>
                    <a:lnTo>
                      <a:pt x="977" y="635"/>
                    </a:lnTo>
                    <a:lnTo>
                      <a:pt x="967" y="617"/>
                    </a:lnTo>
                    <a:lnTo>
                      <a:pt x="967" y="595"/>
                    </a:lnTo>
                    <a:lnTo>
                      <a:pt x="961" y="616"/>
                    </a:lnTo>
                    <a:lnTo>
                      <a:pt x="958" y="635"/>
                    </a:lnTo>
                    <a:lnTo>
                      <a:pt x="956" y="640"/>
                    </a:lnTo>
                    <a:lnTo>
                      <a:pt x="952" y="629"/>
                    </a:lnTo>
                    <a:lnTo>
                      <a:pt x="946" y="627"/>
                    </a:lnTo>
                    <a:lnTo>
                      <a:pt x="944" y="633"/>
                    </a:lnTo>
                    <a:lnTo>
                      <a:pt x="938" y="623"/>
                    </a:lnTo>
                    <a:lnTo>
                      <a:pt x="934" y="611"/>
                    </a:lnTo>
                    <a:lnTo>
                      <a:pt x="934" y="597"/>
                    </a:lnTo>
                    <a:lnTo>
                      <a:pt x="931" y="605"/>
                    </a:lnTo>
                    <a:lnTo>
                      <a:pt x="925" y="606"/>
                    </a:lnTo>
                    <a:lnTo>
                      <a:pt x="924" y="602"/>
                    </a:lnTo>
                    <a:lnTo>
                      <a:pt x="918" y="617"/>
                    </a:lnTo>
                    <a:lnTo>
                      <a:pt x="914" y="617"/>
                    </a:lnTo>
                    <a:lnTo>
                      <a:pt x="902" y="624"/>
                    </a:lnTo>
                    <a:lnTo>
                      <a:pt x="902" y="632"/>
                    </a:lnTo>
                    <a:lnTo>
                      <a:pt x="906" y="632"/>
                    </a:lnTo>
                    <a:lnTo>
                      <a:pt x="907" y="656"/>
                    </a:lnTo>
                    <a:lnTo>
                      <a:pt x="899" y="657"/>
                    </a:lnTo>
                    <a:lnTo>
                      <a:pt x="895" y="652"/>
                    </a:lnTo>
                    <a:lnTo>
                      <a:pt x="881" y="651"/>
                    </a:lnTo>
                    <a:lnTo>
                      <a:pt x="874" y="654"/>
                    </a:lnTo>
                    <a:lnTo>
                      <a:pt x="872" y="657"/>
                    </a:lnTo>
                    <a:lnTo>
                      <a:pt x="879" y="670"/>
                    </a:lnTo>
                    <a:lnTo>
                      <a:pt x="880" y="677"/>
                    </a:lnTo>
                    <a:lnTo>
                      <a:pt x="877" y="694"/>
                    </a:lnTo>
                    <a:lnTo>
                      <a:pt x="879" y="700"/>
                    </a:lnTo>
                    <a:lnTo>
                      <a:pt x="888" y="681"/>
                    </a:lnTo>
                    <a:lnTo>
                      <a:pt x="902" y="672"/>
                    </a:lnTo>
                    <a:lnTo>
                      <a:pt x="906" y="663"/>
                    </a:lnTo>
                    <a:lnTo>
                      <a:pt x="929" y="662"/>
                    </a:lnTo>
                    <a:lnTo>
                      <a:pt x="931" y="668"/>
                    </a:lnTo>
                    <a:lnTo>
                      <a:pt x="940" y="671"/>
                    </a:lnTo>
                    <a:lnTo>
                      <a:pt x="936" y="677"/>
                    </a:lnTo>
                    <a:lnTo>
                      <a:pt x="935" y="684"/>
                    </a:lnTo>
                    <a:lnTo>
                      <a:pt x="929" y="691"/>
                    </a:lnTo>
                    <a:lnTo>
                      <a:pt x="930" y="695"/>
                    </a:lnTo>
                    <a:lnTo>
                      <a:pt x="925" y="694"/>
                    </a:lnTo>
                    <a:lnTo>
                      <a:pt x="923" y="700"/>
                    </a:lnTo>
                    <a:lnTo>
                      <a:pt x="927" y="710"/>
                    </a:lnTo>
                    <a:lnTo>
                      <a:pt x="933" y="711"/>
                    </a:lnTo>
                    <a:lnTo>
                      <a:pt x="935" y="700"/>
                    </a:lnTo>
                    <a:lnTo>
                      <a:pt x="947" y="706"/>
                    </a:lnTo>
                    <a:lnTo>
                      <a:pt x="958" y="708"/>
                    </a:lnTo>
                    <a:lnTo>
                      <a:pt x="961" y="719"/>
                    </a:lnTo>
                    <a:lnTo>
                      <a:pt x="960" y="727"/>
                    </a:lnTo>
                    <a:lnTo>
                      <a:pt x="954" y="729"/>
                    </a:lnTo>
                    <a:lnTo>
                      <a:pt x="951" y="726"/>
                    </a:lnTo>
                    <a:lnTo>
                      <a:pt x="949" y="734"/>
                    </a:lnTo>
                    <a:lnTo>
                      <a:pt x="944" y="740"/>
                    </a:lnTo>
                    <a:lnTo>
                      <a:pt x="944" y="745"/>
                    </a:lnTo>
                    <a:lnTo>
                      <a:pt x="936" y="743"/>
                    </a:lnTo>
                    <a:lnTo>
                      <a:pt x="917" y="751"/>
                    </a:lnTo>
                    <a:lnTo>
                      <a:pt x="914" y="761"/>
                    </a:lnTo>
                    <a:lnTo>
                      <a:pt x="901" y="761"/>
                    </a:lnTo>
                    <a:lnTo>
                      <a:pt x="895" y="757"/>
                    </a:lnTo>
                    <a:lnTo>
                      <a:pt x="893" y="767"/>
                    </a:lnTo>
                    <a:lnTo>
                      <a:pt x="887" y="770"/>
                    </a:lnTo>
                    <a:lnTo>
                      <a:pt x="885" y="774"/>
                    </a:lnTo>
                    <a:lnTo>
                      <a:pt x="876" y="769"/>
                    </a:lnTo>
                    <a:lnTo>
                      <a:pt x="861" y="775"/>
                    </a:lnTo>
                    <a:lnTo>
                      <a:pt x="836" y="769"/>
                    </a:lnTo>
                    <a:lnTo>
                      <a:pt x="831" y="761"/>
                    </a:lnTo>
                    <a:lnTo>
                      <a:pt x="814" y="756"/>
                    </a:lnTo>
                    <a:lnTo>
                      <a:pt x="809" y="749"/>
                    </a:lnTo>
                    <a:lnTo>
                      <a:pt x="800" y="749"/>
                    </a:lnTo>
                    <a:lnTo>
                      <a:pt x="795" y="758"/>
                    </a:lnTo>
                    <a:lnTo>
                      <a:pt x="771" y="754"/>
                    </a:lnTo>
                    <a:lnTo>
                      <a:pt x="758" y="749"/>
                    </a:lnTo>
                    <a:lnTo>
                      <a:pt x="757" y="742"/>
                    </a:lnTo>
                    <a:lnTo>
                      <a:pt x="773" y="726"/>
                    </a:lnTo>
                    <a:lnTo>
                      <a:pt x="768" y="720"/>
                    </a:lnTo>
                    <a:lnTo>
                      <a:pt x="758" y="724"/>
                    </a:lnTo>
                    <a:lnTo>
                      <a:pt x="742" y="722"/>
                    </a:lnTo>
                    <a:lnTo>
                      <a:pt x="740" y="715"/>
                    </a:lnTo>
                    <a:lnTo>
                      <a:pt x="726" y="711"/>
                    </a:lnTo>
                    <a:lnTo>
                      <a:pt x="721" y="714"/>
                    </a:lnTo>
                    <a:lnTo>
                      <a:pt x="697" y="710"/>
                    </a:lnTo>
                    <a:lnTo>
                      <a:pt x="696" y="700"/>
                    </a:lnTo>
                    <a:lnTo>
                      <a:pt x="699" y="693"/>
                    </a:lnTo>
                    <a:lnTo>
                      <a:pt x="697" y="677"/>
                    </a:lnTo>
                    <a:lnTo>
                      <a:pt x="693" y="666"/>
                    </a:lnTo>
                    <a:lnTo>
                      <a:pt x="682" y="662"/>
                    </a:lnTo>
                    <a:lnTo>
                      <a:pt x="678" y="670"/>
                    </a:lnTo>
                    <a:lnTo>
                      <a:pt x="673" y="678"/>
                    </a:lnTo>
                    <a:lnTo>
                      <a:pt x="660" y="684"/>
                    </a:lnTo>
                    <a:lnTo>
                      <a:pt x="665" y="702"/>
                    </a:lnTo>
                    <a:lnTo>
                      <a:pt x="665" y="710"/>
                    </a:lnTo>
                    <a:lnTo>
                      <a:pt x="655" y="718"/>
                    </a:lnTo>
                    <a:lnTo>
                      <a:pt x="639" y="741"/>
                    </a:lnTo>
                    <a:lnTo>
                      <a:pt x="612" y="748"/>
                    </a:lnTo>
                    <a:lnTo>
                      <a:pt x="572" y="748"/>
                    </a:lnTo>
                    <a:lnTo>
                      <a:pt x="578" y="753"/>
                    </a:lnTo>
                    <a:lnTo>
                      <a:pt x="567" y="770"/>
                    </a:lnTo>
                    <a:lnTo>
                      <a:pt x="552" y="781"/>
                    </a:lnTo>
                    <a:lnTo>
                      <a:pt x="535" y="788"/>
                    </a:lnTo>
                    <a:lnTo>
                      <a:pt x="521" y="796"/>
                    </a:lnTo>
                    <a:lnTo>
                      <a:pt x="503" y="799"/>
                    </a:lnTo>
                    <a:lnTo>
                      <a:pt x="495" y="795"/>
                    </a:lnTo>
                    <a:lnTo>
                      <a:pt x="482" y="801"/>
                    </a:lnTo>
                    <a:lnTo>
                      <a:pt x="467" y="797"/>
                    </a:lnTo>
                    <a:lnTo>
                      <a:pt x="460" y="802"/>
                    </a:lnTo>
                    <a:lnTo>
                      <a:pt x="455" y="796"/>
                    </a:lnTo>
                    <a:lnTo>
                      <a:pt x="440" y="802"/>
                    </a:lnTo>
                    <a:lnTo>
                      <a:pt x="425" y="805"/>
                    </a:lnTo>
                    <a:lnTo>
                      <a:pt x="423" y="807"/>
                    </a:lnTo>
                    <a:lnTo>
                      <a:pt x="430" y="807"/>
                    </a:lnTo>
                    <a:lnTo>
                      <a:pt x="429" y="812"/>
                    </a:lnTo>
                    <a:lnTo>
                      <a:pt x="415" y="812"/>
                    </a:lnTo>
                    <a:lnTo>
                      <a:pt x="393" y="818"/>
                    </a:lnTo>
                    <a:lnTo>
                      <a:pt x="387" y="815"/>
                    </a:lnTo>
                    <a:lnTo>
                      <a:pt x="369" y="815"/>
                    </a:lnTo>
                    <a:lnTo>
                      <a:pt x="320" y="819"/>
                    </a:lnTo>
                    <a:lnTo>
                      <a:pt x="321" y="816"/>
                    </a:lnTo>
                    <a:lnTo>
                      <a:pt x="332" y="807"/>
                    </a:lnTo>
                    <a:lnTo>
                      <a:pt x="314" y="796"/>
                    </a:lnTo>
                    <a:lnTo>
                      <a:pt x="305" y="783"/>
                    </a:lnTo>
                    <a:lnTo>
                      <a:pt x="301" y="770"/>
                    </a:lnTo>
                    <a:lnTo>
                      <a:pt x="296" y="758"/>
                    </a:lnTo>
                    <a:lnTo>
                      <a:pt x="296" y="743"/>
                    </a:lnTo>
                    <a:lnTo>
                      <a:pt x="300" y="732"/>
                    </a:lnTo>
                    <a:lnTo>
                      <a:pt x="300" y="729"/>
                    </a:lnTo>
                    <a:lnTo>
                      <a:pt x="291" y="724"/>
                    </a:lnTo>
                    <a:lnTo>
                      <a:pt x="290" y="719"/>
                    </a:lnTo>
                    <a:lnTo>
                      <a:pt x="287" y="713"/>
                    </a:lnTo>
                    <a:lnTo>
                      <a:pt x="277" y="706"/>
                    </a:lnTo>
                    <a:lnTo>
                      <a:pt x="277" y="702"/>
                    </a:lnTo>
                    <a:lnTo>
                      <a:pt x="259" y="697"/>
                    </a:lnTo>
                    <a:lnTo>
                      <a:pt x="230" y="6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89" name="Freeform 290"/>
              <p:cNvSpPr>
                <a:spLocks noChangeAspect="1"/>
              </p:cNvSpPr>
              <p:nvPr/>
            </p:nvSpPr>
            <p:spPr bwMode="gray">
              <a:xfrm>
                <a:off x="1342" y="1267"/>
                <a:ext cx="27" cy="34"/>
              </a:xfrm>
              <a:custGeom>
                <a:avLst/>
                <a:gdLst/>
                <a:ahLst/>
                <a:cxnLst>
                  <a:cxn ang="0">
                    <a:pos x="114" y="130"/>
                  </a:cxn>
                  <a:cxn ang="0">
                    <a:pos x="114" y="121"/>
                  </a:cxn>
                  <a:cxn ang="0">
                    <a:pos x="118" y="111"/>
                  </a:cxn>
                  <a:cxn ang="0">
                    <a:pos x="127" y="95"/>
                  </a:cxn>
                  <a:cxn ang="0">
                    <a:pos x="132" y="76"/>
                  </a:cxn>
                  <a:cxn ang="0">
                    <a:pos x="135" y="59"/>
                  </a:cxn>
                  <a:cxn ang="0">
                    <a:pos x="135" y="46"/>
                  </a:cxn>
                  <a:cxn ang="0">
                    <a:pos x="137" y="39"/>
                  </a:cxn>
                  <a:cxn ang="0">
                    <a:pos x="134" y="29"/>
                  </a:cxn>
                  <a:cxn ang="0">
                    <a:pos x="126" y="28"/>
                  </a:cxn>
                  <a:cxn ang="0">
                    <a:pos x="120" y="16"/>
                  </a:cxn>
                  <a:cxn ang="0">
                    <a:pos x="99" y="2"/>
                  </a:cxn>
                  <a:cxn ang="0">
                    <a:pos x="88" y="0"/>
                  </a:cxn>
                  <a:cxn ang="0">
                    <a:pos x="69" y="6"/>
                  </a:cxn>
                  <a:cxn ang="0">
                    <a:pos x="34" y="6"/>
                  </a:cxn>
                  <a:cxn ang="0">
                    <a:pos x="23" y="12"/>
                  </a:cxn>
                  <a:cxn ang="0">
                    <a:pos x="13" y="32"/>
                  </a:cxn>
                  <a:cxn ang="0">
                    <a:pos x="2" y="48"/>
                  </a:cxn>
                  <a:cxn ang="0">
                    <a:pos x="0" y="57"/>
                  </a:cxn>
                  <a:cxn ang="0">
                    <a:pos x="26" y="71"/>
                  </a:cxn>
                  <a:cxn ang="0">
                    <a:pos x="32" y="81"/>
                  </a:cxn>
                  <a:cxn ang="0">
                    <a:pos x="44" y="92"/>
                  </a:cxn>
                  <a:cxn ang="0">
                    <a:pos x="54" y="109"/>
                  </a:cxn>
                  <a:cxn ang="0">
                    <a:pos x="60" y="115"/>
                  </a:cxn>
                  <a:cxn ang="0">
                    <a:pos x="71" y="132"/>
                  </a:cxn>
                  <a:cxn ang="0">
                    <a:pos x="72" y="141"/>
                  </a:cxn>
                  <a:cxn ang="0">
                    <a:pos x="93" y="167"/>
                  </a:cxn>
                  <a:cxn ang="0">
                    <a:pos x="96" y="163"/>
                  </a:cxn>
                  <a:cxn ang="0">
                    <a:pos x="96" y="158"/>
                  </a:cxn>
                  <a:cxn ang="0">
                    <a:pos x="100" y="158"/>
                  </a:cxn>
                  <a:cxn ang="0">
                    <a:pos x="110" y="145"/>
                  </a:cxn>
                  <a:cxn ang="0">
                    <a:pos x="114" y="136"/>
                  </a:cxn>
                  <a:cxn ang="0">
                    <a:pos x="114" y="130"/>
                  </a:cxn>
                </a:cxnLst>
                <a:rect l="0" t="0" r="r" b="b"/>
                <a:pathLst>
                  <a:path w="137" h="167">
                    <a:moveTo>
                      <a:pt x="114" y="130"/>
                    </a:moveTo>
                    <a:lnTo>
                      <a:pt x="114" y="121"/>
                    </a:lnTo>
                    <a:lnTo>
                      <a:pt x="118" y="111"/>
                    </a:lnTo>
                    <a:lnTo>
                      <a:pt x="127" y="95"/>
                    </a:lnTo>
                    <a:lnTo>
                      <a:pt x="132" y="76"/>
                    </a:lnTo>
                    <a:lnTo>
                      <a:pt x="135" y="59"/>
                    </a:lnTo>
                    <a:lnTo>
                      <a:pt x="135" y="46"/>
                    </a:lnTo>
                    <a:lnTo>
                      <a:pt x="137" y="39"/>
                    </a:lnTo>
                    <a:lnTo>
                      <a:pt x="134" y="29"/>
                    </a:lnTo>
                    <a:lnTo>
                      <a:pt x="126" y="28"/>
                    </a:lnTo>
                    <a:lnTo>
                      <a:pt x="120" y="16"/>
                    </a:lnTo>
                    <a:lnTo>
                      <a:pt x="99" y="2"/>
                    </a:lnTo>
                    <a:lnTo>
                      <a:pt x="88" y="0"/>
                    </a:lnTo>
                    <a:lnTo>
                      <a:pt x="69" y="6"/>
                    </a:lnTo>
                    <a:lnTo>
                      <a:pt x="34" y="6"/>
                    </a:lnTo>
                    <a:lnTo>
                      <a:pt x="23" y="12"/>
                    </a:lnTo>
                    <a:lnTo>
                      <a:pt x="13" y="32"/>
                    </a:lnTo>
                    <a:lnTo>
                      <a:pt x="2" y="48"/>
                    </a:lnTo>
                    <a:lnTo>
                      <a:pt x="0" y="57"/>
                    </a:lnTo>
                    <a:lnTo>
                      <a:pt x="26" y="71"/>
                    </a:lnTo>
                    <a:lnTo>
                      <a:pt x="32" y="81"/>
                    </a:lnTo>
                    <a:lnTo>
                      <a:pt x="44" y="92"/>
                    </a:lnTo>
                    <a:lnTo>
                      <a:pt x="54" y="109"/>
                    </a:lnTo>
                    <a:lnTo>
                      <a:pt x="60" y="115"/>
                    </a:lnTo>
                    <a:lnTo>
                      <a:pt x="71" y="132"/>
                    </a:lnTo>
                    <a:lnTo>
                      <a:pt x="72" y="141"/>
                    </a:lnTo>
                    <a:lnTo>
                      <a:pt x="93" y="167"/>
                    </a:lnTo>
                    <a:lnTo>
                      <a:pt x="96" y="163"/>
                    </a:lnTo>
                    <a:lnTo>
                      <a:pt x="96" y="158"/>
                    </a:lnTo>
                    <a:lnTo>
                      <a:pt x="100" y="158"/>
                    </a:lnTo>
                    <a:lnTo>
                      <a:pt x="110" y="145"/>
                    </a:lnTo>
                    <a:lnTo>
                      <a:pt x="114" y="136"/>
                    </a:lnTo>
                    <a:lnTo>
                      <a:pt x="114" y="1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0" name="Freeform 291"/>
              <p:cNvSpPr>
                <a:spLocks noChangeAspect="1"/>
              </p:cNvSpPr>
              <p:nvPr/>
            </p:nvSpPr>
            <p:spPr bwMode="gray">
              <a:xfrm>
                <a:off x="1392" y="1262"/>
                <a:ext cx="67" cy="97"/>
              </a:xfrm>
              <a:custGeom>
                <a:avLst/>
                <a:gdLst/>
                <a:ahLst/>
                <a:cxnLst>
                  <a:cxn ang="0">
                    <a:pos x="124" y="351"/>
                  </a:cxn>
                  <a:cxn ang="0">
                    <a:pos x="109" y="334"/>
                  </a:cxn>
                  <a:cxn ang="0">
                    <a:pos x="87" y="317"/>
                  </a:cxn>
                  <a:cxn ang="0">
                    <a:pos x="55" y="322"/>
                  </a:cxn>
                  <a:cxn ang="0">
                    <a:pos x="40" y="291"/>
                  </a:cxn>
                  <a:cxn ang="0">
                    <a:pos x="1" y="245"/>
                  </a:cxn>
                  <a:cxn ang="0">
                    <a:pos x="6" y="189"/>
                  </a:cxn>
                  <a:cxn ang="0">
                    <a:pos x="35" y="189"/>
                  </a:cxn>
                  <a:cxn ang="0">
                    <a:pos x="42" y="202"/>
                  </a:cxn>
                  <a:cxn ang="0">
                    <a:pos x="64" y="217"/>
                  </a:cxn>
                  <a:cxn ang="0">
                    <a:pos x="71" y="244"/>
                  </a:cxn>
                  <a:cxn ang="0">
                    <a:pos x="99" y="236"/>
                  </a:cxn>
                  <a:cxn ang="0">
                    <a:pos x="124" y="223"/>
                  </a:cxn>
                  <a:cxn ang="0">
                    <a:pos x="120" y="196"/>
                  </a:cxn>
                  <a:cxn ang="0">
                    <a:pos x="132" y="190"/>
                  </a:cxn>
                  <a:cxn ang="0">
                    <a:pos x="116" y="171"/>
                  </a:cxn>
                  <a:cxn ang="0">
                    <a:pos x="110" y="144"/>
                  </a:cxn>
                  <a:cxn ang="0">
                    <a:pos x="137" y="151"/>
                  </a:cxn>
                  <a:cxn ang="0">
                    <a:pos x="114" y="119"/>
                  </a:cxn>
                  <a:cxn ang="0">
                    <a:pos x="93" y="134"/>
                  </a:cxn>
                  <a:cxn ang="0">
                    <a:pos x="61" y="105"/>
                  </a:cxn>
                  <a:cxn ang="0">
                    <a:pos x="80" y="78"/>
                  </a:cxn>
                  <a:cxn ang="0">
                    <a:pos x="99" y="98"/>
                  </a:cxn>
                  <a:cxn ang="0">
                    <a:pos x="98" y="71"/>
                  </a:cxn>
                  <a:cxn ang="0">
                    <a:pos x="71" y="59"/>
                  </a:cxn>
                  <a:cxn ang="0">
                    <a:pos x="96" y="21"/>
                  </a:cxn>
                  <a:cxn ang="0">
                    <a:pos x="124" y="39"/>
                  </a:cxn>
                  <a:cxn ang="0">
                    <a:pos x="113" y="19"/>
                  </a:cxn>
                  <a:cxn ang="0">
                    <a:pos x="129" y="0"/>
                  </a:cxn>
                  <a:cxn ang="0">
                    <a:pos x="152" y="22"/>
                  </a:cxn>
                  <a:cxn ang="0">
                    <a:pos x="188" y="34"/>
                  </a:cxn>
                  <a:cxn ang="0">
                    <a:pos x="248" y="8"/>
                  </a:cxn>
                  <a:cxn ang="0">
                    <a:pos x="288" y="26"/>
                  </a:cxn>
                  <a:cxn ang="0">
                    <a:pos x="284" y="66"/>
                  </a:cxn>
                  <a:cxn ang="0">
                    <a:pos x="270" y="76"/>
                  </a:cxn>
                  <a:cxn ang="0">
                    <a:pos x="282" y="112"/>
                  </a:cxn>
                  <a:cxn ang="0">
                    <a:pos x="250" y="130"/>
                  </a:cxn>
                  <a:cxn ang="0">
                    <a:pos x="228" y="164"/>
                  </a:cxn>
                  <a:cxn ang="0">
                    <a:pos x="220" y="195"/>
                  </a:cxn>
                  <a:cxn ang="0">
                    <a:pos x="265" y="173"/>
                  </a:cxn>
                  <a:cxn ang="0">
                    <a:pos x="282" y="204"/>
                  </a:cxn>
                  <a:cxn ang="0">
                    <a:pos x="293" y="222"/>
                  </a:cxn>
                  <a:cxn ang="0">
                    <a:pos x="290" y="248"/>
                  </a:cxn>
                  <a:cxn ang="0">
                    <a:pos x="315" y="222"/>
                  </a:cxn>
                  <a:cxn ang="0">
                    <a:pos x="324" y="247"/>
                  </a:cxn>
                  <a:cxn ang="0">
                    <a:pos x="329" y="288"/>
                  </a:cxn>
                  <a:cxn ang="0">
                    <a:pos x="320" y="313"/>
                  </a:cxn>
                  <a:cxn ang="0">
                    <a:pos x="323" y="344"/>
                  </a:cxn>
                  <a:cxn ang="0">
                    <a:pos x="325" y="360"/>
                  </a:cxn>
                  <a:cxn ang="0">
                    <a:pos x="322" y="389"/>
                  </a:cxn>
                  <a:cxn ang="0">
                    <a:pos x="303" y="410"/>
                  </a:cxn>
                  <a:cxn ang="0">
                    <a:pos x="249" y="426"/>
                  </a:cxn>
                  <a:cxn ang="0">
                    <a:pos x="248" y="444"/>
                  </a:cxn>
                  <a:cxn ang="0">
                    <a:pos x="229" y="475"/>
                  </a:cxn>
                  <a:cxn ang="0">
                    <a:pos x="205" y="464"/>
                  </a:cxn>
                  <a:cxn ang="0">
                    <a:pos x="187" y="473"/>
                  </a:cxn>
                  <a:cxn ang="0">
                    <a:pos x="172" y="424"/>
                  </a:cxn>
                  <a:cxn ang="0">
                    <a:pos x="144" y="384"/>
                  </a:cxn>
                </a:cxnLst>
                <a:rect l="0" t="0" r="r" b="b"/>
                <a:pathLst>
                  <a:path w="331" h="484">
                    <a:moveTo>
                      <a:pt x="137" y="376"/>
                    </a:moveTo>
                    <a:lnTo>
                      <a:pt x="132" y="371"/>
                    </a:lnTo>
                    <a:lnTo>
                      <a:pt x="124" y="351"/>
                    </a:lnTo>
                    <a:lnTo>
                      <a:pt x="123" y="344"/>
                    </a:lnTo>
                    <a:lnTo>
                      <a:pt x="116" y="336"/>
                    </a:lnTo>
                    <a:lnTo>
                      <a:pt x="109" y="334"/>
                    </a:lnTo>
                    <a:lnTo>
                      <a:pt x="99" y="341"/>
                    </a:lnTo>
                    <a:lnTo>
                      <a:pt x="94" y="328"/>
                    </a:lnTo>
                    <a:lnTo>
                      <a:pt x="87" y="317"/>
                    </a:lnTo>
                    <a:lnTo>
                      <a:pt x="81" y="317"/>
                    </a:lnTo>
                    <a:lnTo>
                      <a:pt x="78" y="325"/>
                    </a:lnTo>
                    <a:lnTo>
                      <a:pt x="55" y="322"/>
                    </a:lnTo>
                    <a:lnTo>
                      <a:pt x="51" y="307"/>
                    </a:lnTo>
                    <a:lnTo>
                      <a:pt x="42" y="297"/>
                    </a:lnTo>
                    <a:lnTo>
                      <a:pt x="40" y="291"/>
                    </a:lnTo>
                    <a:lnTo>
                      <a:pt x="22" y="275"/>
                    </a:lnTo>
                    <a:lnTo>
                      <a:pt x="18" y="268"/>
                    </a:lnTo>
                    <a:lnTo>
                      <a:pt x="1" y="245"/>
                    </a:lnTo>
                    <a:lnTo>
                      <a:pt x="0" y="227"/>
                    </a:lnTo>
                    <a:lnTo>
                      <a:pt x="2" y="205"/>
                    </a:lnTo>
                    <a:lnTo>
                      <a:pt x="6" y="189"/>
                    </a:lnTo>
                    <a:lnTo>
                      <a:pt x="15" y="182"/>
                    </a:lnTo>
                    <a:lnTo>
                      <a:pt x="28" y="179"/>
                    </a:lnTo>
                    <a:lnTo>
                      <a:pt x="35" y="189"/>
                    </a:lnTo>
                    <a:lnTo>
                      <a:pt x="43" y="194"/>
                    </a:lnTo>
                    <a:lnTo>
                      <a:pt x="44" y="195"/>
                    </a:lnTo>
                    <a:lnTo>
                      <a:pt x="42" y="202"/>
                    </a:lnTo>
                    <a:lnTo>
                      <a:pt x="48" y="209"/>
                    </a:lnTo>
                    <a:lnTo>
                      <a:pt x="59" y="212"/>
                    </a:lnTo>
                    <a:lnTo>
                      <a:pt x="64" y="217"/>
                    </a:lnTo>
                    <a:lnTo>
                      <a:pt x="65" y="228"/>
                    </a:lnTo>
                    <a:lnTo>
                      <a:pt x="69" y="236"/>
                    </a:lnTo>
                    <a:lnTo>
                      <a:pt x="71" y="244"/>
                    </a:lnTo>
                    <a:lnTo>
                      <a:pt x="89" y="245"/>
                    </a:lnTo>
                    <a:lnTo>
                      <a:pt x="97" y="241"/>
                    </a:lnTo>
                    <a:lnTo>
                      <a:pt x="99" y="236"/>
                    </a:lnTo>
                    <a:lnTo>
                      <a:pt x="105" y="238"/>
                    </a:lnTo>
                    <a:lnTo>
                      <a:pt x="113" y="236"/>
                    </a:lnTo>
                    <a:lnTo>
                      <a:pt x="124" y="223"/>
                    </a:lnTo>
                    <a:lnTo>
                      <a:pt x="119" y="214"/>
                    </a:lnTo>
                    <a:lnTo>
                      <a:pt x="116" y="196"/>
                    </a:lnTo>
                    <a:lnTo>
                      <a:pt x="120" y="196"/>
                    </a:lnTo>
                    <a:lnTo>
                      <a:pt x="128" y="206"/>
                    </a:lnTo>
                    <a:lnTo>
                      <a:pt x="132" y="204"/>
                    </a:lnTo>
                    <a:lnTo>
                      <a:pt x="132" y="190"/>
                    </a:lnTo>
                    <a:lnTo>
                      <a:pt x="129" y="183"/>
                    </a:lnTo>
                    <a:lnTo>
                      <a:pt x="119" y="182"/>
                    </a:lnTo>
                    <a:lnTo>
                      <a:pt x="116" y="171"/>
                    </a:lnTo>
                    <a:lnTo>
                      <a:pt x="112" y="168"/>
                    </a:lnTo>
                    <a:lnTo>
                      <a:pt x="112" y="155"/>
                    </a:lnTo>
                    <a:lnTo>
                      <a:pt x="110" y="144"/>
                    </a:lnTo>
                    <a:lnTo>
                      <a:pt x="112" y="140"/>
                    </a:lnTo>
                    <a:lnTo>
                      <a:pt x="121" y="137"/>
                    </a:lnTo>
                    <a:lnTo>
                      <a:pt x="137" y="151"/>
                    </a:lnTo>
                    <a:lnTo>
                      <a:pt x="140" y="146"/>
                    </a:lnTo>
                    <a:lnTo>
                      <a:pt x="118" y="113"/>
                    </a:lnTo>
                    <a:lnTo>
                      <a:pt x="114" y="119"/>
                    </a:lnTo>
                    <a:lnTo>
                      <a:pt x="113" y="128"/>
                    </a:lnTo>
                    <a:lnTo>
                      <a:pt x="104" y="131"/>
                    </a:lnTo>
                    <a:lnTo>
                      <a:pt x="93" y="134"/>
                    </a:lnTo>
                    <a:lnTo>
                      <a:pt x="77" y="123"/>
                    </a:lnTo>
                    <a:lnTo>
                      <a:pt x="69" y="107"/>
                    </a:lnTo>
                    <a:lnTo>
                      <a:pt x="61" y="105"/>
                    </a:lnTo>
                    <a:lnTo>
                      <a:pt x="59" y="89"/>
                    </a:lnTo>
                    <a:lnTo>
                      <a:pt x="60" y="78"/>
                    </a:lnTo>
                    <a:lnTo>
                      <a:pt x="80" y="78"/>
                    </a:lnTo>
                    <a:lnTo>
                      <a:pt x="87" y="85"/>
                    </a:lnTo>
                    <a:lnTo>
                      <a:pt x="89" y="92"/>
                    </a:lnTo>
                    <a:lnTo>
                      <a:pt x="99" y="98"/>
                    </a:lnTo>
                    <a:lnTo>
                      <a:pt x="102" y="92"/>
                    </a:lnTo>
                    <a:lnTo>
                      <a:pt x="98" y="80"/>
                    </a:lnTo>
                    <a:lnTo>
                      <a:pt x="98" y="71"/>
                    </a:lnTo>
                    <a:lnTo>
                      <a:pt x="85" y="67"/>
                    </a:lnTo>
                    <a:lnTo>
                      <a:pt x="80" y="59"/>
                    </a:lnTo>
                    <a:lnTo>
                      <a:pt x="71" y="59"/>
                    </a:lnTo>
                    <a:lnTo>
                      <a:pt x="66" y="45"/>
                    </a:lnTo>
                    <a:lnTo>
                      <a:pt x="77" y="32"/>
                    </a:lnTo>
                    <a:lnTo>
                      <a:pt x="96" y="21"/>
                    </a:lnTo>
                    <a:lnTo>
                      <a:pt x="101" y="28"/>
                    </a:lnTo>
                    <a:lnTo>
                      <a:pt x="114" y="32"/>
                    </a:lnTo>
                    <a:lnTo>
                      <a:pt x="124" y="39"/>
                    </a:lnTo>
                    <a:lnTo>
                      <a:pt x="126" y="32"/>
                    </a:lnTo>
                    <a:lnTo>
                      <a:pt x="126" y="24"/>
                    </a:lnTo>
                    <a:lnTo>
                      <a:pt x="113" y="19"/>
                    </a:lnTo>
                    <a:lnTo>
                      <a:pt x="109" y="12"/>
                    </a:lnTo>
                    <a:lnTo>
                      <a:pt x="119" y="5"/>
                    </a:lnTo>
                    <a:lnTo>
                      <a:pt x="129" y="0"/>
                    </a:lnTo>
                    <a:lnTo>
                      <a:pt x="135" y="5"/>
                    </a:lnTo>
                    <a:lnTo>
                      <a:pt x="144" y="21"/>
                    </a:lnTo>
                    <a:lnTo>
                      <a:pt x="152" y="22"/>
                    </a:lnTo>
                    <a:lnTo>
                      <a:pt x="164" y="32"/>
                    </a:lnTo>
                    <a:lnTo>
                      <a:pt x="175" y="37"/>
                    </a:lnTo>
                    <a:lnTo>
                      <a:pt x="188" y="34"/>
                    </a:lnTo>
                    <a:lnTo>
                      <a:pt x="193" y="38"/>
                    </a:lnTo>
                    <a:lnTo>
                      <a:pt x="217" y="31"/>
                    </a:lnTo>
                    <a:lnTo>
                      <a:pt x="248" y="8"/>
                    </a:lnTo>
                    <a:lnTo>
                      <a:pt x="274" y="1"/>
                    </a:lnTo>
                    <a:lnTo>
                      <a:pt x="276" y="8"/>
                    </a:lnTo>
                    <a:lnTo>
                      <a:pt x="288" y="26"/>
                    </a:lnTo>
                    <a:lnTo>
                      <a:pt x="295" y="28"/>
                    </a:lnTo>
                    <a:lnTo>
                      <a:pt x="293" y="51"/>
                    </a:lnTo>
                    <a:lnTo>
                      <a:pt x="284" y="66"/>
                    </a:lnTo>
                    <a:lnTo>
                      <a:pt x="270" y="69"/>
                    </a:lnTo>
                    <a:lnTo>
                      <a:pt x="266" y="75"/>
                    </a:lnTo>
                    <a:lnTo>
                      <a:pt x="270" y="76"/>
                    </a:lnTo>
                    <a:lnTo>
                      <a:pt x="281" y="86"/>
                    </a:lnTo>
                    <a:lnTo>
                      <a:pt x="284" y="94"/>
                    </a:lnTo>
                    <a:lnTo>
                      <a:pt x="282" y="112"/>
                    </a:lnTo>
                    <a:lnTo>
                      <a:pt x="279" y="108"/>
                    </a:lnTo>
                    <a:lnTo>
                      <a:pt x="268" y="112"/>
                    </a:lnTo>
                    <a:lnTo>
                      <a:pt x="250" y="130"/>
                    </a:lnTo>
                    <a:lnTo>
                      <a:pt x="241" y="148"/>
                    </a:lnTo>
                    <a:lnTo>
                      <a:pt x="233" y="155"/>
                    </a:lnTo>
                    <a:lnTo>
                      <a:pt x="228" y="164"/>
                    </a:lnTo>
                    <a:lnTo>
                      <a:pt x="221" y="172"/>
                    </a:lnTo>
                    <a:lnTo>
                      <a:pt x="220" y="184"/>
                    </a:lnTo>
                    <a:lnTo>
                      <a:pt x="220" y="195"/>
                    </a:lnTo>
                    <a:lnTo>
                      <a:pt x="242" y="172"/>
                    </a:lnTo>
                    <a:lnTo>
                      <a:pt x="257" y="167"/>
                    </a:lnTo>
                    <a:lnTo>
                      <a:pt x="265" y="173"/>
                    </a:lnTo>
                    <a:lnTo>
                      <a:pt x="280" y="189"/>
                    </a:lnTo>
                    <a:lnTo>
                      <a:pt x="279" y="201"/>
                    </a:lnTo>
                    <a:lnTo>
                      <a:pt x="282" y="204"/>
                    </a:lnTo>
                    <a:lnTo>
                      <a:pt x="285" y="215"/>
                    </a:lnTo>
                    <a:lnTo>
                      <a:pt x="290" y="216"/>
                    </a:lnTo>
                    <a:lnTo>
                      <a:pt x="293" y="222"/>
                    </a:lnTo>
                    <a:lnTo>
                      <a:pt x="295" y="228"/>
                    </a:lnTo>
                    <a:lnTo>
                      <a:pt x="290" y="238"/>
                    </a:lnTo>
                    <a:lnTo>
                      <a:pt x="290" y="248"/>
                    </a:lnTo>
                    <a:lnTo>
                      <a:pt x="303" y="236"/>
                    </a:lnTo>
                    <a:lnTo>
                      <a:pt x="314" y="234"/>
                    </a:lnTo>
                    <a:lnTo>
                      <a:pt x="315" y="222"/>
                    </a:lnTo>
                    <a:lnTo>
                      <a:pt x="322" y="232"/>
                    </a:lnTo>
                    <a:lnTo>
                      <a:pt x="322" y="242"/>
                    </a:lnTo>
                    <a:lnTo>
                      <a:pt x="324" y="247"/>
                    </a:lnTo>
                    <a:lnTo>
                      <a:pt x="331" y="274"/>
                    </a:lnTo>
                    <a:lnTo>
                      <a:pt x="331" y="282"/>
                    </a:lnTo>
                    <a:lnTo>
                      <a:pt x="329" y="288"/>
                    </a:lnTo>
                    <a:lnTo>
                      <a:pt x="319" y="300"/>
                    </a:lnTo>
                    <a:lnTo>
                      <a:pt x="314" y="301"/>
                    </a:lnTo>
                    <a:lnTo>
                      <a:pt x="320" y="313"/>
                    </a:lnTo>
                    <a:lnTo>
                      <a:pt x="323" y="322"/>
                    </a:lnTo>
                    <a:lnTo>
                      <a:pt x="324" y="338"/>
                    </a:lnTo>
                    <a:lnTo>
                      <a:pt x="323" y="344"/>
                    </a:lnTo>
                    <a:lnTo>
                      <a:pt x="315" y="355"/>
                    </a:lnTo>
                    <a:lnTo>
                      <a:pt x="323" y="354"/>
                    </a:lnTo>
                    <a:lnTo>
                      <a:pt x="325" y="360"/>
                    </a:lnTo>
                    <a:lnTo>
                      <a:pt x="327" y="373"/>
                    </a:lnTo>
                    <a:lnTo>
                      <a:pt x="327" y="385"/>
                    </a:lnTo>
                    <a:lnTo>
                      <a:pt x="322" y="389"/>
                    </a:lnTo>
                    <a:lnTo>
                      <a:pt x="318" y="384"/>
                    </a:lnTo>
                    <a:lnTo>
                      <a:pt x="307" y="393"/>
                    </a:lnTo>
                    <a:lnTo>
                      <a:pt x="303" y="410"/>
                    </a:lnTo>
                    <a:lnTo>
                      <a:pt x="280" y="428"/>
                    </a:lnTo>
                    <a:lnTo>
                      <a:pt x="266" y="422"/>
                    </a:lnTo>
                    <a:lnTo>
                      <a:pt x="249" y="426"/>
                    </a:lnTo>
                    <a:lnTo>
                      <a:pt x="238" y="422"/>
                    </a:lnTo>
                    <a:lnTo>
                      <a:pt x="236" y="428"/>
                    </a:lnTo>
                    <a:lnTo>
                      <a:pt x="248" y="444"/>
                    </a:lnTo>
                    <a:lnTo>
                      <a:pt x="248" y="454"/>
                    </a:lnTo>
                    <a:lnTo>
                      <a:pt x="231" y="467"/>
                    </a:lnTo>
                    <a:lnTo>
                      <a:pt x="229" y="475"/>
                    </a:lnTo>
                    <a:lnTo>
                      <a:pt x="221" y="483"/>
                    </a:lnTo>
                    <a:lnTo>
                      <a:pt x="212" y="484"/>
                    </a:lnTo>
                    <a:lnTo>
                      <a:pt x="205" y="464"/>
                    </a:lnTo>
                    <a:lnTo>
                      <a:pt x="199" y="465"/>
                    </a:lnTo>
                    <a:lnTo>
                      <a:pt x="195" y="473"/>
                    </a:lnTo>
                    <a:lnTo>
                      <a:pt x="187" y="473"/>
                    </a:lnTo>
                    <a:lnTo>
                      <a:pt x="182" y="454"/>
                    </a:lnTo>
                    <a:lnTo>
                      <a:pt x="178" y="431"/>
                    </a:lnTo>
                    <a:lnTo>
                      <a:pt x="172" y="424"/>
                    </a:lnTo>
                    <a:lnTo>
                      <a:pt x="167" y="406"/>
                    </a:lnTo>
                    <a:lnTo>
                      <a:pt x="158" y="394"/>
                    </a:lnTo>
                    <a:lnTo>
                      <a:pt x="144" y="384"/>
                    </a:lnTo>
                    <a:lnTo>
                      <a:pt x="137" y="37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1" name="Freeform 292"/>
              <p:cNvSpPr>
                <a:spLocks noChangeAspect="1"/>
              </p:cNvSpPr>
              <p:nvPr/>
            </p:nvSpPr>
            <p:spPr bwMode="gray">
              <a:xfrm>
                <a:off x="1388" y="1141"/>
                <a:ext cx="59" cy="76"/>
              </a:xfrm>
              <a:custGeom>
                <a:avLst/>
                <a:gdLst/>
                <a:ahLst/>
                <a:cxnLst>
                  <a:cxn ang="0">
                    <a:pos x="281" y="171"/>
                  </a:cxn>
                  <a:cxn ang="0">
                    <a:pos x="266" y="206"/>
                  </a:cxn>
                  <a:cxn ang="0">
                    <a:pos x="291" y="237"/>
                  </a:cxn>
                  <a:cxn ang="0">
                    <a:pos x="279" y="244"/>
                  </a:cxn>
                  <a:cxn ang="0">
                    <a:pos x="260" y="249"/>
                  </a:cxn>
                  <a:cxn ang="0">
                    <a:pos x="265" y="259"/>
                  </a:cxn>
                  <a:cxn ang="0">
                    <a:pos x="259" y="280"/>
                  </a:cxn>
                  <a:cxn ang="0">
                    <a:pos x="253" y="286"/>
                  </a:cxn>
                  <a:cxn ang="0">
                    <a:pos x="271" y="338"/>
                  </a:cxn>
                  <a:cxn ang="0">
                    <a:pos x="258" y="334"/>
                  </a:cxn>
                  <a:cxn ang="0">
                    <a:pos x="250" y="345"/>
                  </a:cxn>
                  <a:cxn ang="0">
                    <a:pos x="230" y="372"/>
                  </a:cxn>
                  <a:cxn ang="0">
                    <a:pos x="208" y="370"/>
                  </a:cxn>
                  <a:cxn ang="0">
                    <a:pos x="190" y="371"/>
                  </a:cxn>
                  <a:cxn ang="0">
                    <a:pos x="177" y="364"/>
                  </a:cxn>
                  <a:cxn ang="0">
                    <a:pos x="130" y="373"/>
                  </a:cxn>
                  <a:cxn ang="0">
                    <a:pos x="119" y="327"/>
                  </a:cxn>
                  <a:cxn ang="0">
                    <a:pos x="136" y="303"/>
                  </a:cxn>
                  <a:cxn ang="0">
                    <a:pos x="113" y="280"/>
                  </a:cxn>
                  <a:cxn ang="0">
                    <a:pos x="141" y="270"/>
                  </a:cxn>
                  <a:cxn ang="0">
                    <a:pos x="155" y="256"/>
                  </a:cxn>
                  <a:cxn ang="0">
                    <a:pos x="168" y="237"/>
                  </a:cxn>
                  <a:cxn ang="0">
                    <a:pos x="211" y="214"/>
                  </a:cxn>
                  <a:cxn ang="0">
                    <a:pos x="172" y="214"/>
                  </a:cxn>
                  <a:cxn ang="0">
                    <a:pos x="129" y="225"/>
                  </a:cxn>
                  <a:cxn ang="0">
                    <a:pos x="60" y="242"/>
                  </a:cxn>
                  <a:cxn ang="0">
                    <a:pos x="4" y="256"/>
                  </a:cxn>
                  <a:cxn ang="0">
                    <a:pos x="10" y="222"/>
                  </a:cxn>
                  <a:cxn ang="0">
                    <a:pos x="31" y="215"/>
                  </a:cxn>
                  <a:cxn ang="0">
                    <a:pos x="42" y="183"/>
                  </a:cxn>
                  <a:cxn ang="0">
                    <a:pos x="83" y="205"/>
                  </a:cxn>
                  <a:cxn ang="0">
                    <a:pos x="69" y="166"/>
                  </a:cxn>
                  <a:cxn ang="0">
                    <a:pos x="51" y="149"/>
                  </a:cxn>
                  <a:cxn ang="0">
                    <a:pos x="33" y="109"/>
                  </a:cxn>
                  <a:cxn ang="0">
                    <a:pos x="43" y="65"/>
                  </a:cxn>
                  <a:cxn ang="0">
                    <a:pos x="77" y="57"/>
                  </a:cxn>
                  <a:cxn ang="0">
                    <a:pos x="96" y="82"/>
                  </a:cxn>
                  <a:cxn ang="0">
                    <a:pos x="114" y="133"/>
                  </a:cxn>
                  <a:cxn ang="0">
                    <a:pos x="134" y="147"/>
                  </a:cxn>
                  <a:cxn ang="0">
                    <a:pos x="171" y="156"/>
                  </a:cxn>
                  <a:cxn ang="0">
                    <a:pos x="158" y="113"/>
                  </a:cxn>
                  <a:cxn ang="0">
                    <a:pos x="125" y="93"/>
                  </a:cxn>
                  <a:cxn ang="0">
                    <a:pos x="141" y="82"/>
                  </a:cxn>
                  <a:cxn ang="0">
                    <a:pos x="96" y="45"/>
                  </a:cxn>
                  <a:cxn ang="0">
                    <a:pos x="129" y="7"/>
                  </a:cxn>
                  <a:cxn ang="0">
                    <a:pos x="183" y="28"/>
                  </a:cxn>
                  <a:cxn ang="0">
                    <a:pos x="205" y="45"/>
                  </a:cxn>
                  <a:cxn ang="0">
                    <a:pos x="216" y="15"/>
                  </a:cxn>
                  <a:cxn ang="0">
                    <a:pos x="237" y="0"/>
                  </a:cxn>
                  <a:cxn ang="0">
                    <a:pos x="246" y="26"/>
                  </a:cxn>
                  <a:cxn ang="0">
                    <a:pos x="274" y="72"/>
                  </a:cxn>
                  <a:cxn ang="0">
                    <a:pos x="280" y="134"/>
                  </a:cxn>
                </a:cxnLst>
                <a:rect l="0" t="0" r="r" b="b"/>
                <a:pathLst>
                  <a:path w="292" h="380">
                    <a:moveTo>
                      <a:pt x="281" y="160"/>
                    </a:moveTo>
                    <a:lnTo>
                      <a:pt x="282" y="162"/>
                    </a:lnTo>
                    <a:lnTo>
                      <a:pt x="281" y="165"/>
                    </a:lnTo>
                    <a:lnTo>
                      <a:pt x="281" y="171"/>
                    </a:lnTo>
                    <a:lnTo>
                      <a:pt x="282" y="177"/>
                    </a:lnTo>
                    <a:lnTo>
                      <a:pt x="281" y="187"/>
                    </a:lnTo>
                    <a:lnTo>
                      <a:pt x="268" y="198"/>
                    </a:lnTo>
                    <a:lnTo>
                      <a:pt x="266" y="206"/>
                    </a:lnTo>
                    <a:lnTo>
                      <a:pt x="285" y="213"/>
                    </a:lnTo>
                    <a:lnTo>
                      <a:pt x="291" y="210"/>
                    </a:lnTo>
                    <a:lnTo>
                      <a:pt x="292" y="224"/>
                    </a:lnTo>
                    <a:lnTo>
                      <a:pt x="291" y="237"/>
                    </a:lnTo>
                    <a:lnTo>
                      <a:pt x="290" y="267"/>
                    </a:lnTo>
                    <a:lnTo>
                      <a:pt x="292" y="285"/>
                    </a:lnTo>
                    <a:lnTo>
                      <a:pt x="284" y="254"/>
                    </a:lnTo>
                    <a:lnTo>
                      <a:pt x="279" y="244"/>
                    </a:lnTo>
                    <a:lnTo>
                      <a:pt x="274" y="240"/>
                    </a:lnTo>
                    <a:lnTo>
                      <a:pt x="270" y="244"/>
                    </a:lnTo>
                    <a:lnTo>
                      <a:pt x="263" y="242"/>
                    </a:lnTo>
                    <a:lnTo>
                      <a:pt x="260" y="249"/>
                    </a:lnTo>
                    <a:lnTo>
                      <a:pt x="268" y="254"/>
                    </a:lnTo>
                    <a:lnTo>
                      <a:pt x="269" y="263"/>
                    </a:lnTo>
                    <a:lnTo>
                      <a:pt x="268" y="267"/>
                    </a:lnTo>
                    <a:lnTo>
                      <a:pt x="265" y="259"/>
                    </a:lnTo>
                    <a:lnTo>
                      <a:pt x="258" y="264"/>
                    </a:lnTo>
                    <a:lnTo>
                      <a:pt x="255" y="270"/>
                    </a:lnTo>
                    <a:lnTo>
                      <a:pt x="263" y="279"/>
                    </a:lnTo>
                    <a:lnTo>
                      <a:pt x="259" y="280"/>
                    </a:lnTo>
                    <a:lnTo>
                      <a:pt x="258" y="285"/>
                    </a:lnTo>
                    <a:lnTo>
                      <a:pt x="260" y="291"/>
                    </a:lnTo>
                    <a:lnTo>
                      <a:pt x="258" y="292"/>
                    </a:lnTo>
                    <a:lnTo>
                      <a:pt x="253" y="286"/>
                    </a:lnTo>
                    <a:lnTo>
                      <a:pt x="248" y="302"/>
                    </a:lnTo>
                    <a:lnTo>
                      <a:pt x="249" y="308"/>
                    </a:lnTo>
                    <a:lnTo>
                      <a:pt x="254" y="306"/>
                    </a:lnTo>
                    <a:lnTo>
                      <a:pt x="271" y="338"/>
                    </a:lnTo>
                    <a:lnTo>
                      <a:pt x="274" y="345"/>
                    </a:lnTo>
                    <a:lnTo>
                      <a:pt x="269" y="349"/>
                    </a:lnTo>
                    <a:lnTo>
                      <a:pt x="263" y="345"/>
                    </a:lnTo>
                    <a:lnTo>
                      <a:pt x="258" y="334"/>
                    </a:lnTo>
                    <a:lnTo>
                      <a:pt x="254" y="330"/>
                    </a:lnTo>
                    <a:lnTo>
                      <a:pt x="248" y="332"/>
                    </a:lnTo>
                    <a:lnTo>
                      <a:pt x="248" y="339"/>
                    </a:lnTo>
                    <a:lnTo>
                      <a:pt x="250" y="345"/>
                    </a:lnTo>
                    <a:lnTo>
                      <a:pt x="250" y="350"/>
                    </a:lnTo>
                    <a:lnTo>
                      <a:pt x="255" y="359"/>
                    </a:lnTo>
                    <a:lnTo>
                      <a:pt x="255" y="369"/>
                    </a:lnTo>
                    <a:lnTo>
                      <a:pt x="230" y="372"/>
                    </a:lnTo>
                    <a:lnTo>
                      <a:pt x="228" y="365"/>
                    </a:lnTo>
                    <a:lnTo>
                      <a:pt x="219" y="375"/>
                    </a:lnTo>
                    <a:lnTo>
                      <a:pt x="211" y="375"/>
                    </a:lnTo>
                    <a:lnTo>
                      <a:pt x="208" y="370"/>
                    </a:lnTo>
                    <a:lnTo>
                      <a:pt x="209" y="360"/>
                    </a:lnTo>
                    <a:lnTo>
                      <a:pt x="203" y="364"/>
                    </a:lnTo>
                    <a:lnTo>
                      <a:pt x="201" y="373"/>
                    </a:lnTo>
                    <a:lnTo>
                      <a:pt x="190" y="371"/>
                    </a:lnTo>
                    <a:lnTo>
                      <a:pt x="190" y="360"/>
                    </a:lnTo>
                    <a:lnTo>
                      <a:pt x="188" y="369"/>
                    </a:lnTo>
                    <a:lnTo>
                      <a:pt x="180" y="372"/>
                    </a:lnTo>
                    <a:lnTo>
                      <a:pt x="177" y="364"/>
                    </a:lnTo>
                    <a:lnTo>
                      <a:pt x="179" y="354"/>
                    </a:lnTo>
                    <a:lnTo>
                      <a:pt x="167" y="380"/>
                    </a:lnTo>
                    <a:lnTo>
                      <a:pt x="144" y="380"/>
                    </a:lnTo>
                    <a:lnTo>
                      <a:pt x="130" y="373"/>
                    </a:lnTo>
                    <a:lnTo>
                      <a:pt x="123" y="365"/>
                    </a:lnTo>
                    <a:lnTo>
                      <a:pt x="122" y="339"/>
                    </a:lnTo>
                    <a:lnTo>
                      <a:pt x="118" y="332"/>
                    </a:lnTo>
                    <a:lnTo>
                      <a:pt x="119" y="327"/>
                    </a:lnTo>
                    <a:lnTo>
                      <a:pt x="142" y="327"/>
                    </a:lnTo>
                    <a:lnTo>
                      <a:pt x="147" y="322"/>
                    </a:lnTo>
                    <a:lnTo>
                      <a:pt x="131" y="319"/>
                    </a:lnTo>
                    <a:lnTo>
                      <a:pt x="136" y="303"/>
                    </a:lnTo>
                    <a:lnTo>
                      <a:pt x="119" y="310"/>
                    </a:lnTo>
                    <a:lnTo>
                      <a:pt x="115" y="300"/>
                    </a:lnTo>
                    <a:lnTo>
                      <a:pt x="128" y="291"/>
                    </a:lnTo>
                    <a:lnTo>
                      <a:pt x="113" y="280"/>
                    </a:lnTo>
                    <a:lnTo>
                      <a:pt x="131" y="276"/>
                    </a:lnTo>
                    <a:lnTo>
                      <a:pt x="141" y="279"/>
                    </a:lnTo>
                    <a:lnTo>
                      <a:pt x="145" y="273"/>
                    </a:lnTo>
                    <a:lnTo>
                      <a:pt x="141" y="270"/>
                    </a:lnTo>
                    <a:lnTo>
                      <a:pt x="162" y="268"/>
                    </a:lnTo>
                    <a:lnTo>
                      <a:pt x="163" y="262"/>
                    </a:lnTo>
                    <a:lnTo>
                      <a:pt x="141" y="265"/>
                    </a:lnTo>
                    <a:lnTo>
                      <a:pt x="155" y="256"/>
                    </a:lnTo>
                    <a:lnTo>
                      <a:pt x="152" y="252"/>
                    </a:lnTo>
                    <a:lnTo>
                      <a:pt x="156" y="247"/>
                    </a:lnTo>
                    <a:lnTo>
                      <a:pt x="169" y="242"/>
                    </a:lnTo>
                    <a:lnTo>
                      <a:pt x="168" y="237"/>
                    </a:lnTo>
                    <a:lnTo>
                      <a:pt x="163" y="232"/>
                    </a:lnTo>
                    <a:lnTo>
                      <a:pt x="166" y="225"/>
                    </a:lnTo>
                    <a:lnTo>
                      <a:pt x="204" y="219"/>
                    </a:lnTo>
                    <a:lnTo>
                      <a:pt x="211" y="214"/>
                    </a:lnTo>
                    <a:lnTo>
                      <a:pt x="210" y="209"/>
                    </a:lnTo>
                    <a:lnTo>
                      <a:pt x="203" y="214"/>
                    </a:lnTo>
                    <a:lnTo>
                      <a:pt x="174" y="216"/>
                    </a:lnTo>
                    <a:lnTo>
                      <a:pt x="172" y="214"/>
                    </a:lnTo>
                    <a:lnTo>
                      <a:pt x="163" y="220"/>
                    </a:lnTo>
                    <a:lnTo>
                      <a:pt x="153" y="219"/>
                    </a:lnTo>
                    <a:lnTo>
                      <a:pt x="135" y="227"/>
                    </a:lnTo>
                    <a:lnTo>
                      <a:pt x="129" y="225"/>
                    </a:lnTo>
                    <a:lnTo>
                      <a:pt x="92" y="241"/>
                    </a:lnTo>
                    <a:lnTo>
                      <a:pt x="72" y="240"/>
                    </a:lnTo>
                    <a:lnTo>
                      <a:pt x="67" y="248"/>
                    </a:lnTo>
                    <a:lnTo>
                      <a:pt x="60" y="242"/>
                    </a:lnTo>
                    <a:lnTo>
                      <a:pt x="50" y="252"/>
                    </a:lnTo>
                    <a:lnTo>
                      <a:pt x="26" y="254"/>
                    </a:lnTo>
                    <a:lnTo>
                      <a:pt x="17" y="263"/>
                    </a:lnTo>
                    <a:lnTo>
                      <a:pt x="4" y="256"/>
                    </a:lnTo>
                    <a:lnTo>
                      <a:pt x="0" y="242"/>
                    </a:lnTo>
                    <a:lnTo>
                      <a:pt x="8" y="240"/>
                    </a:lnTo>
                    <a:lnTo>
                      <a:pt x="7" y="232"/>
                    </a:lnTo>
                    <a:lnTo>
                      <a:pt x="10" y="222"/>
                    </a:lnTo>
                    <a:lnTo>
                      <a:pt x="18" y="220"/>
                    </a:lnTo>
                    <a:lnTo>
                      <a:pt x="39" y="227"/>
                    </a:lnTo>
                    <a:lnTo>
                      <a:pt x="37" y="219"/>
                    </a:lnTo>
                    <a:lnTo>
                      <a:pt x="31" y="215"/>
                    </a:lnTo>
                    <a:lnTo>
                      <a:pt x="33" y="206"/>
                    </a:lnTo>
                    <a:lnTo>
                      <a:pt x="27" y="206"/>
                    </a:lnTo>
                    <a:lnTo>
                      <a:pt x="28" y="193"/>
                    </a:lnTo>
                    <a:lnTo>
                      <a:pt x="42" y="183"/>
                    </a:lnTo>
                    <a:lnTo>
                      <a:pt x="49" y="183"/>
                    </a:lnTo>
                    <a:lnTo>
                      <a:pt x="67" y="198"/>
                    </a:lnTo>
                    <a:lnTo>
                      <a:pt x="71" y="209"/>
                    </a:lnTo>
                    <a:lnTo>
                      <a:pt x="83" y="205"/>
                    </a:lnTo>
                    <a:lnTo>
                      <a:pt x="82" y="195"/>
                    </a:lnTo>
                    <a:lnTo>
                      <a:pt x="81" y="187"/>
                    </a:lnTo>
                    <a:lnTo>
                      <a:pt x="65" y="176"/>
                    </a:lnTo>
                    <a:lnTo>
                      <a:pt x="69" y="166"/>
                    </a:lnTo>
                    <a:lnTo>
                      <a:pt x="77" y="156"/>
                    </a:lnTo>
                    <a:lnTo>
                      <a:pt x="77" y="150"/>
                    </a:lnTo>
                    <a:lnTo>
                      <a:pt x="53" y="161"/>
                    </a:lnTo>
                    <a:lnTo>
                      <a:pt x="51" y="149"/>
                    </a:lnTo>
                    <a:lnTo>
                      <a:pt x="44" y="136"/>
                    </a:lnTo>
                    <a:lnTo>
                      <a:pt x="44" y="122"/>
                    </a:lnTo>
                    <a:lnTo>
                      <a:pt x="48" y="109"/>
                    </a:lnTo>
                    <a:lnTo>
                      <a:pt x="33" y="109"/>
                    </a:lnTo>
                    <a:lnTo>
                      <a:pt x="34" y="95"/>
                    </a:lnTo>
                    <a:lnTo>
                      <a:pt x="33" y="85"/>
                    </a:lnTo>
                    <a:lnTo>
                      <a:pt x="44" y="66"/>
                    </a:lnTo>
                    <a:lnTo>
                      <a:pt x="43" y="65"/>
                    </a:lnTo>
                    <a:lnTo>
                      <a:pt x="47" y="55"/>
                    </a:lnTo>
                    <a:lnTo>
                      <a:pt x="53" y="50"/>
                    </a:lnTo>
                    <a:lnTo>
                      <a:pt x="74" y="58"/>
                    </a:lnTo>
                    <a:lnTo>
                      <a:pt x="77" y="57"/>
                    </a:lnTo>
                    <a:lnTo>
                      <a:pt x="81" y="63"/>
                    </a:lnTo>
                    <a:lnTo>
                      <a:pt x="81" y="74"/>
                    </a:lnTo>
                    <a:lnTo>
                      <a:pt x="85" y="72"/>
                    </a:lnTo>
                    <a:lnTo>
                      <a:pt x="96" y="82"/>
                    </a:lnTo>
                    <a:lnTo>
                      <a:pt x="90" y="93"/>
                    </a:lnTo>
                    <a:lnTo>
                      <a:pt x="110" y="123"/>
                    </a:lnTo>
                    <a:lnTo>
                      <a:pt x="110" y="127"/>
                    </a:lnTo>
                    <a:lnTo>
                      <a:pt x="114" y="133"/>
                    </a:lnTo>
                    <a:lnTo>
                      <a:pt x="122" y="129"/>
                    </a:lnTo>
                    <a:lnTo>
                      <a:pt x="128" y="131"/>
                    </a:lnTo>
                    <a:lnTo>
                      <a:pt x="122" y="140"/>
                    </a:lnTo>
                    <a:lnTo>
                      <a:pt x="134" y="147"/>
                    </a:lnTo>
                    <a:lnTo>
                      <a:pt x="150" y="165"/>
                    </a:lnTo>
                    <a:lnTo>
                      <a:pt x="161" y="167"/>
                    </a:lnTo>
                    <a:lnTo>
                      <a:pt x="169" y="160"/>
                    </a:lnTo>
                    <a:lnTo>
                      <a:pt x="171" y="156"/>
                    </a:lnTo>
                    <a:lnTo>
                      <a:pt x="161" y="158"/>
                    </a:lnTo>
                    <a:lnTo>
                      <a:pt x="152" y="144"/>
                    </a:lnTo>
                    <a:lnTo>
                      <a:pt x="142" y="117"/>
                    </a:lnTo>
                    <a:lnTo>
                      <a:pt x="158" y="113"/>
                    </a:lnTo>
                    <a:lnTo>
                      <a:pt x="153" y="104"/>
                    </a:lnTo>
                    <a:lnTo>
                      <a:pt x="130" y="108"/>
                    </a:lnTo>
                    <a:lnTo>
                      <a:pt x="122" y="100"/>
                    </a:lnTo>
                    <a:lnTo>
                      <a:pt x="125" y="93"/>
                    </a:lnTo>
                    <a:lnTo>
                      <a:pt x="137" y="93"/>
                    </a:lnTo>
                    <a:lnTo>
                      <a:pt x="140" y="86"/>
                    </a:lnTo>
                    <a:lnTo>
                      <a:pt x="147" y="86"/>
                    </a:lnTo>
                    <a:lnTo>
                      <a:pt x="141" y="82"/>
                    </a:lnTo>
                    <a:lnTo>
                      <a:pt x="133" y="71"/>
                    </a:lnTo>
                    <a:lnTo>
                      <a:pt x="115" y="71"/>
                    </a:lnTo>
                    <a:lnTo>
                      <a:pt x="107" y="64"/>
                    </a:lnTo>
                    <a:lnTo>
                      <a:pt x="96" y="45"/>
                    </a:lnTo>
                    <a:lnTo>
                      <a:pt x="97" y="38"/>
                    </a:lnTo>
                    <a:lnTo>
                      <a:pt x="108" y="37"/>
                    </a:lnTo>
                    <a:lnTo>
                      <a:pt x="112" y="21"/>
                    </a:lnTo>
                    <a:lnTo>
                      <a:pt x="129" y="7"/>
                    </a:lnTo>
                    <a:lnTo>
                      <a:pt x="153" y="11"/>
                    </a:lnTo>
                    <a:lnTo>
                      <a:pt x="168" y="6"/>
                    </a:lnTo>
                    <a:lnTo>
                      <a:pt x="172" y="16"/>
                    </a:lnTo>
                    <a:lnTo>
                      <a:pt x="183" y="28"/>
                    </a:lnTo>
                    <a:lnTo>
                      <a:pt x="204" y="36"/>
                    </a:lnTo>
                    <a:lnTo>
                      <a:pt x="201" y="45"/>
                    </a:lnTo>
                    <a:lnTo>
                      <a:pt x="203" y="52"/>
                    </a:lnTo>
                    <a:lnTo>
                      <a:pt x="205" y="45"/>
                    </a:lnTo>
                    <a:lnTo>
                      <a:pt x="216" y="49"/>
                    </a:lnTo>
                    <a:lnTo>
                      <a:pt x="220" y="39"/>
                    </a:lnTo>
                    <a:lnTo>
                      <a:pt x="212" y="21"/>
                    </a:lnTo>
                    <a:lnTo>
                      <a:pt x="216" y="15"/>
                    </a:lnTo>
                    <a:lnTo>
                      <a:pt x="231" y="18"/>
                    </a:lnTo>
                    <a:lnTo>
                      <a:pt x="235" y="6"/>
                    </a:lnTo>
                    <a:lnTo>
                      <a:pt x="219" y="0"/>
                    </a:lnTo>
                    <a:lnTo>
                      <a:pt x="237" y="0"/>
                    </a:lnTo>
                    <a:lnTo>
                      <a:pt x="243" y="11"/>
                    </a:lnTo>
                    <a:lnTo>
                      <a:pt x="255" y="22"/>
                    </a:lnTo>
                    <a:lnTo>
                      <a:pt x="242" y="20"/>
                    </a:lnTo>
                    <a:lnTo>
                      <a:pt x="246" y="26"/>
                    </a:lnTo>
                    <a:lnTo>
                      <a:pt x="265" y="33"/>
                    </a:lnTo>
                    <a:lnTo>
                      <a:pt x="276" y="48"/>
                    </a:lnTo>
                    <a:lnTo>
                      <a:pt x="278" y="60"/>
                    </a:lnTo>
                    <a:lnTo>
                      <a:pt x="274" y="72"/>
                    </a:lnTo>
                    <a:lnTo>
                      <a:pt x="274" y="90"/>
                    </a:lnTo>
                    <a:lnTo>
                      <a:pt x="282" y="107"/>
                    </a:lnTo>
                    <a:lnTo>
                      <a:pt x="284" y="123"/>
                    </a:lnTo>
                    <a:lnTo>
                      <a:pt x="280" y="134"/>
                    </a:lnTo>
                    <a:lnTo>
                      <a:pt x="281" y="140"/>
                    </a:lnTo>
                    <a:lnTo>
                      <a:pt x="280" y="149"/>
                    </a:lnTo>
                    <a:lnTo>
                      <a:pt x="281" y="1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2" name="Freeform 293"/>
              <p:cNvSpPr>
                <a:spLocks noChangeAspect="1"/>
              </p:cNvSpPr>
              <p:nvPr/>
            </p:nvSpPr>
            <p:spPr bwMode="gray">
              <a:xfrm>
                <a:off x="1225" y="1133"/>
                <a:ext cx="134" cy="107"/>
              </a:xfrm>
              <a:custGeom>
                <a:avLst/>
                <a:gdLst/>
                <a:ahLst/>
                <a:cxnLst>
                  <a:cxn ang="0">
                    <a:pos x="439" y="71"/>
                  </a:cxn>
                  <a:cxn ang="0">
                    <a:pos x="489" y="0"/>
                  </a:cxn>
                  <a:cxn ang="0">
                    <a:pos x="501" y="69"/>
                  </a:cxn>
                  <a:cxn ang="0">
                    <a:pos x="525" y="120"/>
                  </a:cxn>
                  <a:cxn ang="0">
                    <a:pos x="510" y="172"/>
                  </a:cxn>
                  <a:cxn ang="0">
                    <a:pos x="548" y="213"/>
                  </a:cxn>
                  <a:cxn ang="0">
                    <a:pos x="551" y="218"/>
                  </a:cxn>
                  <a:cxn ang="0">
                    <a:pos x="605" y="240"/>
                  </a:cxn>
                  <a:cxn ang="0">
                    <a:pos x="637" y="191"/>
                  </a:cxn>
                  <a:cxn ang="0">
                    <a:pos x="672" y="281"/>
                  </a:cxn>
                  <a:cxn ang="0">
                    <a:pos x="643" y="385"/>
                  </a:cxn>
                  <a:cxn ang="0">
                    <a:pos x="575" y="430"/>
                  </a:cxn>
                  <a:cxn ang="0">
                    <a:pos x="526" y="423"/>
                  </a:cxn>
                  <a:cxn ang="0">
                    <a:pos x="492" y="389"/>
                  </a:cxn>
                  <a:cxn ang="0">
                    <a:pos x="450" y="435"/>
                  </a:cxn>
                  <a:cxn ang="0">
                    <a:pos x="383" y="475"/>
                  </a:cxn>
                  <a:cxn ang="0">
                    <a:pos x="347" y="502"/>
                  </a:cxn>
                  <a:cxn ang="0">
                    <a:pos x="231" y="530"/>
                  </a:cxn>
                  <a:cxn ang="0">
                    <a:pos x="181" y="466"/>
                  </a:cxn>
                  <a:cxn ang="0">
                    <a:pos x="229" y="448"/>
                  </a:cxn>
                  <a:cxn ang="0">
                    <a:pos x="304" y="408"/>
                  </a:cxn>
                  <a:cxn ang="0">
                    <a:pos x="344" y="396"/>
                  </a:cxn>
                  <a:cxn ang="0">
                    <a:pos x="355" y="352"/>
                  </a:cxn>
                  <a:cxn ang="0">
                    <a:pos x="293" y="361"/>
                  </a:cxn>
                  <a:cxn ang="0">
                    <a:pos x="263" y="389"/>
                  </a:cxn>
                  <a:cxn ang="0">
                    <a:pos x="207" y="408"/>
                  </a:cxn>
                  <a:cxn ang="0">
                    <a:pos x="209" y="357"/>
                  </a:cxn>
                  <a:cxn ang="0">
                    <a:pos x="218" y="329"/>
                  </a:cxn>
                  <a:cxn ang="0">
                    <a:pos x="171" y="346"/>
                  </a:cxn>
                  <a:cxn ang="0">
                    <a:pos x="155" y="416"/>
                  </a:cxn>
                  <a:cxn ang="0">
                    <a:pos x="113" y="388"/>
                  </a:cxn>
                  <a:cxn ang="0">
                    <a:pos x="85" y="389"/>
                  </a:cxn>
                  <a:cxn ang="0">
                    <a:pos x="25" y="379"/>
                  </a:cxn>
                  <a:cxn ang="0">
                    <a:pos x="24" y="309"/>
                  </a:cxn>
                  <a:cxn ang="0">
                    <a:pos x="130" y="276"/>
                  </a:cxn>
                  <a:cxn ang="0">
                    <a:pos x="60" y="297"/>
                  </a:cxn>
                  <a:cxn ang="0">
                    <a:pos x="103" y="231"/>
                  </a:cxn>
                  <a:cxn ang="0">
                    <a:pos x="47" y="225"/>
                  </a:cxn>
                  <a:cxn ang="0">
                    <a:pos x="51" y="179"/>
                  </a:cxn>
                  <a:cxn ang="0">
                    <a:pos x="156" y="159"/>
                  </a:cxn>
                  <a:cxn ang="0">
                    <a:pos x="92" y="129"/>
                  </a:cxn>
                  <a:cxn ang="0">
                    <a:pos x="166" y="78"/>
                  </a:cxn>
                  <a:cxn ang="0">
                    <a:pos x="192" y="147"/>
                  </a:cxn>
                  <a:cxn ang="0">
                    <a:pos x="280" y="152"/>
                  </a:cxn>
                  <a:cxn ang="0">
                    <a:pos x="301" y="223"/>
                  </a:cxn>
                  <a:cxn ang="0">
                    <a:pos x="339" y="239"/>
                  </a:cxn>
                  <a:cxn ang="0">
                    <a:pos x="343" y="287"/>
                  </a:cxn>
                  <a:cxn ang="0">
                    <a:pos x="377" y="293"/>
                  </a:cxn>
                  <a:cxn ang="0">
                    <a:pos x="478" y="301"/>
                  </a:cxn>
                  <a:cxn ang="0">
                    <a:pos x="450" y="236"/>
                  </a:cxn>
                  <a:cxn ang="0">
                    <a:pos x="449" y="204"/>
                  </a:cxn>
                  <a:cxn ang="0">
                    <a:pos x="440" y="148"/>
                  </a:cxn>
                  <a:cxn ang="0">
                    <a:pos x="401" y="100"/>
                  </a:cxn>
                </a:cxnLst>
                <a:rect l="0" t="0" r="r" b="b"/>
                <a:pathLst>
                  <a:path w="672" h="534">
                    <a:moveTo>
                      <a:pt x="420" y="83"/>
                    </a:moveTo>
                    <a:lnTo>
                      <a:pt x="420" y="80"/>
                    </a:lnTo>
                    <a:lnTo>
                      <a:pt x="420" y="82"/>
                    </a:lnTo>
                    <a:lnTo>
                      <a:pt x="433" y="81"/>
                    </a:lnTo>
                    <a:lnTo>
                      <a:pt x="439" y="71"/>
                    </a:lnTo>
                    <a:lnTo>
                      <a:pt x="439" y="59"/>
                    </a:lnTo>
                    <a:lnTo>
                      <a:pt x="458" y="8"/>
                    </a:lnTo>
                    <a:lnTo>
                      <a:pt x="466" y="3"/>
                    </a:lnTo>
                    <a:lnTo>
                      <a:pt x="478" y="6"/>
                    </a:lnTo>
                    <a:lnTo>
                      <a:pt x="489" y="0"/>
                    </a:lnTo>
                    <a:lnTo>
                      <a:pt x="503" y="26"/>
                    </a:lnTo>
                    <a:lnTo>
                      <a:pt x="503" y="37"/>
                    </a:lnTo>
                    <a:lnTo>
                      <a:pt x="493" y="49"/>
                    </a:lnTo>
                    <a:lnTo>
                      <a:pt x="495" y="61"/>
                    </a:lnTo>
                    <a:lnTo>
                      <a:pt x="501" y="69"/>
                    </a:lnTo>
                    <a:lnTo>
                      <a:pt x="500" y="76"/>
                    </a:lnTo>
                    <a:lnTo>
                      <a:pt x="501" y="94"/>
                    </a:lnTo>
                    <a:lnTo>
                      <a:pt x="504" y="99"/>
                    </a:lnTo>
                    <a:lnTo>
                      <a:pt x="511" y="102"/>
                    </a:lnTo>
                    <a:lnTo>
                      <a:pt x="525" y="120"/>
                    </a:lnTo>
                    <a:lnTo>
                      <a:pt x="526" y="129"/>
                    </a:lnTo>
                    <a:lnTo>
                      <a:pt x="525" y="139"/>
                    </a:lnTo>
                    <a:lnTo>
                      <a:pt x="527" y="143"/>
                    </a:lnTo>
                    <a:lnTo>
                      <a:pt x="519" y="152"/>
                    </a:lnTo>
                    <a:lnTo>
                      <a:pt x="510" y="172"/>
                    </a:lnTo>
                    <a:lnTo>
                      <a:pt x="500" y="178"/>
                    </a:lnTo>
                    <a:lnTo>
                      <a:pt x="512" y="183"/>
                    </a:lnTo>
                    <a:lnTo>
                      <a:pt x="536" y="178"/>
                    </a:lnTo>
                    <a:lnTo>
                      <a:pt x="554" y="196"/>
                    </a:lnTo>
                    <a:lnTo>
                      <a:pt x="548" y="213"/>
                    </a:lnTo>
                    <a:lnTo>
                      <a:pt x="541" y="215"/>
                    </a:lnTo>
                    <a:lnTo>
                      <a:pt x="531" y="234"/>
                    </a:lnTo>
                    <a:lnTo>
                      <a:pt x="533" y="243"/>
                    </a:lnTo>
                    <a:lnTo>
                      <a:pt x="543" y="222"/>
                    </a:lnTo>
                    <a:lnTo>
                      <a:pt x="551" y="218"/>
                    </a:lnTo>
                    <a:lnTo>
                      <a:pt x="560" y="215"/>
                    </a:lnTo>
                    <a:lnTo>
                      <a:pt x="579" y="218"/>
                    </a:lnTo>
                    <a:lnTo>
                      <a:pt x="594" y="266"/>
                    </a:lnTo>
                    <a:lnTo>
                      <a:pt x="600" y="242"/>
                    </a:lnTo>
                    <a:lnTo>
                      <a:pt x="605" y="240"/>
                    </a:lnTo>
                    <a:lnTo>
                      <a:pt x="600" y="236"/>
                    </a:lnTo>
                    <a:lnTo>
                      <a:pt x="595" y="207"/>
                    </a:lnTo>
                    <a:lnTo>
                      <a:pt x="601" y="196"/>
                    </a:lnTo>
                    <a:lnTo>
                      <a:pt x="606" y="184"/>
                    </a:lnTo>
                    <a:lnTo>
                      <a:pt x="637" y="191"/>
                    </a:lnTo>
                    <a:lnTo>
                      <a:pt x="659" y="215"/>
                    </a:lnTo>
                    <a:lnTo>
                      <a:pt x="671" y="245"/>
                    </a:lnTo>
                    <a:lnTo>
                      <a:pt x="670" y="258"/>
                    </a:lnTo>
                    <a:lnTo>
                      <a:pt x="672" y="265"/>
                    </a:lnTo>
                    <a:lnTo>
                      <a:pt x="672" y="281"/>
                    </a:lnTo>
                    <a:lnTo>
                      <a:pt x="670" y="296"/>
                    </a:lnTo>
                    <a:lnTo>
                      <a:pt x="660" y="304"/>
                    </a:lnTo>
                    <a:lnTo>
                      <a:pt x="654" y="347"/>
                    </a:lnTo>
                    <a:lnTo>
                      <a:pt x="649" y="357"/>
                    </a:lnTo>
                    <a:lnTo>
                      <a:pt x="643" y="385"/>
                    </a:lnTo>
                    <a:lnTo>
                      <a:pt x="635" y="404"/>
                    </a:lnTo>
                    <a:lnTo>
                      <a:pt x="618" y="405"/>
                    </a:lnTo>
                    <a:lnTo>
                      <a:pt x="611" y="410"/>
                    </a:lnTo>
                    <a:lnTo>
                      <a:pt x="600" y="425"/>
                    </a:lnTo>
                    <a:lnTo>
                      <a:pt x="575" y="430"/>
                    </a:lnTo>
                    <a:lnTo>
                      <a:pt x="560" y="423"/>
                    </a:lnTo>
                    <a:lnTo>
                      <a:pt x="552" y="416"/>
                    </a:lnTo>
                    <a:lnTo>
                      <a:pt x="546" y="409"/>
                    </a:lnTo>
                    <a:lnTo>
                      <a:pt x="547" y="395"/>
                    </a:lnTo>
                    <a:lnTo>
                      <a:pt x="526" y="423"/>
                    </a:lnTo>
                    <a:lnTo>
                      <a:pt x="509" y="425"/>
                    </a:lnTo>
                    <a:lnTo>
                      <a:pt x="490" y="421"/>
                    </a:lnTo>
                    <a:lnTo>
                      <a:pt x="500" y="411"/>
                    </a:lnTo>
                    <a:lnTo>
                      <a:pt x="492" y="398"/>
                    </a:lnTo>
                    <a:lnTo>
                      <a:pt x="492" y="389"/>
                    </a:lnTo>
                    <a:lnTo>
                      <a:pt x="484" y="394"/>
                    </a:lnTo>
                    <a:lnTo>
                      <a:pt x="481" y="405"/>
                    </a:lnTo>
                    <a:lnTo>
                      <a:pt x="472" y="416"/>
                    </a:lnTo>
                    <a:lnTo>
                      <a:pt x="461" y="421"/>
                    </a:lnTo>
                    <a:lnTo>
                      <a:pt x="450" y="435"/>
                    </a:lnTo>
                    <a:lnTo>
                      <a:pt x="425" y="442"/>
                    </a:lnTo>
                    <a:lnTo>
                      <a:pt x="414" y="442"/>
                    </a:lnTo>
                    <a:lnTo>
                      <a:pt x="386" y="457"/>
                    </a:lnTo>
                    <a:lnTo>
                      <a:pt x="387" y="466"/>
                    </a:lnTo>
                    <a:lnTo>
                      <a:pt x="383" y="475"/>
                    </a:lnTo>
                    <a:lnTo>
                      <a:pt x="376" y="480"/>
                    </a:lnTo>
                    <a:lnTo>
                      <a:pt x="375" y="485"/>
                    </a:lnTo>
                    <a:lnTo>
                      <a:pt x="358" y="495"/>
                    </a:lnTo>
                    <a:lnTo>
                      <a:pt x="348" y="497"/>
                    </a:lnTo>
                    <a:lnTo>
                      <a:pt x="347" y="502"/>
                    </a:lnTo>
                    <a:lnTo>
                      <a:pt x="332" y="503"/>
                    </a:lnTo>
                    <a:lnTo>
                      <a:pt x="325" y="514"/>
                    </a:lnTo>
                    <a:lnTo>
                      <a:pt x="299" y="528"/>
                    </a:lnTo>
                    <a:lnTo>
                      <a:pt x="277" y="534"/>
                    </a:lnTo>
                    <a:lnTo>
                      <a:pt x="231" y="530"/>
                    </a:lnTo>
                    <a:lnTo>
                      <a:pt x="202" y="512"/>
                    </a:lnTo>
                    <a:lnTo>
                      <a:pt x="184" y="495"/>
                    </a:lnTo>
                    <a:lnTo>
                      <a:pt x="177" y="482"/>
                    </a:lnTo>
                    <a:lnTo>
                      <a:pt x="177" y="478"/>
                    </a:lnTo>
                    <a:lnTo>
                      <a:pt x="181" y="466"/>
                    </a:lnTo>
                    <a:lnTo>
                      <a:pt x="191" y="455"/>
                    </a:lnTo>
                    <a:lnTo>
                      <a:pt x="198" y="454"/>
                    </a:lnTo>
                    <a:lnTo>
                      <a:pt x="212" y="446"/>
                    </a:lnTo>
                    <a:lnTo>
                      <a:pt x="224" y="443"/>
                    </a:lnTo>
                    <a:lnTo>
                      <a:pt x="229" y="448"/>
                    </a:lnTo>
                    <a:lnTo>
                      <a:pt x="235" y="447"/>
                    </a:lnTo>
                    <a:lnTo>
                      <a:pt x="242" y="441"/>
                    </a:lnTo>
                    <a:lnTo>
                      <a:pt x="242" y="431"/>
                    </a:lnTo>
                    <a:lnTo>
                      <a:pt x="253" y="415"/>
                    </a:lnTo>
                    <a:lnTo>
                      <a:pt x="304" y="408"/>
                    </a:lnTo>
                    <a:lnTo>
                      <a:pt x="315" y="409"/>
                    </a:lnTo>
                    <a:lnTo>
                      <a:pt x="317" y="420"/>
                    </a:lnTo>
                    <a:lnTo>
                      <a:pt x="327" y="420"/>
                    </a:lnTo>
                    <a:lnTo>
                      <a:pt x="334" y="404"/>
                    </a:lnTo>
                    <a:lnTo>
                      <a:pt x="344" y="396"/>
                    </a:lnTo>
                    <a:lnTo>
                      <a:pt x="350" y="383"/>
                    </a:lnTo>
                    <a:lnTo>
                      <a:pt x="363" y="372"/>
                    </a:lnTo>
                    <a:lnTo>
                      <a:pt x="368" y="362"/>
                    </a:lnTo>
                    <a:lnTo>
                      <a:pt x="366" y="352"/>
                    </a:lnTo>
                    <a:lnTo>
                      <a:pt x="355" y="352"/>
                    </a:lnTo>
                    <a:lnTo>
                      <a:pt x="343" y="376"/>
                    </a:lnTo>
                    <a:lnTo>
                      <a:pt x="331" y="372"/>
                    </a:lnTo>
                    <a:lnTo>
                      <a:pt x="294" y="383"/>
                    </a:lnTo>
                    <a:lnTo>
                      <a:pt x="289" y="372"/>
                    </a:lnTo>
                    <a:lnTo>
                      <a:pt x="293" y="361"/>
                    </a:lnTo>
                    <a:lnTo>
                      <a:pt x="278" y="372"/>
                    </a:lnTo>
                    <a:lnTo>
                      <a:pt x="277" y="358"/>
                    </a:lnTo>
                    <a:lnTo>
                      <a:pt x="272" y="356"/>
                    </a:lnTo>
                    <a:lnTo>
                      <a:pt x="270" y="376"/>
                    </a:lnTo>
                    <a:lnTo>
                      <a:pt x="263" y="389"/>
                    </a:lnTo>
                    <a:lnTo>
                      <a:pt x="251" y="392"/>
                    </a:lnTo>
                    <a:lnTo>
                      <a:pt x="247" y="379"/>
                    </a:lnTo>
                    <a:lnTo>
                      <a:pt x="239" y="394"/>
                    </a:lnTo>
                    <a:lnTo>
                      <a:pt x="224" y="398"/>
                    </a:lnTo>
                    <a:lnTo>
                      <a:pt x="207" y="408"/>
                    </a:lnTo>
                    <a:lnTo>
                      <a:pt x="200" y="396"/>
                    </a:lnTo>
                    <a:lnTo>
                      <a:pt x="202" y="389"/>
                    </a:lnTo>
                    <a:lnTo>
                      <a:pt x="215" y="373"/>
                    </a:lnTo>
                    <a:lnTo>
                      <a:pt x="212" y="372"/>
                    </a:lnTo>
                    <a:lnTo>
                      <a:pt x="209" y="357"/>
                    </a:lnTo>
                    <a:lnTo>
                      <a:pt x="210" y="340"/>
                    </a:lnTo>
                    <a:lnTo>
                      <a:pt x="225" y="330"/>
                    </a:lnTo>
                    <a:lnTo>
                      <a:pt x="235" y="319"/>
                    </a:lnTo>
                    <a:lnTo>
                      <a:pt x="227" y="319"/>
                    </a:lnTo>
                    <a:lnTo>
                      <a:pt x="218" y="329"/>
                    </a:lnTo>
                    <a:lnTo>
                      <a:pt x="199" y="324"/>
                    </a:lnTo>
                    <a:lnTo>
                      <a:pt x="191" y="363"/>
                    </a:lnTo>
                    <a:lnTo>
                      <a:pt x="186" y="367"/>
                    </a:lnTo>
                    <a:lnTo>
                      <a:pt x="180" y="349"/>
                    </a:lnTo>
                    <a:lnTo>
                      <a:pt x="171" y="346"/>
                    </a:lnTo>
                    <a:lnTo>
                      <a:pt x="170" y="363"/>
                    </a:lnTo>
                    <a:lnTo>
                      <a:pt x="178" y="376"/>
                    </a:lnTo>
                    <a:lnTo>
                      <a:pt x="177" y="394"/>
                    </a:lnTo>
                    <a:lnTo>
                      <a:pt x="171" y="396"/>
                    </a:lnTo>
                    <a:lnTo>
                      <a:pt x="155" y="416"/>
                    </a:lnTo>
                    <a:lnTo>
                      <a:pt x="143" y="415"/>
                    </a:lnTo>
                    <a:lnTo>
                      <a:pt x="138" y="396"/>
                    </a:lnTo>
                    <a:lnTo>
                      <a:pt x="138" y="378"/>
                    </a:lnTo>
                    <a:lnTo>
                      <a:pt x="124" y="389"/>
                    </a:lnTo>
                    <a:lnTo>
                      <a:pt x="113" y="388"/>
                    </a:lnTo>
                    <a:lnTo>
                      <a:pt x="114" y="405"/>
                    </a:lnTo>
                    <a:lnTo>
                      <a:pt x="114" y="420"/>
                    </a:lnTo>
                    <a:lnTo>
                      <a:pt x="102" y="417"/>
                    </a:lnTo>
                    <a:lnTo>
                      <a:pt x="80" y="399"/>
                    </a:lnTo>
                    <a:lnTo>
                      <a:pt x="85" y="389"/>
                    </a:lnTo>
                    <a:lnTo>
                      <a:pt x="76" y="383"/>
                    </a:lnTo>
                    <a:lnTo>
                      <a:pt x="78" y="369"/>
                    </a:lnTo>
                    <a:lnTo>
                      <a:pt x="64" y="374"/>
                    </a:lnTo>
                    <a:lnTo>
                      <a:pt x="58" y="388"/>
                    </a:lnTo>
                    <a:lnTo>
                      <a:pt x="25" y="379"/>
                    </a:lnTo>
                    <a:lnTo>
                      <a:pt x="10" y="372"/>
                    </a:lnTo>
                    <a:lnTo>
                      <a:pt x="0" y="358"/>
                    </a:lnTo>
                    <a:lnTo>
                      <a:pt x="1" y="351"/>
                    </a:lnTo>
                    <a:lnTo>
                      <a:pt x="11" y="325"/>
                    </a:lnTo>
                    <a:lnTo>
                      <a:pt x="24" y="309"/>
                    </a:lnTo>
                    <a:lnTo>
                      <a:pt x="51" y="307"/>
                    </a:lnTo>
                    <a:lnTo>
                      <a:pt x="87" y="309"/>
                    </a:lnTo>
                    <a:lnTo>
                      <a:pt x="94" y="306"/>
                    </a:lnTo>
                    <a:lnTo>
                      <a:pt x="105" y="291"/>
                    </a:lnTo>
                    <a:lnTo>
                      <a:pt x="130" y="276"/>
                    </a:lnTo>
                    <a:lnTo>
                      <a:pt x="140" y="259"/>
                    </a:lnTo>
                    <a:lnTo>
                      <a:pt x="122" y="272"/>
                    </a:lnTo>
                    <a:lnTo>
                      <a:pt x="101" y="276"/>
                    </a:lnTo>
                    <a:lnTo>
                      <a:pt x="86" y="288"/>
                    </a:lnTo>
                    <a:lnTo>
                      <a:pt x="60" y="297"/>
                    </a:lnTo>
                    <a:lnTo>
                      <a:pt x="22" y="293"/>
                    </a:lnTo>
                    <a:lnTo>
                      <a:pt x="22" y="270"/>
                    </a:lnTo>
                    <a:lnTo>
                      <a:pt x="33" y="245"/>
                    </a:lnTo>
                    <a:lnTo>
                      <a:pt x="76" y="240"/>
                    </a:lnTo>
                    <a:lnTo>
                      <a:pt x="103" y="231"/>
                    </a:lnTo>
                    <a:lnTo>
                      <a:pt x="144" y="226"/>
                    </a:lnTo>
                    <a:lnTo>
                      <a:pt x="157" y="212"/>
                    </a:lnTo>
                    <a:lnTo>
                      <a:pt x="134" y="222"/>
                    </a:lnTo>
                    <a:lnTo>
                      <a:pt x="55" y="231"/>
                    </a:lnTo>
                    <a:lnTo>
                      <a:pt x="47" y="225"/>
                    </a:lnTo>
                    <a:lnTo>
                      <a:pt x="47" y="210"/>
                    </a:lnTo>
                    <a:lnTo>
                      <a:pt x="53" y="200"/>
                    </a:lnTo>
                    <a:lnTo>
                      <a:pt x="60" y="196"/>
                    </a:lnTo>
                    <a:lnTo>
                      <a:pt x="58" y="188"/>
                    </a:lnTo>
                    <a:lnTo>
                      <a:pt x="51" y="179"/>
                    </a:lnTo>
                    <a:lnTo>
                      <a:pt x="62" y="158"/>
                    </a:lnTo>
                    <a:lnTo>
                      <a:pt x="76" y="151"/>
                    </a:lnTo>
                    <a:lnTo>
                      <a:pt x="103" y="153"/>
                    </a:lnTo>
                    <a:lnTo>
                      <a:pt x="118" y="151"/>
                    </a:lnTo>
                    <a:lnTo>
                      <a:pt x="156" y="159"/>
                    </a:lnTo>
                    <a:lnTo>
                      <a:pt x="161" y="154"/>
                    </a:lnTo>
                    <a:lnTo>
                      <a:pt x="151" y="154"/>
                    </a:lnTo>
                    <a:lnTo>
                      <a:pt x="144" y="143"/>
                    </a:lnTo>
                    <a:lnTo>
                      <a:pt x="100" y="139"/>
                    </a:lnTo>
                    <a:lnTo>
                      <a:pt x="92" y="129"/>
                    </a:lnTo>
                    <a:lnTo>
                      <a:pt x="101" y="103"/>
                    </a:lnTo>
                    <a:lnTo>
                      <a:pt x="113" y="88"/>
                    </a:lnTo>
                    <a:lnTo>
                      <a:pt x="138" y="88"/>
                    </a:lnTo>
                    <a:lnTo>
                      <a:pt x="146" y="78"/>
                    </a:lnTo>
                    <a:lnTo>
                      <a:pt x="166" y="78"/>
                    </a:lnTo>
                    <a:lnTo>
                      <a:pt x="180" y="83"/>
                    </a:lnTo>
                    <a:lnTo>
                      <a:pt x="191" y="97"/>
                    </a:lnTo>
                    <a:lnTo>
                      <a:pt x="191" y="116"/>
                    </a:lnTo>
                    <a:lnTo>
                      <a:pt x="186" y="124"/>
                    </a:lnTo>
                    <a:lnTo>
                      <a:pt x="192" y="147"/>
                    </a:lnTo>
                    <a:lnTo>
                      <a:pt x="219" y="147"/>
                    </a:lnTo>
                    <a:lnTo>
                      <a:pt x="234" y="136"/>
                    </a:lnTo>
                    <a:lnTo>
                      <a:pt x="258" y="135"/>
                    </a:lnTo>
                    <a:lnTo>
                      <a:pt x="258" y="148"/>
                    </a:lnTo>
                    <a:lnTo>
                      <a:pt x="280" y="152"/>
                    </a:lnTo>
                    <a:lnTo>
                      <a:pt x="288" y="179"/>
                    </a:lnTo>
                    <a:lnTo>
                      <a:pt x="302" y="200"/>
                    </a:lnTo>
                    <a:lnTo>
                      <a:pt x="312" y="200"/>
                    </a:lnTo>
                    <a:lnTo>
                      <a:pt x="321" y="210"/>
                    </a:lnTo>
                    <a:lnTo>
                      <a:pt x="301" y="223"/>
                    </a:lnTo>
                    <a:lnTo>
                      <a:pt x="300" y="234"/>
                    </a:lnTo>
                    <a:lnTo>
                      <a:pt x="310" y="237"/>
                    </a:lnTo>
                    <a:lnTo>
                      <a:pt x="336" y="227"/>
                    </a:lnTo>
                    <a:lnTo>
                      <a:pt x="336" y="232"/>
                    </a:lnTo>
                    <a:lnTo>
                      <a:pt x="339" y="239"/>
                    </a:lnTo>
                    <a:lnTo>
                      <a:pt x="342" y="250"/>
                    </a:lnTo>
                    <a:lnTo>
                      <a:pt x="336" y="258"/>
                    </a:lnTo>
                    <a:lnTo>
                      <a:pt x="340" y="256"/>
                    </a:lnTo>
                    <a:lnTo>
                      <a:pt x="344" y="271"/>
                    </a:lnTo>
                    <a:lnTo>
                      <a:pt x="343" y="287"/>
                    </a:lnTo>
                    <a:lnTo>
                      <a:pt x="349" y="297"/>
                    </a:lnTo>
                    <a:lnTo>
                      <a:pt x="359" y="298"/>
                    </a:lnTo>
                    <a:lnTo>
                      <a:pt x="366" y="297"/>
                    </a:lnTo>
                    <a:lnTo>
                      <a:pt x="371" y="292"/>
                    </a:lnTo>
                    <a:lnTo>
                      <a:pt x="377" y="293"/>
                    </a:lnTo>
                    <a:lnTo>
                      <a:pt x="395" y="288"/>
                    </a:lnTo>
                    <a:lnTo>
                      <a:pt x="399" y="297"/>
                    </a:lnTo>
                    <a:lnTo>
                      <a:pt x="419" y="293"/>
                    </a:lnTo>
                    <a:lnTo>
                      <a:pt x="469" y="303"/>
                    </a:lnTo>
                    <a:lnTo>
                      <a:pt x="478" y="301"/>
                    </a:lnTo>
                    <a:lnTo>
                      <a:pt x="482" y="283"/>
                    </a:lnTo>
                    <a:lnTo>
                      <a:pt x="482" y="261"/>
                    </a:lnTo>
                    <a:lnTo>
                      <a:pt x="468" y="245"/>
                    </a:lnTo>
                    <a:lnTo>
                      <a:pt x="462" y="233"/>
                    </a:lnTo>
                    <a:lnTo>
                      <a:pt x="450" y="236"/>
                    </a:lnTo>
                    <a:lnTo>
                      <a:pt x="444" y="229"/>
                    </a:lnTo>
                    <a:lnTo>
                      <a:pt x="440" y="221"/>
                    </a:lnTo>
                    <a:lnTo>
                      <a:pt x="431" y="227"/>
                    </a:lnTo>
                    <a:lnTo>
                      <a:pt x="425" y="218"/>
                    </a:lnTo>
                    <a:lnTo>
                      <a:pt x="449" y="204"/>
                    </a:lnTo>
                    <a:lnTo>
                      <a:pt x="451" y="193"/>
                    </a:lnTo>
                    <a:lnTo>
                      <a:pt x="462" y="190"/>
                    </a:lnTo>
                    <a:lnTo>
                      <a:pt x="456" y="163"/>
                    </a:lnTo>
                    <a:lnTo>
                      <a:pt x="450" y="152"/>
                    </a:lnTo>
                    <a:lnTo>
                      <a:pt x="440" y="148"/>
                    </a:lnTo>
                    <a:lnTo>
                      <a:pt x="438" y="142"/>
                    </a:lnTo>
                    <a:lnTo>
                      <a:pt x="424" y="139"/>
                    </a:lnTo>
                    <a:lnTo>
                      <a:pt x="402" y="120"/>
                    </a:lnTo>
                    <a:lnTo>
                      <a:pt x="401" y="110"/>
                    </a:lnTo>
                    <a:lnTo>
                      <a:pt x="401" y="100"/>
                    </a:lnTo>
                    <a:lnTo>
                      <a:pt x="396" y="93"/>
                    </a:lnTo>
                    <a:lnTo>
                      <a:pt x="412" y="89"/>
                    </a:lnTo>
                    <a:lnTo>
                      <a:pt x="420" y="8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3" name="Freeform 294"/>
              <p:cNvSpPr>
                <a:spLocks noChangeAspect="1"/>
              </p:cNvSpPr>
              <p:nvPr/>
            </p:nvSpPr>
            <p:spPr bwMode="gray">
              <a:xfrm>
                <a:off x="1168" y="1099"/>
                <a:ext cx="80" cy="82"/>
              </a:xfrm>
              <a:custGeom>
                <a:avLst/>
                <a:gdLst/>
                <a:ahLst/>
                <a:cxnLst>
                  <a:cxn ang="0">
                    <a:pos x="157" y="126"/>
                  </a:cxn>
                  <a:cxn ang="0">
                    <a:pos x="177" y="100"/>
                  </a:cxn>
                  <a:cxn ang="0">
                    <a:pos x="197" y="75"/>
                  </a:cxn>
                  <a:cxn ang="0">
                    <a:pos x="224" y="48"/>
                  </a:cxn>
                  <a:cxn ang="0">
                    <a:pos x="242" y="51"/>
                  </a:cxn>
                  <a:cxn ang="0">
                    <a:pos x="269" y="44"/>
                  </a:cxn>
                  <a:cxn ang="0">
                    <a:pos x="274" y="72"/>
                  </a:cxn>
                  <a:cxn ang="0">
                    <a:pos x="285" y="59"/>
                  </a:cxn>
                  <a:cxn ang="0">
                    <a:pos x="303" y="57"/>
                  </a:cxn>
                  <a:cxn ang="0">
                    <a:pos x="329" y="43"/>
                  </a:cxn>
                  <a:cxn ang="0">
                    <a:pos x="307" y="23"/>
                  </a:cxn>
                  <a:cxn ang="0">
                    <a:pos x="343" y="0"/>
                  </a:cxn>
                  <a:cxn ang="0">
                    <a:pos x="382" y="37"/>
                  </a:cxn>
                  <a:cxn ang="0">
                    <a:pos x="397" y="72"/>
                  </a:cxn>
                  <a:cxn ang="0">
                    <a:pos x="356" y="91"/>
                  </a:cxn>
                  <a:cxn ang="0">
                    <a:pos x="353" y="119"/>
                  </a:cxn>
                  <a:cxn ang="0">
                    <a:pos x="369" y="159"/>
                  </a:cxn>
                  <a:cxn ang="0">
                    <a:pos x="355" y="173"/>
                  </a:cxn>
                  <a:cxn ang="0">
                    <a:pos x="370" y="190"/>
                  </a:cxn>
                  <a:cxn ang="0">
                    <a:pos x="350" y="237"/>
                  </a:cxn>
                  <a:cxn ang="0">
                    <a:pos x="314" y="258"/>
                  </a:cxn>
                  <a:cxn ang="0">
                    <a:pos x="300" y="309"/>
                  </a:cxn>
                  <a:cxn ang="0">
                    <a:pos x="265" y="253"/>
                  </a:cxn>
                  <a:cxn ang="0">
                    <a:pos x="275" y="195"/>
                  </a:cxn>
                  <a:cxn ang="0">
                    <a:pos x="262" y="193"/>
                  </a:cxn>
                  <a:cxn ang="0">
                    <a:pos x="244" y="206"/>
                  </a:cxn>
                  <a:cxn ang="0">
                    <a:pos x="244" y="244"/>
                  </a:cxn>
                  <a:cxn ang="0">
                    <a:pos x="216" y="239"/>
                  </a:cxn>
                  <a:cxn ang="0">
                    <a:pos x="217" y="264"/>
                  </a:cxn>
                  <a:cxn ang="0">
                    <a:pos x="231" y="302"/>
                  </a:cxn>
                  <a:cxn ang="0">
                    <a:pos x="211" y="342"/>
                  </a:cxn>
                  <a:cxn ang="0">
                    <a:pos x="195" y="324"/>
                  </a:cxn>
                  <a:cxn ang="0">
                    <a:pos x="181" y="295"/>
                  </a:cxn>
                  <a:cxn ang="0">
                    <a:pos x="174" y="318"/>
                  </a:cxn>
                  <a:cxn ang="0">
                    <a:pos x="181" y="336"/>
                  </a:cxn>
                  <a:cxn ang="0">
                    <a:pos x="181" y="368"/>
                  </a:cxn>
                  <a:cxn ang="0">
                    <a:pos x="171" y="393"/>
                  </a:cxn>
                  <a:cxn ang="0">
                    <a:pos x="145" y="384"/>
                  </a:cxn>
                  <a:cxn ang="0">
                    <a:pos x="131" y="393"/>
                  </a:cxn>
                  <a:cxn ang="0">
                    <a:pos x="114" y="351"/>
                  </a:cxn>
                  <a:cxn ang="0">
                    <a:pos x="114" y="319"/>
                  </a:cxn>
                  <a:cxn ang="0">
                    <a:pos x="101" y="360"/>
                  </a:cxn>
                  <a:cxn ang="0">
                    <a:pos x="56" y="360"/>
                  </a:cxn>
                  <a:cxn ang="0">
                    <a:pos x="58" y="334"/>
                  </a:cxn>
                  <a:cxn ang="0">
                    <a:pos x="37" y="378"/>
                  </a:cxn>
                  <a:cxn ang="0">
                    <a:pos x="12" y="367"/>
                  </a:cxn>
                  <a:cxn ang="0">
                    <a:pos x="2" y="346"/>
                  </a:cxn>
                  <a:cxn ang="0">
                    <a:pos x="15" y="308"/>
                  </a:cxn>
                  <a:cxn ang="0">
                    <a:pos x="29" y="274"/>
                  </a:cxn>
                  <a:cxn ang="0">
                    <a:pos x="59" y="274"/>
                  </a:cxn>
                  <a:cxn ang="0">
                    <a:pos x="82" y="239"/>
                  </a:cxn>
                  <a:cxn ang="0">
                    <a:pos x="90" y="209"/>
                  </a:cxn>
                  <a:cxn ang="0">
                    <a:pos x="111" y="206"/>
                  </a:cxn>
                  <a:cxn ang="0">
                    <a:pos x="134" y="178"/>
                  </a:cxn>
                  <a:cxn ang="0">
                    <a:pos x="147" y="150"/>
                  </a:cxn>
                </a:cxnLst>
                <a:rect l="0" t="0" r="r" b="b"/>
                <a:pathLst>
                  <a:path w="399" h="411">
                    <a:moveTo>
                      <a:pt x="154" y="134"/>
                    </a:moveTo>
                    <a:lnTo>
                      <a:pt x="156" y="136"/>
                    </a:lnTo>
                    <a:lnTo>
                      <a:pt x="157" y="126"/>
                    </a:lnTo>
                    <a:lnTo>
                      <a:pt x="166" y="120"/>
                    </a:lnTo>
                    <a:lnTo>
                      <a:pt x="170" y="109"/>
                    </a:lnTo>
                    <a:lnTo>
                      <a:pt x="177" y="100"/>
                    </a:lnTo>
                    <a:lnTo>
                      <a:pt x="184" y="99"/>
                    </a:lnTo>
                    <a:lnTo>
                      <a:pt x="187" y="89"/>
                    </a:lnTo>
                    <a:lnTo>
                      <a:pt x="197" y="75"/>
                    </a:lnTo>
                    <a:lnTo>
                      <a:pt x="198" y="61"/>
                    </a:lnTo>
                    <a:lnTo>
                      <a:pt x="221" y="57"/>
                    </a:lnTo>
                    <a:lnTo>
                      <a:pt x="224" y="48"/>
                    </a:lnTo>
                    <a:lnTo>
                      <a:pt x="232" y="49"/>
                    </a:lnTo>
                    <a:lnTo>
                      <a:pt x="238" y="57"/>
                    </a:lnTo>
                    <a:lnTo>
                      <a:pt x="242" y="51"/>
                    </a:lnTo>
                    <a:lnTo>
                      <a:pt x="256" y="50"/>
                    </a:lnTo>
                    <a:lnTo>
                      <a:pt x="260" y="45"/>
                    </a:lnTo>
                    <a:lnTo>
                      <a:pt x="269" y="44"/>
                    </a:lnTo>
                    <a:lnTo>
                      <a:pt x="267" y="60"/>
                    </a:lnTo>
                    <a:lnTo>
                      <a:pt x="270" y="76"/>
                    </a:lnTo>
                    <a:lnTo>
                      <a:pt x="274" y="72"/>
                    </a:lnTo>
                    <a:lnTo>
                      <a:pt x="271" y="57"/>
                    </a:lnTo>
                    <a:lnTo>
                      <a:pt x="275" y="48"/>
                    </a:lnTo>
                    <a:lnTo>
                      <a:pt x="285" y="59"/>
                    </a:lnTo>
                    <a:lnTo>
                      <a:pt x="298" y="66"/>
                    </a:lnTo>
                    <a:lnTo>
                      <a:pt x="306" y="66"/>
                    </a:lnTo>
                    <a:lnTo>
                      <a:pt x="303" y="57"/>
                    </a:lnTo>
                    <a:lnTo>
                      <a:pt x="319" y="61"/>
                    </a:lnTo>
                    <a:lnTo>
                      <a:pt x="330" y="49"/>
                    </a:lnTo>
                    <a:lnTo>
                      <a:pt x="329" y="43"/>
                    </a:lnTo>
                    <a:lnTo>
                      <a:pt x="322" y="44"/>
                    </a:lnTo>
                    <a:lnTo>
                      <a:pt x="313" y="37"/>
                    </a:lnTo>
                    <a:lnTo>
                      <a:pt x="307" y="23"/>
                    </a:lnTo>
                    <a:lnTo>
                      <a:pt x="317" y="19"/>
                    </a:lnTo>
                    <a:lnTo>
                      <a:pt x="323" y="7"/>
                    </a:lnTo>
                    <a:lnTo>
                      <a:pt x="343" y="0"/>
                    </a:lnTo>
                    <a:lnTo>
                      <a:pt x="365" y="18"/>
                    </a:lnTo>
                    <a:lnTo>
                      <a:pt x="365" y="24"/>
                    </a:lnTo>
                    <a:lnTo>
                      <a:pt x="382" y="37"/>
                    </a:lnTo>
                    <a:lnTo>
                      <a:pt x="399" y="57"/>
                    </a:lnTo>
                    <a:lnTo>
                      <a:pt x="399" y="66"/>
                    </a:lnTo>
                    <a:lnTo>
                      <a:pt x="397" y="72"/>
                    </a:lnTo>
                    <a:lnTo>
                      <a:pt x="384" y="77"/>
                    </a:lnTo>
                    <a:lnTo>
                      <a:pt x="381" y="85"/>
                    </a:lnTo>
                    <a:lnTo>
                      <a:pt x="356" y="91"/>
                    </a:lnTo>
                    <a:lnTo>
                      <a:pt x="349" y="99"/>
                    </a:lnTo>
                    <a:lnTo>
                      <a:pt x="348" y="108"/>
                    </a:lnTo>
                    <a:lnTo>
                      <a:pt x="353" y="119"/>
                    </a:lnTo>
                    <a:lnTo>
                      <a:pt x="376" y="148"/>
                    </a:lnTo>
                    <a:lnTo>
                      <a:pt x="377" y="159"/>
                    </a:lnTo>
                    <a:lnTo>
                      <a:pt x="369" y="159"/>
                    </a:lnTo>
                    <a:lnTo>
                      <a:pt x="360" y="152"/>
                    </a:lnTo>
                    <a:lnTo>
                      <a:pt x="353" y="159"/>
                    </a:lnTo>
                    <a:lnTo>
                      <a:pt x="355" y="173"/>
                    </a:lnTo>
                    <a:lnTo>
                      <a:pt x="364" y="174"/>
                    </a:lnTo>
                    <a:lnTo>
                      <a:pt x="366" y="186"/>
                    </a:lnTo>
                    <a:lnTo>
                      <a:pt x="370" y="190"/>
                    </a:lnTo>
                    <a:lnTo>
                      <a:pt x="375" y="210"/>
                    </a:lnTo>
                    <a:lnTo>
                      <a:pt x="366" y="222"/>
                    </a:lnTo>
                    <a:lnTo>
                      <a:pt x="350" y="237"/>
                    </a:lnTo>
                    <a:lnTo>
                      <a:pt x="324" y="237"/>
                    </a:lnTo>
                    <a:lnTo>
                      <a:pt x="318" y="244"/>
                    </a:lnTo>
                    <a:lnTo>
                      <a:pt x="314" y="258"/>
                    </a:lnTo>
                    <a:lnTo>
                      <a:pt x="317" y="288"/>
                    </a:lnTo>
                    <a:lnTo>
                      <a:pt x="313" y="302"/>
                    </a:lnTo>
                    <a:lnTo>
                      <a:pt x="300" y="309"/>
                    </a:lnTo>
                    <a:lnTo>
                      <a:pt x="287" y="307"/>
                    </a:lnTo>
                    <a:lnTo>
                      <a:pt x="265" y="269"/>
                    </a:lnTo>
                    <a:lnTo>
                      <a:pt x="265" y="253"/>
                    </a:lnTo>
                    <a:lnTo>
                      <a:pt x="269" y="237"/>
                    </a:lnTo>
                    <a:lnTo>
                      <a:pt x="268" y="220"/>
                    </a:lnTo>
                    <a:lnTo>
                      <a:pt x="275" y="195"/>
                    </a:lnTo>
                    <a:lnTo>
                      <a:pt x="276" y="183"/>
                    </a:lnTo>
                    <a:lnTo>
                      <a:pt x="270" y="182"/>
                    </a:lnTo>
                    <a:lnTo>
                      <a:pt x="262" y="193"/>
                    </a:lnTo>
                    <a:lnTo>
                      <a:pt x="246" y="189"/>
                    </a:lnTo>
                    <a:lnTo>
                      <a:pt x="244" y="200"/>
                    </a:lnTo>
                    <a:lnTo>
                      <a:pt x="244" y="206"/>
                    </a:lnTo>
                    <a:lnTo>
                      <a:pt x="237" y="213"/>
                    </a:lnTo>
                    <a:lnTo>
                      <a:pt x="243" y="220"/>
                    </a:lnTo>
                    <a:lnTo>
                      <a:pt x="244" y="244"/>
                    </a:lnTo>
                    <a:lnTo>
                      <a:pt x="235" y="255"/>
                    </a:lnTo>
                    <a:lnTo>
                      <a:pt x="225" y="242"/>
                    </a:lnTo>
                    <a:lnTo>
                      <a:pt x="216" y="239"/>
                    </a:lnTo>
                    <a:lnTo>
                      <a:pt x="216" y="247"/>
                    </a:lnTo>
                    <a:lnTo>
                      <a:pt x="211" y="256"/>
                    </a:lnTo>
                    <a:lnTo>
                      <a:pt x="217" y="264"/>
                    </a:lnTo>
                    <a:lnTo>
                      <a:pt x="227" y="268"/>
                    </a:lnTo>
                    <a:lnTo>
                      <a:pt x="233" y="291"/>
                    </a:lnTo>
                    <a:lnTo>
                      <a:pt x="231" y="302"/>
                    </a:lnTo>
                    <a:lnTo>
                      <a:pt x="216" y="311"/>
                    </a:lnTo>
                    <a:lnTo>
                      <a:pt x="215" y="331"/>
                    </a:lnTo>
                    <a:lnTo>
                      <a:pt x="211" y="342"/>
                    </a:lnTo>
                    <a:lnTo>
                      <a:pt x="209" y="340"/>
                    </a:lnTo>
                    <a:lnTo>
                      <a:pt x="201" y="344"/>
                    </a:lnTo>
                    <a:lnTo>
                      <a:pt x="195" y="324"/>
                    </a:lnTo>
                    <a:lnTo>
                      <a:pt x="188" y="308"/>
                    </a:lnTo>
                    <a:lnTo>
                      <a:pt x="185" y="287"/>
                    </a:lnTo>
                    <a:lnTo>
                      <a:pt x="181" y="295"/>
                    </a:lnTo>
                    <a:lnTo>
                      <a:pt x="173" y="290"/>
                    </a:lnTo>
                    <a:lnTo>
                      <a:pt x="172" y="301"/>
                    </a:lnTo>
                    <a:lnTo>
                      <a:pt x="174" y="318"/>
                    </a:lnTo>
                    <a:lnTo>
                      <a:pt x="178" y="324"/>
                    </a:lnTo>
                    <a:lnTo>
                      <a:pt x="173" y="334"/>
                    </a:lnTo>
                    <a:lnTo>
                      <a:pt x="181" y="336"/>
                    </a:lnTo>
                    <a:lnTo>
                      <a:pt x="162" y="346"/>
                    </a:lnTo>
                    <a:lnTo>
                      <a:pt x="173" y="352"/>
                    </a:lnTo>
                    <a:lnTo>
                      <a:pt x="181" y="368"/>
                    </a:lnTo>
                    <a:lnTo>
                      <a:pt x="182" y="376"/>
                    </a:lnTo>
                    <a:lnTo>
                      <a:pt x="173" y="376"/>
                    </a:lnTo>
                    <a:lnTo>
                      <a:pt x="171" y="393"/>
                    </a:lnTo>
                    <a:lnTo>
                      <a:pt x="162" y="398"/>
                    </a:lnTo>
                    <a:lnTo>
                      <a:pt x="154" y="398"/>
                    </a:lnTo>
                    <a:lnTo>
                      <a:pt x="145" y="384"/>
                    </a:lnTo>
                    <a:lnTo>
                      <a:pt x="144" y="400"/>
                    </a:lnTo>
                    <a:lnTo>
                      <a:pt x="139" y="411"/>
                    </a:lnTo>
                    <a:lnTo>
                      <a:pt x="131" y="393"/>
                    </a:lnTo>
                    <a:lnTo>
                      <a:pt x="130" y="367"/>
                    </a:lnTo>
                    <a:lnTo>
                      <a:pt x="123" y="367"/>
                    </a:lnTo>
                    <a:lnTo>
                      <a:pt x="114" y="351"/>
                    </a:lnTo>
                    <a:lnTo>
                      <a:pt x="118" y="339"/>
                    </a:lnTo>
                    <a:lnTo>
                      <a:pt x="117" y="328"/>
                    </a:lnTo>
                    <a:lnTo>
                      <a:pt x="114" y="319"/>
                    </a:lnTo>
                    <a:lnTo>
                      <a:pt x="103" y="329"/>
                    </a:lnTo>
                    <a:lnTo>
                      <a:pt x="101" y="349"/>
                    </a:lnTo>
                    <a:lnTo>
                      <a:pt x="101" y="360"/>
                    </a:lnTo>
                    <a:lnTo>
                      <a:pt x="91" y="382"/>
                    </a:lnTo>
                    <a:lnTo>
                      <a:pt x="82" y="371"/>
                    </a:lnTo>
                    <a:lnTo>
                      <a:pt x="56" y="360"/>
                    </a:lnTo>
                    <a:lnTo>
                      <a:pt x="55" y="352"/>
                    </a:lnTo>
                    <a:lnTo>
                      <a:pt x="58" y="346"/>
                    </a:lnTo>
                    <a:lnTo>
                      <a:pt x="58" y="334"/>
                    </a:lnTo>
                    <a:lnTo>
                      <a:pt x="50" y="356"/>
                    </a:lnTo>
                    <a:lnTo>
                      <a:pt x="44" y="361"/>
                    </a:lnTo>
                    <a:lnTo>
                      <a:pt x="37" y="378"/>
                    </a:lnTo>
                    <a:lnTo>
                      <a:pt x="21" y="383"/>
                    </a:lnTo>
                    <a:lnTo>
                      <a:pt x="12" y="373"/>
                    </a:lnTo>
                    <a:lnTo>
                      <a:pt x="12" y="367"/>
                    </a:lnTo>
                    <a:lnTo>
                      <a:pt x="25" y="333"/>
                    </a:lnTo>
                    <a:lnTo>
                      <a:pt x="16" y="328"/>
                    </a:lnTo>
                    <a:lnTo>
                      <a:pt x="2" y="346"/>
                    </a:lnTo>
                    <a:lnTo>
                      <a:pt x="0" y="326"/>
                    </a:lnTo>
                    <a:lnTo>
                      <a:pt x="5" y="317"/>
                    </a:lnTo>
                    <a:lnTo>
                      <a:pt x="15" y="308"/>
                    </a:lnTo>
                    <a:lnTo>
                      <a:pt x="16" y="285"/>
                    </a:lnTo>
                    <a:lnTo>
                      <a:pt x="27" y="280"/>
                    </a:lnTo>
                    <a:lnTo>
                      <a:pt x="29" y="274"/>
                    </a:lnTo>
                    <a:lnTo>
                      <a:pt x="39" y="266"/>
                    </a:lnTo>
                    <a:lnTo>
                      <a:pt x="47" y="266"/>
                    </a:lnTo>
                    <a:lnTo>
                      <a:pt x="59" y="274"/>
                    </a:lnTo>
                    <a:lnTo>
                      <a:pt x="64" y="269"/>
                    </a:lnTo>
                    <a:lnTo>
                      <a:pt x="70" y="271"/>
                    </a:lnTo>
                    <a:lnTo>
                      <a:pt x="82" y="239"/>
                    </a:lnTo>
                    <a:lnTo>
                      <a:pt x="90" y="231"/>
                    </a:lnTo>
                    <a:lnTo>
                      <a:pt x="91" y="225"/>
                    </a:lnTo>
                    <a:lnTo>
                      <a:pt x="90" y="209"/>
                    </a:lnTo>
                    <a:lnTo>
                      <a:pt x="93" y="216"/>
                    </a:lnTo>
                    <a:lnTo>
                      <a:pt x="99" y="213"/>
                    </a:lnTo>
                    <a:lnTo>
                      <a:pt x="111" y="206"/>
                    </a:lnTo>
                    <a:lnTo>
                      <a:pt x="114" y="198"/>
                    </a:lnTo>
                    <a:lnTo>
                      <a:pt x="120" y="198"/>
                    </a:lnTo>
                    <a:lnTo>
                      <a:pt x="134" y="178"/>
                    </a:lnTo>
                    <a:lnTo>
                      <a:pt x="147" y="174"/>
                    </a:lnTo>
                    <a:lnTo>
                      <a:pt x="138" y="170"/>
                    </a:lnTo>
                    <a:lnTo>
                      <a:pt x="147" y="150"/>
                    </a:lnTo>
                    <a:lnTo>
                      <a:pt x="149" y="139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4" name="Freeform 295"/>
              <p:cNvSpPr>
                <a:spLocks noChangeAspect="1"/>
              </p:cNvSpPr>
              <p:nvPr/>
            </p:nvSpPr>
            <p:spPr bwMode="gray">
              <a:xfrm>
                <a:off x="1271" y="1070"/>
                <a:ext cx="40" cy="39"/>
              </a:xfrm>
              <a:custGeom>
                <a:avLst/>
                <a:gdLst/>
                <a:ahLst/>
                <a:cxnLst>
                  <a:cxn ang="0">
                    <a:pos x="76" y="19"/>
                  </a:cxn>
                  <a:cxn ang="0">
                    <a:pos x="84" y="23"/>
                  </a:cxn>
                  <a:cxn ang="0">
                    <a:pos x="84" y="19"/>
                  </a:cxn>
                  <a:cxn ang="0">
                    <a:pos x="95" y="13"/>
                  </a:cxn>
                  <a:cxn ang="0">
                    <a:pos x="127" y="7"/>
                  </a:cxn>
                  <a:cxn ang="0">
                    <a:pos x="128" y="13"/>
                  </a:cxn>
                  <a:cxn ang="0">
                    <a:pos x="138" y="16"/>
                  </a:cxn>
                  <a:cxn ang="0">
                    <a:pos x="145" y="5"/>
                  </a:cxn>
                  <a:cxn ang="0">
                    <a:pos x="172" y="0"/>
                  </a:cxn>
                  <a:cxn ang="0">
                    <a:pos x="198" y="8"/>
                  </a:cxn>
                  <a:cxn ang="0">
                    <a:pos x="200" y="21"/>
                  </a:cxn>
                  <a:cxn ang="0">
                    <a:pos x="199" y="37"/>
                  </a:cxn>
                  <a:cxn ang="0">
                    <a:pos x="194" y="46"/>
                  </a:cxn>
                  <a:cxn ang="0">
                    <a:pos x="149" y="60"/>
                  </a:cxn>
                  <a:cxn ang="0">
                    <a:pos x="135" y="60"/>
                  </a:cxn>
                  <a:cxn ang="0">
                    <a:pos x="134" y="65"/>
                  </a:cxn>
                  <a:cxn ang="0">
                    <a:pos x="127" y="70"/>
                  </a:cxn>
                  <a:cxn ang="0">
                    <a:pos x="134" y="76"/>
                  </a:cxn>
                  <a:cxn ang="0">
                    <a:pos x="129" y="80"/>
                  </a:cxn>
                  <a:cxn ang="0">
                    <a:pos x="105" y="81"/>
                  </a:cxn>
                  <a:cxn ang="0">
                    <a:pos x="107" y="85"/>
                  </a:cxn>
                  <a:cxn ang="0">
                    <a:pos x="107" y="97"/>
                  </a:cxn>
                  <a:cxn ang="0">
                    <a:pos x="114" y="87"/>
                  </a:cxn>
                  <a:cxn ang="0">
                    <a:pos x="116" y="94"/>
                  </a:cxn>
                  <a:cxn ang="0">
                    <a:pos x="111" y="104"/>
                  </a:cxn>
                  <a:cxn ang="0">
                    <a:pos x="123" y="92"/>
                  </a:cxn>
                  <a:cxn ang="0">
                    <a:pos x="129" y="92"/>
                  </a:cxn>
                  <a:cxn ang="0">
                    <a:pos x="129" y="104"/>
                  </a:cxn>
                  <a:cxn ang="0">
                    <a:pos x="134" y="99"/>
                  </a:cxn>
                  <a:cxn ang="0">
                    <a:pos x="135" y="87"/>
                  </a:cxn>
                  <a:cxn ang="0">
                    <a:pos x="140" y="81"/>
                  </a:cxn>
                  <a:cxn ang="0">
                    <a:pos x="144" y="89"/>
                  </a:cxn>
                  <a:cxn ang="0">
                    <a:pos x="155" y="92"/>
                  </a:cxn>
                  <a:cxn ang="0">
                    <a:pos x="173" y="87"/>
                  </a:cxn>
                  <a:cxn ang="0">
                    <a:pos x="177" y="115"/>
                  </a:cxn>
                  <a:cxn ang="0">
                    <a:pos x="173" y="150"/>
                  </a:cxn>
                  <a:cxn ang="0">
                    <a:pos x="168" y="157"/>
                  </a:cxn>
                  <a:cxn ang="0">
                    <a:pos x="161" y="163"/>
                  </a:cxn>
                  <a:cxn ang="0">
                    <a:pos x="125" y="177"/>
                  </a:cxn>
                  <a:cxn ang="0">
                    <a:pos x="117" y="172"/>
                  </a:cxn>
                  <a:cxn ang="0">
                    <a:pos x="76" y="195"/>
                  </a:cxn>
                  <a:cxn ang="0">
                    <a:pos x="64" y="195"/>
                  </a:cxn>
                  <a:cxn ang="0">
                    <a:pos x="52" y="190"/>
                  </a:cxn>
                  <a:cxn ang="0">
                    <a:pos x="46" y="179"/>
                  </a:cxn>
                  <a:cxn ang="0">
                    <a:pos x="44" y="169"/>
                  </a:cxn>
                  <a:cxn ang="0">
                    <a:pos x="14" y="158"/>
                  </a:cxn>
                  <a:cxn ang="0">
                    <a:pos x="6" y="148"/>
                  </a:cxn>
                  <a:cxn ang="0">
                    <a:pos x="6" y="136"/>
                  </a:cxn>
                  <a:cxn ang="0">
                    <a:pos x="9" y="129"/>
                  </a:cxn>
                  <a:cxn ang="0">
                    <a:pos x="6" y="118"/>
                  </a:cxn>
                  <a:cxn ang="0">
                    <a:pos x="6" y="102"/>
                  </a:cxn>
                  <a:cxn ang="0">
                    <a:pos x="0" y="83"/>
                  </a:cxn>
                  <a:cxn ang="0">
                    <a:pos x="4" y="61"/>
                  </a:cxn>
                  <a:cxn ang="0">
                    <a:pos x="8" y="56"/>
                  </a:cxn>
                  <a:cxn ang="0">
                    <a:pos x="32" y="49"/>
                  </a:cxn>
                  <a:cxn ang="0">
                    <a:pos x="37" y="39"/>
                  </a:cxn>
                  <a:cxn ang="0">
                    <a:pos x="46" y="33"/>
                  </a:cxn>
                  <a:cxn ang="0">
                    <a:pos x="54" y="37"/>
                  </a:cxn>
                  <a:cxn ang="0">
                    <a:pos x="63" y="23"/>
                  </a:cxn>
                  <a:cxn ang="0">
                    <a:pos x="71" y="23"/>
                  </a:cxn>
                  <a:cxn ang="0">
                    <a:pos x="76" y="19"/>
                  </a:cxn>
                </a:cxnLst>
                <a:rect l="0" t="0" r="r" b="b"/>
                <a:pathLst>
                  <a:path w="200" h="195">
                    <a:moveTo>
                      <a:pt x="76" y="19"/>
                    </a:moveTo>
                    <a:lnTo>
                      <a:pt x="84" y="23"/>
                    </a:lnTo>
                    <a:lnTo>
                      <a:pt x="84" y="19"/>
                    </a:lnTo>
                    <a:lnTo>
                      <a:pt x="95" y="13"/>
                    </a:lnTo>
                    <a:lnTo>
                      <a:pt x="127" y="7"/>
                    </a:lnTo>
                    <a:lnTo>
                      <a:pt x="128" y="13"/>
                    </a:lnTo>
                    <a:lnTo>
                      <a:pt x="138" y="16"/>
                    </a:lnTo>
                    <a:lnTo>
                      <a:pt x="145" y="5"/>
                    </a:lnTo>
                    <a:lnTo>
                      <a:pt x="172" y="0"/>
                    </a:lnTo>
                    <a:lnTo>
                      <a:pt x="198" y="8"/>
                    </a:lnTo>
                    <a:lnTo>
                      <a:pt x="200" y="21"/>
                    </a:lnTo>
                    <a:lnTo>
                      <a:pt x="199" y="37"/>
                    </a:lnTo>
                    <a:lnTo>
                      <a:pt x="194" y="46"/>
                    </a:lnTo>
                    <a:lnTo>
                      <a:pt x="149" y="60"/>
                    </a:lnTo>
                    <a:lnTo>
                      <a:pt x="135" y="60"/>
                    </a:lnTo>
                    <a:lnTo>
                      <a:pt x="134" y="65"/>
                    </a:lnTo>
                    <a:lnTo>
                      <a:pt x="127" y="70"/>
                    </a:lnTo>
                    <a:lnTo>
                      <a:pt x="134" y="76"/>
                    </a:lnTo>
                    <a:lnTo>
                      <a:pt x="129" y="80"/>
                    </a:lnTo>
                    <a:lnTo>
                      <a:pt x="105" y="81"/>
                    </a:lnTo>
                    <a:lnTo>
                      <a:pt x="107" y="85"/>
                    </a:lnTo>
                    <a:lnTo>
                      <a:pt x="107" y="97"/>
                    </a:lnTo>
                    <a:lnTo>
                      <a:pt x="114" y="87"/>
                    </a:lnTo>
                    <a:lnTo>
                      <a:pt x="116" y="94"/>
                    </a:lnTo>
                    <a:lnTo>
                      <a:pt x="111" y="104"/>
                    </a:lnTo>
                    <a:lnTo>
                      <a:pt x="123" y="92"/>
                    </a:lnTo>
                    <a:lnTo>
                      <a:pt x="129" y="92"/>
                    </a:lnTo>
                    <a:lnTo>
                      <a:pt x="129" y="104"/>
                    </a:lnTo>
                    <a:lnTo>
                      <a:pt x="134" y="99"/>
                    </a:lnTo>
                    <a:lnTo>
                      <a:pt x="135" y="87"/>
                    </a:lnTo>
                    <a:lnTo>
                      <a:pt x="140" y="81"/>
                    </a:lnTo>
                    <a:lnTo>
                      <a:pt x="144" y="89"/>
                    </a:lnTo>
                    <a:lnTo>
                      <a:pt x="155" y="92"/>
                    </a:lnTo>
                    <a:lnTo>
                      <a:pt x="173" y="87"/>
                    </a:lnTo>
                    <a:lnTo>
                      <a:pt x="177" y="115"/>
                    </a:lnTo>
                    <a:lnTo>
                      <a:pt x="173" y="150"/>
                    </a:lnTo>
                    <a:lnTo>
                      <a:pt x="168" y="157"/>
                    </a:lnTo>
                    <a:lnTo>
                      <a:pt x="161" y="163"/>
                    </a:lnTo>
                    <a:lnTo>
                      <a:pt x="125" y="177"/>
                    </a:lnTo>
                    <a:lnTo>
                      <a:pt x="117" y="172"/>
                    </a:lnTo>
                    <a:lnTo>
                      <a:pt x="76" y="195"/>
                    </a:lnTo>
                    <a:lnTo>
                      <a:pt x="64" y="195"/>
                    </a:lnTo>
                    <a:lnTo>
                      <a:pt x="52" y="190"/>
                    </a:lnTo>
                    <a:lnTo>
                      <a:pt x="46" y="179"/>
                    </a:lnTo>
                    <a:lnTo>
                      <a:pt x="44" y="169"/>
                    </a:lnTo>
                    <a:lnTo>
                      <a:pt x="14" y="158"/>
                    </a:lnTo>
                    <a:lnTo>
                      <a:pt x="6" y="148"/>
                    </a:lnTo>
                    <a:lnTo>
                      <a:pt x="6" y="136"/>
                    </a:lnTo>
                    <a:lnTo>
                      <a:pt x="9" y="129"/>
                    </a:lnTo>
                    <a:lnTo>
                      <a:pt x="6" y="118"/>
                    </a:lnTo>
                    <a:lnTo>
                      <a:pt x="6" y="102"/>
                    </a:lnTo>
                    <a:lnTo>
                      <a:pt x="0" y="83"/>
                    </a:lnTo>
                    <a:lnTo>
                      <a:pt x="4" y="61"/>
                    </a:lnTo>
                    <a:lnTo>
                      <a:pt x="8" y="56"/>
                    </a:lnTo>
                    <a:lnTo>
                      <a:pt x="32" y="49"/>
                    </a:lnTo>
                    <a:lnTo>
                      <a:pt x="37" y="39"/>
                    </a:lnTo>
                    <a:lnTo>
                      <a:pt x="46" y="33"/>
                    </a:lnTo>
                    <a:lnTo>
                      <a:pt x="54" y="37"/>
                    </a:lnTo>
                    <a:lnTo>
                      <a:pt x="63" y="23"/>
                    </a:lnTo>
                    <a:lnTo>
                      <a:pt x="71" y="23"/>
                    </a:lnTo>
                    <a:lnTo>
                      <a:pt x="76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5" name="Freeform 296"/>
              <p:cNvSpPr>
                <a:spLocks noChangeAspect="1"/>
              </p:cNvSpPr>
              <p:nvPr/>
            </p:nvSpPr>
            <p:spPr bwMode="gray">
              <a:xfrm>
                <a:off x="1271" y="1035"/>
                <a:ext cx="44" cy="26"/>
              </a:xfrm>
              <a:custGeom>
                <a:avLst/>
                <a:gdLst/>
                <a:ahLst/>
                <a:cxnLst>
                  <a:cxn ang="0">
                    <a:pos x="184" y="32"/>
                  </a:cxn>
                  <a:cxn ang="0">
                    <a:pos x="188" y="31"/>
                  </a:cxn>
                  <a:cxn ang="0">
                    <a:pos x="192" y="46"/>
                  </a:cxn>
                  <a:cxn ang="0">
                    <a:pos x="207" y="47"/>
                  </a:cxn>
                  <a:cxn ang="0">
                    <a:pos x="208" y="57"/>
                  </a:cxn>
                  <a:cxn ang="0">
                    <a:pos x="216" y="66"/>
                  </a:cxn>
                  <a:cxn ang="0">
                    <a:pos x="216" y="74"/>
                  </a:cxn>
                  <a:cxn ang="0">
                    <a:pos x="219" y="80"/>
                  </a:cxn>
                  <a:cxn ang="0">
                    <a:pos x="219" y="101"/>
                  </a:cxn>
                  <a:cxn ang="0">
                    <a:pos x="216" y="117"/>
                  </a:cxn>
                  <a:cxn ang="0">
                    <a:pos x="208" y="122"/>
                  </a:cxn>
                  <a:cxn ang="0">
                    <a:pos x="195" y="126"/>
                  </a:cxn>
                  <a:cxn ang="0">
                    <a:pos x="188" y="121"/>
                  </a:cxn>
                  <a:cxn ang="0">
                    <a:pos x="160" y="131"/>
                  </a:cxn>
                  <a:cxn ang="0">
                    <a:pos x="148" y="127"/>
                  </a:cxn>
                  <a:cxn ang="0">
                    <a:pos x="130" y="105"/>
                  </a:cxn>
                  <a:cxn ang="0">
                    <a:pos x="121" y="104"/>
                  </a:cxn>
                  <a:cxn ang="0">
                    <a:pos x="114" y="94"/>
                  </a:cxn>
                  <a:cxn ang="0">
                    <a:pos x="109" y="97"/>
                  </a:cxn>
                  <a:cxn ang="0">
                    <a:pos x="107" y="90"/>
                  </a:cxn>
                  <a:cxn ang="0">
                    <a:pos x="107" y="105"/>
                  </a:cxn>
                  <a:cxn ang="0">
                    <a:pos x="111" y="117"/>
                  </a:cxn>
                  <a:cxn ang="0">
                    <a:pos x="105" y="120"/>
                  </a:cxn>
                  <a:cxn ang="0">
                    <a:pos x="107" y="131"/>
                  </a:cxn>
                  <a:cxn ang="0">
                    <a:pos x="86" y="133"/>
                  </a:cxn>
                  <a:cxn ang="0">
                    <a:pos x="78" y="111"/>
                  </a:cxn>
                  <a:cxn ang="0">
                    <a:pos x="60" y="107"/>
                  </a:cxn>
                  <a:cxn ang="0">
                    <a:pos x="57" y="99"/>
                  </a:cxn>
                  <a:cxn ang="0">
                    <a:pos x="49" y="101"/>
                  </a:cxn>
                  <a:cxn ang="0">
                    <a:pos x="51" y="107"/>
                  </a:cxn>
                  <a:cxn ang="0">
                    <a:pos x="51" y="110"/>
                  </a:cxn>
                  <a:cxn ang="0">
                    <a:pos x="43" y="107"/>
                  </a:cxn>
                  <a:cxn ang="0">
                    <a:pos x="31" y="115"/>
                  </a:cxn>
                  <a:cxn ang="0">
                    <a:pos x="32" y="124"/>
                  </a:cxn>
                  <a:cxn ang="0">
                    <a:pos x="31" y="132"/>
                  </a:cxn>
                  <a:cxn ang="0">
                    <a:pos x="28" y="126"/>
                  </a:cxn>
                  <a:cxn ang="0">
                    <a:pos x="15" y="133"/>
                  </a:cxn>
                  <a:cxn ang="0">
                    <a:pos x="8" y="131"/>
                  </a:cxn>
                  <a:cxn ang="0">
                    <a:pos x="6" y="120"/>
                  </a:cxn>
                  <a:cxn ang="0">
                    <a:pos x="0" y="120"/>
                  </a:cxn>
                  <a:cxn ang="0">
                    <a:pos x="8" y="94"/>
                  </a:cxn>
                  <a:cxn ang="0">
                    <a:pos x="23" y="79"/>
                  </a:cxn>
                  <a:cxn ang="0">
                    <a:pos x="27" y="84"/>
                  </a:cxn>
                  <a:cxn ang="0">
                    <a:pos x="36" y="81"/>
                  </a:cxn>
                  <a:cxn ang="0">
                    <a:pos x="36" y="75"/>
                  </a:cxn>
                  <a:cxn ang="0">
                    <a:pos x="53" y="62"/>
                  </a:cxn>
                  <a:cxn ang="0">
                    <a:pos x="85" y="54"/>
                  </a:cxn>
                  <a:cxn ang="0">
                    <a:pos x="105" y="45"/>
                  </a:cxn>
                  <a:cxn ang="0">
                    <a:pos x="117" y="19"/>
                  </a:cxn>
                  <a:cxn ang="0">
                    <a:pos x="121" y="26"/>
                  </a:cxn>
                  <a:cxn ang="0">
                    <a:pos x="140" y="3"/>
                  </a:cxn>
                  <a:cxn ang="0">
                    <a:pos x="159" y="0"/>
                  </a:cxn>
                  <a:cxn ang="0">
                    <a:pos x="164" y="5"/>
                  </a:cxn>
                  <a:cxn ang="0">
                    <a:pos x="164" y="13"/>
                  </a:cxn>
                  <a:cxn ang="0">
                    <a:pos x="168" y="13"/>
                  </a:cxn>
                  <a:cxn ang="0">
                    <a:pos x="171" y="21"/>
                  </a:cxn>
                  <a:cxn ang="0">
                    <a:pos x="184" y="26"/>
                  </a:cxn>
                  <a:cxn ang="0">
                    <a:pos x="184" y="32"/>
                  </a:cxn>
                </a:cxnLst>
                <a:rect l="0" t="0" r="r" b="b"/>
                <a:pathLst>
                  <a:path w="219" h="133">
                    <a:moveTo>
                      <a:pt x="184" y="32"/>
                    </a:moveTo>
                    <a:lnTo>
                      <a:pt x="188" y="31"/>
                    </a:lnTo>
                    <a:lnTo>
                      <a:pt x="192" y="46"/>
                    </a:lnTo>
                    <a:lnTo>
                      <a:pt x="207" y="47"/>
                    </a:lnTo>
                    <a:lnTo>
                      <a:pt x="208" y="57"/>
                    </a:lnTo>
                    <a:lnTo>
                      <a:pt x="216" y="66"/>
                    </a:lnTo>
                    <a:lnTo>
                      <a:pt x="216" y="74"/>
                    </a:lnTo>
                    <a:lnTo>
                      <a:pt x="219" y="80"/>
                    </a:lnTo>
                    <a:lnTo>
                      <a:pt x="219" y="101"/>
                    </a:lnTo>
                    <a:lnTo>
                      <a:pt x="216" y="117"/>
                    </a:lnTo>
                    <a:lnTo>
                      <a:pt x="208" y="122"/>
                    </a:lnTo>
                    <a:lnTo>
                      <a:pt x="195" y="126"/>
                    </a:lnTo>
                    <a:lnTo>
                      <a:pt x="188" y="121"/>
                    </a:lnTo>
                    <a:lnTo>
                      <a:pt x="160" y="131"/>
                    </a:lnTo>
                    <a:lnTo>
                      <a:pt x="148" y="127"/>
                    </a:lnTo>
                    <a:lnTo>
                      <a:pt x="130" y="105"/>
                    </a:lnTo>
                    <a:lnTo>
                      <a:pt x="121" y="104"/>
                    </a:lnTo>
                    <a:lnTo>
                      <a:pt x="114" y="94"/>
                    </a:lnTo>
                    <a:lnTo>
                      <a:pt x="109" y="97"/>
                    </a:lnTo>
                    <a:lnTo>
                      <a:pt x="107" y="90"/>
                    </a:lnTo>
                    <a:lnTo>
                      <a:pt x="107" y="105"/>
                    </a:lnTo>
                    <a:lnTo>
                      <a:pt x="111" y="117"/>
                    </a:lnTo>
                    <a:lnTo>
                      <a:pt x="105" y="120"/>
                    </a:lnTo>
                    <a:lnTo>
                      <a:pt x="107" y="131"/>
                    </a:lnTo>
                    <a:lnTo>
                      <a:pt x="86" y="133"/>
                    </a:lnTo>
                    <a:lnTo>
                      <a:pt x="78" y="111"/>
                    </a:lnTo>
                    <a:lnTo>
                      <a:pt x="60" y="107"/>
                    </a:lnTo>
                    <a:lnTo>
                      <a:pt x="57" y="99"/>
                    </a:lnTo>
                    <a:lnTo>
                      <a:pt x="49" y="101"/>
                    </a:lnTo>
                    <a:lnTo>
                      <a:pt x="51" y="107"/>
                    </a:lnTo>
                    <a:lnTo>
                      <a:pt x="51" y="110"/>
                    </a:lnTo>
                    <a:lnTo>
                      <a:pt x="43" y="107"/>
                    </a:lnTo>
                    <a:lnTo>
                      <a:pt x="31" y="115"/>
                    </a:lnTo>
                    <a:lnTo>
                      <a:pt x="32" y="124"/>
                    </a:lnTo>
                    <a:lnTo>
                      <a:pt x="31" y="132"/>
                    </a:lnTo>
                    <a:lnTo>
                      <a:pt x="28" y="126"/>
                    </a:lnTo>
                    <a:lnTo>
                      <a:pt x="15" y="133"/>
                    </a:lnTo>
                    <a:lnTo>
                      <a:pt x="8" y="131"/>
                    </a:lnTo>
                    <a:lnTo>
                      <a:pt x="6" y="120"/>
                    </a:lnTo>
                    <a:lnTo>
                      <a:pt x="0" y="120"/>
                    </a:lnTo>
                    <a:lnTo>
                      <a:pt x="8" y="94"/>
                    </a:lnTo>
                    <a:lnTo>
                      <a:pt x="23" y="79"/>
                    </a:lnTo>
                    <a:lnTo>
                      <a:pt x="27" y="84"/>
                    </a:lnTo>
                    <a:lnTo>
                      <a:pt x="36" y="81"/>
                    </a:lnTo>
                    <a:lnTo>
                      <a:pt x="36" y="75"/>
                    </a:lnTo>
                    <a:lnTo>
                      <a:pt x="53" y="62"/>
                    </a:lnTo>
                    <a:lnTo>
                      <a:pt x="85" y="54"/>
                    </a:lnTo>
                    <a:lnTo>
                      <a:pt x="105" y="45"/>
                    </a:lnTo>
                    <a:lnTo>
                      <a:pt x="117" y="19"/>
                    </a:lnTo>
                    <a:lnTo>
                      <a:pt x="121" y="26"/>
                    </a:lnTo>
                    <a:lnTo>
                      <a:pt x="140" y="3"/>
                    </a:lnTo>
                    <a:lnTo>
                      <a:pt x="159" y="0"/>
                    </a:lnTo>
                    <a:lnTo>
                      <a:pt x="164" y="5"/>
                    </a:lnTo>
                    <a:lnTo>
                      <a:pt x="164" y="13"/>
                    </a:lnTo>
                    <a:lnTo>
                      <a:pt x="168" y="13"/>
                    </a:lnTo>
                    <a:lnTo>
                      <a:pt x="171" y="21"/>
                    </a:lnTo>
                    <a:lnTo>
                      <a:pt x="184" y="26"/>
                    </a:lnTo>
                    <a:lnTo>
                      <a:pt x="184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6" name="Freeform 297"/>
              <p:cNvSpPr>
                <a:spLocks noChangeAspect="1"/>
              </p:cNvSpPr>
              <p:nvPr/>
            </p:nvSpPr>
            <p:spPr bwMode="gray">
              <a:xfrm>
                <a:off x="1461" y="1086"/>
                <a:ext cx="33" cy="21"/>
              </a:xfrm>
              <a:custGeom>
                <a:avLst/>
                <a:gdLst/>
                <a:ahLst/>
                <a:cxnLst>
                  <a:cxn ang="0">
                    <a:pos x="61" y="15"/>
                  </a:cxn>
                  <a:cxn ang="0">
                    <a:pos x="70" y="20"/>
                  </a:cxn>
                  <a:cxn ang="0">
                    <a:pos x="73" y="12"/>
                  </a:cxn>
                  <a:cxn ang="0">
                    <a:pos x="89" y="10"/>
                  </a:cxn>
                  <a:cxn ang="0">
                    <a:pos x="89" y="15"/>
                  </a:cxn>
                  <a:cxn ang="0">
                    <a:pos x="103" y="20"/>
                  </a:cxn>
                  <a:cxn ang="0">
                    <a:pos x="106" y="15"/>
                  </a:cxn>
                  <a:cxn ang="0">
                    <a:pos x="124" y="26"/>
                  </a:cxn>
                  <a:cxn ang="0">
                    <a:pos x="135" y="25"/>
                  </a:cxn>
                  <a:cxn ang="0">
                    <a:pos x="140" y="15"/>
                  </a:cxn>
                  <a:cxn ang="0">
                    <a:pos x="147" y="25"/>
                  </a:cxn>
                  <a:cxn ang="0">
                    <a:pos x="158" y="30"/>
                  </a:cxn>
                  <a:cxn ang="0">
                    <a:pos x="164" y="44"/>
                  </a:cxn>
                  <a:cxn ang="0">
                    <a:pos x="162" y="49"/>
                  </a:cxn>
                  <a:cxn ang="0">
                    <a:pos x="151" y="52"/>
                  </a:cxn>
                  <a:cxn ang="0">
                    <a:pos x="148" y="57"/>
                  </a:cxn>
                  <a:cxn ang="0">
                    <a:pos x="151" y="62"/>
                  </a:cxn>
                  <a:cxn ang="0">
                    <a:pos x="152" y="71"/>
                  </a:cxn>
                  <a:cxn ang="0">
                    <a:pos x="149" y="85"/>
                  </a:cxn>
                  <a:cxn ang="0">
                    <a:pos x="151" y="91"/>
                  </a:cxn>
                  <a:cxn ang="0">
                    <a:pos x="146" y="101"/>
                  </a:cxn>
                  <a:cxn ang="0">
                    <a:pos x="126" y="103"/>
                  </a:cxn>
                  <a:cxn ang="0">
                    <a:pos x="105" y="98"/>
                  </a:cxn>
                  <a:cxn ang="0">
                    <a:pos x="99" y="91"/>
                  </a:cxn>
                  <a:cxn ang="0">
                    <a:pos x="82" y="93"/>
                  </a:cxn>
                  <a:cxn ang="0">
                    <a:pos x="81" y="89"/>
                  </a:cxn>
                  <a:cxn ang="0">
                    <a:pos x="65" y="97"/>
                  </a:cxn>
                  <a:cxn ang="0">
                    <a:pos x="63" y="92"/>
                  </a:cxn>
                  <a:cxn ang="0">
                    <a:pos x="54" y="87"/>
                  </a:cxn>
                  <a:cxn ang="0">
                    <a:pos x="34" y="87"/>
                  </a:cxn>
                  <a:cxn ang="0">
                    <a:pos x="24" y="76"/>
                  </a:cxn>
                  <a:cxn ang="0">
                    <a:pos x="17" y="76"/>
                  </a:cxn>
                  <a:cxn ang="0">
                    <a:pos x="7" y="63"/>
                  </a:cxn>
                  <a:cxn ang="0">
                    <a:pos x="3" y="52"/>
                  </a:cxn>
                  <a:cxn ang="0">
                    <a:pos x="3" y="44"/>
                  </a:cxn>
                  <a:cxn ang="0">
                    <a:pos x="0" y="42"/>
                  </a:cxn>
                  <a:cxn ang="0">
                    <a:pos x="2" y="30"/>
                  </a:cxn>
                  <a:cxn ang="0">
                    <a:pos x="13" y="20"/>
                  </a:cxn>
                  <a:cxn ang="0">
                    <a:pos x="30" y="15"/>
                  </a:cxn>
                  <a:cxn ang="0">
                    <a:pos x="35" y="0"/>
                  </a:cxn>
                  <a:cxn ang="0">
                    <a:pos x="41" y="0"/>
                  </a:cxn>
                  <a:cxn ang="0">
                    <a:pos x="45" y="15"/>
                  </a:cxn>
                  <a:cxn ang="0">
                    <a:pos x="50" y="12"/>
                  </a:cxn>
                  <a:cxn ang="0">
                    <a:pos x="54" y="17"/>
                  </a:cxn>
                  <a:cxn ang="0">
                    <a:pos x="61" y="15"/>
                  </a:cxn>
                </a:cxnLst>
                <a:rect l="0" t="0" r="r" b="b"/>
                <a:pathLst>
                  <a:path w="164" h="103">
                    <a:moveTo>
                      <a:pt x="61" y="15"/>
                    </a:moveTo>
                    <a:lnTo>
                      <a:pt x="70" y="20"/>
                    </a:lnTo>
                    <a:lnTo>
                      <a:pt x="73" y="12"/>
                    </a:lnTo>
                    <a:lnTo>
                      <a:pt x="89" y="10"/>
                    </a:lnTo>
                    <a:lnTo>
                      <a:pt x="89" y="15"/>
                    </a:lnTo>
                    <a:lnTo>
                      <a:pt x="103" y="20"/>
                    </a:lnTo>
                    <a:lnTo>
                      <a:pt x="106" y="15"/>
                    </a:lnTo>
                    <a:lnTo>
                      <a:pt x="124" y="26"/>
                    </a:lnTo>
                    <a:lnTo>
                      <a:pt x="135" y="25"/>
                    </a:lnTo>
                    <a:lnTo>
                      <a:pt x="140" y="15"/>
                    </a:lnTo>
                    <a:lnTo>
                      <a:pt x="147" y="25"/>
                    </a:lnTo>
                    <a:lnTo>
                      <a:pt x="158" y="30"/>
                    </a:lnTo>
                    <a:lnTo>
                      <a:pt x="164" y="44"/>
                    </a:lnTo>
                    <a:lnTo>
                      <a:pt x="162" y="49"/>
                    </a:lnTo>
                    <a:lnTo>
                      <a:pt x="151" y="52"/>
                    </a:lnTo>
                    <a:lnTo>
                      <a:pt x="148" y="57"/>
                    </a:lnTo>
                    <a:lnTo>
                      <a:pt x="151" y="62"/>
                    </a:lnTo>
                    <a:lnTo>
                      <a:pt x="152" y="71"/>
                    </a:lnTo>
                    <a:lnTo>
                      <a:pt x="149" y="85"/>
                    </a:lnTo>
                    <a:lnTo>
                      <a:pt x="151" y="91"/>
                    </a:lnTo>
                    <a:lnTo>
                      <a:pt x="146" y="101"/>
                    </a:lnTo>
                    <a:lnTo>
                      <a:pt x="126" y="103"/>
                    </a:lnTo>
                    <a:lnTo>
                      <a:pt x="105" y="98"/>
                    </a:lnTo>
                    <a:lnTo>
                      <a:pt x="99" y="91"/>
                    </a:lnTo>
                    <a:lnTo>
                      <a:pt x="82" y="93"/>
                    </a:lnTo>
                    <a:lnTo>
                      <a:pt x="81" y="89"/>
                    </a:lnTo>
                    <a:lnTo>
                      <a:pt x="65" y="97"/>
                    </a:lnTo>
                    <a:lnTo>
                      <a:pt x="63" y="92"/>
                    </a:lnTo>
                    <a:lnTo>
                      <a:pt x="54" y="87"/>
                    </a:lnTo>
                    <a:lnTo>
                      <a:pt x="34" y="87"/>
                    </a:lnTo>
                    <a:lnTo>
                      <a:pt x="24" y="76"/>
                    </a:lnTo>
                    <a:lnTo>
                      <a:pt x="17" y="76"/>
                    </a:lnTo>
                    <a:lnTo>
                      <a:pt x="7" y="63"/>
                    </a:lnTo>
                    <a:lnTo>
                      <a:pt x="3" y="52"/>
                    </a:lnTo>
                    <a:lnTo>
                      <a:pt x="3" y="44"/>
                    </a:lnTo>
                    <a:lnTo>
                      <a:pt x="0" y="42"/>
                    </a:lnTo>
                    <a:lnTo>
                      <a:pt x="2" y="30"/>
                    </a:lnTo>
                    <a:lnTo>
                      <a:pt x="13" y="2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5" y="15"/>
                    </a:lnTo>
                    <a:lnTo>
                      <a:pt x="50" y="12"/>
                    </a:lnTo>
                    <a:lnTo>
                      <a:pt x="54" y="17"/>
                    </a:lnTo>
                    <a:lnTo>
                      <a:pt x="6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7" name="Freeform 298"/>
              <p:cNvSpPr>
                <a:spLocks noChangeAspect="1"/>
              </p:cNvSpPr>
              <p:nvPr/>
            </p:nvSpPr>
            <p:spPr bwMode="gray">
              <a:xfrm>
                <a:off x="1452" y="1121"/>
                <a:ext cx="189" cy="119"/>
              </a:xfrm>
              <a:custGeom>
                <a:avLst/>
                <a:gdLst/>
                <a:ahLst/>
                <a:cxnLst>
                  <a:cxn ang="0">
                    <a:pos x="27" y="21"/>
                  </a:cxn>
                  <a:cxn ang="0">
                    <a:pos x="19" y="52"/>
                  </a:cxn>
                  <a:cxn ang="0">
                    <a:pos x="3" y="68"/>
                  </a:cxn>
                  <a:cxn ang="0">
                    <a:pos x="37" y="106"/>
                  </a:cxn>
                  <a:cxn ang="0">
                    <a:pos x="110" y="210"/>
                  </a:cxn>
                  <a:cxn ang="0">
                    <a:pos x="169" y="197"/>
                  </a:cxn>
                  <a:cxn ang="0">
                    <a:pos x="197" y="176"/>
                  </a:cxn>
                  <a:cxn ang="0">
                    <a:pos x="229" y="268"/>
                  </a:cxn>
                  <a:cxn ang="0">
                    <a:pos x="266" y="354"/>
                  </a:cxn>
                  <a:cxn ang="0">
                    <a:pos x="245" y="454"/>
                  </a:cxn>
                  <a:cxn ang="0">
                    <a:pos x="271" y="534"/>
                  </a:cxn>
                  <a:cxn ang="0">
                    <a:pos x="307" y="537"/>
                  </a:cxn>
                  <a:cxn ang="0">
                    <a:pos x="345" y="559"/>
                  </a:cxn>
                  <a:cxn ang="0">
                    <a:pos x="397" y="580"/>
                  </a:cxn>
                  <a:cxn ang="0">
                    <a:pos x="412" y="527"/>
                  </a:cxn>
                  <a:cxn ang="0">
                    <a:pos x="443" y="517"/>
                  </a:cxn>
                  <a:cxn ang="0">
                    <a:pos x="466" y="591"/>
                  </a:cxn>
                  <a:cxn ang="0">
                    <a:pos x="517" y="575"/>
                  </a:cxn>
                  <a:cxn ang="0">
                    <a:pos x="559" y="579"/>
                  </a:cxn>
                  <a:cxn ang="0">
                    <a:pos x="590" y="579"/>
                  </a:cxn>
                  <a:cxn ang="0">
                    <a:pos x="640" y="585"/>
                  </a:cxn>
                  <a:cxn ang="0">
                    <a:pos x="658" y="580"/>
                  </a:cxn>
                  <a:cxn ang="0">
                    <a:pos x="728" y="497"/>
                  </a:cxn>
                  <a:cxn ang="0">
                    <a:pos x="775" y="582"/>
                  </a:cxn>
                  <a:cxn ang="0">
                    <a:pos x="837" y="579"/>
                  </a:cxn>
                  <a:cxn ang="0">
                    <a:pos x="913" y="528"/>
                  </a:cxn>
                  <a:cxn ang="0">
                    <a:pos x="917" y="453"/>
                  </a:cxn>
                  <a:cxn ang="0">
                    <a:pos x="936" y="376"/>
                  </a:cxn>
                  <a:cxn ang="0">
                    <a:pos x="912" y="346"/>
                  </a:cxn>
                  <a:cxn ang="0">
                    <a:pos x="859" y="302"/>
                  </a:cxn>
                  <a:cxn ang="0">
                    <a:pos x="737" y="302"/>
                  </a:cxn>
                  <a:cxn ang="0">
                    <a:pos x="670" y="330"/>
                  </a:cxn>
                  <a:cxn ang="0">
                    <a:pos x="635" y="348"/>
                  </a:cxn>
                  <a:cxn ang="0">
                    <a:pos x="610" y="361"/>
                  </a:cxn>
                  <a:cxn ang="0">
                    <a:pos x="617" y="399"/>
                  </a:cxn>
                  <a:cxn ang="0">
                    <a:pos x="560" y="386"/>
                  </a:cxn>
                  <a:cxn ang="0">
                    <a:pos x="503" y="386"/>
                  </a:cxn>
                  <a:cxn ang="0">
                    <a:pos x="465" y="383"/>
                  </a:cxn>
                  <a:cxn ang="0">
                    <a:pos x="436" y="348"/>
                  </a:cxn>
                  <a:cxn ang="0">
                    <a:pos x="407" y="357"/>
                  </a:cxn>
                  <a:cxn ang="0">
                    <a:pos x="390" y="354"/>
                  </a:cxn>
                  <a:cxn ang="0">
                    <a:pos x="381" y="306"/>
                  </a:cxn>
                  <a:cxn ang="0">
                    <a:pos x="358" y="279"/>
                  </a:cxn>
                  <a:cxn ang="0">
                    <a:pos x="327" y="289"/>
                  </a:cxn>
                  <a:cxn ang="0">
                    <a:pos x="354" y="263"/>
                  </a:cxn>
                  <a:cxn ang="0">
                    <a:pos x="325" y="246"/>
                  </a:cxn>
                  <a:cxn ang="0">
                    <a:pos x="296" y="206"/>
                  </a:cxn>
                  <a:cxn ang="0">
                    <a:pos x="347" y="232"/>
                  </a:cxn>
                  <a:cxn ang="0">
                    <a:pos x="418" y="193"/>
                  </a:cxn>
                  <a:cxn ang="0">
                    <a:pos x="344" y="172"/>
                  </a:cxn>
                  <a:cxn ang="0">
                    <a:pos x="323" y="144"/>
                  </a:cxn>
                  <a:cxn ang="0">
                    <a:pos x="350" y="139"/>
                  </a:cxn>
                  <a:cxn ang="0">
                    <a:pos x="293" y="95"/>
                  </a:cxn>
                  <a:cxn ang="0">
                    <a:pos x="232" y="123"/>
                  </a:cxn>
                  <a:cxn ang="0">
                    <a:pos x="192" y="123"/>
                  </a:cxn>
                  <a:cxn ang="0">
                    <a:pos x="176" y="36"/>
                  </a:cxn>
                  <a:cxn ang="0">
                    <a:pos x="111" y="15"/>
                  </a:cxn>
                </a:cxnLst>
                <a:rect l="0" t="0" r="r" b="b"/>
                <a:pathLst>
                  <a:path w="946" h="593">
                    <a:moveTo>
                      <a:pt x="111" y="15"/>
                    </a:moveTo>
                    <a:lnTo>
                      <a:pt x="101" y="17"/>
                    </a:lnTo>
                    <a:lnTo>
                      <a:pt x="79" y="2"/>
                    </a:lnTo>
                    <a:lnTo>
                      <a:pt x="60" y="0"/>
                    </a:lnTo>
                    <a:lnTo>
                      <a:pt x="27" y="11"/>
                    </a:lnTo>
                    <a:lnTo>
                      <a:pt x="27" y="21"/>
                    </a:lnTo>
                    <a:lnTo>
                      <a:pt x="21" y="27"/>
                    </a:lnTo>
                    <a:lnTo>
                      <a:pt x="6" y="25"/>
                    </a:lnTo>
                    <a:lnTo>
                      <a:pt x="9" y="32"/>
                    </a:lnTo>
                    <a:lnTo>
                      <a:pt x="5" y="39"/>
                    </a:lnTo>
                    <a:lnTo>
                      <a:pt x="8" y="48"/>
                    </a:lnTo>
                    <a:lnTo>
                      <a:pt x="19" y="52"/>
                    </a:lnTo>
                    <a:lnTo>
                      <a:pt x="31" y="66"/>
                    </a:lnTo>
                    <a:lnTo>
                      <a:pt x="36" y="72"/>
                    </a:lnTo>
                    <a:lnTo>
                      <a:pt x="37" y="76"/>
                    </a:lnTo>
                    <a:lnTo>
                      <a:pt x="21" y="76"/>
                    </a:lnTo>
                    <a:lnTo>
                      <a:pt x="6" y="64"/>
                    </a:lnTo>
                    <a:lnTo>
                      <a:pt x="3" y="6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24" y="92"/>
                    </a:lnTo>
                    <a:lnTo>
                      <a:pt x="25" y="99"/>
                    </a:lnTo>
                    <a:lnTo>
                      <a:pt x="35" y="108"/>
                    </a:lnTo>
                    <a:lnTo>
                      <a:pt x="37" y="106"/>
                    </a:lnTo>
                    <a:lnTo>
                      <a:pt x="45" y="122"/>
                    </a:lnTo>
                    <a:lnTo>
                      <a:pt x="52" y="120"/>
                    </a:lnTo>
                    <a:lnTo>
                      <a:pt x="72" y="167"/>
                    </a:lnTo>
                    <a:lnTo>
                      <a:pt x="91" y="169"/>
                    </a:lnTo>
                    <a:lnTo>
                      <a:pt x="101" y="179"/>
                    </a:lnTo>
                    <a:lnTo>
                      <a:pt x="110" y="210"/>
                    </a:lnTo>
                    <a:lnTo>
                      <a:pt x="111" y="192"/>
                    </a:lnTo>
                    <a:lnTo>
                      <a:pt x="118" y="201"/>
                    </a:lnTo>
                    <a:lnTo>
                      <a:pt x="169" y="210"/>
                    </a:lnTo>
                    <a:lnTo>
                      <a:pt x="175" y="209"/>
                    </a:lnTo>
                    <a:lnTo>
                      <a:pt x="167" y="204"/>
                    </a:lnTo>
                    <a:lnTo>
                      <a:pt x="169" y="197"/>
                    </a:lnTo>
                    <a:lnTo>
                      <a:pt x="176" y="194"/>
                    </a:lnTo>
                    <a:lnTo>
                      <a:pt x="177" y="197"/>
                    </a:lnTo>
                    <a:lnTo>
                      <a:pt x="185" y="192"/>
                    </a:lnTo>
                    <a:lnTo>
                      <a:pt x="191" y="187"/>
                    </a:lnTo>
                    <a:lnTo>
                      <a:pt x="192" y="181"/>
                    </a:lnTo>
                    <a:lnTo>
                      <a:pt x="197" y="176"/>
                    </a:lnTo>
                    <a:lnTo>
                      <a:pt x="207" y="183"/>
                    </a:lnTo>
                    <a:lnTo>
                      <a:pt x="210" y="203"/>
                    </a:lnTo>
                    <a:lnTo>
                      <a:pt x="216" y="216"/>
                    </a:lnTo>
                    <a:lnTo>
                      <a:pt x="224" y="230"/>
                    </a:lnTo>
                    <a:lnTo>
                      <a:pt x="229" y="253"/>
                    </a:lnTo>
                    <a:lnTo>
                      <a:pt x="229" y="268"/>
                    </a:lnTo>
                    <a:lnTo>
                      <a:pt x="234" y="271"/>
                    </a:lnTo>
                    <a:lnTo>
                      <a:pt x="246" y="289"/>
                    </a:lnTo>
                    <a:lnTo>
                      <a:pt x="255" y="306"/>
                    </a:lnTo>
                    <a:lnTo>
                      <a:pt x="256" y="328"/>
                    </a:lnTo>
                    <a:lnTo>
                      <a:pt x="258" y="345"/>
                    </a:lnTo>
                    <a:lnTo>
                      <a:pt x="266" y="354"/>
                    </a:lnTo>
                    <a:lnTo>
                      <a:pt x="253" y="367"/>
                    </a:lnTo>
                    <a:lnTo>
                      <a:pt x="239" y="397"/>
                    </a:lnTo>
                    <a:lnTo>
                      <a:pt x="245" y="400"/>
                    </a:lnTo>
                    <a:lnTo>
                      <a:pt x="240" y="426"/>
                    </a:lnTo>
                    <a:lnTo>
                      <a:pt x="239" y="437"/>
                    </a:lnTo>
                    <a:lnTo>
                      <a:pt x="245" y="454"/>
                    </a:lnTo>
                    <a:lnTo>
                      <a:pt x="264" y="450"/>
                    </a:lnTo>
                    <a:lnTo>
                      <a:pt x="261" y="466"/>
                    </a:lnTo>
                    <a:lnTo>
                      <a:pt x="256" y="481"/>
                    </a:lnTo>
                    <a:lnTo>
                      <a:pt x="258" y="507"/>
                    </a:lnTo>
                    <a:lnTo>
                      <a:pt x="257" y="518"/>
                    </a:lnTo>
                    <a:lnTo>
                      <a:pt x="271" y="534"/>
                    </a:lnTo>
                    <a:lnTo>
                      <a:pt x="288" y="540"/>
                    </a:lnTo>
                    <a:lnTo>
                      <a:pt x="282" y="543"/>
                    </a:lnTo>
                    <a:lnTo>
                      <a:pt x="283" y="551"/>
                    </a:lnTo>
                    <a:lnTo>
                      <a:pt x="288" y="558"/>
                    </a:lnTo>
                    <a:lnTo>
                      <a:pt x="306" y="554"/>
                    </a:lnTo>
                    <a:lnTo>
                      <a:pt x="307" y="537"/>
                    </a:lnTo>
                    <a:lnTo>
                      <a:pt x="312" y="533"/>
                    </a:lnTo>
                    <a:lnTo>
                      <a:pt x="330" y="517"/>
                    </a:lnTo>
                    <a:lnTo>
                      <a:pt x="318" y="537"/>
                    </a:lnTo>
                    <a:lnTo>
                      <a:pt x="334" y="560"/>
                    </a:lnTo>
                    <a:lnTo>
                      <a:pt x="334" y="533"/>
                    </a:lnTo>
                    <a:lnTo>
                      <a:pt x="345" y="559"/>
                    </a:lnTo>
                    <a:lnTo>
                      <a:pt x="355" y="559"/>
                    </a:lnTo>
                    <a:lnTo>
                      <a:pt x="352" y="569"/>
                    </a:lnTo>
                    <a:lnTo>
                      <a:pt x="363" y="572"/>
                    </a:lnTo>
                    <a:lnTo>
                      <a:pt x="366" y="564"/>
                    </a:lnTo>
                    <a:lnTo>
                      <a:pt x="369" y="577"/>
                    </a:lnTo>
                    <a:lnTo>
                      <a:pt x="397" y="580"/>
                    </a:lnTo>
                    <a:lnTo>
                      <a:pt x="417" y="558"/>
                    </a:lnTo>
                    <a:lnTo>
                      <a:pt x="416" y="553"/>
                    </a:lnTo>
                    <a:lnTo>
                      <a:pt x="404" y="542"/>
                    </a:lnTo>
                    <a:lnTo>
                      <a:pt x="407" y="529"/>
                    </a:lnTo>
                    <a:lnTo>
                      <a:pt x="404" y="529"/>
                    </a:lnTo>
                    <a:lnTo>
                      <a:pt x="412" y="527"/>
                    </a:lnTo>
                    <a:lnTo>
                      <a:pt x="419" y="531"/>
                    </a:lnTo>
                    <a:lnTo>
                      <a:pt x="418" y="517"/>
                    </a:lnTo>
                    <a:lnTo>
                      <a:pt x="425" y="540"/>
                    </a:lnTo>
                    <a:lnTo>
                      <a:pt x="431" y="550"/>
                    </a:lnTo>
                    <a:lnTo>
                      <a:pt x="441" y="531"/>
                    </a:lnTo>
                    <a:lnTo>
                      <a:pt x="443" y="517"/>
                    </a:lnTo>
                    <a:lnTo>
                      <a:pt x="447" y="518"/>
                    </a:lnTo>
                    <a:lnTo>
                      <a:pt x="456" y="528"/>
                    </a:lnTo>
                    <a:lnTo>
                      <a:pt x="456" y="538"/>
                    </a:lnTo>
                    <a:lnTo>
                      <a:pt x="452" y="561"/>
                    </a:lnTo>
                    <a:lnTo>
                      <a:pt x="451" y="585"/>
                    </a:lnTo>
                    <a:lnTo>
                      <a:pt x="466" y="591"/>
                    </a:lnTo>
                    <a:lnTo>
                      <a:pt x="474" y="585"/>
                    </a:lnTo>
                    <a:lnTo>
                      <a:pt x="486" y="591"/>
                    </a:lnTo>
                    <a:lnTo>
                      <a:pt x="493" y="583"/>
                    </a:lnTo>
                    <a:lnTo>
                      <a:pt x="497" y="593"/>
                    </a:lnTo>
                    <a:lnTo>
                      <a:pt x="516" y="588"/>
                    </a:lnTo>
                    <a:lnTo>
                      <a:pt x="517" y="575"/>
                    </a:lnTo>
                    <a:lnTo>
                      <a:pt x="525" y="575"/>
                    </a:lnTo>
                    <a:lnTo>
                      <a:pt x="524" y="588"/>
                    </a:lnTo>
                    <a:lnTo>
                      <a:pt x="533" y="591"/>
                    </a:lnTo>
                    <a:lnTo>
                      <a:pt x="554" y="592"/>
                    </a:lnTo>
                    <a:lnTo>
                      <a:pt x="560" y="587"/>
                    </a:lnTo>
                    <a:lnTo>
                      <a:pt x="559" y="579"/>
                    </a:lnTo>
                    <a:lnTo>
                      <a:pt x="553" y="566"/>
                    </a:lnTo>
                    <a:lnTo>
                      <a:pt x="557" y="579"/>
                    </a:lnTo>
                    <a:lnTo>
                      <a:pt x="572" y="588"/>
                    </a:lnTo>
                    <a:lnTo>
                      <a:pt x="579" y="580"/>
                    </a:lnTo>
                    <a:lnTo>
                      <a:pt x="583" y="566"/>
                    </a:lnTo>
                    <a:lnTo>
                      <a:pt x="590" y="579"/>
                    </a:lnTo>
                    <a:lnTo>
                      <a:pt x="594" y="592"/>
                    </a:lnTo>
                    <a:lnTo>
                      <a:pt x="613" y="588"/>
                    </a:lnTo>
                    <a:lnTo>
                      <a:pt x="621" y="575"/>
                    </a:lnTo>
                    <a:lnTo>
                      <a:pt x="621" y="549"/>
                    </a:lnTo>
                    <a:lnTo>
                      <a:pt x="634" y="581"/>
                    </a:lnTo>
                    <a:lnTo>
                      <a:pt x="640" y="585"/>
                    </a:lnTo>
                    <a:lnTo>
                      <a:pt x="643" y="576"/>
                    </a:lnTo>
                    <a:lnTo>
                      <a:pt x="651" y="566"/>
                    </a:lnTo>
                    <a:lnTo>
                      <a:pt x="649" y="551"/>
                    </a:lnTo>
                    <a:lnTo>
                      <a:pt x="650" y="543"/>
                    </a:lnTo>
                    <a:lnTo>
                      <a:pt x="651" y="556"/>
                    </a:lnTo>
                    <a:lnTo>
                      <a:pt x="658" y="580"/>
                    </a:lnTo>
                    <a:lnTo>
                      <a:pt x="682" y="580"/>
                    </a:lnTo>
                    <a:lnTo>
                      <a:pt x="730" y="569"/>
                    </a:lnTo>
                    <a:lnTo>
                      <a:pt x="747" y="532"/>
                    </a:lnTo>
                    <a:lnTo>
                      <a:pt x="737" y="521"/>
                    </a:lnTo>
                    <a:lnTo>
                      <a:pt x="731" y="505"/>
                    </a:lnTo>
                    <a:lnTo>
                      <a:pt x="728" y="497"/>
                    </a:lnTo>
                    <a:lnTo>
                      <a:pt x="739" y="504"/>
                    </a:lnTo>
                    <a:lnTo>
                      <a:pt x="746" y="518"/>
                    </a:lnTo>
                    <a:lnTo>
                      <a:pt x="757" y="518"/>
                    </a:lnTo>
                    <a:lnTo>
                      <a:pt x="758" y="533"/>
                    </a:lnTo>
                    <a:lnTo>
                      <a:pt x="758" y="559"/>
                    </a:lnTo>
                    <a:lnTo>
                      <a:pt x="775" y="582"/>
                    </a:lnTo>
                    <a:lnTo>
                      <a:pt x="788" y="580"/>
                    </a:lnTo>
                    <a:lnTo>
                      <a:pt x="790" y="570"/>
                    </a:lnTo>
                    <a:lnTo>
                      <a:pt x="796" y="580"/>
                    </a:lnTo>
                    <a:lnTo>
                      <a:pt x="811" y="588"/>
                    </a:lnTo>
                    <a:lnTo>
                      <a:pt x="825" y="591"/>
                    </a:lnTo>
                    <a:lnTo>
                      <a:pt x="837" y="579"/>
                    </a:lnTo>
                    <a:lnTo>
                      <a:pt x="859" y="570"/>
                    </a:lnTo>
                    <a:lnTo>
                      <a:pt x="892" y="570"/>
                    </a:lnTo>
                    <a:lnTo>
                      <a:pt x="903" y="564"/>
                    </a:lnTo>
                    <a:lnTo>
                      <a:pt x="917" y="563"/>
                    </a:lnTo>
                    <a:lnTo>
                      <a:pt x="917" y="534"/>
                    </a:lnTo>
                    <a:lnTo>
                      <a:pt x="913" y="528"/>
                    </a:lnTo>
                    <a:lnTo>
                      <a:pt x="915" y="521"/>
                    </a:lnTo>
                    <a:lnTo>
                      <a:pt x="909" y="510"/>
                    </a:lnTo>
                    <a:lnTo>
                      <a:pt x="896" y="495"/>
                    </a:lnTo>
                    <a:lnTo>
                      <a:pt x="897" y="468"/>
                    </a:lnTo>
                    <a:lnTo>
                      <a:pt x="907" y="463"/>
                    </a:lnTo>
                    <a:lnTo>
                      <a:pt x="917" y="453"/>
                    </a:lnTo>
                    <a:lnTo>
                      <a:pt x="923" y="440"/>
                    </a:lnTo>
                    <a:lnTo>
                      <a:pt x="935" y="434"/>
                    </a:lnTo>
                    <a:lnTo>
                      <a:pt x="946" y="415"/>
                    </a:lnTo>
                    <a:lnTo>
                      <a:pt x="945" y="378"/>
                    </a:lnTo>
                    <a:lnTo>
                      <a:pt x="944" y="376"/>
                    </a:lnTo>
                    <a:lnTo>
                      <a:pt x="936" y="376"/>
                    </a:lnTo>
                    <a:lnTo>
                      <a:pt x="933" y="367"/>
                    </a:lnTo>
                    <a:lnTo>
                      <a:pt x="935" y="361"/>
                    </a:lnTo>
                    <a:lnTo>
                      <a:pt x="911" y="366"/>
                    </a:lnTo>
                    <a:lnTo>
                      <a:pt x="902" y="362"/>
                    </a:lnTo>
                    <a:lnTo>
                      <a:pt x="913" y="355"/>
                    </a:lnTo>
                    <a:lnTo>
                      <a:pt x="912" y="346"/>
                    </a:lnTo>
                    <a:lnTo>
                      <a:pt x="909" y="341"/>
                    </a:lnTo>
                    <a:lnTo>
                      <a:pt x="892" y="329"/>
                    </a:lnTo>
                    <a:lnTo>
                      <a:pt x="881" y="334"/>
                    </a:lnTo>
                    <a:lnTo>
                      <a:pt x="860" y="328"/>
                    </a:lnTo>
                    <a:lnTo>
                      <a:pt x="863" y="310"/>
                    </a:lnTo>
                    <a:lnTo>
                      <a:pt x="859" y="302"/>
                    </a:lnTo>
                    <a:lnTo>
                      <a:pt x="853" y="305"/>
                    </a:lnTo>
                    <a:lnTo>
                      <a:pt x="798" y="291"/>
                    </a:lnTo>
                    <a:lnTo>
                      <a:pt x="777" y="297"/>
                    </a:lnTo>
                    <a:lnTo>
                      <a:pt x="756" y="313"/>
                    </a:lnTo>
                    <a:lnTo>
                      <a:pt x="741" y="311"/>
                    </a:lnTo>
                    <a:lnTo>
                      <a:pt x="737" y="302"/>
                    </a:lnTo>
                    <a:lnTo>
                      <a:pt x="729" y="306"/>
                    </a:lnTo>
                    <a:lnTo>
                      <a:pt x="720" y="298"/>
                    </a:lnTo>
                    <a:lnTo>
                      <a:pt x="712" y="298"/>
                    </a:lnTo>
                    <a:lnTo>
                      <a:pt x="705" y="310"/>
                    </a:lnTo>
                    <a:lnTo>
                      <a:pt x="676" y="324"/>
                    </a:lnTo>
                    <a:lnTo>
                      <a:pt x="670" y="330"/>
                    </a:lnTo>
                    <a:lnTo>
                      <a:pt x="671" y="338"/>
                    </a:lnTo>
                    <a:lnTo>
                      <a:pt x="673" y="341"/>
                    </a:lnTo>
                    <a:lnTo>
                      <a:pt x="654" y="335"/>
                    </a:lnTo>
                    <a:lnTo>
                      <a:pt x="644" y="339"/>
                    </a:lnTo>
                    <a:lnTo>
                      <a:pt x="638" y="351"/>
                    </a:lnTo>
                    <a:lnTo>
                      <a:pt x="635" y="348"/>
                    </a:lnTo>
                    <a:lnTo>
                      <a:pt x="638" y="362"/>
                    </a:lnTo>
                    <a:lnTo>
                      <a:pt x="637" y="367"/>
                    </a:lnTo>
                    <a:lnTo>
                      <a:pt x="635" y="362"/>
                    </a:lnTo>
                    <a:lnTo>
                      <a:pt x="623" y="357"/>
                    </a:lnTo>
                    <a:lnTo>
                      <a:pt x="621" y="349"/>
                    </a:lnTo>
                    <a:lnTo>
                      <a:pt x="610" y="361"/>
                    </a:lnTo>
                    <a:lnTo>
                      <a:pt x="600" y="361"/>
                    </a:lnTo>
                    <a:lnTo>
                      <a:pt x="584" y="370"/>
                    </a:lnTo>
                    <a:lnTo>
                      <a:pt x="585" y="377"/>
                    </a:lnTo>
                    <a:lnTo>
                      <a:pt x="596" y="386"/>
                    </a:lnTo>
                    <a:lnTo>
                      <a:pt x="615" y="391"/>
                    </a:lnTo>
                    <a:lnTo>
                      <a:pt x="617" y="399"/>
                    </a:lnTo>
                    <a:lnTo>
                      <a:pt x="606" y="394"/>
                    </a:lnTo>
                    <a:lnTo>
                      <a:pt x="583" y="393"/>
                    </a:lnTo>
                    <a:lnTo>
                      <a:pt x="554" y="409"/>
                    </a:lnTo>
                    <a:lnTo>
                      <a:pt x="549" y="403"/>
                    </a:lnTo>
                    <a:lnTo>
                      <a:pt x="567" y="393"/>
                    </a:lnTo>
                    <a:lnTo>
                      <a:pt x="560" y="386"/>
                    </a:lnTo>
                    <a:lnTo>
                      <a:pt x="538" y="377"/>
                    </a:lnTo>
                    <a:lnTo>
                      <a:pt x="529" y="360"/>
                    </a:lnTo>
                    <a:lnTo>
                      <a:pt x="511" y="351"/>
                    </a:lnTo>
                    <a:lnTo>
                      <a:pt x="504" y="364"/>
                    </a:lnTo>
                    <a:lnTo>
                      <a:pt x="505" y="377"/>
                    </a:lnTo>
                    <a:lnTo>
                      <a:pt x="503" y="386"/>
                    </a:lnTo>
                    <a:lnTo>
                      <a:pt x="498" y="364"/>
                    </a:lnTo>
                    <a:lnTo>
                      <a:pt x="492" y="357"/>
                    </a:lnTo>
                    <a:lnTo>
                      <a:pt x="482" y="370"/>
                    </a:lnTo>
                    <a:lnTo>
                      <a:pt x="479" y="377"/>
                    </a:lnTo>
                    <a:lnTo>
                      <a:pt x="474" y="384"/>
                    </a:lnTo>
                    <a:lnTo>
                      <a:pt x="465" y="383"/>
                    </a:lnTo>
                    <a:lnTo>
                      <a:pt x="470" y="371"/>
                    </a:lnTo>
                    <a:lnTo>
                      <a:pt x="467" y="367"/>
                    </a:lnTo>
                    <a:lnTo>
                      <a:pt x="458" y="357"/>
                    </a:lnTo>
                    <a:lnTo>
                      <a:pt x="456" y="350"/>
                    </a:lnTo>
                    <a:lnTo>
                      <a:pt x="445" y="340"/>
                    </a:lnTo>
                    <a:lnTo>
                      <a:pt x="436" y="348"/>
                    </a:lnTo>
                    <a:lnTo>
                      <a:pt x="434" y="359"/>
                    </a:lnTo>
                    <a:lnTo>
                      <a:pt x="439" y="383"/>
                    </a:lnTo>
                    <a:lnTo>
                      <a:pt x="431" y="397"/>
                    </a:lnTo>
                    <a:lnTo>
                      <a:pt x="427" y="388"/>
                    </a:lnTo>
                    <a:lnTo>
                      <a:pt x="422" y="365"/>
                    </a:lnTo>
                    <a:lnTo>
                      <a:pt x="407" y="357"/>
                    </a:lnTo>
                    <a:lnTo>
                      <a:pt x="400" y="367"/>
                    </a:lnTo>
                    <a:lnTo>
                      <a:pt x="395" y="366"/>
                    </a:lnTo>
                    <a:lnTo>
                      <a:pt x="395" y="364"/>
                    </a:lnTo>
                    <a:lnTo>
                      <a:pt x="397" y="357"/>
                    </a:lnTo>
                    <a:lnTo>
                      <a:pt x="388" y="361"/>
                    </a:lnTo>
                    <a:lnTo>
                      <a:pt x="390" y="354"/>
                    </a:lnTo>
                    <a:lnTo>
                      <a:pt x="409" y="349"/>
                    </a:lnTo>
                    <a:lnTo>
                      <a:pt x="417" y="317"/>
                    </a:lnTo>
                    <a:lnTo>
                      <a:pt x="412" y="316"/>
                    </a:lnTo>
                    <a:lnTo>
                      <a:pt x="407" y="302"/>
                    </a:lnTo>
                    <a:lnTo>
                      <a:pt x="393" y="310"/>
                    </a:lnTo>
                    <a:lnTo>
                      <a:pt x="381" y="306"/>
                    </a:lnTo>
                    <a:lnTo>
                      <a:pt x="387" y="295"/>
                    </a:lnTo>
                    <a:lnTo>
                      <a:pt x="380" y="278"/>
                    </a:lnTo>
                    <a:lnTo>
                      <a:pt x="374" y="274"/>
                    </a:lnTo>
                    <a:lnTo>
                      <a:pt x="369" y="284"/>
                    </a:lnTo>
                    <a:lnTo>
                      <a:pt x="365" y="286"/>
                    </a:lnTo>
                    <a:lnTo>
                      <a:pt x="358" y="279"/>
                    </a:lnTo>
                    <a:lnTo>
                      <a:pt x="347" y="289"/>
                    </a:lnTo>
                    <a:lnTo>
                      <a:pt x="347" y="275"/>
                    </a:lnTo>
                    <a:lnTo>
                      <a:pt x="339" y="280"/>
                    </a:lnTo>
                    <a:lnTo>
                      <a:pt x="333" y="279"/>
                    </a:lnTo>
                    <a:lnTo>
                      <a:pt x="332" y="276"/>
                    </a:lnTo>
                    <a:lnTo>
                      <a:pt x="327" y="289"/>
                    </a:lnTo>
                    <a:lnTo>
                      <a:pt x="306" y="312"/>
                    </a:lnTo>
                    <a:lnTo>
                      <a:pt x="309" y="291"/>
                    </a:lnTo>
                    <a:lnTo>
                      <a:pt x="317" y="286"/>
                    </a:lnTo>
                    <a:lnTo>
                      <a:pt x="318" y="281"/>
                    </a:lnTo>
                    <a:lnTo>
                      <a:pt x="312" y="271"/>
                    </a:lnTo>
                    <a:lnTo>
                      <a:pt x="354" y="263"/>
                    </a:lnTo>
                    <a:lnTo>
                      <a:pt x="344" y="255"/>
                    </a:lnTo>
                    <a:lnTo>
                      <a:pt x="332" y="259"/>
                    </a:lnTo>
                    <a:lnTo>
                      <a:pt x="326" y="252"/>
                    </a:lnTo>
                    <a:lnTo>
                      <a:pt x="328" y="249"/>
                    </a:lnTo>
                    <a:lnTo>
                      <a:pt x="330" y="246"/>
                    </a:lnTo>
                    <a:lnTo>
                      <a:pt x="325" y="246"/>
                    </a:lnTo>
                    <a:lnTo>
                      <a:pt x="321" y="238"/>
                    </a:lnTo>
                    <a:lnTo>
                      <a:pt x="307" y="231"/>
                    </a:lnTo>
                    <a:lnTo>
                      <a:pt x="290" y="230"/>
                    </a:lnTo>
                    <a:lnTo>
                      <a:pt x="301" y="217"/>
                    </a:lnTo>
                    <a:lnTo>
                      <a:pt x="295" y="215"/>
                    </a:lnTo>
                    <a:lnTo>
                      <a:pt x="296" y="206"/>
                    </a:lnTo>
                    <a:lnTo>
                      <a:pt x="311" y="225"/>
                    </a:lnTo>
                    <a:lnTo>
                      <a:pt x="326" y="228"/>
                    </a:lnTo>
                    <a:lnTo>
                      <a:pt x="337" y="227"/>
                    </a:lnTo>
                    <a:lnTo>
                      <a:pt x="349" y="241"/>
                    </a:lnTo>
                    <a:lnTo>
                      <a:pt x="357" y="241"/>
                    </a:lnTo>
                    <a:lnTo>
                      <a:pt x="347" y="232"/>
                    </a:lnTo>
                    <a:lnTo>
                      <a:pt x="359" y="231"/>
                    </a:lnTo>
                    <a:lnTo>
                      <a:pt x="387" y="237"/>
                    </a:lnTo>
                    <a:lnTo>
                      <a:pt x="402" y="236"/>
                    </a:lnTo>
                    <a:lnTo>
                      <a:pt x="417" y="222"/>
                    </a:lnTo>
                    <a:lnTo>
                      <a:pt x="420" y="206"/>
                    </a:lnTo>
                    <a:lnTo>
                      <a:pt x="418" y="193"/>
                    </a:lnTo>
                    <a:lnTo>
                      <a:pt x="401" y="197"/>
                    </a:lnTo>
                    <a:lnTo>
                      <a:pt x="386" y="193"/>
                    </a:lnTo>
                    <a:lnTo>
                      <a:pt x="359" y="176"/>
                    </a:lnTo>
                    <a:lnTo>
                      <a:pt x="352" y="174"/>
                    </a:lnTo>
                    <a:lnTo>
                      <a:pt x="347" y="179"/>
                    </a:lnTo>
                    <a:lnTo>
                      <a:pt x="344" y="172"/>
                    </a:lnTo>
                    <a:lnTo>
                      <a:pt x="325" y="160"/>
                    </a:lnTo>
                    <a:lnTo>
                      <a:pt x="298" y="157"/>
                    </a:lnTo>
                    <a:lnTo>
                      <a:pt x="295" y="151"/>
                    </a:lnTo>
                    <a:lnTo>
                      <a:pt x="295" y="146"/>
                    </a:lnTo>
                    <a:lnTo>
                      <a:pt x="320" y="150"/>
                    </a:lnTo>
                    <a:lnTo>
                      <a:pt x="323" y="144"/>
                    </a:lnTo>
                    <a:lnTo>
                      <a:pt x="328" y="151"/>
                    </a:lnTo>
                    <a:lnTo>
                      <a:pt x="337" y="157"/>
                    </a:lnTo>
                    <a:lnTo>
                      <a:pt x="345" y="160"/>
                    </a:lnTo>
                    <a:lnTo>
                      <a:pt x="354" y="156"/>
                    </a:lnTo>
                    <a:lnTo>
                      <a:pt x="352" y="150"/>
                    </a:lnTo>
                    <a:lnTo>
                      <a:pt x="350" y="139"/>
                    </a:lnTo>
                    <a:lnTo>
                      <a:pt x="345" y="130"/>
                    </a:lnTo>
                    <a:lnTo>
                      <a:pt x="320" y="112"/>
                    </a:lnTo>
                    <a:lnTo>
                      <a:pt x="310" y="108"/>
                    </a:lnTo>
                    <a:lnTo>
                      <a:pt x="302" y="102"/>
                    </a:lnTo>
                    <a:lnTo>
                      <a:pt x="301" y="97"/>
                    </a:lnTo>
                    <a:lnTo>
                      <a:pt x="293" y="95"/>
                    </a:lnTo>
                    <a:lnTo>
                      <a:pt x="290" y="99"/>
                    </a:lnTo>
                    <a:lnTo>
                      <a:pt x="269" y="107"/>
                    </a:lnTo>
                    <a:lnTo>
                      <a:pt x="261" y="119"/>
                    </a:lnTo>
                    <a:lnTo>
                      <a:pt x="247" y="123"/>
                    </a:lnTo>
                    <a:lnTo>
                      <a:pt x="241" y="115"/>
                    </a:lnTo>
                    <a:lnTo>
                      <a:pt x="232" y="123"/>
                    </a:lnTo>
                    <a:lnTo>
                      <a:pt x="210" y="120"/>
                    </a:lnTo>
                    <a:lnTo>
                      <a:pt x="193" y="152"/>
                    </a:lnTo>
                    <a:lnTo>
                      <a:pt x="180" y="163"/>
                    </a:lnTo>
                    <a:lnTo>
                      <a:pt x="182" y="154"/>
                    </a:lnTo>
                    <a:lnTo>
                      <a:pt x="181" y="147"/>
                    </a:lnTo>
                    <a:lnTo>
                      <a:pt x="192" y="123"/>
                    </a:lnTo>
                    <a:lnTo>
                      <a:pt x="191" y="112"/>
                    </a:lnTo>
                    <a:lnTo>
                      <a:pt x="197" y="86"/>
                    </a:lnTo>
                    <a:lnTo>
                      <a:pt x="193" y="82"/>
                    </a:lnTo>
                    <a:lnTo>
                      <a:pt x="192" y="70"/>
                    </a:lnTo>
                    <a:lnTo>
                      <a:pt x="186" y="63"/>
                    </a:lnTo>
                    <a:lnTo>
                      <a:pt x="176" y="36"/>
                    </a:lnTo>
                    <a:lnTo>
                      <a:pt x="166" y="39"/>
                    </a:lnTo>
                    <a:lnTo>
                      <a:pt x="161" y="29"/>
                    </a:lnTo>
                    <a:lnTo>
                      <a:pt x="156" y="39"/>
                    </a:lnTo>
                    <a:lnTo>
                      <a:pt x="143" y="45"/>
                    </a:lnTo>
                    <a:lnTo>
                      <a:pt x="137" y="33"/>
                    </a:lnTo>
                    <a:lnTo>
                      <a:pt x="111" y="1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8" name="Freeform 299"/>
              <p:cNvSpPr>
                <a:spLocks noChangeAspect="1"/>
              </p:cNvSpPr>
              <p:nvPr/>
            </p:nvSpPr>
            <p:spPr bwMode="gray">
              <a:xfrm>
                <a:off x="1457" y="1187"/>
                <a:ext cx="33" cy="46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105" y="22"/>
                  </a:cxn>
                  <a:cxn ang="0">
                    <a:pos x="123" y="39"/>
                  </a:cxn>
                  <a:cxn ang="0">
                    <a:pos x="129" y="48"/>
                  </a:cxn>
                  <a:cxn ang="0">
                    <a:pos x="130" y="76"/>
                  </a:cxn>
                  <a:cxn ang="0">
                    <a:pos x="149" y="76"/>
                  </a:cxn>
                  <a:cxn ang="0">
                    <a:pos x="156" y="89"/>
                  </a:cxn>
                  <a:cxn ang="0">
                    <a:pos x="157" y="109"/>
                  </a:cxn>
                  <a:cxn ang="0">
                    <a:pos x="159" y="145"/>
                  </a:cxn>
                  <a:cxn ang="0">
                    <a:pos x="161" y="210"/>
                  </a:cxn>
                  <a:cxn ang="0">
                    <a:pos x="150" y="226"/>
                  </a:cxn>
                  <a:cxn ang="0">
                    <a:pos x="124" y="229"/>
                  </a:cxn>
                  <a:cxn ang="0">
                    <a:pos x="98" y="228"/>
                  </a:cxn>
                  <a:cxn ang="0">
                    <a:pos x="86" y="211"/>
                  </a:cxn>
                  <a:cxn ang="0">
                    <a:pos x="75" y="197"/>
                  </a:cxn>
                  <a:cxn ang="0">
                    <a:pos x="62" y="185"/>
                  </a:cxn>
                  <a:cxn ang="0">
                    <a:pos x="60" y="195"/>
                  </a:cxn>
                  <a:cxn ang="0">
                    <a:pos x="53" y="193"/>
                  </a:cxn>
                  <a:cxn ang="0">
                    <a:pos x="50" y="178"/>
                  </a:cxn>
                  <a:cxn ang="0">
                    <a:pos x="39" y="183"/>
                  </a:cxn>
                  <a:cxn ang="0">
                    <a:pos x="26" y="159"/>
                  </a:cxn>
                  <a:cxn ang="0">
                    <a:pos x="31" y="142"/>
                  </a:cxn>
                  <a:cxn ang="0">
                    <a:pos x="25" y="137"/>
                  </a:cxn>
                  <a:cxn ang="0">
                    <a:pos x="14" y="158"/>
                  </a:cxn>
                  <a:cxn ang="0">
                    <a:pos x="6" y="141"/>
                  </a:cxn>
                  <a:cxn ang="0">
                    <a:pos x="0" y="113"/>
                  </a:cxn>
                  <a:cxn ang="0">
                    <a:pos x="6" y="103"/>
                  </a:cxn>
                  <a:cxn ang="0">
                    <a:pos x="7" y="92"/>
                  </a:cxn>
                  <a:cxn ang="0">
                    <a:pos x="23" y="83"/>
                  </a:cxn>
                  <a:cxn ang="0">
                    <a:pos x="34" y="73"/>
                  </a:cxn>
                  <a:cxn ang="0">
                    <a:pos x="26" y="67"/>
                  </a:cxn>
                  <a:cxn ang="0">
                    <a:pos x="32" y="64"/>
                  </a:cxn>
                  <a:cxn ang="0">
                    <a:pos x="39" y="50"/>
                  </a:cxn>
                  <a:cxn ang="0">
                    <a:pos x="23" y="60"/>
                  </a:cxn>
                  <a:cxn ang="0">
                    <a:pos x="28" y="45"/>
                  </a:cxn>
                  <a:cxn ang="0">
                    <a:pos x="44" y="43"/>
                  </a:cxn>
                  <a:cxn ang="0">
                    <a:pos x="65" y="5"/>
                  </a:cxn>
                  <a:cxn ang="0">
                    <a:pos x="84" y="7"/>
                  </a:cxn>
                </a:cxnLst>
                <a:rect l="0" t="0" r="r" b="b"/>
                <a:pathLst>
                  <a:path w="163" h="229">
                    <a:moveTo>
                      <a:pt x="84" y="7"/>
                    </a:moveTo>
                    <a:lnTo>
                      <a:pt x="82" y="0"/>
                    </a:lnTo>
                    <a:lnTo>
                      <a:pt x="85" y="12"/>
                    </a:lnTo>
                    <a:lnTo>
                      <a:pt x="105" y="22"/>
                    </a:lnTo>
                    <a:lnTo>
                      <a:pt x="114" y="34"/>
                    </a:lnTo>
                    <a:lnTo>
                      <a:pt x="123" y="39"/>
                    </a:lnTo>
                    <a:lnTo>
                      <a:pt x="123" y="48"/>
                    </a:lnTo>
                    <a:lnTo>
                      <a:pt x="129" y="48"/>
                    </a:lnTo>
                    <a:lnTo>
                      <a:pt x="134" y="59"/>
                    </a:lnTo>
                    <a:lnTo>
                      <a:pt x="130" y="76"/>
                    </a:lnTo>
                    <a:lnTo>
                      <a:pt x="141" y="65"/>
                    </a:lnTo>
                    <a:lnTo>
                      <a:pt x="149" y="76"/>
                    </a:lnTo>
                    <a:lnTo>
                      <a:pt x="147" y="82"/>
                    </a:lnTo>
                    <a:lnTo>
                      <a:pt x="156" y="89"/>
                    </a:lnTo>
                    <a:lnTo>
                      <a:pt x="161" y="99"/>
                    </a:lnTo>
                    <a:lnTo>
                      <a:pt x="157" y="109"/>
                    </a:lnTo>
                    <a:lnTo>
                      <a:pt x="161" y="123"/>
                    </a:lnTo>
                    <a:lnTo>
                      <a:pt x="159" y="145"/>
                    </a:lnTo>
                    <a:lnTo>
                      <a:pt x="163" y="182"/>
                    </a:lnTo>
                    <a:lnTo>
                      <a:pt x="161" y="210"/>
                    </a:lnTo>
                    <a:lnTo>
                      <a:pt x="159" y="218"/>
                    </a:lnTo>
                    <a:lnTo>
                      <a:pt x="150" y="226"/>
                    </a:lnTo>
                    <a:lnTo>
                      <a:pt x="136" y="224"/>
                    </a:lnTo>
                    <a:lnTo>
                      <a:pt x="124" y="229"/>
                    </a:lnTo>
                    <a:lnTo>
                      <a:pt x="112" y="226"/>
                    </a:lnTo>
                    <a:lnTo>
                      <a:pt x="98" y="228"/>
                    </a:lnTo>
                    <a:lnTo>
                      <a:pt x="89" y="220"/>
                    </a:lnTo>
                    <a:lnTo>
                      <a:pt x="86" y="211"/>
                    </a:lnTo>
                    <a:lnTo>
                      <a:pt x="77" y="207"/>
                    </a:lnTo>
                    <a:lnTo>
                      <a:pt x="75" y="197"/>
                    </a:lnTo>
                    <a:lnTo>
                      <a:pt x="68" y="185"/>
                    </a:lnTo>
                    <a:lnTo>
                      <a:pt x="62" y="185"/>
                    </a:lnTo>
                    <a:lnTo>
                      <a:pt x="59" y="190"/>
                    </a:lnTo>
                    <a:lnTo>
                      <a:pt x="60" y="195"/>
                    </a:lnTo>
                    <a:lnTo>
                      <a:pt x="57" y="197"/>
                    </a:lnTo>
                    <a:lnTo>
                      <a:pt x="53" y="193"/>
                    </a:lnTo>
                    <a:lnTo>
                      <a:pt x="52" y="180"/>
                    </a:lnTo>
                    <a:lnTo>
                      <a:pt x="50" y="178"/>
                    </a:lnTo>
                    <a:lnTo>
                      <a:pt x="42" y="177"/>
                    </a:lnTo>
                    <a:lnTo>
                      <a:pt x="39" y="183"/>
                    </a:lnTo>
                    <a:lnTo>
                      <a:pt x="34" y="178"/>
                    </a:lnTo>
                    <a:lnTo>
                      <a:pt x="26" y="159"/>
                    </a:lnTo>
                    <a:lnTo>
                      <a:pt x="26" y="152"/>
                    </a:lnTo>
                    <a:lnTo>
                      <a:pt x="31" y="142"/>
                    </a:lnTo>
                    <a:lnTo>
                      <a:pt x="27" y="146"/>
                    </a:lnTo>
                    <a:lnTo>
                      <a:pt x="25" y="137"/>
                    </a:lnTo>
                    <a:lnTo>
                      <a:pt x="19" y="157"/>
                    </a:lnTo>
                    <a:lnTo>
                      <a:pt x="14" y="158"/>
                    </a:lnTo>
                    <a:lnTo>
                      <a:pt x="11" y="146"/>
                    </a:lnTo>
                    <a:lnTo>
                      <a:pt x="6" y="141"/>
                    </a:lnTo>
                    <a:lnTo>
                      <a:pt x="1" y="123"/>
                    </a:lnTo>
                    <a:lnTo>
                      <a:pt x="0" y="113"/>
                    </a:lnTo>
                    <a:lnTo>
                      <a:pt x="0" y="103"/>
                    </a:lnTo>
                    <a:lnTo>
                      <a:pt x="6" y="103"/>
                    </a:lnTo>
                    <a:lnTo>
                      <a:pt x="11" y="99"/>
                    </a:lnTo>
                    <a:lnTo>
                      <a:pt x="7" y="92"/>
                    </a:lnTo>
                    <a:lnTo>
                      <a:pt x="12" y="89"/>
                    </a:lnTo>
                    <a:lnTo>
                      <a:pt x="23" y="83"/>
                    </a:lnTo>
                    <a:lnTo>
                      <a:pt x="36" y="78"/>
                    </a:lnTo>
                    <a:lnTo>
                      <a:pt x="34" y="73"/>
                    </a:lnTo>
                    <a:lnTo>
                      <a:pt x="26" y="73"/>
                    </a:lnTo>
                    <a:lnTo>
                      <a:pt x="26" y="67"/>
                    </a:lnTo>
                    <a:lnTo>
                      <a:pt x="32" y="56"/>
                    </a:lnTo>
                    <a:lnTo>
                      <a:pt x="32" y="64"/>
                    </a:lnTo>
                    <a:lnTo>
                      <a:pt x="39" y="61"/>
                    </a:lnTo>
                    <a:lnTo>
                      <a:pt x="39" y="50"/>
                    </a:lnTo>
                    <a:lnTo>
                      <a:pt x="31" y="50"/>
                    </a:lnTo>
                    <a:lnTo>
                      <a:pt x="23" y="60"/>
                    </a:lnTo>
                    <a:lnTo>
                      <a:pt x="22" y="50"/>
                    </a:lnTo>
                    <a:lnTo>
                      <a:pt x="28" y="45"/>
                    </a:lnTo>
                    <a:lnTo>
                      <a:pt x="44" y="49"/>
                    </a:lnTo>
                    <a:lnTo>
                      <a:pt x="44" y="43"/>
                    </a:lnTo>
                    <a:lnTo>
                      <a:pt x="41" y="28"/>
                    </a:lnTo>
                    <a:lnTo>
                      <a:pt x="65" y="5"/>
                    </a:lnTo>
                    <a:lnTo>
                      <a:pt x="76" y="2"/>
                    </a:lnTo>
                    <a:lnTo>
                      <a:pt x="8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199" name="Freeform 300"/>
              <p:cNvSpPr>
                <a:spLocks noChangeAspect="1"/>
              </p:cNvSpPr>
              <p:nvPr/>
            </p:nvSpPr>
            <p:spPr bwMode="gray">
              <a:xfrm>
                <a:off x="1559" y="1520"/>
                <a:ext cx="77" cy="70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110" y="27"/>
                  </a:cxn>
                  <a:cxn ang="0">
                    <a:pos x="118" y="61"/>
                  </a:cxn>
                  <a:cxn ang="0">
                    <a:pos x="134" y="70"/>
                  </a:cxn>
                  <a:cxn ang="0">
                    <a:pos x="161" y="70"/>
                  </a:cxn>
                  <a:cxn ang="0">
                    <a:pos x="179" y="96"/>
                  </a:cxn>
                  <a:cxn ang="0">
                    <a:pos x="212" y="116"/>
                  </a:cxn>
                  <a:cxn ang="0">
                    <a:pos x="243" y="143"/>
                  </a:cxn>
                  <a:cxn ang="0">
                    <a:pos x="276" y="157"/>
                  </a:cxn>
                  <a:cxn ang="0">
                    <a:pos x="296" y="183"/>
                  </a:cxn>
                  <a:cxn ang="0">
                    <a:pos x="303" y="236"/>
                  </a:cxn>
                  <a:cxn ang="0">
                    <a:pos x="327" y="237"/>
                  </a:cxn>
                  <a:cxn ang="0">
                    <a:pos x="351" y="232"/>
                  </a:cxn>
                  <a:cxn ang="0">
                    <a:pos x="364" y="256"/>
                  </a:cxn>
                  <a:cxn ang="0">
                    <a:pos x="384" y="272"/>
                  </a:cxn>
                  <a:cxn ang="0">
                    <a:pos x="351" y="296"/>
                  </a:cxn>
                  <a:cxn ang="0">
                    <a:pos x="319" y="303"/>
                  </a:cxn>
                  <a:cxn ang="0">
                    <a:pos x="307" y="298"/>
                  </a:cxn>
                  <a:cxn ang="0">
                    <a:pos x="285" y="283"/>
                  </a:cxn>
                  <a:cxn ang="0">
                    <a:pos x="263" y="282"/>
                  </a:cxn>
                  <a:cxn ang="0">
                    <a:pos x="263" y="253"/>
                  </a:cxn>
                  <a:cxn ang="0">
                    <a:pos x="233" y="247"/>
                  </a:cxn>
                  <a:cxn ang="0">
                    <a:pos x="230" y="232"/>
                  </a:cxn>
                  <a:cxn ang="0">
                    <a:pos x="212" y="227"/>
                  </a:cxn>
                  <a:cxn ang="0">
                    <a:pos x="195" y="256"/>
                  </a:cxn>
                  <a:cxn ang="0">
                    <a:pos x="189" y="274"/>
                  </a:cxn>
                  <a:cxn ang="0">
                    <a:pos x="176" y="290"/>
                  </a:cxn>
                  <a:cxn ang="0">
                    <a:pos x="155" y="307"/>
                  </a:cxn>
                  <a:cxn ang="0">
                    <a:pos x="147" y="317"/>
                  </a:cxn>
                  <a:cxn ang="0">
                    <a:pos x="108" y="349"/>
                  </a:cxn>
                  <a:cxn ang="0">
                    <a:pos x="88" y="331"/>
                  </a:cxn>
                  <a:cxn ang="0">
                    <a:pos x="85" y="283"/>
                  </a:cxn>
                  <a:cxn ang="0">
                    <a:pos x="79" y="264"/>
                  </a:cxn>
                  <a:cxn ang="0">
                    <a:pos x="63" y="286"/>
                  </a:cxn>
                  <a:cxn ang="0">
                    <a:pos x="37" y="285"/>
                  </a:cxn>
                  <a:cxn ang="0">
                    <a:pos x="4" y="293"/>
                  </a:cxn>
                  <a:cxn ang="0">
                    <a:pos x="20" y="249"/>
                  </a:cxn>
                  <a:cxn ang="0">
                    <a:pos x="51" y="211"/>
                  </a:cxn>
                  <a:cxn ang="0">
                    <a:pos x="44" y="174"/>
                  </a:cxn>
                  <a:cxn ang="0">
                    <a:pos x="55" y="125"/>
                  </a:cxn>
                  <a:cxn ang="0">
                    <a:pos x="59" y="72"/>
                  </a:cxn>
                  <a:cxn ang="0">
                    <a:pos x="66" y="29"/>
                  </a:cxn>
                </a:cxnLst>
                <a:rect l="0" t="0" r="r" b="b"/>
                <a:pathLst>
                  <a:path w="384" h="349">
                    <a:moveTo>
                      <a:pt x="77" y="14"/>
                    </a:moveTo>
                    <a:lnTo>
                      <a:pt x="86" y="1"/>
                    </a:lnTo>
                    <a:lnTo>
                      <a:pt x="91" y="0"/>
                    </a:lnTo>
                    <a:lnTo>
                      <a:pt x="93" y="11"/>
                    </a:lnTo>
                    <a:lnTo>
                      <a:pt x="106" y="10"/>
                    </a:lnTo>
                    <a:lnTo>
                      <a:pt x="110" y="27"/>
                    </a:lnTo>
                    <a:lnTo>
                      <a:pt x="119" y="38"/>
                    </a:lnTo>
                    <a:lnTo>
                      <a:pt x="114" y="48"/>
                    </a:lnTo>
                    <a:lnTo>
                      <a:pt x="118" y="61"/>
                    </a:lnTo>
                    <a:lnTo>
                      <a:pt x="120" y="81"/>
                    </a:lnTo>
                    <a:lnTo>
                      <a:pt x="129" y="85"/>
                    </a:lnTo>
                    <a:lnTo>
                      <a:pt x="134" y="70"/>
                    </a:lnTo>
                    <a:lnTo>
                      <a:pt x="142" y="57"/>
                    </a:lnTo>
                    <a:lnTo>
                      <a:pt x="150" y="59"/>
                    </a:lnTo>
                    <a:lnTo>
                      <a:pt x="161" y="70"/>
                    </a:lnTo>
                    <a:lnTo>
                      <a:pt x="169" y="72"/>
                    </a:lnTo>
                    <a:lnTo>
                      <a:pt x="168" y="89"/>
                    </a:lnTo>
                    <a:lnTo>
                      <a:pt x="179" y="96"/>
                    </a:lnTo>
                    <a:lnTo>
                      <a:pt x="207" y="100"/>
                    </a:lnTo>
                    <a:lnTo>
                      <a:pt x="209" y="108"/>
                    </a:lnTo>
                    <a:lnTo>
                      <a:pt x="212" y="116"/>
                    </a:lnTo>
                    <a:lnTo>
                      <a:pt x="222" y="127"/>
                    </a:lnTo>
                    <a:lnTo>
                      <a:pt x="233" y="132"/>
                    </a:lnTo>
                    <a:lnTo>
                      <a:pt x="243" y="143"/>
                    </a:lnTo>
                    <a:lnTo>
                      <a:pt x="255" y="151"/>
                    </a:lnTo>
                    <a:lnTo>
                      <a:pt x="265" y="148"/>
                    </a:lnTo>
                    <a:lnTo>
                      <a:pt x="276" y="157"/>
                    </a:lnTo>
                    <a:lnTo>
                      <a:pt x="286" y="161"/>
                    </a:lnTo>
                    <a:lnTo>
                      <a:pt x="290" y="172"/>
                    </a:lnTo>
                    <a:lnTo>
                      <a:pt x="296" y="183"/>
                    </a:lnTo>
                    <a:lnTo>
                      <a:pt x="301" y="213"/>
                    </a:lnTo>
                    <a:lnTo>
                      <a:pt x="307" y="222"/>
                    </a:lnTo>
                    <a:lnTo>
                      <a:pt x="303" y="236"/>
                    </a:lnTo>
                    <a:lnTo>
                      <a:pt x="308" y="239"/>
                    </a:lnTo>
                    <a:lnTo>
                      <a:pt x="319" y="236"/>
                    </a:lnTo>
                    <a:lnTo>
                      <a:pt x="327" y="237"/>
                    </a:lnTo>
                    <a:lnTo>
                      <a:pt x="329" y="240"/>
                    </a:lnTo>
                    <a:lnTo>
                      <a:pt x="343" y="227"/>
                    </a:lnTo>
                    <a:lnTo>
                      <a:pt x="351" y="232"/>
                    </a:lnTo>
                    <a:lnTo>
                      <a:pt x="356" y="240"/>
                    </a:lnTo>
                    <a:lnTo>
                      <a:pt x="362" y="245"/>
                    </a:lnTo>
                    <a:lnTo>
                      <a:pt x="364" y="256"/>
                    </a:lnTo>
                    <a:lnTo>
                      <a:pt x="362" y="260"/>
                    </a:lnTo>
                    <a:lnTo>
                      <a:pt x="383" y="266"/>
                    </a:lnTo>
                    <a:lnTo>
                      <a:pt x="384" y="272"/>
                    </a:lnTo>
                    <a:lnTo>
                      <a:pt x="376" y="274"/>
                    </a:lnTo>
                    <a:lnTo>
                      <a:pt x="360" y="291"/>
                    </a:lnTo>
                    <a:lnTo>
                      <a:pt x="351" y="296"/>
                    </a:lnTo>
                    <a:lnTo>
                      <a:pt x="343" y="307"/>
                    </a:lnTo>
                    <a:lnTo>
                      <a:pt x="335" y="309"/>
                    </a:lnTo>
                    <a:lnTo>
                      <a:pt x="319" y="303"/>
                    </a:lnTo>
                    <a:lnTo>
                      <a:pt x="314" y="298"/>
                    </a:lnTo>
                    <a:lnTo>
                      <a:pt x="313" y="295"/>
                    </a:lnTo>
                    <a:lnTo>
                      <a:pt x="307" y="298"/>
                    </a:lnTo>
                    <a:lnTo>
                      <a:pt x="302" y="288"/>
                    </a:lnTo>
                    <a:lnTo>
                      <a:pt x="293" y="285"/>
                    </a:lnTo>
                    <a:lnTo>
                      <a:pt x="285" y="283"/>
                    </a:lnTo>
                    <a:lnTo>
                      <a:pt x="280" y="280"/>
                    </a:lnTo>
                    <a:lnTo>
                      <a:pt x="275" y="283"/>
                    </a:lnTo>
                    <a:lnTo>
                      <a:pt x="263" y="282"/>
                    </a:lnTo>
                    <a:lnTo>
                      <a:pt x="260" y="275"/>
                    </a:lnTo>
                    <a:lnTo>
                      <a:pt x="265" y="264"/>
                    </a:lnTo>
                    <a:lnTo>
                      <a:pt x="263" y="253"/>
                    </a:lnTo>
                    <a:lnTo>
                      <a:pt x="255" y="249"/>
                    </a:lnTo>
                    <a:lnTo>
                      <a:pt x="236" y="244"/>
                    </a:lnTo>
                    <a:lnTo>
                      <a:pt x="233" y="247"/>
                    </a:lnTo>
                    <a:lnTo>
                      <a:pt x="233" y="249"/>
                    </a:lnTo>
                    <a:lnTo>
                      <a:pt x="225" y="245"/>
                    </a:lnTo>
                    <a:lnTo>
                      <a:pt x="230" y="232"/>
                    </a:lnTo>
                    <a:lnTo>
                      <a:pt x="236" y="226"/>
                    </a:lnTo>
                    <a:lnTo>
                      <a:pt x="233" y="222"/>
                    </a:lnTo>
                    <a:lnTo>
                      <a:pt x="212" y="227"/>
                    </a:lnTo>
                    <a:lnTo>
                      <a:pt x="198" y="233"/>
                    </a:lnTo>
                    <a:lnTo>
                      <a:pt x="198" y="239"/>
                    </a:lnTo>
                    <a:lnTo>
                      <a:pt x="195" y="256"/>
                    </a:lnTo>
                    <a:lnTo>
                      <a:pt x="198" y="263"/>
                    </a:lnTo>
                    <a:lnTo>
                      <a:pt x="196" y="274"/>
                    </a:lnTo>
                    <a:lnTo>
                      <a:pt x="189" y="274"/>
                    </a:lnTo>
                    <a:lnTo>
                      <a:pt x="185" y="281"/>
                    </a:lnTo>
                    <a:lnTo>
                      <a:pt x="178" y="283"/>
                    </a:lnTo>
                    <a:lnTo>
                      <a:pt x="176" y="290"/>
                    </a:lnTo>
                    <a:lnTo>
                      <a:pt x="171" y="296"/>
                    </a:lnTo>
                    <a:lnTo>
                      <a:pt x="162" y="296"/>
                    </a:lnTo>
                    <a:lnTo>
                      <a:pt x="155" y="307"/>
                    </a:lnTo>
                    <a:lnTo>
                      <a:pt x="151" y="315"/>
                    </a:lnTo>
                    <a:lnTo>
                      <a:pt x="147" y="314"/>
                    </a:lnTo>
                    <a:lnTo>
                      <a:pt x="147" y="317"/>
                    </a:lnTo>
                    <a:lnTo>
                      <a:pt x="145" y="325"/>
                    </a:lnTo>
                    <a:lnTo>
                      <a:pt x="137" y="335"/>
                    </a:lnTo>
                    <a:lnTo>
                      <a:pt x="108" y="349"/>
                    </a:lnTo>
                    <a:lnTo>
                      <a:pt x="104" y="345"/>
                    </a:lnTo>
                    <a:lnTo>
                      <a:pt x="97" y="349"/>
                    </a:lnTo>
                    <a:lnTo>
                      <a:pt x="88" y="331"/>
                    </a:lnTo>
                    <a:lnTo>
                      <a:pt x="86" y="309"/>
                    </a:lnTo>
                    <a:lnTo>
                      <a:pt x="87" y="290"/>
                    </a:lnTo>
                    <a:lnTo>
                      <a:pt x="85" y="283"/>
                    </a:lnTo>
                    <a:lnTo>
                      <a:pt x="83" y="269"/>
                    </a:lnTo>
                    <a:lnTo>
                      <a:pt x="82" y="259"/>
                    </a:lnTo>
                    <a:lnTo>
                      <a:pt x="79" y="264"/>
                    </a:lnTo>
                    <a:lnTo>
                      <a:pt x="76" y="281"/>
                    </a:lnTo>
                    <a:lnTo>
                      <a:pt x="69" y="281"/>
                    </a:lnTo>
                    <a:lnTo>
                      <a:pt x="63" y="286"/>
                    </a:lnTo>
                    <a:lnTo>
                      <a:pt x="47" y="286"/>
                    </a:lnTo>
                    <a:lnTo>
                      <a:pt x="43" y="283"/>
                    </a:lnTo>
                    <a:lnTo>
                      <a:pt x="37" y="285"/>
                    </a:lnTo>
                    <a:lnTo>
                      <a:pt x="23" y="295"/>
                    </a:lnTo>
                    <a:lnTo>
                      <a:pt x="8" y="299"/>
                    </a:lnTo>
                    <a:lnTo>
                      <a:pt x="4" y="293"/>
                    </a:lnTo>
                    <a:lnTo>
                      <a:pt x="0" y="283"/>
                    </a:lnTo>
                    <a:lnTo>
                      <a:pt x="12" y="256"/>
                    </a:lnTo>
                    <a:lnTo>
                      <a:pt x="20" y="249"/>
                    </a:lnTo>
                    <a:lnTo>
                      <a:pt x="32" y="245"/>
                    </a:lnTo>
                    <a:lnTo>
                      <a:pt x="51" y="223"/>
                    </a:lnTo>
                    <a:lnTo>
                      <a:pt x="51" y="211"/>
                    </a:lnTo>
                    <a:lnTo>
                      <a:pt x="48" y="206"/>
                    </a:lnTo>
                    <a:lnTo>
                      <a:pt x="47" y="182"/>
                    </a:lnTo>
                    <a:lnTo>
                      <a:pt x="44" y="174"/>
                    </a:lnTo>
                    <a:lnTo>
                      <a:pt x="47" y="158"/>
                    </a:lnTo>
                    <a:lnTo>
                      <a:pt x="53" y="141"/>
                    </a:lnTo>
                    <a:lnTo>
                      <a:pt x="55" y="125"/>
                    </a:lnTo>
                    <a:lnTo>
                      <a:pt x="55" y="121"/>
                    </a:lnTo>
                    <a:lnTo>
                      <a:pt x="58" y="110"/>
                    </a:lnTo>
                    <a:lnTo>
                      <a:pt x="59" y="72"/>
                    </a:lnTo>
                    <a:lnTo>
                      <a:pt x="59" y="60"/>
                    </a:lnTo>
                    <a:lnTo>
                      <a:pt x="63" y="49"/>
                    </a:lnTo>
                    <a:lnTo>
                      <a:pt x="66" y="29"/>
                    </a:lnTo>
                    <a:lnTo>
                      <a:pt x="72" y="19"/>
                    </a:lnTo>
                    <a:lnTo>
                      <a:pt x="77" y="1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0" name="Freeform 301"/>
              <p:cNvSpPr>
                <a:spLocks noChangeAspect="1"/>
              </p:cNvSpPr>
              <p:nvPr/>
            </p:nvSpPr>
            <p:spPr bwMode="gray">
              <a:xfrm>
                <a:off x="1668" y="1452"/>
                <a:ext cx="24" cy="32"/>
              </a:xfrm>
              <a:custGeom>
                <a:avLst/>
                <a:gdLst/>
                <a:ahLst/>
                <a:cxnLst>
                  <a:cxn ang="0">
                    <a:pos x="52" y="4"/>
                  </a:cxn>
                  <a:cxn ang="0">
                    <a:pos x="56" y="0"/>
                  </a:cxn>
                  <a:cxn ang="0">
                    <a:pos x="59" y="5"/>
                  </a:cxn>
                  <a:cxn ang="0">
                    <a:pos x="65" y="11"/>
                  </a:cxn>
                  <a:cxn ang="0">
                    <a:pos x="75" y="3"/>
                  </a:cxn>
                  <a:cxn ang="0">
                    <a:pos x="87" y="5"/>
                  </a:cxn>
                  <a:cxn ang="0">
                    <a:pos x="92" y="17"/>
                  </a:cxn>
                  <a:cxn ang="0">
                    <a:pos x="100" y="19"/>
                  </a:cxn>
                  <a:cxn ang="0">
                    <a:pos x="111" y="17"/>
                  </a:cxn>
                  <a:cxn ang="0">
                    <a:pos x="119" y="33"/>
                  </a:cxn>
                  <a:cxn ang="0">
                    <a:pos x="120" y="49"/>
                  </a:cxn>
                  <a:cxn ang="0">
                    <a:pos x="119" y="74"/>
                  </a:cxn>
                  <a:cxn ang="0">
                    <a:pos x="122" y="97"/>
                  </a:cxn>
                  <a:cxn ang="0">
                    <a:pos x="119" y="119"/>
                  </a:cxn>
                  <a:cxn ang="0">
                    <a:pos x="104" y="139"/>
                  </a:cxn>
                  <a:cxn ang="0">
                    <a:pos x="88" y="151"/>
                  </a:cxn>
                  <a:cxn ang="0">
                    <a:pos x="39" y="161"/>
                  </a:cxn>
                  <a:cxn ang="0">
                    <a:pos x="33" y="158"/>
                  </a:cxn>
                  <a:cxn ang="0">
                    <a:pos x="17" y="153"/>
                  </a:cxn>
                  <a:cxn ang="0">
                    <a:pos x="6" y="132"/>
                  </a:cxn>
                  <a:cxn ang="0">
                    <a:pos x="1" y="110"/>
                  </a:cxn>
                  <a:cxn ang="0">
                    <a:pos x="0" y="90"/>
                  </a:cxn>
                  <a:cxn ang="0">
                    <a:pos x="2" y="72"/>
                  </a:cxn>
                  <a:cxn ang="0">
                    <a:pos x="8" y="62"/>
                  </a:cxn>
                  <a:cxn ang="0">
                    <a:pos x="13" y="46"/>
                  </a:cxn>
                  <a:cxn ang="0">
                    <a:pos x="22" y="27"/>
                  </a:cxn>
                  <a:cxn ang="0">
                    <a:pos x="33" y="13"/>
                  </a:cxn>
                  <a:cxn ang="0">
                    <a:pos x="44" y="10"/>
                  </a:cxn>
                  <a:cxn ang="0">
                    <a:pos x="52" y="4"/>
                  </a:cxn>
                </a:cxnLst>
                <a:rect l="0" t="0" r="r" b="b"/>
                <a:pathLst>
                  <a:path w="122" h="161">
                    <a:moveTo>
                      <a:pt x="52" y="4"/>
                    </a:moveTo>
                    <a:lnTo>
                      <a:pt x="56" y="0"/>
                    </a:lnTo>
                    <a:lnTo>
                      <a:pt x="59" y="5"/>
                    </a:lnTo>
                    <a:lnTo>
                      <a:pt x="65" y="11"/>
                    </a:lnTo>
                    <a:lnTo>
                      <a:pt x="75" y="3"/>
                    </a:lnTo>
                    <a:lnTo>
                      <a:pt x="87" y="5"/>
                    </a:lnTo>
                    <a:lnTo>
                      <a:pt x="92" y="17"/>
                    </a:lnTo>
                    <a:lnTo>
                      <a:pt x="100" y="19"/>
                    </a:lnTo>
                    <a:lnTo>
                      <a:pt x="111" y="17"/>
                    </a:lnTo>
                    <a:lnTo>
                      <a:pt x="119" y="33"/>
                    </a:lnTo>
                    <a:lnTo>
                      <a:pt x="120" y="49"/>
                    </a:lnTo>
                    <a:lnTo>
                      <a:pt x="119" y="74"/>
                    </a:lnTo>
                    <a:lnTo>
                      <a:pt x="122" y="97"/>
                    </a:lnTo>
                    <a:lnTo>
                      <a:pt x="119" y="119"/>
                    </a:lnTo>
                    <a:lnTo>
                      <a:pt x="104" y="139"/>
                    </a:lnTo>
                    <a:lnTo>
                      <a:pt x="88" y="151"/>
                    </a:lnTo>
                    <a:lnTo>
                      <a:pt x="39" y="161"/>
                    </a:lnTo>
                    <a:lnTo>
                      <a:pt x="33" y="158"/>
                    </a:lnTo>
                    <a:lnTo>
                      <a:pt x="17" y="153"/>
                    </a:lnTo>
                    <a:lnTo>
                      <a:pt x="6" y="132"/>
                    </a:lnTo>
                    <a:lnTo>
                      <a:pt x="1" y="110"/>
                    </a:lnTo>
                    <a:lnTo>
                      <a:pt x="0" y="90"/>
                    </a:lnTo>
                    <a:lnTo>
                      <a:pt x="2" y="72"/>
                    </a:lnTo>
                    <a:lnTo>
                      <a:pt x="8" y="62"/>
                    </a:lnTo>
                    <a:lnTo>
                      <a:pt x="13" y="46"/>
                    </a:lnTo>
                    <a:lnTo>
                      <a:pt x="22" y="27"/>
                    </a:lnTo>
                    <a:lnTo>
                      <a:pt x="33" y="13"/>
                    </a:lnTo>
                    <a:lnTo>
                      <a:pt x="44" y="10"/>
                    </a:lnTo>
                    <a:lnTo>
                      <a:pt x="5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1" name="Freeform 302"/>
              <p:cNvSpPr>
                <a:spLocks noChangeAspect="1"/>
              </p:cNvSpPr>
              <p:nvPr/>
            </p:nvSpPr>
            <p:spPr bwMode="gray">
              <a:xfrm>
                <a:off x="1628" y="1270"/>
                <a:ext cx="53" cy="38"/>
              </a:xfrm>
              <a:custGeom>
                <a:avLst/>
                <a:gdLst/>
                <a:ahLst/>
                <a:cxnLst>
                  <a:cxn ang="0">
                    <a:pos x="110" y="18"/>
                  </a:cxn>
                  <a:cxn ang="0">
                    <a:pos x="129" y="14"/>
                  </a:cxn>
                  <a:cxn ang="0">
                    <a:pos x="149" y="16"/>
                  </a:cxn>
                  <a:cxn ang="0">
                    <a:pos x="200" y="45"/>
                  </a:cxn>
                  <a:cxn ang="0">
                    <a:pos x="207" y="57"/>
                  </a:cxn>
                  <a:cxn ang="0">
                    <a:pos x="208" y="68"/>
                  </a:cxn>
                  <a:cxn ang="0">
                    <a:pos x="217" y="81"/>
                  </a:cxn>
                  <a:cxn ang="0">
                    <a:pos x="227" y="87"/>
                  </a:cxn>
                  <a:cxn ang="0">
                    <a:pos x="243" y="118"/>
                  </a:cxn>
                  <a:cxn ang="0">
                    <a:pos x="254" y="129"/>
                  </a:cxn>
                  <a:cxn ang="0">
                    <a:pos x="253" y="136"/>
                  </a:cxn>
                  <a:cxn ang="0">
                    <a:pos x="255" y="147"/>
                  </a:cxn>
                  <a:cxn ang="0">
                    <a:pos x="265" y="158"/>
                  </a:cxn>
                  <a:cxn ang="0">
                    <a:pos x="256" y="172"/>
                  </a:cxn>
                  <a:cxn ang="0">
                    <a:pos x="238" y="173"/>
                  </a:cxn>
                  <a:cxn ang="0">
                    <a:pos x="213" y="170"/>
                  </a:cxn>
                  <a:cxn ang="0">
                    <a:pos x="186" y="159"/>
                  </a:cxn>
                  <a:cxn ang="0">
                    <a:pos x="148" y="158"/>
                  </a:cxn>
                  <a:cxn ang="0">
                    <a:pos x="109" y="183"/>
                  </a:cxn>
                  <a:cxn ang="0">
                    <a:pos x="86" y="190"/>
                  </a:cxn>
                  <a:cxn ang="0">
                    <a:pos x="65" y="179"/>
                  </a:cxn>
                  <a:cxn ang="0">
                    <a:pos x="49" y="165"/>
                  </a:cxn>
                  <a:cxn ang="0">
                    <a:pos x="41" y="145"/>
                  </a:cxn>
                  <a:cxn ang="0">
                    <a:pos x="39" y="100"/>
                  </a:cxn>
                  <a:cxn ang="0">
                    <a:pos x="11" y="92"/>
                  </a:cxn>
                  <a:cxn ang="0">
                    <a:pos x="0" y="72"/>
                  </a:cxn>
                  <a:cxn ang="0">
                    <a:pos x="1" y="51"/>
                  </a:cxn>
                  <a:cxn ang="0">
                    <a:pos x="6" y="44"/>
                  </a:cxn>
                  <a:cxn ang="0">
                    <a:pos x="6" y="18"/>
                  </a:cxn>
                  <a:cxn ang="0">
                    <a:pos x="14" y="1"/>
                  </a:cxn>
                  <a:cxn ang="0">
                    <a:pos x="28" y="0"/>
                  </a:cxn>
                  <a:cxn ang="0">
                    <a:pos x="40" y="8"/>
                  </a:cxn>
                  <a:cxn ang="0">
                    <a:pos x="49" y="7"/>
                  </a:cxn>
                  <a:cxn ang="0">
                    <a:pos x="73" y="17"/>
                  </a:cxn>
                  <a:cxn ang="0">
                    <a:pos x="102" y="23"/>
                  </a:cxn>
                  <a:cxn ang="0">
                    <a:pos x="110" y="18"/>
                  </a:cxn>
                </a:cxnLst>
                <a:rect l="0" t="0" r="r" b="b"/>
                <a:pathLst>
                  <a:path w="265" h="190">
                    <a:moveTo>
                      <a:pt x="110" y="18"/>
                    </a:moveTo>
                    <a:lnTo>
                      <a:pt x="129" y="14"/>
                    </a:lnTo>
                    <a:lnTo>
                      <a:pt x="149" y="16"/>
                    </a:lnTo>
                    <a:lnTo>
                      <a:pt x="200" y="45"/>
                    </a:lnTo>
                    <a:lnTo>
                      <a:pt x="207" y="57"/>
                    </a:lnTo>
                    <a:lnTo>
                      <a:pt x="208" y="68"/>
                    </a:lnTo>
                    <a:lnTo>
                      <a:pt x="217" y="81"/>
                    </a:lnTo>
                    <a:lnTo>
                      <a:pt x="227" y="87"/>
                    </a:lnTo>
                    <a:lnTo>
                      <a:pt x="243" y="118"/>
                    </a:lnTo>
                    <a:lnTo>
                      <a:pt x="254" y="129"/>
                    </a:lnTo>
                    <a:lnTo>
                      <a:pt x="253" y="136"/>
                    </a:lnTo>
                    <a:lnTo>
                      <a:pt x="255" y="147"/>
                    </a:lnTo>
                    <a:lnTo>
                      <a:pt x="265" y="158"/>
                    </a:lnTo>
                    <a:lnTo>
                      <a:pt x="256" y="172"/>
                    </a:lnTo>
                    <a:lnTo>
                      <a:pt x="238" y="173"/>
                    </a:lnTo>
                    <a:lnTo>
                      <a:pt x="213" y="170"/>
                    </a:lnTo>
                    <a:lnTo>
                      <a:pt x="186" y="159"/>
                    </a:lnTo>
                    <a:lnTo>
                      <a:pt x="148" y="158"/>
                    </a:lnTo>
                    <a:lnTo>
                      <a:pt x="109" y="183"/>
                    </a:lnTo>
                    <a:lnTo>
                      <a:pt x="86" y="190"/>
                    </a:lnTo>
                    <a:lnTo>
                      <a:pt x="65" y="179"/>
                    </a:lnTo>
                    <a:lnTo>
                      <a:pt x="49" y="165"/>
                    </a:lnTo>
                    <a:lnTo>
                      <a:pt x="41" y="145"/>
                    </a:lnTo>
                    <a:lnTo>
                      <a:pt x="39" y="100"/>
                    </a:lnTo>
                    <a:lnTo>
                      <a:pt x="11" y="92"/>
                    </a:lnTo>
                    <a:lnTo>
                      <a:pt x="0" y="72"/>
                    </a:lnTo>
                    <a:lnTo>
                      <a:pt x="1" y="51"/>
                    </a:lnTo>
                    <a:lnTo>
                      <a:pt x="6" y="44"/>
                    </a:lnTo>
                    <a:lnTo>
                      <a:pt x="6" y="18"/>
                    </a:lnTo>
                    <a:lnTo>
                      <a:pt x="14" y="1"/>
                    </a:lnTo>
                    <a:lnTo>
                      <a:pt x="28" y="0"/>
                    </a:lnTo>
                    <a:lnTo>
                      <a:pt x="40" y="8"/>
                    </a:lnTo>
                    <a:lnTo>
                      <a:pt x="49" y="7"/>
                    </a:lnTo>
                    <a:lnTo>
                      <a:pt x="73" y="17"/>
                    </a:lnTo>
                    <a:lnTo>
                      <a:pt x="102" y="23"/>
                    </a:lnTo>
                    <a:lnTo>
                      <a:pt x="110" y="1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2" name="Freeform 303"/>
              <p:cNvSpPr>
                <a:spLocks noChangeAspect="1"/>
              </p:cNvSpPr>
              <p:nvPr/>
            </p:nvSpPr>
            <p:spPr bwMode="gray">
              <a:xfrm>
                <a:off x="1527" y="1265"/>
                <a:ext cx="316" cy="356"/>
              </a:xfrm>
              <a:custGeom>
                <a:avLst/>
                <a:gdLst/>
                <a:ahLst/>
                <a:cxnLst>
                  <a:cxn ang="0">
                    <a:pos x="1131" y="1671"/>
                  </a:cxn>
                  <a:cxn ang="0">
                    <a:pos x="1196" y="1735"/>
                  </a:cxn>
                  <a:cxn ang="0">
                    <a:pos x="1317" y="1753"/>
                  </a:cxn>
                  <a:cxn ang="0">
                    <a:pos x="1220" y="1622"/>
                  </a:cxn>
                  <a:cxn ang="0">
                    <a:pos x="1258" y="1612"/>
                  </a:cxn>
                  <a:cxn ang="0">
                    <a:pos x="1376" y="1663"/>
                  </a:cxn>
                  <a:cxn ang="0">
                    <a:pos x="1400" y="1662"/>
                  </a:cxn>
                  <a:cxn ang="0">
                    <a:pos x="1406" y="1612"/>
                  </a:cxn>
                  <a:cxn ang="0">
                    <a:pos x="1383" y="1464"/>
                  </a:cxn>
                  <a:cxn ang="0">
                    <a:pos x="1312" y="1405"/>
                  </a:cxn>
                  <a:cxn ang="0">
                    <a:pos x="1253" y="1334"/>
                  </a:cxn>
                  <a:cxn ang="0">
                    <a:pos x="1242" y="1240"/>
                  </a:cxn>
                  <a:cxn ang="0">
                    <a:pos x="1265" y="1192"/>
                  </a:cxn>
                  <a:cxn ang="0">
                    <a:pos x="1384" y="1340"/>
                  </a:cxn>
                  <a:cxn ang="0">
                    <a:pos x="1470" y="1359"/>
                  </a:cxn>
                  <a:cxn ang="0">
                    <a:pos x="1512" y="1254"/>
                  </a:cxn>
                  <a:cxn ang="0">
                    <a:pos x="1581" y="1182"/>
                  </a:cxn>
                  <a:cxn ang="0">
                    <a:pos x="1471" y="1095"/>
                  </a:cxn>
                  <a:cxn ang="0">
                    <a:pos x="1374" y="1010"/>
                  </a:cxn>
                  <a:cxn ang="0">
                    <a:pos x="1283" y="958"/>
                  </a:cxn>
                  <a:cxn ang="0">
                    <a:pos x="1226" y="870"/>
                  </a:cxn>
                  <a:cxn ang="0">
                    <a:pos x="1248" y="812"/>
                  </a:cxn>
                  <a:cxn ang="0">
                    <a:pos x="1178" y="743"/>
                  </a:cxn>
                  <a:cxn ang="0">
                    <a:pos x="1201" y="661"/>
                  </a:cxn>
                  <a:cxn ang="0">
                    <a:pos x="1190" y="606"/>
                  </a:cxn>
                  <a:cxn ang="0">
                    <a:pos x="1102" y="546"/>
                  </a:cxn>
                  <a:cxn ang="0">
                    <a:pos x="1018" y="500"/>
                  </a:cxn>
                  <a:cxn ang="0">
                    <a:pos x="928" y="454"/>
                  </a:cxn>
                  <a:cxn ang="0">
                    <a:pos x="867" y="385"/>
                  </a:cxn>
                  <a:cxn ang="0">
                    <a:pos x="828" y="289"/>
                  </a:cxn>
                  <a:cxn ang="0">
                    <a:pos x="618" y="285"/>
                  </a:cxn>
                  <a:cxn ang="0">
                    <a:pos x="503" y="357"/>
                  </a:cxn>
                  <a:cxn ang="0">
                    <a:pos x="510" y="176"/>
                  </a:cxn>
                  <a:cxn ang="0">
                    <a:pos x="390" y="33"/>
                  </a:cxn>
                  <a:cxn ang="0">
                    <a:pos x="291" y="94"/>
                  </a:cxn>
                  <a:cxn ang="0">
                    <a:pos x="293" y="177"/>
                  </a:cxn>
                  <a:cxn ang="0">
                    <a:pos x="279" y="274"/>
                  </a:cxn>
                  <a:cxn ang="0">
                    <a:pos x="280" y="406"/>
                  </a:cxn>
                  <a:cxn ang="0">
                    <a:pos x="277" y="485"/>
                  </a:cxn>
                  <a:cxn ang="0">
                    <a:pos x="281" y="460"/>
                  </a:cxn>
                  <a:cxn ang="0">
                    <a:pos x="222" y="102"/>
                  </a:cxn>
                  <a:cxn ang="0">
                    <a:pos x="75" y="101"/>
                  </a:cxn>
                  <a:cxn ang="0">
                    <a:pos x="7" y="274"/>
                  </a:cxn>
                  <a:cxn ang="0">
                    <a:pos x="115" y="476"/>
                  </a:cxn>
                  <a:cxn ang="0">
                    <a:pos x="83" y="602"/>
                  </a:cxn>
                  <a:cxn ang="0">
                    <a:pos x="265" y="682"/>
                  </a:cxn>
                  <a:cxn ang="0">
                    <a:pos x="448" y="709"/>
                  </a:cxn>
                  <a:cxn ang="0">
                    <a:pos x="549" y="682"/>
                  </a:cxn>
                  <a:cxn ang="0">
                    <a:pos x="658" y="638"/>
                  </a:cxn>
                  <a:cxn ang="0">
                    <a:pos x="750" y="759"/>
                  </a:cxn>
                  <a:cxn ang="0">
                    <a:pos x="849" y="829"/>
                  </a:cxn>
                  <a:cxn ang="0">
                    <a:pos x="912" y="949"/>
                  </a:cxn>
                  <a:cxn ang="0">
                    <a:pos x="951" y="1121"/>
                  </a:cxn>
                  <a:cxn ang="0">
                    <a:pos x="908" y="1313"/>
                  </a:cxn>
                  <a:cxn ang="0">
                    <a:pos x="743" y="1348"/>
                  </a:cxn>
                  <a:cxn ang="0">
                    <a:pos x="668" y="1462"/>
                  </a:cxn>
                  <a:cxn ang="0">
                    <a:pos x="780" y="1452"/>
                  </a:cxn>
                  <a:cxn ang="0">
                    <a:pos x="846" y="1419"/>
                  </a:cxn>
                  <a:cxn ang="0">
                    <a:pos x="919" y="1456"/>
                  </a:cxn>
                  <a:cxn ang="0">
                    <a:pos x="968" y="1547"/>
                  </a:cxn>
                  <a:cxn ang="0">
                    <a:pos x="1003" y="1593"/>
                  </a:cxn>
                </a:cxnLst>
                <a:rect l="0" t="0" r="r" b="b"/>
                <a:pathLst>
                  <a:path w="1581" h="1779">
                    <a:moveTo>
                      <a:pt x="1037" y="1646"/>
                    </a:moveTo>
                    <a:lnTo>
                      <a:pt x="1053" y="1650"/>
                    </a:lnTo>
                    <a:lnTo>
                      <a:pt x="1071" y="1657"/>
                    </a:lnTo>
                    <a:lnTo>
                      <a:pt x="1072" y="1665"/>
                    </a:lnTo>
                    <a:lnTo>
                      <a:pt x="1078" y="1665"/>
                    </a:lnTo>
                    <a:lnTo>
                      <a:pt x="1091" y="1673"/>
                    </a:lnTo>
                    <a:lnTo>
                      <a:pt x="1102" y="1667"/>
                    </a:lnTo>
                    <a:lnTo>
                      <a:pt x="1109" y="1654"/>
                    </a:lnTo>
                    <a:lnTo>
                      <a:pt x="1111" y="1659"/>
                    </a:lnTo>
                    <a:lnTo>
                      <a:pt x="1109" y="1672"/>
                    </a:lnTo>
                    <a:lnTo>
                      <a:pt x="1118" y="1677"/>
                    </a:lnTo>
                    <a:lnTo>
                      <a:pt x="1121" y="1668"/>
                    </a:lnTo>
                    <a:lnTo>
                      <a:pt x="1131" y="1671"/>
                    </a:lnTo>
                    <a:lnTo>
                      <a:pt x="1137" y="1667"/>
                    </a:lnTo>
                    <a:lnTo>
                      <a:pt x="1135" y="1678"/>
                    </a:lnTo>
                    <a:lnTo>
                      <a:pt x="1138" y="1688"/>
                    </a:lnTo>
                    <a:lnTo>
                      <a:pt x="1145" y="1688"/>
                    </a:lnTo>
                    <a:lnTo>
                      <a:pt x="1148" y="1693"/>
                    </a:lnTo>
                    <a:lnTo>
                      <a:pt x="1150" y="1703"/>
                    </a:lnTo>
                    <a:lnTo>
                      <a:pt x="1159" y="1716"/>
                    </a:lnTo>
                    <a:lnTo>
                      <a:pt x="1170" y="1720"/>
                    </a:lnTo>
                    <a:lnTo>
                      <a:pt x="1175" y="1708"/>
                    </a:lnTo>
                    <a:lnTo>
                      <a:pt x="1175" y="1720"/>
                    </a:lnTo>
                    <a:lnTo>
                      <a:pt x="1181" y="1722"/>
                    </a:lnTo>
                    <a:lnTo>
                      <a:pt x="1185" y="1730"/>
                    </a:lnTo>
                    <a:lnTo>
                      <a:pt x="1196" y="1735"/>
                    </a:lnTo>
                    <a:lnTo>
                      <a:pt x="1205" y="1732"/>
                    </a:lnTo>
                    <a:lnTo>
                      <a:pt x="1213" y="1740"/>
                    </a:lnTo>
                    <a:lnTo>
                      <a:pt x="1236" y="1741"/>
                    </a:lnTo>
                    <a:lnTo>
                      <a:pt x="1238" y="1748"/>
                    </a:lnTo>
                    <a:lnTo>
                      <a:pt x="1249" y="1758"/>
                    </a:lnTo>
                    <a:lnTo>
                      <a:pt x="1254" y="1759"/>
                    </a:lnTo>
                    <a:lnTo>
                      <a:pt x="1267" y="1758"/>
                    </a:lnTo>
                    <a:lnTo>
                      <a:pt x="1280" y="1751"/>
                    </a:lnTo>
                    <a:lnTo>
                      <a:pt x="1306" y="1779"/>
                    </a:lnTo>
                    <a:lnTo>
                      <a:pt x="1325" y="1776"/>
                    </a:lnTo>
                    <a:lnTo>
                      <a:pt x="1323" y="1768"/>
                    </a:lnTo>
                    <a:lnTo>
                      <a:pt x="1317" y="1759"/>
                    </a:lnTo>
                    <a:lnTo>
                      <a:pt x="1317" y="1753"/>
                    </a:lnTo>
                    <a:lnTo>
                      <a:pt x="1320" y="1747"/>
                    </a:lnTo>
                    <a:lnTo>
                      <a:pt x="1322" y="1735"/>
                    </a:lnTo>
                    <a:lnTo>
                      <a:pt x="1319" y="1726"/>
                    </a:lnTo>
                    <a:lnTo>
                      <a:pt x="1301" y="1705"/>
                    </a:lnTo>
                    <a:lnTo>
                      <a:pt x="1285" y="1692"/>
                    </a:lnTo>
                    <a:lnTo>
                      <a:pt x="1279" y="1683"/>
                    </a:lnTo>
                    <a:lnTo>
                      <a:pt x="1270" y="1679"/>
                    </a:lnTo>
                    <a:lnTo>
                      <a:pt x="1253" y="1665"/>
                    </a:lnTo>
                    <a:lnTo>
                      <a:pt x="1249" y="1652"/>
                    </a:lnTo>
                    <a:lnTo>
                      <a:pt x="1236" y="1645"/>
                    </a:lnTo>
                    <a:lnTo>
                      <a:pt x="1236" y="1633"/>
                    </a:lnTo>
                    <a:lnTo>
                      <a:pt x="1224" y="1635"/>
                    </a:lnTo>
                    <a:lnTo>
                      <a:pt x="1220" y="1622"/>
                    </a:lnTo>
                    <a:lnTo>
                      <a:pt x="1216" y="1619"/>
                    </a:lnTo>
                    <a:lnTo>
                      <a:pt x="1213" y="1622"/>
                    </a:lnTo>
                    <a:lnTo>
                      <a:pt x="1210" y="1618"/>
                    </a:lnTo>
                    <a:lnTo>
                      <a:pt x="1188" y="1587"/>
                    </a:lnTo>
                    <a:lnTo>
                      <a:pt x="1178" y="1577"/>
                    </a:lnTo>
                    <a:lnTo>
                      <a:pt x="1167" y="1557"/>
                    </a:lnTo>
                    <a:lnTo>
                      <a:pt x="1180" y="1552"/>
                    </a:lnTo>
                    <a:lnTo>
                      <a:pt x="1197" y="1565"/>
                    </a:lnTo>
                    <a:lnTo>
                      <a:pt x="1216" y="1587"/>
                    </a:lnTo>
                    <a:lnTo>
                      <a:pt x="1231" y="1590"/>
                    </a:lnTo>
                    <a:lnTo>
                      <a:pt x="1227" y="1579"/>
                    </a:lnTo>
                    <a:lnTo>
                      <a:pt x="1236" y="1576"/>
                    </a:lnTo>
                    <a:lnTo>
                      <a:pt x="1258" y="1612"/>
                    </a:lnTo>
                    <a:lnTo>
                      <a:pt x="1269" y="1618"/>
                    </a:lnTo>
                    <a:lnTo>
                      <a:pt x="1280" y="1619"/>
                    </a:lnTo>
                    <a:lnTo>
                      <a:pt x="1287" y="1641"/>
                    </a:lnTo>
                    <a:lnTo>
                      <a:pt x="1318" y="1641"/>
                    </a:lnTo>
                    <a:lnTo>
                      <a:pt x="1330" y="1657"/>
                    </a:lnTo>
                    <a:lnTo>
                      <a:pt x="1335" y="1649"/>
                    </a:lnTo>
                    <a:lnTo>
                      <a:pt x="1341" y="1654"/>
                    </a:lnTo>
                    <a:lnTo>
                      <a:pt x="1350" y="1657"/>
                    </a:lnTo>
                    <a:lnTo>
                      <a:pt x="1356" y="1649"/>
                    </a:lnTo>
                    <a:lnTo>
                      <a:pt x="1360" y="1651"/>
                    </a:lnTo>
                    <a:lnTo>
                      <a:pt x="1361" y="1657"/>
                    </a:lnTo>
                    <a:lnTo>
                      <a:pt x="1367" y="1668"/>
                    </a:lnTo>
                    <a:lnTo>
                      <a:pt x="1376" y="1663"/>
                    </a:lnTo>
                    <a:lnTo>
                      <a:pt x="1376" y="1670"/>
                    </a:lnTo>
                    <a:lnTo>
                      <a:pt x="1372" y="1679"/>
                    </a:lnTo>
                    <a:lnTo>
                      <a:pt x="1371" y="1684"/>
                    </a:lnTo>
                    <a:lnTo>
                      <a:pt x="1382" y="1690"/>
                    </a:lnTo>
                    <a:lnTo>
                      <a:pt x="1387" y="1700"/>
                    </a:lnTo>
                    <a:lnTo>
                      <a:pt x="1394" y="1698"/>
                    </a:lnTo>
                    <a:lnTo>
                      <a:pt x="1390" y="1690"/>
                    </a:lnTo>
                    <a:lnTo>
                      <a:pt x="1389" y="1683"/>
                    </a:lnTo>
                    <a:lnTo>
                      <a:pt x="1382" y="1666"/>
                    </a:lnTo>
                    <a:lnTo>
                      <a:pt x="1380" y="1659"/>
                    </a:lnTo>
                    <a:lnTo>
                      <a:pt x="1384" y="1651"/>
                    </a:lnTo>
                    <a:lnTo>
                      <a:pt x="1393" y="1654"/>
                    </a:lnTo>
                    <a:lnTo>
                      <a:pt x="1400" y="1662"/>
                    </a:lnTo>
                    <a:lnTo>
                      <a:pt x="1410" y="1665"/>
                    </a:lnTo>
                    <a:lnTo>
                      <a:pt x="1412" y="1657"/>
                    </a:lnTo>
                    <a:lnTo>
                      <a:pt x="1411" y="1651"/>
                    </a:lnTo>
                    <a:lnTo>
                      <a:pt x="1408" y="1649"/>
                    </a:lnTo>
                    <a:lnTo>
                      <a:pt x="1408" y="1645"/>
                    </a:lnTo>
                    <a:lnTo>
                      <a:pt x="1403" y="1643"/>
                    </a:lnTo>
                    <a:lnTo>
                      <a:pt x="1393" y="1644"/>
                    </a:lnTo>
                    <a:lnTo>
                      <a:pt x="1387" y="1625"/>
                    </a:lnTo>
                    <a:lnTo>
                      <a:pt x="1380" y="1613"/>
                    </a:lnTo>
                    <a:lnTo>
                      <a:pt x="1383" y="1606"/>
                    </a:lnTo>
                    <a:lnTo>
                      <a:pt x="1383" y="1589"/>
                    </a:lnTo>
                    <a:lnTo>
                      <a:pt x="1395" y="1598"/>
                    </a:lnTo>
                    <a:lnTo>
                      <a:pt x="1406" y="1612"/>
                    </a:lnTo>
                    <a:lnTo>
                      <a:pt x="1408" y="1607"/>
                    </a:lnTo>
                    <a:lnTo>
                      <a:pt x="1405" y="1593"/>
                    </a:lnTo>
                    <a:lnTo>
                      <a:pt x="1409" y="1589"/>
                    </a:lnTo>
                    <a:lnTo>
                      <a:pt x="1409" y="1570"/>
                    </a:lnTo>
                    <a:lnTo>
                      <a:pt x="1411" y="1560"/>
                    </a:lnTo>
                    <a:lnTo>
                      <a:pt x="1405" y="1547"/>
                    </a:lnTo>
                    <a:lnTo>
                      <a:pt x="1401" y="1520"/>
                    </a:lnTo>
                    <a:lnTo>
                      <a:pt x="1388" y="1518"/>
                    </a:lnTo>
                    <a:lnTo>
                      <a:pt x="1374" y="1511"/>
                    </a:lnTo>
                    <a:lnTo>
                      <a:pt x="1368" y="1505"/>
                    </a:lnTo>
                    <a:lnTo>
                      <a:pt x="1367" y="1485"/>
                    </a:lnTo>
                    <a:lnTo>
                      <a:pt x="1379" y="1482"/>
                    </a:lnTo>
                    <a:lnTo>
                      <a:pt x="1383" y="1464"/>
                    </a:lnTo>
                    <a:lnTo>
                      <a:pt x="1380" y="1450"/>
                    </a:lnTo>
                    <a:lnTo>
                      <a:pt x="1367" y="1453"/>
                    </a:lnTo>
                    <a:lnTo>
                      <a:pt x="1368" y="1445"/>
                    </a:lnTo>
                    <a:lnTo>
                      <a:pt x="1366" y="1436"/>
                    </a:lnTo>
                    <a:lnTo>
                      <a:pt x="1362" y="1434"/>
                    </a:lnTo>
                    <a:lnTo>
                      <a:pt x="1346" y="1447"/>
                    </a:lnTo>
                    <a:lnTo>
                      <a:pt x="1346" y="1425"/>
                    </a:lnTo>
                    <a:lnTo>
                      <a:pt x="1344" y="1414"/>
                    </a:lnTo>
                    <a:lnTo>
                      <a:pt x="1331" y="1413"/>
                    </a:lnTo>
                    <a:lnTo>
                      <a:pt x="1315" y="1426"/>
                    </a:lnTo>
                    <a:lnTo>
                      <a:pt x="1308" y="1420"/>
                    </a:lnTo>
                    <a:lnTo>
                      <a:pt x="1320" y="1404"/>
                    </a:lnTo>
                    <a:lnTo>
                      <a:pt x="1312" y="1405"/>
                    </a:lnTo>
                    <a:lnTo>
                      <a:pt x="1299" y="1402"/>
                    </a:lnTo>
                    <a:lnTo>
                      <a:pt x="1291" y="1404"/>
                    </a:lnTo>
                    <a:lnTo>
                      <a:pt x="1288" y="1421"/>
                    </a:lnTo>
                    <a:lnTo>
                      <a:pt x="1283" y="1402"/>
                    </a:lnTo>
                    <a:lnTo>
                      <a:pt x="1275" y="1388"/>
                    </a:lnTo>
                    <a:lnTo>
                      <a:pt x="1275" y="1382"/>
                    </a:lnTo>
                    <a:lnTo>
                      <a:pt x="1271" y="1371"/>
                    </a:lnTo>
                    <a:lnTo>
                      <a:pt x="1258" y="1367"/>
                    </a:lnTo>
                    <a:lnTo>
                      <a:pt x="1258" y="1363"/>
                    </a:lnTo>
                    <a:lnTo>
                      <a:pt x="1263" y="1354"/>
                    </a:lnTo>
                    <a:lnTo>
                      <a:pt x="1256" y="1347"/>
                    </a:lnTo>
                    <a:lnTo>
                      <a:pt x="1263" y="1344"/>
                    </a:lnTo>
                    <a:lnTo>
                      <a:pt x="1253" y="1334"/>
                    </a:lnTo>
                    <a:lnTo>
                      <a:pt x="1252" y="1326"/>
                    </a:lnTo>
                    <a:lnTo>
                      <a:pt x="1256" y="1316"/>
                    </a:lnTo>
                    <a:lnTo>
                      <a:pt x="1240" y="1311"/>
                    </a:lnTo>
                    <a:lnTo>
                      <a:pt x="1221" y="1321"/>
                    </a:lnTo>
                    <a:lnTo>
                      <a:pt x="1220" y="1316"/>
                    </a:lnTo>
                    <a:lnTo>
                      <a:pt x="1224" y="1299"/>
                    </a:lnTo>
                    <a:lnTo>
                      <a:pt x="1221" y="1280"/>
                    </a:lnTo>
                    <a:lnTo>
                      <a:pt x="1229" y="1278"/>
                    </a:lnTo>
                    <a:lnTo>
                      <a:pt x="1236" y="1280"/>
                    </a:lnTo>
                    <a:lnTo>
                      <a:pt x="1252" y="1272"/>
                    </a:lnTo>
                    <a:lnTo>
                      <a:pt x="1263" y="1272"/>
                    </a:lnTo>
                    <a:lnTo>
                      <a:pt x="1256" y="1254"/>
                    </a:lnTo>
                    <a:lnTo>
                      <a:pt x="1242" y="1240"/>
                    </a:lnTo>
                    <a:lnTo>
                      <a:pt x="1222" y="1236"/>
                    </a:lnTo>
                    <a:lnTo>
                      <a:pt x="1215" y="1230"/>
                    </a:lnTo>
                    <a:lnTo>
                      <a:pt x="1209" y="1211"/>
                    </a:lnTo>
                    <a:lnTo>
                      <a:pt x="1226" y="1213"/>
                    </a:lnTo>
                    <a:lnTo>
                      <a:pt x="1221" y="1203"/>
                    </a:lnTo>
                    <a:lnTo>
                      <a:pt x="1231" y="1202"/>
                    </a:lnTo>
                    <a:lnTo>
                      <a:pt x="1253" y="1224"/>
                    </a:lnTo>
                    <a:lnTo>
                      <a:pt x="1260" y="1224"/>
                    </a:lnTo>
                    <a:lnTo>
                      <a:pt x="1252" y="1204"/>
                    </a:lnTo>
                    <a:lnTo>
                      <a:pt x="1260" y="1205"/>
                    </a:lnTo>
                    <a:lnTo>
                      <a:pt x="1247" y="1192"/>
                    </a:lnTo>
                    <a:lnTo>
                      <a:pt x="1253" y="1183"/>
                    </a:lnTo>
                    <a:lnTo>
                      <a:pt x="1265" y="1192"/>
                    </a:lnTo>
                    <a:lnTo>
                      <a:pt x="1277" y="1194"/>
                    </a:lnTo>
                    <a:lnTo>
                      <a:pt x="1279" y="1211"/>
                    </a:lnTo>
                    <a:lnTo>
                      <a:pt x="1272" y="1220"/>
                    </a:lnTo>
                    <a:lnTo>
                      <a:pt x="1288" y="1224"/>
                    </a:lnTo>
                    <a:lnTo>
                      <a:pt x="1317" y="1245"/>
                    </a:lnTo>
                    <a:lnTo>
                      <a:pt x="1329" y="1251"/>
                    </a:lnTo>
                    <a:lnTo>
                      <a:pt x="1333" y="1272"/>
                    </a:lnTo>
                    <a:lnTo>
                      <a:pt x="1350" y="1272"/>
                    </a:lnTo>
                    <a:lnTo>
                      <a:pt x="1362" y="1265"/>
                    </a:lnTo>
                    <a:lnTo>
                      <a:pt x="1358" y="1283"/>
                    </a:lnTo>
                    <a:lnTo>
                      <a:pt x="1362" y="1306"/>
                    </a:lnTo>
                    <a:lnTo>
                      <a:pt x="1366" y="1315"/>
                    </a:lnTo>
                    <a:lnTo>
                      <a:pt x="1384" y="1340"/>
                    </a:lnTo>
                    <a:lnTo>
                      <a:pt x="1400" y="1332"/>
                    </a:lnTo>
                    <a:lnTo>
                      <a:pt x="1403" y="1343"/>
                    </a:lnTo>
                    <a:lnTo>
                      <a:pt x="1395" y="1359"/>
                    </a:lnTo>
                    <a:lnTo>
                      <a:pt x="1405" y="1375"/>
                    </a:lnTo>
                    <a:lnTo>
                      <a:pt x="1422" y="1365"/>
                    </a:lnTo>
                    <a:lnTo>
                      <a:pt x="1430" y="1388"/>
                    </a:lnTo>
                    <a:lnTo>
                      <a:pt x="1442" y="1380"/>
                    </a:lnTo>
                    <a:lnTo>
                      <a:pt x="1446" y="1392"/>
                    </a:lnTo>
                    <a:lnTo>
                      <a:pt x="1451" y="1403"/>
                    </a:lnTo>
                    <a:lnTo>
                      <a:pt x="1459" y="1409"/>
                    </a:lnTo>
                    <a:lnTo>
                      <a:pt x="1465" y="1386"/>
                    </a:lnTo>
                    <a:lnTo>
                      <a:pt x="1466" y="1374"/>
                    </a:lnTo>
                    <a:lnTo>
                      <a:pt x="1470" y="1359"/>
                    </a:lnTo>
                    <a:lnTo>
                      <a:pt x="1479" y="1358"/>
                    </a:lnTo>
                    <a:lnTo>
                      <a:pt x="1475" y="1339"/>
                    </a:lnTo>
                    <a:lnTo>
                      <a:pt x="1466" y="1311"/>
                    </a:lnTo>
                    <a:lnTo>
                      <a:pt x="1468" y="1297"/>
                    </a:lnTo>
                    <a:lnTo>
                      <a:pt x="1491" y="1320"/>
                    </a:lnTo>
                    <a:lnTo>
                      <a:pt x="1506" y="1321"/>
                    </a:lnTo>
                    <a:lnTo>
                      <a:pt x="1508" y="1310"/>
                    </a:lnTo>
                    <a:lnTo>
                      <a:pt x="1512" y="1299"/>
                    </a:lnTo>
                    <a:lnTo>
                      <a:pt x="1523" y="1294"/>
                    </a:lnTo>
                    <a:lnTo>
                      <a:pt x="1524" y="1269"/>
                    </a:lnTo>
                    <a:lnTo>
                      <a:pt x="1541" y="1263"/>
                    </a:lnTo>
                    <a:lnTo>
                      <a:pt x="1533" y="1251"/>
                    </a:lnTo>
                    <a:lnTo>
                      <a:pt x="1512" y="1254"/>
                    </a:lnTo>
                    <a:lnTo>
                      <a:pt x="1514" y="1241"/>
                    </a:lnTo>
                    <a:lnTo>
                      <a:pt x="1527" y="1242"/>
                    </a:lnTo>
                    <a:lnTo>
                      <a:pt x="1529" y="1229"/>
                    </a:lnTo>
                    <a:lnTo>
                      <a:pt x="1513" y="1224"/>
                    </a:lnTo>
                    <a:lnTo>
                      <a:pt x="1525" y="1218"/>
                    </a:lnTo>
                    <a:lnTo>
                      <a:pt x="1549" y="1232"/>
                    </a:lnTo>
                    <a:lnTo>
                      <a:pt x="1562" y="1232"/>
                    </a:lnTo>
                    <a:lnTo>
                      <a:pt x="1567" y="1224"/>
                    </a:lnTo>
                    <a:lnTo>
                      <a:pt x="1557" y="1211"/>
                    </a:lnTo>
                    <a:lnTo>
                      <a:pt x="1560" y="1207"/>
                    </a:lnTo>
                    <a:lnTo>
                      <a:pt x="1564" y="1197"/>
                    </a:lnTo>
                    <a:lnTo>
                      <a:pt x="1573" y="1193"/>
                    </a:lnTo>
                    <a:lnTo>
                      <a:pt x="1581" y="1182"/>
                    </a:lnTo>
                    <a:lnTo>
                      <a:pt x="1573" y="1165"/>
                    </a:lnTo>
                    <a:lnTo>
                      <a:pt x="1555" y="1144"/>
                    </a:lnTo>
                    <a:lnTo>
                      <a:pt x="1544" y="1139"/>
                    </a:lnTo>
                    <a:lnTo>
                      <a:pt x="1535" y="1132"/>
                    </a:lnTo>
                    <a:lnTo>
                      <a:pt x="1523" y="1134"/>
                    </a:lnTo>
                    <a:lnTo>
                      <a:pt x="1513" y="1130"/>
                    </a:lnTo>
                    <a:lnTo>
                      <a:pt x="1496" y="1132"/>
                    </a:lnTo>
                    <a:lnTo>
                      <a:pt x="1474" y="1144"/>
                    </a:lnTo>
                    <a:lnTo>
                      <a:pt x="1480" y="1112"/>
                    </a:lnTo>
                    <a:lnTo>
                      <a:pt x="1490" y="1100"/>
                    </a:lnTo>
                    <a:lnTo>
                      <a:pt x="1489" y="1089"/>
                    </a:lnTo>
                    <a:lnTo>
                      <a:pt x="1478" y="1087"/>
                    </a:lnTo>
                    <a:lnTo>
                      <a:pt x="1471" y="1095"/>
                    </a:lnTo>
                    <a:lnTo>
                      <a:pt x="1439" y="1100"/>
                    </a:lnTo>
                    <a:lnTo>
                      <a:pt x="1426" y="1098"/>
                    </a:lnTo>
                    <a:lnTo>
                      <a:pt x="1435" y="1091"/>
                    </a:lnTo>
                    <a:lnTo>
                      <a:pt x="1422" y="1087"/>
                    </a:lnTo>
                    <a:lnTo>
                      <a:pt x="1427" y="1081"/>
                    </a:lnTo>
                    <a:lnTo>
                      <a:pt x="1441" y="1080"/>
                    </a:lnTo>
                    <a:lnTo>
                      <a:pt x="1441" y="1070"/>
                    </a:lnTo>
                    <a:lnTo>
                      <a:pt x="1423" y="1035"/>
                    </a:lnTo>
                    <a:lnTo>
                      <a:pt x="1416" y="1022"/>
                    </a:lnTo>
                    <a:lnTo>
                      <a:pt x="1410" y="1017"/>
                    </a:lnTo>
                    <a:lnTo>
                      <a:pt x="1401" y="1011"/>
                    </a:lnTo>
                    <a:lnTo>
                      <a:pt x="1379" y="1016"/>
                    </a:lnTo>
                    <a:lnTo>
                      <a:pt x="1374" y="1010"/>
                    </a:lnTo>
                    <a:lnTo>
                      <a:pt x="1377" y="999"/>
                    </a:lnTo>
                    <a:lnTo>
                      <a:pt x="1382" y="993"/>
                    </a:lnTo>
                    <a:lnTo>
                      <a:pt x="1383" y="979"/>
                    </a:lnTo>
                    <a:lnTo>
                      <a:pt x="1363" y="984"/>
                    </a:lnTo>
                    <a:lnTo>
                      <a:pt x="1342" y="985"/>
                    </a:lnTo>
                    <a:lnTo>
                      <a:pt x="1329" y="1000"/>
                    </a:lnTo>
                    <a:lnTo>
                      <a:pt x="1323" y="989"/>
                    </a:lnTo>
                    <a:lnTo>
                      <a:pt x="1312" y="985"/>
                    </a:lnTo>
                    <a:lnTo>
                      <a:pt x="1314" y="976"/>
                    </a:lnTo>
                    <a:lnTo>
                      <a:pt x="1324" y="968"/>
                    </a:lnTo>
                    <a:lnTo>
                      <a:pt x="1315" y="952"/>
                    </a:lnTo>
                    <a:lnTo>
                      <a:pt x="1297" y="957"/>
                    </a:lnTo>
                    <a:lnTo>
                      <a:pt x="1283" y="958"/>
                    </a:lnTo>
                    <a:lnTo>
                      <a:pt x="1279" y="952"/>
                    </a:lnTo>
                    <a:lnTo>
                      <a:pt x="1285" y="940"/>
                    </a:lnTo>
                    <a:lnTo>
                      <a:pt x="1288" y="929"/>
                    </a:lnTo>
                    <a:lnTo>
                      <a:pt x="1279" y="923"/>
                    </a:lnTo>
                    <a:lnTo>
                      <a:pt x="1252" y="918"/>
                    </a:lnTo>
                    <a:lnTo>
                      <a:pt x="1216" y="908"/>
                    </a:lnTo>
                    <a:lnTo>
                      <a:pt x="1204" y="902"/>
                    </a:lnTo>
                    <a:lnTo>
                      <a:pt x="1199" y="893"/>
                    </a:lnTo>
                    <a:lnTo>
                      <a:pt x="1215" y="893"/>
                    </a:lnTo>
                    <a:lnTo>
                      <a:pt x="1216" y="885"/>
                    </a:lnTo>
                    <a:lnTo>
                      <a:pt x="1233" y="882"/>
                    </a:lnTo>
                    <a:lnTo>
                      <a:pt x="1224" y="875"/>
                    </a:lnTo>
                    <a:lnTo>
                      <a:pt x="1226" y="870"/>
                    </a:lnTo>
                    <a:lnTo>
                      <a:pt x="1209" y="852"/>
                    </a:lnTo>
                    <a:lnTo>
                      <a:pt x="1210" y="842"/>
                    </a:lnTo>
                    <a:lnTo>
                      <a:pt x="1228" y="843"/>
                    </a:lnTo>
                    <a:lnTo>
                      <a:pt x="1231" y="836"/>
                    </a:lnTo>
                    <a:lnTo>
                      <a:pt x="1220" y="826"/>
                    </a:lnTo>
                    <a:lnTo>
                      <a:pt x="1202" y="815"/>
                    </a:lnTo>
                    <a:lnTo>
                      <a:pt x="1188" y="816"/>
                    </a:lnTo>
                    <a:lnTo>
                      <a:pt x="1186" y="807"/>
                    </a:lnTo>
                    <a:lnTo>
                      <a:pt x="1202" y="804"/>
                    </a:lnTo>
                    <a:lnTo>
                      <a:pt x="1207" y="807"/>
                    </a:lnTo>
                    <a:lnTo>
                      <a:pt x="1215" y="804"/>
                    </a:lnTo>
                    <a:lnTo>
                      <a:pt x="1215" y="791"/>
                    </a:lnTo>
                    <a:lnTo>
                      <a:pt x="1248" y="812"/>
                    </a:lnTo>
                    <a:lnTo>
                      <a:pt x="1263" y="812"/>
                    </a:lnTo>
                    <a:lnTo>
                      <a:pt x="1280" y="805"/>
                    </a:lnTo>
                    <a:lnTo>
                      <a:pt x="1295" y="811"/>
                    </a:lnTo>
                    <a:lnTo>
                      <a:pt x="1299" y="802"/>
                    </a:lnTo>
                    <a:lnTo>
                      <a:pt x="1299" y="793"/>
                    </a:lnTo>
                    <a:lnTo>
                      <a:pt x="1286" y="779"/>
                    </a:lnTo>
                    <a:lnTo>
                      <a:pt x="1269" y="768"/>
                    </a:lnTo>
                    <a:lnTo>
                      <a:pt x="1249" y="766"/>
                    </a:lnTo>
                    <a:lnTo>
                      <a:pt x="1228" y="767"/>
                    </a:lnTo>
                    <a:lnTo>
                      <a:pt x="1211" y="757"/>
                    </a:lnTo>
                    <a:lnTo>
                      <a:pt x="1206" y="769"/>
                    </a:lnTo>
                    <a:lnTo>
                      <a:pt x="1191" y="752"/>
                    </a:lnTo>
                    <a:lnTo>
                      <a:pt x="1178" y="743"/>
                    </a:lnTo>
                    <a:lnTo>
                      <a:pt x="1169" y="751"/>
                    </a:lnTo>
                    <a:lnTo>
                      <a:pt x="1180" y="735"/>
                    </a:lnTo>
                    <a:lnTo>
                      <a:pt x="1201" y="736"/>
                    </a:lnTo>
                    <a:lnTo>
                      <a:pt x="1215" y="729"/>
                    </a:lnTo>
                    <a:lnTo>
                      <a:pt x="1222" y="716"/>
                    </a:lnTo>
                    <a:lnTo>
                      <a:pt x="1238" y="713"/>
                    </a:lnTo>
                    <a:lnTo>
                      <a:pt x="1258" y="723"/>
                    </a:lnTo>
                    <a:lnTo>
                      <a:pt x="1267" y="705"/>
                    </a:lnTo>
                    <a:lnTo>
                      <a:pt x="1261" y="691"/>
                    </a:lnTo>
                    <a:lnTo>
                      <a:pt x="1226" y="641"/>
                    </a:lnTo>
                    <a:lnTo>
                      <a:pt x="1207" y="632"/>
                    </a:lnTo>
                    <a:lnTo>
                      <a:pt x="1200" y="646"/>
                    </a:lnTo>
                    <a:lnTo>
                      <a:pt x="1201" y="661"/>
                    </a:lnTo>
                    <a:lnTo>
                      <a:pt x="1185" y="673"/>
                    </a:lnTo>
                    <a:lnTo>
                      <a:pt x="1178" y="688"/>
                    </a:lnTo>
                    <a:lnTo>
                      <a:pt x="1161" y="687"/>
                    </a:lnTo>
                    <a:lnTo>
                      <a:pt x="1178" y="661"/>
                    </a:lnTo>
                    <a:lnTo>
                      <a:pt x="1178" y="649"/>
                    </a:lnTo>
                    <a:lnTo>
                      <a:pt x="1142" y="651"/>
                    </a:lnTo>
                    <a:lnTo>
                      <a:pt x="1130" y="660"/>
                    </a:lnTo>
                    <a:lnTo>
                      <a:pt x="1125" y="653"/>
                    </a:lnTo>
                    <a:lnTo>
                      <a:pt x="1140" y="640"/>
                    </a:lnTo>
                    <a:lnTo>
                      <a:pt x="1169" y="628"/>
                    </a:lnTo>
                    <a:lnTo>
                      <a:pt x="1178" y="606"/>
                    </a:lnTo>
                    <a:lnTo>
                      <a:pt x="1188" y="619"/>
                    </a:lnTo>
                    <a:lnTo>
                      <a:pt x="1190" y="606"/>
                    </a:lnTo>
                    <a:lnTo>
                      <a:pt x="1190" y="585"/>
                    </a:lnTo>
                    <a:lnTo>
                      <a:pt x="1154" y="570"/>
                    </a:lnTo>
                    <a:lnTo>
                      <a:pt x="1143" y="560"/>
                    </a:lnTo>
                    <a:lnTo>
                      <a:pt x="1131" y="557"/>
                    </a:lnTo>
                    <a:lnTo>
                      <a:pt x="1111" y="563"/>
                    </a:lnTo>
                    <a:lnTo>
                      <a:pt x="1099" y="580"/>
                    </a:lnTo>
                    <a:lnTo>
                      <a:pt x="1093" y="585"/>
                    </a:lnTo>
                    <a:lnTo>
                      <a:pt x="1083" y="597"/>
                    </a:lnTo>
                    <a:lnTo>
                      <a:pt x="1083" y="591"/>
                    </a:lnTo>
                    <a:lnTo>
                      <a:pt x="1089" y="575"/>
                    </a:lnTo>
                    <a:lnTo>
                      <a:pt x="1102" y="563"/>
                    </a:lnTo>
                    <a:lnTo>
                      <a:pt x="1110" y="542"/>
                    </a:lnTo>
                    <a:lnTo>
                      <a:pt x="1102" y="546"/>
                    </a:lnTo>
                    <a:lnTo>
                      <a:pt x="1091" y="556"/>
                    </a:lnTo>
                    <a:lnTo>
                      <a:pt x="1076" y="560"/>
                    </a:lnTo>
                    <a:lnTo>
                      <a:pt x="1057" y="575"/>
                    </a:lnTo>
                    <a:lnTo>
                      <a:pt x="1059" y="564"/>
                    </a:lnTo>
                    <a:lnTo>
                      <a:pt x="1066" y="552"/>
                    </a:lnTo>
                    <a:lnTo>
                      <a:pt x="1075" y="528"/>
                    </a:lnTo>
                    <a:lnTo>
                      <a:pt x="1071" y="509"/>
                    </a:lnTo>
                    <a:lnTo>
                      <a:pt x="1060" y="506"/>
                    </a:lnTo>
                    <a:lnTo>
                      <a:pt x="1044" y="520"/>
                    </a:lnTo>
                    <a:lnTo>
                      <a:pt x="1028" y="525"/>
                    </a:lnTo>
                    <a:lnTo>
                      <a:pt x="1021" y="513"/>
                    </a:lnTo>
                    <a:lnTo>
                      <a:pt x="990" y="506"/>
                    </a:lnTo>
                    <a:lnTo>
                      <a:pt x="1018" y="500"/>
                    </a:lnTo>
                    <a:lnTo>
                      <a:pt x="1034" y="501"/>
                    </a:lnTo>
                    <a:lnTo>
                      <a:pt x="1041" y="489"/>
                    </a:lnTo>
                    <a:lnTo>
                      <a:pt x="1048" y="477"/>
                    </a:lnTo>
                    <a:lnTo>
                      <a:pt x="1041" y="455"/>
                    </a:lnTo>
                    <a:lnTo>
                      <a:pt x="1028" y="431"/>
                    </a:lnTo>
                    <a:lnTo>
                      <a:pt x="986" y="412"/>
                    </a:lnTo>
                    <a:lnTo>
                      <a:pt x="968" y="393"/>
                    </a:lnTo>
                    <a:lnTo>
                      <a:pt x="965" y="395"/>
                    </a:lnTo>
                    <a:lnTo>
                      <a:pt x="962" y="412"/>
                    </a:lnTo>
                    <a:lnTo>
                      <a:pt x="949" y="425"/>
                    </a:lnTo>
                    <a:lnTo>
                      <a:pt x="935" y="419"/>
                    </a:lnTo>
                    <a:lnTo>
                      <a:pt x="922" y="423"/>
                    </a:lnTo>
                    <a:lnTo>
                      <a:pt x="928" y="454"/>
                    </a:lnTo>
                    <a:lnTo>
                      <a:pt x="927" y="463"/>
                    </a:lnTo>
                    <a:lnTo>
                      <a:pt x="926" y="455"/>
                    </a:lnTo>
                    <a:lnTo>
                      <a:pt x="914" y="457"/>
                    </a:lnTo>
                    <a:lnTo>
                      <a:pt x="912" y="452"/>
                    </a:lnTo>
                    <a:lnTo>
                      <a:pt x="904" y="443"/>
                    </a:lnTo>
                    <a:lnTo>
                      <a:pt x="906" y="419"/>
                    </a:lnTo>
                    <a:lnTo>
                      <a:pt x="896" y="418"/>
                    </a:lnTo>
                    <a:lnTo>
                      <a:pt x="882" y="438"/>
                    </a:lnTo>
                    <a:lnTo>
                      <a:pt x="895" y="408"/>
                    </a:lnTo>
                    <a:lnTo>
                      <a:pt x="912" y="385"/>
                    </a:lnTo>
                    <a:lnTo>
                      <a:pt x="910" y="379"/>
                    </a:lnTo>
                    <a:lnTo>
                      <a:pt x="883" y="385"/>
                    </a:lnTo>
                    <a:lnTo>
                      <a:pt x="867" y="385"/>
                    </a:lnTo>
                    <a:lnTo>
                      <a:pt x="851" y="406"/>
                    </a:lnTo>
                    <a:lnTo>
                      <a:pt x="844" y="411"/>
                    </a:lnTo>
                    <a:lnTo>
                      <a:pt x="845" y="391"/>
                    </a:lnTo>
                    <a:lnTo>
                      <a:pt x="829" y="401"/>
                    </a:lnTo>
                    <a:lnTo>
                      <a:pt x="846" y="381"/>
                    </a:lnTo>
                    <a:lnTo>
                      <a:pt x="863" y="370"/>
                    </a:lnTo>
                    <a:lnTo>
                      <a:pt x="871" y="357"/>
                    </a:lnTo>
                    <a:lnTo>
                      <a:pt x="867" y="334"/>
                    </a:lnTo>
                    <a:lnTo>
                      <a:pt x="846" y="328"/>
                    </a:lnTo>
                    <a:lnTo>
                      <a:pt x="825" y="328"/>
                    </a:lnTo>
                    <a:lnTo>
                      <a:pt x="819" y="322"/>
                    </a:lnTo>
                    <a:lnTo>
                      <a:pt x="831" y="305"/>
                    </a:lnTo>
                    <a:lnTo>
                      <a:pt x="828" y="289"/>
                    </a:lnTo>
                    <a:lnTo>
                      <a:pt x="818" y="266"/>
                    </a:lnTo>
                    <a:lnTo>
                      <a:pt x="808" y="259"/>
                    </a:lnTo>
                    <a:lnTo>
                      <a:pt x="812" y="250"/>
                    </a:lnTo>
                    <a:lnTo>
                      <a:pt x="791" y="240"/>
                    </a:lnTo>
                    <a:lnTo>
                      <a:pt x="771" y="239"/>
                    </a:lnTo>
                    <a:lnTo>
                      <a:pt x="712" y="209"/>
                    </a:lnTo>
                    <a:lnTo>
                      <a:pt x="685" y="208"/>
                    </a:lnTo>
                    <a:lnTo>
                      <a:pt x="656" y="221"/>
                    </a:lnTo>
                    <a:lnTo>
                      <a:pt x="631" y="245"/>
                    </a:lnTo>
                    <a:lnTo>
                      <a:pt x="630" y="266"/>
                    </a:lnTo>
                    <a:lnTo>
                      <a:pt x="646" y="280"/>
                    </a:lnTo>
                    <a:lnTo>
                      <a:pt x="634" y="285"/>
                    </a:lnTo>
                    <a:lnTo>
                      <a:pt x="618" y="285"/>
                    </a:lnTo>
                    <a:lnTo>
                      <a:pt x="607" y="300"/>
                    </a:lnTo>
                    <a:lnTo>
                      <a:pt x="588" y="274"/>
                    </a:lnTo>
                    <a:lnTo>
                      <a:pt x="575" y="289"/>
                    </a:lnTo>
                    <a:lnTo>
                      <a:pt x="565" y="283"/>
                    </a:lnTo>
                    <a:lnTo>
                      <a:pt x="566" y="267"/>
                    </a:lnTo>
                    <a:lnTo>
                      <a:pt x="562" y="251"/>
                    </a:lnTo>
                    <a:lnTo>
                      <a:pt x="550" y="275"/>
                    </a:lnTo>
                    <a:lnTo>
                      <a:pt x="550" y="283"/>
                    </a:lnTo>
                    <a:lnTo>
                      <a:pt x="545" y="306"/>
                    </a:lnTo>
                    <a:lnTo>
                      <a:pt x="537" y="304"/>
                    </a:lnTo>
                    <a:lnTo>
                      <a:pt x="533" y="322"/>
                    </a:lnTo>
                    <a:lnTo>
                      <a:pt x="519" y="344"/>
                    </a:lnTo>
                    <a:lnTo>
                      <a:pt x="503" y="357"/>
                    </a:lnTo>
                    <a:lnTo>
                      <a:pt x="506" y="347"/>
                    </a:lnTo>
                    <a:lnTo>
                      <a:pt x="498" y="336"/>
                    </a:lnTo>
                    <a:lnTo>
                      <a:pt x="503" y="325"/>
                    </a:lnTo>
                    <a:lnTo>
                      <a:pt x="517" y="328"/>
                    </a:lnTo>
                    <a:lnTo>
                      <a:pt x="519" y="323"/>
                    </a:lnTo>
                    <a:lnTo>
                      <a:pt x="511" y="312"/>
                    </a:lnTo>
                    <a:lnTo>
                      <a:pt x="506" y="312"/>
                    </a:lnTo>
                    <a:lnTo>
                      <a:pt x="512" y="289"/>
                    </a:lnTo>
                    <a:lnTo>
                      <a:pt x="518" y="274"/>
                    </a:lnTo>
                    <a:lnTo>
                      <a:pt x="528" y="230"/>
                    </a:lnTo>
                    <a:lnTo>
                      <a:pt x="534" y="212"/>
                    </a:lnTo>
                    <a:lnTo>
                      <a:pt x="518" y="196"/>
                    </a:lnTo>
                    <a:lnTo>
                      <a:pt x="510" y="176"/>
                    </a:lnTo>
                    <a:lnTo>
                      <a:pt x="508" y="167"/>
                    </a:lnTo>
                    <a:lnTo>
                      <a:pt x="518" y="159"/>
                    </a:lnTo>
                    <a:lnTo>
                      <a:pt x="519" y="148"/>
                    </a:lnTo>
                    <a:lnTo>
                      <a:pt x="512" y="134"/>
                    </a:lnTo>
                    <a:lnTo>
                      <a:pt x="496" y="122"/>
                    </a:lnTo>
                    <a:lnTo>
                      <a:pt x="475" y="115"/>
                    </a:lnTo>
                    <a:lnTo>
                      <a:pt x="489" y="99"/>
                    </a:lnTo>
                    <a:lnTo>
                      <a:pt x="484" y="47"/>
                    </a:lnTo>
                    <a:lnTo>
                      <a:pt x="475" y="33"/>
                    </a:lnTo>
                    <a:lnTo>
                      <a:pt x="470" y="22"/>
                    </a:lnTo>
                    <a:lnTo>
                      <a:pt x="417" y="26"/>
                    </a:lnTo>
                    <a:lnTo>
                      <a:pt x="401" y="25"/>
                    </a:lnTo>
                    <a:lnTo>
                      <a:pt x="390" y="33"/>
                    </a:lnTo>
                    <a:lnTo>
                      <a:pt x="378" y="37"/>
                    </a:lnTo>
                    <a:lnTo>
                      <a:pt x="358" y="49"/>
                    </a:lnTo>
                    <a:lnTo>
                      <a:pt x="339" y="68"/>
                    </a:lnTo>
                    <a:lnTo>
                      <a:pt x="355" y="84"/>
                    </a:lnTo>
                    <a:lnTo>
                      <a:pt x="351" y="103"/>
                    </a:lnTo>
                    <a:lnTo>
                      <a:pt x="347" y="92"/>
                    </a:lnTo>
                    <a:lnTo>
                      <a:pt x="340" y="80"/>
                    </a:lnTo>
                    <a:lnTo>
                      <a:pt x="325" y="73"/>
                    </a:lnTo>
                    <a:lnTo>
                      <a:pt x="307" y="81"/>
                    </a:lnTo>
                    <a:lnTo>
                      <a:pt x="304" y="94"/>
                    </a:lnTo>
                    <a:lnTo>
                      <a:pt x="313" y="118"/>
                    </a:lnTo>
                    <a:lnTo>
                      <a:pt x="303" y="112"/>
                    </a:lnTo>
                    <a:lnTo>
                      <a:pt x="291" y="94"/>
                    </a:lnTo>
                    <a:lnTo>
                      <a:pt x="277" y="97"/>
                    </a:lnTo>
                    <a:lnTo>
                      <a:pt x="272" y="115"/>
                    </a:lnTo>
                    <a:lnTo>
                      <a:pt x="285" y="131"/>
                    </a:lnTo>
                    <a:lnTo>
                      <a:pt x="344" y="153"/>
                    </a:lnTo>
                    <a:lnTo>
                      <a:pt x="341" y="160"/>
                    </a:lnTo>
                    <a:lnTo>
                      <a:pt x="324" y="156"/>
                    </a:lnTo>
                    <a:lnTo>
                      <a:pt x="266" y="138"/>
                    </a:lnTo>
                    <a:lnTo>
                      <a:pt x="264" y="148"/>
                    </a:lnTo>
                    <a:lnTo>
                      <a:pt x="258" y="144"/>
                    </a:lnTo>
                    <a:lnTo>
                      <a:pt x="250" y="148"/>
                    </a:lnTo>
                    <a:lnTo>
                      <a:pt x="261" y="156"/>
                    </a:lnTo>
                    <a:lnTo>
                      <a:pt x="276" y="160"/>
                    </a:lnTo>
                    <a:lnTo>
                      <a:pt x="293" y="177"/>
                    </a:lnTo>
                    <a:lnTo>
                      <a:pt x="312" y="186"/>
                    </a:lnTo>
                    <a:lnTo>
                      <a:pt x="331" y="204"/>
                    </a:lnTo>
                    <a:lnTo>
                      <a:pt x="319" y="207"/>
                    </a:lnTo>
                    <a:lnTo>
                      <a:pt x="280" y="176"/>
                    </a:lnTo>
                    <a:lnTo>
                      <a:pt x="255" y="170"/>
                    </a:lnTo>
                    <a:lnTo>
                      <a:pt x="243" y="171"/>
                    </a:lnTo>
                    <a:lnTo>
                      <a:pt x="238" y="181"/>
                    </a:lnTo>
                    <a:lnTo>
                      <a:pt x="239" y="210"/>
                    </a:lnTo>
                    <a:lnTo>
                      <a:pt x="248" y="237"/>
                    </a:lnTo>
                    <a:lnTo>
                      <a:pt x="243" y="246"/>
                    </a:lnTo>
                    <a:lnTo>
                      <a:pt x="250" y="263"/>
                    </a:lnTo>
                    <a:lnTo>
                      <a:pt x="269" y="274"/>
                    </a:lnTo>
                    <a:lnTo>
                      <a:pt x="279" y="274"/>
                    </a:lnTo>
                    <a:lnTo>
                      <a:pt x="285" y="268"/>
                    </a:lnTo>
                    <a:lnTo>
                      <a:pt x="288" y="273"/>
                    </a:lnTo>
                    <a:lnTo>
                      <a:pt x="282" y="291"/>
                    </a:lnTo>
                    <a:lnTo>
                      <a:pt x="272" y="302"/>
                    </a:lnTo>
                    <a:lnTo>
                      <a:pt x="254" y="299"/>
                    </a:lnTo>
                    <a:lnTo>
                      <a:pt x="249" y="314"/>
                    </a:lnTo>
                    <a:lnTo>
                      <a:pt x="248" y="325"/>
                    </a:lnTo>
                    <a:lnTo>
                      <a:pt x="226" y="343"/>
                    </a:lnTo>
                    <a:lnTo>
                      <a:pt x="229" y="354"/>
                    </a:lnTo>
                    <a:lnTo>
                      <a:pt x="245" y="364"/>
                    </a:lnTo>
                    <a:lnTo>
                      <a:pt x="245" y="381"/>
                    </a:lnTo>
                    <a:lnTo>
                      <a:pt x="259" y="398"/>
                    </a:lnTo>
                    <a:lnTo>
                      <a:pt x="280" y="406"/>
                    </a:lnTo>
                    <a:lnTo>
                      <a:pt x="295" y="406"/>
                    </a:lnTo>
                    <a:lnTo>
                      <a:pt x="298" y="419"/>
                    </a:lnTo>
                    <a:lnTo>
                      <a:pt x="295" y="441"/>
                    </a:lnTo>
                    <a:lnTo>
                      <a:pt x="295" y="447"/>
                    </a:lnTo>
                    <a:lnTo>
                      <a:pt x="290" y="455"/>
                    </a:lnTo>
                    <a:lnTo>
                      <a:pt x="291" y="471"/>
                    </a:lnTo>
                    <a:lnTo>
                      <a:pt x="290" y="485"/>
                    </a:lnTo>
                    <a:lnTo>
                      <a:pt x="288" y="504"/>
                    </a:lnTo>
                    <a:lnTo>
                      <a:pt x="281" y="525"/>
                    </a:lnTo>
                    <a:lnTo>
                      <a:pt x="275" y="519"/>
                    </a:lnTo>
                    <a:lnTo>
                      <a:pt x="277" y="500"/>
                    </a:lnTo>
                    <a:lnTo>
                      <a:pt x="281" y="490"/>
                    </a:lnTo>
                    <a:lnTo>
                      <a:pt x="277" y="485"/>
                    </a:lnTo>
                    <a:lnTo>
                      <a:pt x="271" y="489"/>
                    </a:lnTo>
                    <a:lnTo>
                      <a:pt x="254" y="487"/>
                    </a:lnTo>
                    <a:lnTo>
                      <a:pt x="242" y="490"/>
                    </a:lnTo>
                    <a:lnTo>
                      <a:pt x="227" y="498"/>
                    </a:lnTo>
                    <a:lnTo>
                      <a:pt x="207" y="515"/>
                    </a:lnTo>
                    <a:lnTo>
                      <a:pt x="190" y="513"/>
                    </a:lnTo>
                    <a:lnTo>
                      <a:pt x="215" y="495"/>
                    </a:lnTo>
                    <a:lnTo>
                      <a:pt x="227" y="481"/>
                    </a:lnTo>
                    <a:lnTo>
                      <a:pt x="252" y="476"/>
                    </a:lnTo>
                    <a:lnTo>
                      <a:pt x="256" y="470"/>
                    </a:lnTo>
                    <a:lnTo>
                      <a:pt x="268" y="465"/>
                    </a:lnTo>
                    <a:lnTo>
                      <a:pt x="281" y="467"/>
                    </a:lnTo>
                    <a:lnTo>
                      <a:pt x="281" y="460"/>
                    </a:lnTo>
                    <a:lnTo>
                      <a:pt x="277" y="446"/>
                    </a:lnTo>
                    <a:lnTo>
                      <a:pt x="274" y="438"/>
                    </a:lnTo>
                    <a:lnTo>
                      <a:pt x="255" y="433"/>
                    </a:lnTo>
                    <a:lnTo>
                      <a:pt x="205" y="361"/>
                    </a:lnTo>
                    <a:lnTo>
                      <a:pt x="196" y="334"/>
                    </a:lnTo>
                    <a:lnTo>
                      <a:pt x="198" y="306"/>
                    </a:lnTo>
                    <a:lnTo>
                      <a:pt x="206" y="274"/>
                    </a:lnTo>
                    <a:lnTo>
                      <a:pt x="198" y="252"/>
                    </a:lnTo>
                    <a:lnTo>
                      <a:pt x="185" y="229"/>
                    </a:lnTo>
                    <a:lnTo>
                      <a:pt x="186" y="198"/>
                    </a:lnTo>
                    <a:lnTo>
                      <a:pt x="207" y="155"/>
                    </a:lnTo>
                    <a:lnTo>
                      <a:pt x="211" y="124"/>
                    </a:lnTo>
                    <a:lnTo>
                      <a:pt x="222" y="102"/>
                    </a:lnTo>
                    <a:lnTo>
                      <a:pt x="236" y="88"/>
                    </a:lnTo>
                    <a:lnTo>
                      <a:pt x="247" y="67"/>
                    </a:lnTo>
                    <a:lnTo>
                      <a:pt x="275" y="38"/>
                    </a:lnTo>
                    <a:lnTo>
                      <a:pt x="285" y="25"/>
                    </a:lnTo>
                    <a:lnTo>
                      <a:pt x="285" y="21"/>
                    </a:lnTo>
                    <a:lnTo>
                      <a:pt x="279" y="16"/>
                    </a:lnTo>
                    <a:lnTo>
                      <a:pt x="270" y="8"/>
                    </a:lnTo>
                    <a:lnTo>
                      <a:pt x="206" y="0"/>
                    </a:lnTo>
                    <a:lnTo>
                      <a:pt x="190" y="3"/>
                    </a:lnTo>
                    <a:lnTo>
                      <a:pt x="146" y="20"/>
                    </a:lnTo>
                    <a:lnTo>
                      <a:pt x="114" y="42"/>
                    </a:lnTo>
                    <a:lnTo>
                      <a:pt x="81" y="76"/>
                    </a:lnTo>
                    <a:lnTo>
                      <a:pt x="75" y="101"/>
                    </a:lnTo>
                    <a:lnTo>
                      <a:pt x="61" y="118"/>
                    </a:lnTo>
                    <a:lnTo>
                      <a:pt x="55" y="123"/>
                    </a:lnTo>
                    <a:lnTo>
                      <a:pt x="49" y="134"/>
                    </a:lnTo>
                    <a:lnTo>
                      <a:pt x="44" y="149"/>
                    </a:lnTo>
                    <a:lnTo>
                      <a:pt x="51" y="164"/>
                    </a:lnTo>
                    <a:lnTo>
                      <a:pt x="39" y="172"/>
                    </a:lnTo>
                    <a:lnTo>
                      <a:pt x="38" y="199"/>
                    </a:lnTo>
                    <a:lnTo>
                      <a:pt x="48" y="204"/>
                    </a:lnTo>
                    <a:lnTo>
                      <a:pt x="29" y="204"/>
                    </a:lnTo>
                    <a:lnTo>
                      <a:pt x="24" y="230"/>
                    </a:lnTo>
                    <a:lnTo>
                      <a:pt x="16" y="236"/>
                    </a:lnTo>
                    <a:lnTo>
                      <a:pt x="14" y="261"/>
                    </a:lnTo>
                    <a:lnTo>
                      <a:pt x="7" y="274"/>
                    </a:lnTo>
                    <a:lnTo>
                      <a:pt x="12" y="310"/>
                    </a:lnTo>
                    <a:lnTo>
                      <a:pt x="27" y="310"/>
                    </a:lnTo>
                    <a:lnTo>
                      <a:pt x="17" y="316"/>
                    </a:lnTo>
                    <a:lnTo>
                      <a:pt x="7" y="330"/>
                    </a:lnTo>
                    <a:lnTo>
                      <a:pt x="0" y="347"/>
                    </a:lnTo>
                    <a:lnTo>
                      <a:pt x="7" y="369"/>
                    </a:lnTo>
                    <a:lnTo>
                      <a:pt x="13" y="381"/>
                    </a:lnTo>
                    <a:lnTo>
                      <a:pt x="3" y="401"/>
                    </a:lnTo>
                    <a:lnTo>
                      <a:pt x="3" y="441"/>
                    </a:lnTo>
                    <a:lnTo>
                      <a:pt x="8" y="454"/>
                    </a:lnTo>
                    <a:lnTo>
                      <a:pt x="12" y="460"/>
                    </a:lnTo>
                    <a:lnTo>
                      <a:pt x="62" y="471"/>
                    </a:lnTo>
                    <a:lnTo>
                      <a:pt x="115" y="476"/>
                    </a:lnTo>
                    <a:lnTo>
                      <a:pt x="126" y="490"/>
                    </a:lnTo>
                    <a:lnTo>
                      <a:pt x="145" y="506"/>
                    </a:lnTo>
                    <a:lnTo>
                      <a:pt x="162" y="516"/>
                    </a:lnTo>
                    <a:lnTo>
                      <a:pt x="131" y="528"/>
                    </a:lnTo>
                    <a:lnTo>
                      <a:pt x="107" y="530"/>
                    </a:lnTo>
                    <a:lnTo>
                      <a:pt x="73" y="510"/>
                    </a:lnTo>
                    <a:lnTo>
                      <a:pt x="53" y="509"/>
                    </a:lnTo>
                    <a:lnTo>
                      <a:pt x="37" y="504"/>
                    </a:lnTo>
                    <a:lnTo>
                      <a:pt x="45" y="515"/>
                    </a:lnTo>
                    <a:lnTo>
                      <a:pt x="38" y="532"/>
                    </a:lnTo>
                    <a:lnTo>
                      <a:pt x="48" y="548"/>
                    </a:lnTo>
                    <a:lnTo>
                      <a:pt x="61" y="575"/>
                    </a:lnTo>
                    <a:lnTo>
                      <a:pt x="83" y="602"/>
                    </a:lnTo>
                    <a:lnTo>
                      <a:pt x="118" y="624"/>
                    </a:lnTo>
                    <a:lnTo>
                      <a:pt x="105" y="627"/>
                    </a:lnTo>
                    <a:lnTo>
                      <a:pt x="124" y="634"/>
                    </a:lnTo>
                    <a:lnTo>
                      <a:pt x="126" y="628"/>
                    </a:lnTo>
                    <a:lnTo>
                      <a:pt x="141" y="627"/>
                    </a:lnTo>
                    <a:lnTo>
                      <a:pt x="167" y="632"/>
                    </a:lnTo>
                    <a:lnTo>
                      <a:pt x="186" y="627"/>
                    </a:lnTo>
                    <a:lnTo>
                      <a:pt x="194" y="606"/>
                    </a:lnTo>
                    <a:lnTo>
                      <a:pt x="196" y="635"/>
                    </a:lnTo>
                    <a:lnTo>
                      <a:pt x="209" y="656"/>
                    </a:lnTo>
                    <a:lnTo>
                      <a:pt x="226" y="673"/>
                    </a:lnTo>
                    <a:lnTo>
                      <a:pt x="253" y="682"/>
                    </a:lnTo>
                    <a:lnTo>
                      <a:pt x="265" y="682"/>
                    </a:lnTo>
                    <a:lnTo>
                      <a:pt x="250" y="672"/>
                    </a:lnTo>
                    <a:lnTo>
                      <a:pt x="265" y="670"/>
                    </a:lnTo>
                    <a:lnTo>
                      <a:pt x="292" y="680"/>
                    </a:lnTo>
                    <a:lnTo>
                      <a:pt x="344" y="688"/>
                    </a:lnTo>
                    <a:lnTo>
                      <a:pt x="358" y="696"/>
                    </a:lnTo>
                    <a:lnTo>
                      <a:pt x="360" y="689"/>
                    </a:lnTo>
                    <a:lnTo>
                      <a:pt x="384" y="678"/>
                    </a:lnTo>
                    <a:lnTo>
                      <a:pt x="419" y="702"/>
                    </a:lnTo>
                    <a:lnTo>
                      <a:pt x="435" y="703"/>
                    </a:lnTo>
                    <a:lnTo>
                      <a:pt x="437" y="708"/>
                    </a:lnTo>
                    <a:lnTo>
                      <a:pt x="442" y="700"/>
                    </a:lnTo>
                    <a:lnTo>
                      <a:pt x="441" y="702"/>
                    </a:lnTo>
                    <a:lnTo>
                      <a:pt x="448" y="709"/>
                    </a:lnTo>
                    <a:lnTo>
                      <a:pt x="455" y="693"/>
                    </a:lnTo>
                    <a:lnTo>
                      <a:pt x="469" y="687"/>
                    </a:lnTo>
                    <a:lnTo>
                      <a:pt x="483" y="696"/>
                    </a:lnTo>
                    <a:lnTo>
                      <a:pt x="496" y="718"/>
                    </a:lnTo>
                    <a:lnTo>
                      <a:pt x="506" y="718"/>
                    </a:lnTo>
                    <a:lnTo>
                      <a:pt x="501" y="704"/>
                    </a:lnTo>
                    <a:lnTo>
                      <a:pt x="481" y="680"/>
                    </a:lnTo>
                    <a:lnTo>
                      <a:pt x="462" y="672"/>
                    </a:lnTo>
                    <a:lnTo>
                      <a:pt x="464" y="659"/>
                    </a:lnTo>
                    <a:lnTo>
                      <a:pt x="517" y="676"/>
                    </a:lnTo>
                    <a:lnTo>
                      <a:pt x="530" y="682"/>
                    </a:lnTo>
                    <a:lnTo>
                      <a:pt x="543" y="676"/>
                    </a:lnTo>
                    <a:lnTo>
                      <a:pt x="549" y="682"/>
                    </a:lnTo>
                    <a:lnTo>
                      <a:pt x="556" y="682"/>
                    </a:lnTo>
                    <a:lnTo>
                      <a:pt x="569" y="707"/>
                    </a:lnTo>
                    <a:lnTo>
                      <a:pt x="596" y="698"/>
                    </a:lnTo>
                    <a:lnTo>
                      <a:pt x="618" y="696"/>
                    </a:lnTo>
                    <a:lnTo>
                      <a:pt x="625" y="684"/>
                    </a:lnTo>
                    <a:lnTo>
                      <a:pt x="620" y="659"/>
                    </a:lnTo>
                    <a:lnTo>
                      <a:pt x="605" y="624"/>
                    </a:lnTo>
                    <a:lnTo>
                      <a:pt x="591" y="626"/>
                    </a:lnTo>
                    <a:lnTo>
                      <a:pt x="581" y="618"/>
                    </a:lnTo>
                    <a:lnTo>
                      <a:pt x="593" y="607"/>
                    </a:lnTo>
                    <a:lnTo>
                      <a:pt x="620" y="614"/>
                    </a:lnTo>
                    <a:lnTo>
                      <a:pt x="653" y="649"/>
                    </a:lnTo>
                    <a:lnTo>
                      <a:pt x="658" y="638"/>
                    </a:lnTo>
                    <a:lnTo>
                      <a:pt x="670" y="646"/>
                    </a:lnTo>
                    <a:lnTo>
                      <a:pt x="684" y="643"/>
                    </a:lnTo>
                    <a:lnTo>
                      <a:pt x="685" y="707"/>
                    </a:lnTo>
                    <a:lnTo>
                      <a:pt x="694" y="716"/>
                    </a:lnTo>
                    <a:lnTo>
                      <a:pt x="701" y="700"/>
                    </a:lnTo>
                    <a:lnTo>
                      <a:pt x="711" y="708"/>
                    </a:lnTo>
                    <a:lnTo>
                      <a:pt x="723" y="707"/>
                    </a:lnTo>
                    <a:lnTo>
                      <a:pt x="728" y="714"/>
                    </a:lnTo>
                    <a:lnTo>
                      <a:pt x="727" y="726"/>
                    </a:lnTo>
                    <a:lnTo>
                      <a:pt x="715" y="736"/>
                    </a:lnTo>
                    <a:lnTo>
                      <a:pt x="727" y="737"/>
                    </a:lnTo>
                    <a:lnTo>
                      <a:pt x="738" y="745"/>
                    </a:lnTo>
                    <a:lnTo>
                      <a:pt x="750" y="759"/>
                    </a:lnTo>
                    <a:lnTo>
                      <a:pt x="787" y="793"/>
                    </a:lnTo>
                    <a:lnTo>
                      <a:pt x="792" y="816"/>
                    </a:lnTo>
                    <a:lnTo>
                      <a:pt x="772" y="833"/>
                    </a:lnTo>
                    <a:lnTo>
                      <a:pt x="752" y="828"/>
                    </a:lnTo>
                    <a:lnTo>
                      <a:pt x="737" y="828"/>
                    </a:lnTo>
                    <a:lnTo>
                      <a:pt x="743" y="854"/>
                    </a:lnTo>
                    <a:lnTo>
                      <a:pt x="740" y="887"/>
                    </a:lnTo>
                    <a:lnTo>
                      <a:pt x="761" y="880"/>
                    </a:lnTo>
                    <a:lnTo>
                      <a:pt x="791" y="859"/>
                    </a:lnTo>
                    <a:lnTo>
                      <a:pt x="798" y="843"/>
                    </a:lnTo>
                    <a:lnTo>
                      <a:pt x="812" y="849"/>
                    </a:lnTo>
                    <a:lnTo>
                      <a:pt x="829" y="834"/>
                    </a:lnTo>
                    <a:lnTo>
                      <a:pt x="849" y="829"/>
                    </a:lnTo>
                    <a:lnTo>
                      <a:pt x="868" y="833"/>
                    </a:lnTo>
                    <a:lnTo>
                      <a:pt x="836" y="843"/>
                    </a:lnTo>
                    <a:lnTo>
                      <a:pt x="842" y="848"/>
                    </a:lnTo>
                    <a:lnTo>
                      <a:pt x="835" y="863"/>
                    </a:lnTo>
                    <a:lnTo>
                      <a:pt x="858" y="892"/>
                    </a:lnTo>
                    <a:lnTo>
                      <a:pt x="872" y="906"/>
                    </a:lnTo>
                    <a:lnTo>
                      <a:pt x="878" y="901"/>
                    </a:lnTo>
                    <a:lnTo>
                      <a:pt x="871" y="887"/>
                    </a:lnTo>
                    <a:lnTo>
                      <a:pt x="872" y="877"/>
                    </a:lnTo>
                    <a:lnTo>
                      <a:pt x="892" y="883"/>
                    </a:lnTo>
                    <a:lnTo>
                      <a:pt x="890" y="920"/>
                    </a:lnTo>
                    <a:lnTo>
                      <a:pt x="895" y="936"/>
                    </a:lnTo>
                    <a:lnTo>
                      <a:pt x="912" y="949"/>
                    </a:lnTo>
                    <a:lnTo>
                      <a:pt x="925" y="941"/>
                    </a:lnTo>
                    <a:lnTo>
                      <a:pt x="939" y="963"/>
                    </a:lnTo>
                    <a:lnTo>
                      <a:pt x="942" y="988"/>
                    </a:lnTo>
                    <a:lnTo>
                      <a:pt x="948" y="1004"/>
                    </a:lnTo>
                    <a:lnTo>
                      <a:pt x="955" y="1014"/>
                    </a:lnTo>
                    <a:lnTo>
                      <a:pt x="958" y="1037"/>
                    </a:lnTo>
                    <a:lnTo>
                      <a:pt x="965" y="1049"/>
                    </a:lnTo>
                    <a:lnTo>
                      <a:pt x="967" y="1069"/>
                    </a:lnTo>
                    <a:lnTo>
                      <a:pt x="970" y="1085"/>
                    </a:lnTo>
                    <a:lnTo>
                      <a:pt x="976" y="1089"/>
                    </a:lnTo>
                    <a:lnTo>
                      <a:pt x="971" y="1103"/>
                    </a:lnTo>
                    <a:lnTo>
                      <a:pt x="964" y="1114"/>
                    </a:lnTo>
                    <a:lnTo>
                      <a:pt x="951" y="1121"/>
                    </a:lnTo>
                    <a:lnTo>
                      <a:pt x="942" y="1130"/>
                    </a:lnTo>
                    <a:lnTo>
                      <a:pt x="941" y="1166"/>
                    </a:lnTo>
                    <a:lnTo>
                      <a:pt x="937" y="1170"/>
                    </a:lnTo>
                    <a:lnTo>
                      <a:pt x="924" y="1173"/>
                    </a:lnTo>
                    <a:lnTo>
                      <a:pt x="911" y="1191"/>
                    </a:lnTo>
                    <a:lnTo>
                      <a:pt x="895" y="1204"/>
                    </a:lnTo>
                    <a:lnTo>
                      <a:pt x="882" y="1224"/>
                    </a:lnTo>
                    <a:lnTo>
                      <a:pt x="861" y="1242"/>
                    </a:lnTo>
                    <a:lnTo>
                      <a:pt x="863" y="1254"/>
                    </a:lnTo>
                    <a:lnTo>
                      <a:pt x="877" y="1275"/>
                    </a:lnTo>
                    <a:lnTo>
                      <a:pt x="894" y="1292"/>
                    </a:lnTo>
                    <a:lnTo>
                      <a:pt x="898" y="1310"/>
                    </a:lnTo>
                    <a:lnTo>
                      <a:pt x="908" y="1313"/>
                    </a:lnTo>
                    <a:lnTo>
                      <a:pt x="908" y="1338"/>
                    </a:lnTo>
                    <a:lnTo>
                      <a:pt x="889" y="1328"/>
                    </a:lnTo>
                    <a:lnTo>
                      <a:pt x="888" y="1333"/>
                    </a:lnTo>
                    <a:lnTo>
                      <a:pt x="874" y="1327"/>
                    </a:lnTo>
                    <a:lnTo>
                      <a:pt x="871" y="1334"/>
                    </a:lnTo>
                    <a:lnTo>
                      <a:pt x="862" y="1337"/>
                    </a:lnTo>
                    <a:lnTo>
                      <a:pt x="846" y="1347"/>
                    </a:lnTo>
                    <a:lnTo>
                      <a:pt x="822" y="1347"/>
                    </a:lnTo>
                    <a:lnTo>
                      <a:pt x="820" y="1360"/>
                    </a:lnTo>
                    <a:lnTo>
                      <a:pt x="811" y="1364"/>
                    </a:lnTo>
                    <a:lnTo>
                      <a:pt x="793" y="1354"/>
                    </a:lnTo>
                    <a:lnTo>
                      <a:pt x="765" y="1358"/>
                    </a:lnTo>
                    <a:lnTo>
                      <a:pt x="743" y="1348"/>
                    </a:lnTo>
                    <a:lnTo>
                      <a:pt x="731" y="1348"/>
                    </a:lnTo>
                    <a:lnTo>
                      <a:pt x="718" y="1344"/>
                    </a:lnTo>
                    <a:lnTo>
                      <a:pt x="711" y="1338"/>
                    </a:lnTo>
                    <a:lnTo>
                      <a:pt x="700" y="1339"/>
                    </a:lnTo>
                    <a:lnTo>
                      <a:pt x="707" y="1350"/>
                    </a:lnTo>
                    <a:lnTo>
                      <a:pt x="697" y="1350"/>
                    </a:lnTo>
                    <a:lnTo>
                      <a:pt x="700" y="1374"/>
                    </a:lnTo>
                    <a:lnTo>
                      <a:pt x="688" y="1378"/>
                    </a:lnTo>
                    <a:lnTo>
                      <a:pt x="668" y="1393"/>
                    </a:lnTo>
                    <a:lnTo>
                      <a:pt x="661" y="1408"/>
                    </a:lnTo>
                    <a:lnTo>
                      <a:pt x="658" y="1425"/>
                    </a:lnTo>
                    <a:lnTo>
                      <a:pt x="659" y="1441"/>
                    </a:lnTo>
                    <a:lnTo>
                      <a:pt x="668" y="1462"/>
                    </a:lnTo>
                    <a:lnTo>
                      <a:pt x="680" y="1473"/>
                    </a:lnTo>
                    <a:lnTo>
                      <a:pt x="690" y="1473"/>
                    </a:lnTo>
                    <a:lnTo>
                      <a:pt x="702" y="1488"/>
                    </a:lnTo>
                    <a:lnTo>
                      <a:pt x="710" y="1485"/>
                    </a:lnTo>
                    <a:lnTo>
                      <a:pt x="731" y="1491"/>
                    </a:lnTo>
                    <a:lnTo>
                      <a:pt x="737" y="1496"/>
                    </a:lnTo>
                    <a:lnTo>
                      <a:pt x="739" y="1493"/>
                    </a:lnTo>
                    <a:lnTo>
                      <a:pt x="761" y="1487"/>
                    </a:lnTo>
                    <a:lnTo>
                      <a:pt x="759" y="1478"/>
                    </a:lnTo>
                    <a:lnTo>
                      <a:pt x="776" y="1477"/>
                    </a:lnTo>
                    <a:lnTo>
                      <a:pt x="783" y="1473"/>
                    </a:lnTo>
                    <a:lnTo>
                      <a:pt x="785" y="1463"/>
                    </a:lnTo>
                    <a:lnTo>
                      <a:pt x="780" y="1452"/>
                    </a:lnTo>
                    <a:lnTo>
                      <a:pt x="792" y="1447"/>
                    </a:lnTo>
                    <a:lnTo>
                      <a:pt x="807" y="1447"/>
                    </a:lnTo>
                    <a:lnTo>
                      <a:pt x="812" y="1457"/>
                    </a:lnTo>
                    <a:lnTo>
                      <a:pt x="814" y="1467"/>
                    </a:lnTo>
                    <a:lnTo>
                      <a:pt x="840" y="1468"/>
                    </a:lnTo>
                    <a:lnTo>
                      <a:pt x="849" y="1472"/>
                    </a:lnTo>
                    <a:lnTo>
                      <a:pt x="847" y="1461"/>
                    </a:lnTo>
                    <a:lnTo>
                      <a:pt x="855" y="1453"/>
                    </a:lnTo>
                    <a:lnTo>
                      <a:pt x="857" y="1460"/>
                    </a:lnTo>
                    <a:lnTo>
                      <a:pt x="847" y="1441"/>
                    </a:lnTo>
                    <a:lnTo>
                      <a:pt x="835" y="1436"/>
                    </a:lnTo>
                    <a:lnTo>
                      <a:pt x="834" y="1423"/>
                    </a:lnTo>
                    <a:lnTo>
                      <a:pt x="846" y="1419"/>
                    </a:lnTo>
                    <a:lnTo>
                      <a:pt x="851" y="1413"/>
                    </a:lnTo>
                    <a:lnTo>
                      <a:pt x="851" y="1425"/>
                    </a:lnTo>
                    <a:lnTo>
                      <a:pt x="852" y="1435"/>
                    </a:lnTo>
                    <a:lnTo>
                      <a:pt x="860" y="1426"/>
                    </a:lnTo>
                    <a:lnTo>
                      <a:pt x="862" y="1435"/>
                    </a:lnTo>
                    <a:lnTo>
                      <a:pt x="871" y="1444"/>
                    </a:lnTo>
                    <a:lnTo>
                      <a:pt x="876" y="1439"/>
                    </a:lnTo>
                    <a:lnTo>
                      <a:pt x="885" y="1435"/>
                    </a:lnTo>
                    <a:lnTo>
                      <a:pt x="889" y="1436"/>
                    </a:lnTo>
                    <a:lnTo>
                      <a:pt x="898" y="1450"/>
                    </a:lnTo>
                    <a:lnTo>
                      <a:pt x="906" y="1444"/>
                    </a:lnTo>
                    <a:lnTo>
                      <a:pt x="914" y="1446"/>
                    </a:lnTo>
                    <a:lnTo>
                      <a:pt x="919" y="1456"/>
                    </a:lnTo>
                    <a:lnTo>
                      <a:pt x="916" y="1462"/>
                    </a:lnTo>
                    <a:lnTo>
                      <a:pt x="917" y="1473"/>
                    </a:lnTo>
                    <a:lnTo>
                      <a:pt x="921" y="1485"/>
                    </a:lnTo>
                    <a:lnTo>
                      <a:pt x="927" y="1482"/>
                    </a:lnTo>
                    <a:lnTo>
                      <a:pt x="938" y="1498"/>
                    </a:lnTo>
                    <a:lnTo>
                      <a:pt x="941" y="1507"/>
                    </a:lnTo>
                    <a:lnTo>
                      <a:pt x="939" y="1515"/>
                    </a:lnTo>
                    <a:lnTo>
                      <a:pt x="942" y="1518"/>
                    </a:lnTo>
                    <a:lnTo>
                      <a:pt x="943" y="1528"/>
                    </a:lnTo>
                    <a:lnTo>
                      <a:pt x="951" y="1526"/>
                    </a:lnTo>
                    <a:lnTo>
                      <a:pt x="955" y="1528"/>
                    </a:lnTo>
                    <a:lnTo>
                      <a:pt x="963" y="1544"/>
                    </a:lnTo>
                    <a:lnTo>
                      <a:pt x="968" y="1547"/>
                    </a:lnTo>
                    <a:lnTo>
                      <a:pt x="975" y="1541"/>
                    </a:lnTo>
                    <a:lnTo>
                      <a:pt x="980" y="1543"/>
                    </a:lnTo>
                    <a:lnTo>
                      <a:pt x="980" y="1550"/>
                    </a:lnTo>
                    <a:lnTo>
                      <a:pt x="986" y="1560"/>
                    </a:lnTo>
                    <a:lnTo>
                      <a:pt x="994" y="1563"/>
                    </a:lnTo>
                    <a:lnTo>
                      <a:pt x="995" y="1554"/>
                    </a:lnTo>
                    <a:lnTo>
                      <a:pt x="1001" y="1542"/>
                    </a:lnTo>
                    <a:lnTo>
                      <a:pt x="1012" y="1559"/>
                    </a:lnTo>
                    <a:lnTo>
                      <a:pt x="1018" y="1563"/>
                    </a:lnTo>
                    <a:lnTo>
                      <a:pt x="1022" y="1571"/>
                    </a:lnTo>
                    <a:lnTo>
                      <a:pt x="1033" y="1571"/>
                    </a:lnTo>
                    <a:lnTo>
                      <a:pt x="1019" y="1587"/>
                    </a:lnTo>
                    <a:lnTo>
                      <a:pt x="1003" y="1593"/>
                    </a:lnTo>
                    <a:lnTo>
                      <a:pt x="992" y="1579"/>
                    </a:lnTo>
                    <a:lnTo>
                      <a:pt x="998" y="1595"/>
                    </a:lnTo>
                    <a:lnTo>
                      <a:pt x="1014" y="1628"/>
                    </a:lnTo>
                    <a:lnTo>
                      <a:pt x="1024" y="1630"/>
                    </a:lnTo>
                    <a:lnTo>
                      <a:pt x="1035" y="1643"/>
                    </a:lnTo>
                    <a:lnTo>
                      <a:pt x="1037" y="16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3" name="Freeform 304"/>
              <p:cNvSpPr>
                <a:spLocks noChangeAspect="1"/>
              </p:cNvSpPr>
              <p:nvPr/>
            </p:nvSpPr>
            <p:spPr bwMode="gray">
              <a:xfrm>
                <a:off x="969" y="1334"/>
                <a:ext cx="937" cy="648"/>
              </a:xfrm>
              <a:custGeom>
                <a:avLst/>
                <a:gdLst/>
                <a:ahLst/>
                <a:cxnLst>
                  <a:cxn ang="0">
                    <a:pos x="4121" y="2577"/>
                  </a:cxn>
                  <a:cxn ang="0">
                    <a:pos x="3985" y="2718"/>
                  </a:cxn>
                  <a:cxn ang="0">
                    <a:pos x="4193" y="2896"/>
                  </a:cxn>
                  <a:cxn ang="0">
                    <a:pos x="4252" y="3041"/>
                  </a:cxn>
                  <a:cxn ang="0">
                    <a:pos x="4261" y="2980"/>
                  </a:cxn>
                  <a:cxn ang="0">
                    <a:pos x="3928" y="2815"/>
                  </a:cxn>
                  <a:cxn ang="0">
                    <a:pos x="3510" y="3092"/>
                  </a:cxn>
                  <a:cxn ang="0">
                    <a:pos x="3186" y="3206"/>
                  </a:cxn>
                  <a:cxn ang="0">
                    <a:pos x="3305" y="3028"/>
                  </a:cxn>
                  <a:cxn ang="0">
                    <a:pos x="3138" y="2904"/>
                  </a:cxn>
                  <a:cxn ang="0">
                    <a:pos x="2884" y="2730"/>
                  </a:cxn>
                  <a:cxn ang="0">
                    <a:pos x="2558" y="2711"/>
                  </a:cxn>
                  <a:cxn ang="0">
                    <a:pos x="999" y="2670"/>
                  </a:cxn>
                  <a:cxn ang="0">
                    <a:pos x="900" y="2578"/>
                  </a:cxn>
                  <a:cxn ang="0">
                    <a:pos x="745" y="2484"/>
                  </a:cxn>
                  <a:cxn ang="0">
                    <a:pos x="658" y="2308"/>
                  </a:cxn>
                  <a:cxn ang="0">
                    <a:pos x="605" y="2062"/>
                  </a:cxn>
                  <a:cxn ang="0">
                    <a:pos x="257" y="1689"/>
                  </a:cxn>
                  <a:cxn ang="0">
                    <a:pos x="0" y="1022"/>
                  </a:cxn>
                  <a:cxn ang="0">
                    <a:pos x="300" y="501"/>
                  </a:cxn>
                  <a:cxn ang="0">
                    <a:pos x="554" y="316"/>
                  </a:cxn>
                  <a:cxn ang="0">
                    <a:pos x="516" y="434"/>
                  </a:cxn>
                  <a:cxn ang="0">
                    <a:pos x="780" y="376"/>
                  </a:cxn>
                  <a:cxn ang="0">
                    <a:pos x="908" y="308"/>
                  </a:cxn>
                  <a:cxn ang="0">
                    <a:pos x="1229" y="461"/>
                  </a:cxn>
                  <a:cxn ang="0">
                    <a:pos x="1409" y="630"/>
                  </a:cxn>
                  <a:cxn ang="0">
                    <a:pos x="1713" y="655"/>
                  </a:cxn>
                  <a:cxn ang="0">
                    <a:pos x="1850" y="758"/>
                  </a:cxn>
                  <a:cxn ang="0">
                    <a:pos x="1884" y="566"/>
                  </a:cxn>
                  <a:cxn ang="0">
                    <a:pos x="1897" y="496"/>
                  </a:cxn>
                  <a:cxn ang="0">
                    <a:pos x="2137" y="669"/>
                  </a:cxn>
                  <a:cxn ang="0">
                    <a:pos x="2360" y="650"/>
                  </a:cxn>
                  <a:cxn ang="0">
                    <a:pos x="2467" y="619"/>
                  </a:cxn>
                  <a:cxn ang="0">
                    <a:pos x="2592" y="506"/>
                  </a:cxn>
                  <a:cxn ang="0">
                    <a:pos x="2465" y="360"/>
                  </a:cxn>
                  <a:cxn ang="0">
                    <a:pos x="2513" y="2"/>
                  </a:cxn>
                  <a:cxn ang="0">
                    <a:pos x="2671" y="301"/>
                  </a:cxn>
                  <a:cxn ang="0">
                    <a:pos x="2773" y="515"/>
                  </a:cxn>
                  <a:cxn ang="0">
                    <a:pos x="2955" y="732"/>
                  </a:cxn>
                  <a:cxn ang="0">
                    <a:pos x="3048" y="400"/>
                  </a:cxn>
                  <a:cxn ang="0">
                    <a:pos x="3223" y="566"/>
                  </a:cxn>
                  <a:cxn ang="0">
                    <a:pos x="3139" y="886"/>
                  </a:cxn>
                  <a:cxn ang="0">
                    <a:pos x="2869" y="956"/>
                  </a:cxn>
                  <a:cxn ang="0">
                    <a:pos x="2806" y="1170"/>
                  </a:cxn>
                  <a:cxn ang="0">
                    <a:pos x="2662" y="1202"/>
                  </a:cxn>
                  <a:cxn ang="0">
                    <a:pos x="2634" y="1400"/>
                  </a:cxn>
                  <a:cxn ang="0">
                    <a:pos x="2596" y="1772"/>
                  </a:cxn>
                  <a:cxn ang="0">
                    <a:pos x="2978" y="2076"/>
                  </a:cxn>
                  <a:cxn ang="0">
                    <a:pos x="3253" y="2406"/>
                  </a:cxn>
                  <a:cxn ang="0">
                    <a:pos x="3435" y="2410"/>
                  </a:cxn>
                  <a:cxn ang="0">
                    <a:pos x="3543" y="2007"/>
                  </a:cxn>
                  <a:cxn ang="0">
                    <a:pos x="3489" y="1658"/>
                  </a:cxn>
                  <a:cxn ang="0">
                    <a:pos x="3454" y="1379"/>
                  </a:cxn>
                  <a:cxn ang="0">
                    <a:pos x="3782" y="1465"/>
                  </a:cxn>
                  <a:cxn ang="0">
                    <a:pos x="3908" y="1642"/>
                  </a:cxn>
                  <a:cxn ang="0">
                    <a:pos x="3931" y="1765"/>
                  </a:cxn>
                  <a:cxn ang="0">
                    <a:pos x="4124" y="1745"/>
                  </a:cxn>
                  <a:cxn ang="0">
                    <a:pos x="4254" y="1721"/>
                  </a:cxn>
                  <a:cxn ang="0">
                    <a:pos x="4305" y="1837"/>
                  </a:cxn>
                  <a:cxn ang="0">
                    <a:pos x="4379" y="2060"/>
                  </a:cxn>
                  <a:cxn ang="0">
                    <a:pos x="4580" y="2206"/>
                  </a:cxn>
                  <a:cxn ang="0">
                    <a:pos x="4538" y="2229"/>
                  </a:cxn>
                  <a:cxn ang="0">
                    <a:pos x="4668" y="2398"/>
                  </a:cxn>
                </a:cxnLst>
                <a:rect l="0" t="0" r="r" b="b"/>
                <a:pathLst>
                  <a:path w="4686" h="3236">
                    <a:moveTo>
                      <a:pt x="4668" y="2398"/>
                    </a:moveTo>
                    <a:lnTo>
                      <a:pt x="4678" y="2405"/>
                    </a:lnTo>
                    <a:lnTo>
                      <a:pt x="4684" y="2412"/>
                    </a:lnTo>
                    <a:lnTo>
                      <a:pt x="4675" y="2423"/>
                    </a:lnTo>
                    <a:lnTo>
                      <a:pt x="4664" y="2437"/>
                    </a:lnTo>
                    <a:lnTo>
                      <a:pt x="4646" y="2449"/>
                    </a:lnTo>
                    <a:lnTo>
                      <a:pt x="4630" y="2469"/>
                    </a:lnTo>
                    <a:lnTo>
                      <a:pt x="4619" y="2470"/>
                    </a:lnTo>
                    <a:lnTo>
                      <a:pt x="4616" y="2475"/>
                    </a:lnTo>
                    <a:lnTo>
                      <a:pt x="4601" y="2475"/>
                    </a:lnTo>
                    <a:lnTo>
                      <a:pt x="4578" y="2474"/>
                    </a:lnTo>
                    <a:lnTo>
                      <a:pt x="4564" y="2481"/>
                    </a:lnTo>
                    <a:lnTo>
                      <a:pt x="4533" y="2487"/>
                    </a:lnTo>
                    <a:lnTo>
                      <a:pt x="4521" y="2496"/>
                    </a:lnTo>
                    <a:lnTo>
                      <a:pt x="4510" y="2512"/>
                    </a:lnTo>
                    <a:lnTo>
                      <a:pt x="4505" y="2511"/>
                    </a:lnTo>
                    <a:lnTo>
                      <a:pt x="4493" y="2531"/>
                    </a:lnTo>
                    <a:lnTo>
                      <a:pt x="4476" y="2554"/>
                    </a:lnTo>
                    <a:lnTo>
                      <a:pt x="4465" y="2560"/>
                    </a:lnTo>
                    <a:lnTo>
                      <a:pt x="4453" y="2574"/>
                    </a:lnTo>
                    <a:lnTo>
                      <a:pt x="4444" y="2579"/>
                    </a:lnTo>
                    <a:lnTo>
                      <a:pt x="4438" y="2579"/>
                    </a:lnTo>
                    <a:lnTo>
                      <a:pt x="4433" y="2574"/>
                    </a:lnTo>
                    <a:lnTo>
                      <a:pt x="4438" y="2563"/>
                    </a:lnTo>
                    <a:lnTo>
                      <a:pt x="4431" y="2566"/>
                    </a:lnTo>
                    <a:lnTo>
                      <a:pt x="4425" y="2577"/>
                    </a:lnTo>
                    <a:lnTo>
                      <a:pt x="4385" y="2583"/>
                    </a:lnTo>
                    <a:lnTo>
                      <a:pt x="4359" y="2593"/>
                    </a:lnTo>
                    <a:lnTo>
                      <a:pt x="4353" y="2590"/>
                    </a:lnTo>
                    <a:lnTo>
                      <a:pt x="4352" y="2584"/>
                    </a:lnTo>
                    <a:lnTo>
                      <a:pt x="4343" y="2579"/>
                    </a:lnTo>
                    <a:lnTo>
                      <a:pt x="4325" y="2577"/>
                    </a:lnTo>
                    <a:lnTo>
                      <a:pt x="4280" y="2577"/>
                    </a:lnTo>
                    <a:lnTo>
                      <a:pt x="4264" y="2581"/>
                    </a:lnTo>
                    <a:lnTo>
                      <a:pt x="4232" y="2574"/>
                    </a:lnTo>
                    <a:lnTo>
                      <a:pt x="4225" y="2574"/>
                    </a:lnTo>
                    <a:lnTo>
                      <a:pt x="4200" y="2572"/>
                    </a:lnTo>
                    <a:lnTo>
                      <a:pt x="4173" y="2579"/>
                    </a:lnTo>
                    <a:lnTo>
                      <a:pt x="4164" y="2577"/>
                    </a:lnTo>
                    <a:lnTo>
                      <a:pt x="4151" y="2577"/>
                    </a:lnTo>
                    <a:lnTo>
                      <a:pt x="4134" y="2579"/>
                    </a:lnTo>
                    <a:lnTo>
                      <a:pt x="4121" y="2577"/>
                    </a:lnTo>
                    <a:lnTo>
                      <a:pt x="4113" y="2581"/>
                    </a:lnTo>
                    <a:lnTo>
                      <a:pt x="4100" y="2581"/>
                    </a:lnTo>
                    <a:lnTo>
                      <a:pt x="4095" y="2583"/>
                    </a:lnTo>
                    <a:lnTo>
                      <a:pt x="4094" y="2590"/>
                    </a:lnTo>
                    <a:lnTo>
                      <a:pt x="4084" y="2589"/>
                    </a:lnTo>
                    <a:lnTo>
                      <a:pt x="4080" y="2593"/>
                    </a:lnTo>
                    <a:lnTo>
                      <a:pt x="4074" y="2597"/>
                    </a:lnTo>
                    <a:lnTo>
                      <a:pt x="4068" y="2604"/>
                    </a:lnTo>
                    <a:lnTo>
                      <a:pt x="4058" y="2617"/>
                    </a:lnTo>
                    <a:lnTo>
                      <a:pt x="4053" y="2635"/>
                    </a:lnTo>
                    <a:lnTo>
                      <a:pt x="4044" y="2654"/>
                    </a:lnTo>
                    <a:lnTo>
                      <a:pt x="4042" y="2657"/>
                    </a:lnTo>
                    <a:lnTo>
                      <a:pt x="4004" y="2659"/>
                    </a:lnTo>
                    <a:lnTo>
                      <a:pt x="3993" y="2670"/>
                    </a:lnTo>
                    <a:lnTo>
                      <a:pt x="3987" y="2670"/>
                    </a:lnTo>
                    <a:lnTo>
                      <a:pt x="3987" y="2675"/>
                    </a:lnTo>
                    <a:lnTo>
                      <a:pt x="3968" y="2694"/>
                    </a:lnTo>
                    <a:lnTo>
                      <a:pt x="3958" y="2699"/>
                    </a:lnTo>
                    <a:lnTo>
                      <a:pt x="3930" y="2743"/>
                    </a:lnTo>
                    <a:lnTo>
                      <a:pt x="3919" y="2751"/>
                    </a:lnTo>
                    <a:lnTo>
                      <a:pt x="3908" y="2753"/>
                    </a:lnTo>
                    <a:lnTo>
                      <a:pt x="3909" y="2769"/>
                    </a:lnTo>
                    <a:lnTo>
                      <a:pt x="3887" y="2810"/>
                    </a:lnTo>
                    <a:lnTo>
                      <a:pt x="3882" y="2810"/>
                    </a:lnTo>
                    <a:lnTo>
                      <a:pt x="3860" y="2832"/>
                    </a:lnTo>
                    <a:lnTo>
                      <a:pt x="3834" y="2858"/>
                    </a:lnTo>
                    <a:lnTo>
                      <a:pt x="3834" y="2861"/>
                    </a:lnTo>
                    <a:lnTo>
                      <a:pt x="3848" y="2858"/>
                    </a:lnTo>
                    <a:lnTo>
                      <a:pt x="3859" y="2851"/>
                    </a:lnTo>
                    <a:lnTo>
                      <a:pt x="3859" y="2847"/>
                    </a:lnTo>
                    <a:lnTo>
                      <a:pt x="3864" y="2845"/>
                    </a:lnTo>
                    <a:lnTo>
                      <a:pt x="3879" y="2827"/>
                    </a:lnTo>
                    <a:lnTo>
                      <a:pt x="3888" y="2814"/>
                    </a:lnTo>
                    <a:lnTo>
                      <a:pt x="3898" y="2805"/>
                    </a:lnTo>
                    <a:lnTo>
                      <a:pt x="3908" y="2794"/>
                    </a:lnTo>
                    <a:lnTo>
                      <a:pt x="3920" y="2770"/>
                    </a:lnTo>
                    <a:lnTo>
                      <a:pt x="3930" y="2761"/>
                    </a:lnTo>
                    <a:lnTo>
                      <a:pt x="3952" y="2739"/>
                    </a:lnTo>
                    <a:lnTo>
                      <a:pt x="3958" y="2735"/>
                    </a:lnTo>
                    <a:lnTo>
                      <a:pt x="3968" y="2733"/>
                    </a:lnTo>
                    <a:lnTo>
                      <a:pt x="3974" y="2726"/>
                    </a:lnTo>
                    <a:lnTo>
                      <a:pt x="3985" y="2718"/>
                    </a:lnTo>
                    <a:lnTo>
                      <a:pt x="3998" y="2713"/>
                    </a:lnTo>
                    <a:lnTo>
                      <a:pt x="4030" y="2694"/>
                    </a:lnTo>
                    <a:lnTo>
                      <a:pt x="4084" y="2670"/>
                    </a:lnTo>
                    <a:lnTo>
                      <a:pt x="4114" y="2663"/>
                    </a:lnTo>
                    <a:lnTo>
                      <a:pt x="4128" y="2664"/>
                    </a:lnTo>
                    <a:lnTo>
                      <a:pt x="4139" y="2662"/>
                    </a:lnTo>
                    <a:lnTo>
                      <a:pt x="4167" y="2664"/>
                    </a:lnTo>
                    <a:lnTo>
                      <a:pt x="4194" y="2676"/>
                    </a:lnTo>
                    <a:lnTo>
                      <a:pt x="4207" y="2685"/>
                    </a:lnTo>
                    <a:lnTo>
                      <a:pt x="4214" y="2701"/>
                    </a:lnTo>
                    <a:lnTo>
                      <a:pt x="4207" y="2697"/>
                    </a:lnTo>
                    <a:lnTo>
                      <a:pt x="4205" y="2700"/>
                    </a:lnTo>
                    <a:lnTo>
                      <a:pt x="4211" y="2707"/>
                    </a:lnTo>
                    <a:lnTo>
                      <a:pt x="4211" y="2723"/>
                    </a:lnTo>
                    <a:lnTo>
                      <a:pt x="4200" y="2733"/>
                    </a:lnTo>
                    <a:lnTo>
                      <a:pt x="4176" y="2753"/>
                    </a:lnTo>
                    <a:lnTo>
                      <a:pt x="4160" y="2761"/>
                    </a:lnTo>
                    <a:lnTo>
                      <a:pt x="4141" y="2760"/>
                    </a:lnTo>
                    <a:lnTo>
                      <a:pt x="4126" y="2753"/>
                    </a:lnTo>
                    <a:lnTo>
                      <a:pt x="4105" y="2756"/>
                    </a:lnTo>
                    <a:lnTo>
                      <a:pt x="4089" y="2762"/>
                    </a:lnTo>
                    <a:lnTo>
                      <a:pt x="4085" y="2765"/>
                    </a:lnTo>
                    <a:lnTo>
                      <a:pt x="4100" y="2765"/>
                    </a:lnTo>
                    <a:lnTo>
                      <a:pt x="4127" y="2773"/>
                    </a:lnTo>
                    <a:lnTo>
                      <a:pt x="4132" y="2787"/>
                    </a:lnTo>
                    <a:lnTo>
                      <a:pt x="4137" y="2791"/>
                    </a:lnTo>
                    <a:lnTo>
                      <a:pt x="4166" y="2776"/>
                    </a:lnTo>
                    <a:lnTo>
                      <a:pt x="4170" y="2777"/>
                    </a:lnTo>
                    <a:lnTo>
                      <a:pt x="4168" y="2782"/>
                    </a:lnTo>
                    <a:lnTo>
                      <a:pt x="4177" y="2783"/>
                    </a:lnTo>
                    <a:lnTo>
                      <a:pt x="4183" y="2788"/>
                    </a:lnTo>
                    <a:lnTo>
                      <a:pt x="4182" y="2798"/>
                    </a:lnTo>
                    <a:lnTo>
                      <a:pt x="4173" y="2823"/>
                    </a:lnTo>
                    <a:lnTo>
                      <a:pt x="4157" y="2839"/>
                    </a:lnTo>
                    <a:lnTo>
                      <a:pt x="4157" y="2841"/>
                    </a:lnTo>
                    <a:lnTo>
                      <a:pt x="4165" y="2840"/>
                    </a:lnTo>
                    <a:lnTo>
                      <a:pt x="4180" y="2842"/>
                    </a:lnTo>
                    <a:lnTo>
                      <a:pt x="4178" y="2862"/>
                    </a:lnTo>
                    <a:lnTo>
                      <a:pt x="4180" y="2870"/>
                    </a:lnTo>
                    <a:lnTo>
                      <a:pt x="4184" y="2879"/>
                    </a:lnTo>
                    <a:lnTo>
                      <a:pt x="4188" y="2889"/>
                    </a:lnTo>
                    <a:lnTo>
                      <a:pt x="4193" y="2896"/>
                    </a:lnTo>
                    <a:lnTo>
                      <a:pt x="4199" y="2902"/>
                    </a:lnTo>
                    <a:lnTo>
                      <a:pt x="4198" y="2906"/>
                    </a:lnTo>
                    <a:lnTo>
                      <a:pt x="4215" y="2907"/>
                    </a:lnTo>
                    <a:lnTo>
                      <a:pt x="4236" y="2917"/>
                    </a:lnTo>
                    <a:lnTo>
                      <a:pt x="4240" y="2921"/>
                    </a:lnTo>
                    <a:lnTo>
                      <a:pt x="4231" y="2926"/>
                    </a:lnTo>
                    <a:lnTo>
                      <a:pt x="4230" y="2932"/>
                    </a:lnTo>
                    <a:lnTo>
                      <a:pt x="4239" y="2936"/>
                    </a:lnTo>
                    <a:lnTo>
                      <a:pt x="4250" y="2937"/>
                    </a:lnTo>
                    <a:lnTo>
                      <a:pt x="4266" y="2943"/>
                    </a:lnTo>
                    <a:lnTo>
                      <a:pt x="4294" y="2947"/>
                    </a:lnTo>
                    <a:lnTo>
                      <a:pt x="4297" y="2953"/>
                    </a:lnTo>
                    <a:lnTo>
                      <a:pt x="4320" y="2950"/>
                    </a:lnTo>
                    <a:lnTo>
                      <a:pt x="4339" y="2937"/>
                    </a:lnTo>
                    <a:lnTo>
                      <a:pt x="4344" y="2947"/>
                    </a:lnTo>
                    <a:lnTo>
                      <a:pt x="4342" y="2955"/>
                    </a:lnTo>
                    <a:lnTo>
                      <a:pt x="4348" y="2954"/>
                    </a:lnTo>
                    <a:lnTo>
                      <a:pt x="4358" y="2955"/>
                    </a:lnTo>
                    <a:lnTo>
                      <a:pt x="4368" y="2954"/>
                    </a:lnTo>
                    <a:lnTo>
                      <a:pt x="4375" y="2963"/>
                    </a:lnTo>
                    <a:lnTo>
                      <a:pt x="4379" y="2968"/>
                    </a:lnTo>
                    <a:lnTo>
                      <a:pt x="4372" y="2971"/>
                    </a:lnTo>
                    <a:lnTo>
                      <a:pt x="4371" y="2977"/>
                    </a:lnTo>
                    <a:lnTo>
                      <a:pt x="4387" y="2979"/>
                    </a:lnTo>
                    <a:lnTo>
                      <a:pt x="4391" y="2981"/>
                    </a:lnTo>
                    <a:lnTo>
                      <a:pt x="4385" y="2986"/>
                    </a:lnTo>
                    <a:lnTo>
                      <a:pt x="4375" y="2985"/>
                    </a:lnTo>
                    <a:lnTo>
                      <a:pt x="4366" y="2991"/>
                    </a:lnTo>
                    <a:lnTo>
                      <a:pt x="4359" y="2988"/>
                    </a:lnTo>
                    <a:lnTo>
                      <a:pt x="4345" y="2997"/>
                    </a:lnTo>
                    <a:lnTo>
                      <a:pt x="4325" y="3006"/>
                    </a:lnTo>
                    <a:lnTo>
                      <a:pt x="4316" y="3012"/>
                    </a:lnTo>
                    <a:lnTo>
                      <a:pt x="4311" y="3013"/>
                    </a:lnTo>
                    <a:lnTo>
                      <a:pt x="4309" y="3018"/>
                    </a:lnTo>
                    <a:lnTo>
                      <a:pt x="4300" y="3017"/>
                    </a:lnTo>
                    <a:lnTo>
                      <a:pt x="4289" y="3025"/>
                    </a:lnTo>
                    <a:lnTo>
                      <a:pt x="4279" y="3026"/>
                    </a:lnTo>
                    <a:lnTo>
                      <a:pt x="4277" y="3024"/>
                    </a:lnTo>
                    <a:lnTo>
                      <a:pt x="4269" y="3028"/>
                    </a:lnTo>
                    <a:lnTo>
                      <a:pt x="4262" y="3033"/>
                    </a:lnTo>
                    <a:lnTo>
                      <a:pt x="4250" y="3028"/>
                    </a:lnTo>
                    <a:lnTo>
                      <a:pt x="4252" y="3041"/>
                    </a:lnTo>
                    <a:lnTo>
                      <a:pt x="4251" y="3046"/>
                    </a:lnTo>
                    <a:lnTo>
                      <a:pt x="4239" y="3046"/>
                    </a:lnTo>
                    <a:lnTo>
                      <a:pt x="4232" y="3038"/>
                    </a:lnTo>
                    <a:lnTo>
                      <a:pt x="4232" y="3033"/>
                    </a:lnTo>
                    <a:lnTo>
                      <a:pt x="4224" y="3046"/>
                    </a:lnTo>
                    <a:lnTo>
                      <a:pt x="4220" y="3038"/>
                    </a:lnTo>
                    <a:lnTo>
                      <a:pt x="4215" y="3047"/>
                    </a:lnTo>
                    <a:lnTo>
                      <a:pt x="4213" y="3061"/>
                    </a:lnTo>
                    <a:lnTo>
                      <a:pt x="4203" y="3068"/>
                    </a:lnTo>
                    <a:lnTo>
                      <a:pt x="4189" y="3085"/>
                    </a:lnTo>
                    <a:lnTo>
                      <a:pt x="4187" y="3090"/>
                    </a:lnTo>
                    <a:lnTo>
                      <a:pt x="4176" y="3095"/>
                    </a:lnTo>
                    <a:lnTo>
                      <a:pt x="4170" y="3108"/>
                    </a:lnTo>
                    <a:lnTo>
                      <a:pt x="4162" y="3104"/>
                    </a:lnTo>
                    <a:lnTo>
                      <a:pt x="4156" y="3106"/>
                    </a:lnTo>
                    <a:lnTo>
                      <a:pt x="4155" y="3117"/>
                    </a:lnTo>
                    <a:lnTo>
                      <a:pt x="4149" y="3121"/>
                    </a:lnTo>
                    <a:lnTo>
                      <a:pt x="4145" y="3121"/>
                    </a:lnTo>
                    <a:lnTo>
                      <a:pt x="4134" y="3119"/>
                    </a:lnTo>
                    <a:lnTo>
                      <a:pt x="4129" y="3105"/>
                    </a:lnTo>
                    <a:lnTo>
                      <a:pt x="4124" y="3098"/>
                    </a:lnTo>
                    <a:lnTo>
                      <a:pt x="4116" y="3098"/>
                    </a:lnTo>
                    <a:lnTo>
                      <a:pt x="4111" y="3083"/>
                    </a:lnTo>
                    <a:lnTo>
                      <a:pt x="4110" y="3068"/>
                    </a:lnTo>
                    <a:lnTo>
                      <a:pt x="4112" y="3056"/>
                    </a:lnTo>
                    <a:lnTo>
                      <a:pt x="4124" y="3038"/>
                    </a:lnTo>
                    <a:lnTo>
                      <a:pt x="4119" y="3044"/>
                    </a:lnTo>
                    <a:lnTo>
                      <a:pt x="4108" y="3050"/>
                    </a:lnTo>
                    <a:lnTo>
                      <a:pt x="4111" y="3042"/>
                    </a:lnTo>
                    <a:lnTo>
                      <a:pt x="4127" y="3030"/>
                    </a:lnTo>
                    <a:lnTo>
                      <a:pt x="4133" y="3031"/>
                    </a:lnTo>
                    <a:lnTo>
                      <a:pt x="4143" y="3026"/>
                    </a:lnTo>
                    <a:lnTo>
                      <a:pt x="4143" y="3020"/>
                    </a:lnTo>
                    <a:lnTo>
                      <a:pt x="4166" y="3004"/>
                    </a:lnTo>
                    <a:lnTo>
                      <a:pt x="4189" y="2990"/>
                    </a:lnTo>
                    <a:lnTo>
                      <a:pt x="4203" y="2982"/>
                    </a:lnTo>
                    <a:lnTo>
                      <a:pt x="4207" y="2987"/>
                    </a:lnTo>
                    <a:lnTo>
                      <a:pt x="4209" y="2995"/>
                    </a:lnTo>
                    <a:lnTo>
                      <a:pt x="4218" y="2999"/>
                    </a:lnTo>
                    <a:lnTo>
                      <a:pt x="4227" y="2988"/>
                    </a:lnTo>
                    <a:lnTo>
                      <a:pt x="4237" y="2983"/>
                    </a:lnTo>
                    <a:lnTo>
                      <a:pt x="4261" y="2980"/>
                    </a:lnTo>
                    <a:lnTo>
                      <a:pt x="4262" y="2975"/>
                    </a:lnTo>
                    <a:lnTo>
                      <a:pt x="4247" y="2974"/>
                    </a:lnTo>
                    <a:lnTo>
                      <a:pt x="4232" y="2977"/>
                    </a:lnTo>
                    <a:lnTo>
                      <a:pt x="4207" y="2972"/>
                    </a:lnTo>
                    <a:lnTo>
                      <a:pt x="4194" y="2979"/>
                    </a:lnTo>
                    <a:lnTo>
                      <a:pt x="4183" y="2980"/>
                    </a:lnTo>
                    <a:lnTo>
                      <a:pt x="4182" y="2968"/>
                    </a:lnTo>
                    <a:lnTo>
                      <a:pt x="4196" y="2958"/>
                    </a:lnTo>
                    <a:lnTo>
                      <a:pt x="4207" y="2943"/>
                    </a:lnTo>
                    <a:lnTo>
                      <a:pt x="4199" y="2943"/>
                    </a:lnTo>
                    <a:lnTo>
                      <a:pt x="4197" y="2936"/>
                    </a:lnTo>
                    <a:lnTo>
                      <a:pt x="4187" y="2953"/>
                    </a:lnTo>
                    <a:lnTo>
                      <a:pt x="4176" y="2955"/>
                    </a:lnTo>
                    <a:lnTo>
                      <a:pt x="4144" y="2980"/>
                    </a:lnTo>
                    <a:lnTo>
                      <a:pt x="4134" y="2985"/>
                    </a:lnTo>
                    <a:lnTo>
                      <a:pt x="4124" y="2986"/>
                    </a:lnTo>
                    <a:lnTo>
                      <a:pt x="4116" y="2985"/>
                    </a:lnTo>
                    <a:lnTo>
                      <a:pt x="4110" y="2991"/>
                    </a:lnTo>
                    <a:lnTo>
                      <a:pt x="4101" y="2996"/>
                    </a:lnTo>
                    <a:lnTo>
                      <a:pt x="4079" y="2999"/>
                    </a:lnTo>
                    <a:lnTo>
                      <a:pt x="4074" y="2998"/>
                    </a:lnTo>
                    <a:lnTo>
                      <a:pt x="4068" y="2995"/>
                    </a:lnTo>
                    <a:lnTo>
                      <a:pt x="4058" y="2992"/>
                    </a:lnTo>
                    <a:lnTo>
                      <a:pt x="4057" y="2996"/>
                    </a:lnTo>
                    <a:lnTo>
                      <a:pt x="4052" y="2996"/>
                    </a:lnTo>
                    <a:lnTo>
                      <a:pt x="4043" y="2995"/>
                    </a:lnTo>
                    <a:lnTo>
                      <a:pt x="4035" y="2988"/>
                    </a:lnTo>
                    <a:lnTo>
                      <a:pt x="4032" y="2983"/>
                    </a:lnTo>
                    <a:lnTo>
                      <a:pt x="4031" y="2979"/>
                    </a:lnTo>
                    <a:lnTo>
                      <a:pt x="4031" y="2963"/>
                    </a:lnTo>
                    <a:lnTo>
                      <a:pt x="4016" y="2955"/>
                    </a:lnTo>
                    <a:lnTo>
                      <a:pt x="4016" y="2899"/>
                    </a:lnTo>
                    <a:lnTo>
                      <a:pt x="4016" y="2848"/>
                    </a:lnTo>
                    <a:lnTo>
                      <a:pt x="3990" y="2823"/>
                    </a:lnTo>
                    <a:lnTo>
                      <a:pt x="3983" y="2823"/>
                    </a:lnTo>
                    <a:lnTo>
                      <a:pt x="3976" y="2834"/>
                    </a:lnTo>
                    <a:lnTo>
                      <a:pt x="3958" y="2837"/>
                    </a:lnTo>
                    <a:lnTo>
                      <a:pt x="3946" y="2832"/>
                    </a:lnTo>
                    <a:lnTo>
                      <a:pt x="3944" y="2829"/>
                    </a:lnTo>
                    <a:lnTo>
                      <a:pt x="3941" y="2823"/>
                    </a:lnTo>
                    <a:lnTo>
                      <a:pt x="3934" y="2816"/>
                    </a:lnTo>
                    <a:lnTo>
                      <a:pt x="3928" y="2815"/>
                    </a:lnTo>
                    <a:lnTo>
                      <a:pt x="3922" y="2819"/>
                    </a:lnTo>
                    <a:lnTo>
                      <a:pt x="3895" y="2864"/>
                    </a:lnTo>
                    <a:lnTo>
                      <a:pt x="3891" y="2888"/>
                    </a:lnTo>
                    <a:lnTo>
                      <a:pt x="3885" y="2900"/>
                    </a:lnTo>
                    <a:lnTo>
                      <a:pt x="3884" y="2906"/>
                    </a:lnTo>
                    <a:lnTo>
                      <a:pt x="3879" y="2915"/>
                    </a:lnTo>
                    <a:lnTo>
                      <a:pt x="3876" y="2922"/>
                    </a:lnTo>
                    <a:lnTo>
                      <a:pt x="3872" y="2958"/>
                    </a:lnTo>
                    <a:lnTo>
                      <a:pt x="3871" y="2960"/>
                    </a:lnTo>
                    <a:lnTo>
                      <a:pt x="3864" y="2965"/>
                    </a:lnTo>
                    <a:lnTo>
                      <a:pt x="3861" y="2970"/>
                    </a:lnTo>
                    <a:lnTo>
                      <a:pt x="3860" y="2975"/>
                    </a:lnTo>
                    <a:lnTo>
                      <a:pt x="3861" y="2981"/>
                    </a:lnTo>
                    <a:lnTo>
                      <a:pt x="3861" y="2983"/>
                    </a:lnTo>
                    <a:lnTo>
                      <a:pt x="3854" y="2980"/>
                    </a:lnTo>
                    <a:lnTo>
                      <a:pt x="3853" y="2981"/>
                    </a:lnTo>
                    <a:lnTo>
                      <a:pt x="3853" y="2987"/>
                    </a:lnTo>
                    <a:lnTo>
                      <a:pt x="3842" y="2983"/>
                    </a:lnTo>
                    <a:lnTo>
                      <a:pt x="3833" y="2986"/>
                    </a:lnTo>
                    <a:lnTo>
                      <a:pt x="3831" y="2988"/>
                    </a:lnTo>
                    <a:lnTo>
                      <a:pt x="3818" y="2990"/>
                    </a:lnTo>
                    <a:lnTo>
                      <a:pt x="3815" y="2993"/>
                    </a:lnTo>
                    <a:lnTo>
                      <a:pt x="3809" y="3009"/>
                    </a:lnTo>
                    <a:lnTo>
                      <a:pt x="3807" y="3009"/>
                    </a:lnTo>
                    <a:lnTo>
                      <a:pt x="3709" y="3009"/>
                    </a:lnTo>
                    <a:lnTo>
                      <a:pt x="3634" y="3009"/>
                    </a:lnTo>
                    <a:lnTo>
                      <a:pt x="3619" y="3009"/>
                    </a:lnTo>
                    <a:lnTo>
                      <a:pt x="3603" y="3024"/>
                    </a:lnTo>
                    <a:lnTo>
                      <a:pt x="3584" y="3035"/>
                    </a:lnTo>
                    <a:lnTo>
                      <a:pt x="3581" y="3040"/>
                    </a:lnTo>
                    <a:lnTo>
                      <a:pt x="3580" y="3041"/>
                    </a:lnTo>
                    <a:lnTo>
                      <a:pt x="3567" y="3056"/>
                    </a:lnTo>
                    <a:lnTo>
                      <a:pt x="3554" y="3058"/>
                    </a:lnTo>
                    <a:lnTo>
                      <a:pt x="3524" y="3072"/>
                    </a:lnTo>
                    <a:lnTo>
                      <a:pt x="3514" y="3078"/>
                    </a:lnTo>
                    <a:lnTo>
                      <a:pt x="3511" y="3071"/>
                    </a:lnTo>
                    <a:lnTo>
                      <a:pt x="3508" y="3071"/>
                    </a:lnTo>
                    <a:lnTo>
                      <a:pt x="3499" y="3072"/>
                    </a:lnTo>
                    <a:lnTo>
                      <a:pt x="3498" y="3076"/>
                    </a:lnTo>
                    <a:lnTo>
                      <a:pt x="3503" y="3076"/>
                    </a:lnTo>
                    <a:lnTo>
                      <a:pt x="3509" y="3087"/>
                    </a:lnTo>
                    <a:lnTo>
                      <a:pt x="3510" y="3092"/>
                    </a:lnTo>
                    <a:lnTo>
                      <a:pt x="3501" y="3093"/>
                    </a:lnTo>
                    <a:lnTo>
                      <a:pt x="3497" y="3089"/>
                    </a:lnTo>
                    <a:lnTo>
                      <a:pt x="3485" y="3088"/>
                    </a:lnTo>
                    <a:lnTo>
                      <a:pt x="3479" y="3085"/>
                    </a:lnTo>
                    <a:lnTo>
                      <a:pt x="3466" y="3084"/>
                    </a:lnTo>
                    <a:lnTo>
                      <a:pt x="3449" y="3085"/>
                    </a:lnTo>
                    <a:lnTo>
                      <a:pt x="3392" y="3103"/>
                    </a:lnTo>
                    <a:lnTo>
                      <a:pt x="3377" y="3114"/>
                    </a:lnTo>
                    <a:lnTo>
                      <a:pt x="3371" y="3119"/>
                    </a:lnTo>
                    <a:lnTo>
                      <a:pt x="3369" y="3125"/>
                    </a:lnTo>
                    <a:lnTo>
                      <a:pt x="3358" y="3138"/>
                    </a:lnTo>
                    <a:lnTo>
                      <a:pt x="3380" y="3146"/>
                    </a:lnTo>
                    <a:lnTo>
                      <a:pt x="3388" y="3143"/>
                    </a:lnTo>
                    <a:lnTo>
                      <a:pt x="3398" y="3142"/>
                    </a:lnTo>
                    <a:lnTo>
                      <a:pt x="3401" y="3152"/>
                    </a:lnTo>
                    <a:lnTo>
                      <a:pt x="3406" y="3159"/>
                    </a:lnTo>
                    <a:lnTo>
                      <a:pt x="3408" y="3171"/>
                    </a:lnTo>
                    <a:lnTo>
                      <a:pt x="3386" y="3168"/>
                    </a:lnTo>
                    <a:lnTo>
                      <a:pt x="3379" y="3168"/>
                    </a:lnTo>
                    <a:lnTo>
                      <a:pt x="3368" y="3169"/>
                    </a:lnTo>
                    <a:lnTo>
                      <a:pt x="3363" y="3169"/>
                    </a:lnTo>
                    <a:lnTo>
                      <a:pt x="3344" y="3173"/>
                    </a:lnTo>
                    <a:lnTo>
                      <a:pt x="3332" y="3178"/>
                    </a:lnTo>
                    <a:lnTo>
                      <a:pt x="3317" y="3191"/>
                    </a:lnTo>
                    <a:lnTo>
                      <a:pt x="3305" y="3187"/>
                    </a:lnTo>
                    <a:lnTo>
                      <a:pt x="3285" y="3184"/>
                    </a:lnTo>
                    <a:lnTo>
                      <a:pt x="3266" y="3190"/>
                    </a:lnTo>
                    <a:lnTo>
                      <a:pt x="3261" y="3194"/>
                    </a:lnTo>
                    <a:lnTo>
                      <a:pt x="3256" y="3196"/>
                    </a:lnTo>
                    <a:lnTo>
                      <a:pt x="3248" y="3211"/>
                    </a:lnTo>
                    <a:lnTo>
                      <a:pt x="3246" y="3209"/>
                    </a:lnTo>
                    <a:lnTo>
                      <a:pt x="3234" y="3214"/>
                    </a:lnTo>
                    <a:lnTo>
                      <a:pt x="3228" y="3219"/>
                    </a:lnTo>
                    <a:lnTo>
                      <a:pt x="3218" y="3227"/>
                    </a:lnTo>
                    <a:lnTo>
                      <a:pt x="3213" y="3232"/>
                    </a:lnTo>
                    <a:lnTo>
                      <a:pt x="3212" y="3236"/>
                    </a:lnTo>
                    <a:lnTo>
                      <a:pt x="3197" y="3233"/>
                    </a:lnTo>
                    <a:lnTo>
                      <a:pt x="3191" y="3235"/>
                    </a:lnTo>
                    <a:lnTo>
                      <a:pt x="3175" y="3234"/>
                    </a:lnTo>
                    <a:lnTo>
                      <a:pt x="3175" y="3223"/>
                    </a:lnTo>
                    <a:lnTo>
                      <a:pt x="3180" y="3211"/>
                    </a:lnTo>
                    <a:lnTo>
                      <a:pt x="3186" y="3206"/>
                    </a:lnTo>
                    <a:lnTo>
                      <a:pt x="3187" y="3209"/>
                    </a:lnTo>
                    <a:lnTo>
                      <a:pt x="3198" y="3212"/>
                    </a:lnTo>
                    <a:lnTo>
                      <a:pt x="3207" y="3211"/>
                    </a:lnTo>
                    <a:lnTo>
                      <a:pt x="3210" y="3208"/>
                    </a:lnTo>
                    <a:lnTo>
                      <a:pt x="3212" y="3205"/>
                    </a:lnTo>
                    <a:lnTo>
                      <a:pt x="3213" y="3201"/>
                    </a:lnTo>
                    <a:lnTo>
                      <a:pt x="3212" y="3197"/>
                    </a:lnTo>
                    <a:lnTo>
                      <a:pt x="3207" y="3195"/>
                    </a:lnTo>
                    <a:lnTo>
                      <a:pt x="3205" y="3187"/>
                    </a:lnTo>
                    <a:lnTo>
                      <a:pt x="3205" y="3187"/>
                    </a:lnTo>
                    <a:lnTo>
                      <a:pt x="3213" y="3160"/>
                    </a:lnTo>
                    <a:lnTo>
                      <a:pt x="3213" y="3153"/>
                    </a:lnTo>
                    <a:lnTo>
                      <a:pt x="3223" y="3153"/>
                    </a:lnTo>
                    <a:lnTo>
                      <a:pt x="3228" y="3148"/>
                    </a:lnTo>
                    <a:lnTo>
                      <a:pt x="3230" y="3143"/>
                    </a:lnTo>
                    <a:lnTo>
                      <a:pt x="3239" y="3142"/>
                    </a:lnTo>
                    <a:lnTo>
                      <a:pt x="3247" y="3132"/>
                    </a:lnTo>
                    <a:lnTo>
                      <a:pt x="3251" y="3116"/>
                    </a:lnTo>
                    <a:lnTo>
                      <a:pt x="3250" y="3100"/>
                    </a:lnTo>
                    <a:lnTo>
                      <a:pt x="3248" y="3084"/>
                    </a:lnTo>
                    <a:lnTo>
                      <a:pt x="3248" y="3072"/>
                    </a:lnTo>
                    <a:lnTo>
                      <a:pt x="3266" y="3044"/>
                    </a:lnTo>
                    <a:lnTo>
                      <a:pt x="3269" y="3035"/>
                    </a:lnTo>
                    <a:lnTo>
                      <a:pt x="3271" y="3028"/>
                    </a:lnTo>
                    <a:lnTo>
                      <a:pt x="3271" y="3020"/>
                    </a:lnTo>
                    <a:lnTo>
                      <a:pt x="3267" y="3008"/>
                    </a:lnTo>
                    <a:lnTo>
                      <a:pt x="3261" y="2995"/>
                    </a:lnTo>
                    <a:lnTo>
                      <a:pt x="3257" y="2993"/>
                    </a:lnTo>
                    <a:lnTo>
                      <a:pt x="3255" y="2987"/>
                    </a:lnTo>
                    <a:lnTo>
                      <a:pt x="3257" y="2986"/>
                    </a:lnTo>
                    <a:lnTo>
                      <a:pt x="3273" y="2988"/>
                    </a:lnTo>
                    <a:lnTo>
                      <a:pt x="3275" y="3002"/>
                    </a:lnTo>
                    <a:lnTo>
                      <a:pt x="3282" y="3014"/>
                    </a:lnTo>
                    <a:lnTo>
                      <a:pt x="3284" y="3015"/>
                    </a:lnTo>
                    <a:lnTo>
                      <a:pt x="3286" y="3012"/>
                    </a:lnTo>
                    <a:lnTo>
                      <a:pt x="3290" y="3009"/>
                    </a:lnTo>
                    <a:lnTo>
                      <a:pt x="3288" y="3023"/>
                    </a:lnTo>
                    <a:lnTo>
                      <a:pt x="3293" y="3023"/>
                    </a:lnTo>
                    <a:lnTo>
                      <a:pt x="3294" y="3031"/>
                    </a:lnTo>
                    <a:lnTo>
                      <a:pt x="3294" y="3038"/>
                    </a:lnTo>
                    <a:lnTo>
                      <a:pt x="3302" y="3029"/>
                    </a:lnTo>
                    <a:lnTo>
                      <a:pt x="3305" y="3028"/>
                    </a:lnTo>
                    <a:lnTo>
                      <a:pt x="3310" y="3036"/>
                    </a:lnTo>
                    <a:lnTo>
                      <a:pt x="3315" y="3039"/>
                    </a:lnTo>
                    <a:lnTo>
                      <a:pt x="3327" y="3044"/>
                    </a:lnTo>
                    <a:lnTo>
                      <a:pt x="3342" y="3044"/>
                    </a:lnTo>
                    <a:lnTo>
                      <a:pt x="3345" y="3038"/>
                    </a:lnTo>
                    <a:lnTo>
                      <a:pt x="3345" y="3033"/>
                    </a:lnTo>
                    <a:lnTo>
                      <a:pt x="3341" y="3023"/>
                    </a:lnTo>
                    <a:lnTo>
                      <a:pt x="3342" y="3018"/>
                    </a:lnTo>
                    <a:lnTo>
                      <a:pt x="3344" y="3017"/>
                    </a:lnTo>
                    <a:lnTo>
                      <a:pt x="3350" y="3023"/>
                    </a:lnTo>
                    <a:lnTo>
                      <a:pt x="3359" y="3023"/>
                    </a:lnTo>
                    <a:lnTo>
                      <a:pt x="3363" y="3020"/>
                    </a:lnTo>
                    <a:lnTo>
                      <a:pt x="3363" y="3019"/>
                    </a:lnTo>
                    <a:lnTo>
                      <a:pt x="3361" y="3015"/>
                    </a:lnTo>
                    <a:lnTo>
                      <a:pt x="3360" y="3013"/>
                    </a:lnTo>
                    <a:lnTo>
                      <a:pt x="3350" y="3009"/>
                    </a:lnTo>
                    <a:lnTo>
                      <a:pt x="3343" y="2997"/>
                    </a:lnTo>
                    <a:lnTo>
                      <a:pt x="3345" y="2995"/>
                    </a:lnTo>
                    <a:lnTo>
                      <a:pt x="3343" y="2986"/>
                    </a:lnTo>
                    <a:lnTo>
                      <a:pt x="3343" y="2979"/>
                    </a:lnTo>
                    <a:lnTo>
                      <a:pt x="3337" y="2979"/>
                    </a:lnTo>
                    <a:lnTo>
                      <a:pt x="3331" y="2975"/>
                    </a:lnTo>
                    <a:lnTo>
                      <a:pt x="3326" y="2968"/>
                    </a:lnTo>
                    <a:lnTo>
                      <a:pt x="3316" y="2960"/>
                    </a:lnTo>
                    <a:lnTo>
                      <a:pt x="3311" y="2942"/>
                    </a:lnTo>
                    <a:lnTo>
                      <a:pt x="3301" y="2936"/>
                    </a:lnTo>
                    <a:lnTo>
                      <a:pt x="3291" y="2933"/>
                    </a:lnTo>
                    <a:lnTo>
                      <a:pt x="3272" y="2931"/>
                    </a:lnTo>
                    <a:lnTo>
                      <a:pt x="3259" y="2933"/>
                    </a:lnTo>
                    <a:lnTo>
                      <a:pt x="3258" y="2928"/>
                    </a:lnTo>
                    <a:lnTo>
                      <a:pt x="3258" y="2923"/>
                    </a:lnTo>
                    <a:lnTo>
                      <a:pt x="3246" y="2925"/>
                    </a:lnTo>
                    <a:lnTo>
                      <a:pt x="3231" y="2923"/>
                    </a:lnTo>
                    <a:lnTo>
                      <a:pt x="3214" y="2920"/>
                    </a:lnTo>
                    <a:lnTo>
                      <a:pt x="3209" y="2917"/>
                    </a:lnTo>
                    <a:lnTo>
                      <a:pt x="3205" y="2918"/>
                    </a:lnTo>
                    <a:lnTo>
                      <a:pt x="3198" y="2917"/>
                    </a:lnTo>
                    <a:lnTo>
                      <a:pt x="3193" y="2912"/>
                    </a:lnTo>
                    <a:lnTo>
                      <a:pt x="3181" y="2915"/>
                    </a:lnTo>
                    <a:lnTo>
                      <a:pt x="3177" y="2917"/>
                    </a:lnTo>
                    <a:lnTo>
                      <a:pt x="3171" y="2916"/>
                    </a:lnTo>
                    <a:lnTo>
                      <a:pt x="3138" y="2904"/>
                    </a:lnTo>
                    <a:lnTo>
                      <a:pt x="3126" y="2905"/>
                    </a:lnTo>
                    <a:lnTo>
                      <a:pt x="3119" y="2906"/>
                    </a:lnTo>
                    <a:lnTo>
                      <a:pt x="3119" y="2899"/>
                    </a:lnTo>
                    <a:lnTo>
                      <a:pt x="3111" y="2884"/>
                    </a:lnTo>
                    <a:lnTo>
                      <a:pt x="3108" y="2882"/>
                    </a:lnTo>
                    <a:lnTo>
                      <a:pt x="3107" y="2883"/>
                    </a:lnTo>
                    <a:lnTo>
                      <a:pt x="3106" y="2886"/>
                    </a:lnTo>
                    <a:lnTo>
                      <a:pt x="3106" y="2891"/>
                    </a:lnTo>
                    <a:lnTo>
                      <a:pt x="3099" y="2891"/>
                    </a:lnTo>
                    <a:lnTo>
                      <a:pt x="3101" y="2890"/>
                    </a:lnTo>
                    <a:lnTo>
                      <a:pt x="3101" y="2889"/>
                    </a:lnTo>
                    <a:lnTo>
                      <a:pt x="3099" y="2888"/>
                    </a:lnTo>
                    <a:lnTo>
                      <a:pt x="3096" y="2880"/>
                    </a:lnTo>
                    <a:lnTo>
                      <a:pt x="3100" y="2873"/>
                    </a:lnTo>
                    <a:lnTo>
                      <a:pt x="3097" y="2873"/>
                    </a:lnTo>
                    <a:lnTo>
                      <a:pt x="3096" y="2868"/>
                    </a:lnTo>
                    <a:lnTo>
                      <a:pt x="3102" y="2861"/>
                    </a:lnTo>
                    <a:lnTo>
                      <a:pt x="3089" y="2853"/>
                    </a:lnTo>
                    <a:lnTo>
                      <a:pt x="3085" y="2840"/>
                    </a:lnTo>
                    <a:lnTo>
                      <a:pt x="3090" y="2824"/>
                    </a:lnTo>
                    <a:lnTo>
                      <a:pt x="3075" y="2805"/>
                    </a:lnTo>
                    <a:lnTo>
                      <a:pt x="3072" y="2798"/>
                    </a:lnTo>
                    <a:lnTo>
                      <a:pt x="3074" y="2781"/>
                    </a:lnTo>
                    <a:lnTo>
                      <a:pt x="3076" y="2770"/>
                    </a:lnTo>
                    <a:lnTo>
                      <a:pt x="3053" y="2773"/>
                    </a:lnTo>
                    <a:lnTo>
                      <a:pt x="3031" y="2775"/>
                    </a:lnTo>
                    <a:lnTo>
                      <a:pt x="3020" y="2766"/>
                    </a:lnTo>
                    <a:lnTo>
                      <a:pt x="3005" y="2733"/>
                    </a:lnTo>
                    <a:lnTo>
                      <a:pt x="2999" y="2717"/>
                    </a:lnTo>
                    <a:lnTo>
                      <a:pt x="2994" y="2710"/>
                    </a:lnTo>
                    <a:lnTo>
                      <a:pt x="2986" y="2710"/>
                    </a:lnTo>
                    <a:lnTo>
                      <a:pt x="2972" y="2705"/>
                    </a:lnTo>
                    <a:lnTo>
                      <a:pt x="2957" y="2705"/>
                    </a:lnTo>
                    <a:lnTo>
                      <a:pt x="2957" y="2744"/>
                    </a:lnTo>
                    <a:lnTo>
                      <a:pt x="2938" y="2699"/>
                    </a:lnTo>
                    <a:lnTo>
                      <a:pt x="2903" y="2686"/>
                    </a:lnTo>
                    <a:lnTo>
                      <a:pt x="2898" y="2690"/>
                    </a:lnTo>
                    <a:lnTo>
                      <a:pt x="2897" y="2692"/>
                    </a:lnTo>
                    <a:lnTo>
                      <a:pt x="2898" y="2712"/>
                    </a:lnTo>
                    <a:lnTo>
                      <a:pt x="2897" y="2716"/>
                    </a:lnTo>
                    <a:lnTo>
                      <a:pt x="2888" y="2722"/>
                    </a:lnTo>
                    <a:lnTo>
                      <a:pt x="2884" y="2730"/>
                    </a:lnTo>
                    <a:lnTo>
                      <a:pt x="2880" y="2733"/>
                    </a:lnTo>
                    <a:lnTo>
                      <a:pt x="2877" y="2726"/>
                    </a:lnTo>
                    <a:lnTo>
                      <a:pt x="2882" y="2716"/>
                    </a:lnTo>
                    <a:lnTo>
                      <a:pt x="2885" y="2707"/>
                    </a:lnTo>
                    <a:lnTo>
                      <a:pt x="2884" y="2702"/>
                    </a:lnTo>
                    <a:lnTo>
                      <a:pt x="2879" y="2711"/>
                    </a:lnTo>
                    <a:lnTo>
                      <a:pt x="2869" y="2734"/>
                    </a:lnTo>
                    <a:lnTo>
                      <a:pt x="2866" y="2738"/>
                    </a:lnTo>
                    <a:lnTo>
                      <a:pt x="2860" y="2740"/>
                    </a:lnTo>
                    <a:lnTo>
                      <a:pt x="2858" y="2732"/>
                    </a:lnTo>
                    <a:lnTo>
                      <a:pt x="2859" y="2721"/>
                    </a:lnTo>
                    <a:lnTo>
                      <a:pt x="2845" y="2738"/>
                    </a:lnTo>
                    <a:lnTo>
                      <a:pt x="2839" y="2753"/>
                    </a:lnTo>
                    <a:lnTo>
                      <a:pt x="2834" y="2756"/>
                    </a:lnTo>
                    <a:lnTo>
                      <a:pt x="2833" y="2761"/>
                    </a:lnTo>
                    <a:lnTo>
                      <a:pt x="2812" y="2771"/>
                    </a:lnTo>
                    <a:lnTo>
                      <a:pt x="2807" y="2771"/>
                    </a:lnTo>
                    <a:lnTo>
                      <a:pt x="2793" y="2764"/>
                    </a:lnTo>
                    <a:lnTo>
                      <a:pt x="2767" y="2764"/>
                    </a:lnTo>
                    <a:lnTo>
                      <a:pt x="2750" y="2756"/>
                    </a:lnTo>
                    <a:lnTo>
                      <a:pt x="2741" y="2757"/>
                    </a:lnTo>
                    <a:lnTo>
                      <a:pt x="2728" y="2764"/>
                    </a:lnTo>
                    <a:lnTo>
                      <a:pt x="2721" y="2765"/>
                    </a:lnTo>
                    <a:lnTo>
                      <a:pt x="2709" y="2759"/>
                    </a:lnTo>
                    <a:lnTo>
                      <a:pt x="2702" y="2749"/>
                    </a:lnTo>
                    <a:lnTo>
                      <a:pt x="2689" y="2745"/>
                    </a:lnTo>
                    <a:lnTo>
                      <a:pt x="2682" y="2739"/>
                    </a:lnTo>
                    <a:lnTo>
                      <a:pt x="2673" y="2737"/>
                    </a:lnTo>
                    <a:lnTo>
                      <a:pt x="2669" y="2734"/>
                    </a:lnTo>
                    <a:lnTo>
                      <a:pt x="2662" y="2727"/>
                    </a:lnTo>
                    <a:lnTo>
                      <a:pt x="2654" y="2721"/>
                    </a:lnTo>
                    <a:lnTo>
                      <a:pt x="2644" y="2717"/>
                    </a:lnTo>
                    <a:lnTo>
                      <a:pt x="2618" y="2716"/>
                    </a:lnTo>
                    <a:lnTo>
                      <a:pt x="2610" y="2721"/>
                    </a:lnTo>
                    <a:lnTo>
                      <a:pt x="2599" y="2721"/>
                    </a:lnTo>
                    <a:lnTo>
                      <a:pt x="2592" y="2719"/>
                    </a:lnTo>
                    <a:lnTo>
                      <a:pt x="2592" y="2717"/>
                    </a:lnTo>
                    <a:lnTo>
                      <a:pt x="2590" y="2716"/>
                    </a:lnTo>
                    <a:lnTo>
                      <a:pt x="2576" y="2712"/>
                    </a:lnTo>
                    <a:lnTo>
                      <a:pt x="2572" y="2708"/>
                    </a:lnTo>
                    <a:lnTo>
                      <a:pt x="2562" y="2711"/>
                    </a:lnTo>
                    <a:lnTo>
                      <a:pt x="2558" y="2711"/>
                    </a:lnTo>
                    <a:lnTo>
                      <a:pt x="2557" y="2708"/>
                    </a:lnTo>
                    <a:lnTo>
                      <a:pt x="2548" y="2710"/>
                    </a:lnTo>
                    <a:lnTo>
                      <a:pt x="2540" y="2687"/>
                    </a:lnTo>
                    <a:lnTo>
                      <a:pt x="2537" y="2686"/>
                    </a:lnTo>
                    <a:lnTo>
                      <a:pt x="2526" y="2654"/>
                    </a:lnTo>
                    <a:lnTo>
                      <a:pt x="2519" y="2653"/>
                    </a:lnTo>
                    <a:lnTo>
                      <a:pt x="2514" y="2653"/>
                    </a:lnTo>
                    <a:lnTo>
                      <a:pt x="2514" y="2689"/>
                    </a:lnTo>
                    <a:lnTo>
                      <a:pt x="2455" y="2689"/>
                    </a:lnTo>
                    <a:lnTo>
                      <a:pt x="2400" y="2689"/>
                    </a:lnTo>
                    <a:lnTo>
                      <a:pt x="2388" y="2689"/>
                    </a:lnTo>
                    <a:lnTo>
                      <a:pt x="2342" y="2689"/>
                    </a:lnTo>
                    <a:lnTo>
                      <a:pt x="2294" y="2689"/>
                    </a:lnTo>
                    <a:lnTo>
                      <a:pt x="2241" y="2689"/>
                    </a:lnTo>
                    <a:lnTo>
                      <a:pt x="2191" y="2689"/>
                    </a:lnTo>
                    <a:lnTo>
                      <a:pt x="2174" y="2689"/>
                    </a:lnTo>
                    <a:lnTo>
                      <a:pt x="2027" y="2689"/>
                    </a:lnTo>
                    <a:lnTo>
                      <a:pt x="1983" y="2689"/>
                    </a:lnTo>
                    <a:lnTo>
                      <a:pt x="1929" y="2689"/>
                    </a:lnTo>
                    <a:lnTo>
                      <a:pt x="1880" y="2689"/>
                    </a:lnTo>
                    <a:lnTo>
                      <a:pt x="1833" y="2689"/>
                    </a:lnTo>
                    <a:lnTo>
                      <a:pt x="1785" y="2689"/>
                    </a:lnTo>
                    <a:lnTo>
                      <a:pt x="1731" y="2689"/>
                    </a:lnTo>
                    <a:lnTo>
                      <a:pt x="1699" y="2689"/>
                    </a:lnTo>
                    <a:lnTo>
                      <a:pt x="1650" y="2687"/>
                    </a:lnTo>
                    <a:lnTo>
                      <a:pt x="1596" y="2687"/>
                    </a:lnTo>
                    <a:lnTo>
                      <a:pt x="1546" y="2687"/>
                    </a:lnTo>
                    <a:lnTo>
                      <a:pt x="1477" y="2687"/>
                    </a:lnTo>
                    <a:lnTo>
                      <a:pt x="1368" y="2687"/>
                    </a:lnTo>
                    <a:lnTo>
                      <a:pt x="1315" y="2687"/>
                    </a:lnTo>
                    <a:lnTo>
                      <a:pt x="1262" y="2687"/>
                    </a:lnTo>
                    <a:lnTo>
                      <a:pt x="1217" y="2687"/>
                    </a:lnTo>
                    <a:lnTo>
                      <a:pt x="1167" y="2687"/>
                    </a:lnTo>
                    <a:lnTo>
                      <a:pt x="1115" y="2687"/>
                    </a:lnTo>
                    <a:lnTo>
                      <a:pt x="1064" y="2687"/>
                    </a:lnTo>
                    <a:lnTo>
                      <a:pt x="1002" y="2687"/>
                    </a:lnTo>
                    <a:lnTo>
                      <a:pt x="1000" y="2683"/>
                    </a:lnTo>
                    <a:lnTo>
                      <a:pt x="994" y="2679"/>
                    </a:lnTo>
                    <a:lnTo>
                      <a:pt x="989" y="2680"/>
                    </a:lnTo>
                    <a:lnTo>
                      <a:pt x="988" y="2678"/>
                    </a:lnTo>
                    <a:lnTo>
                      <a:pt x="989" y="2674"/>
                    </a:lnTo>
                    <a:lnTo>
                      <a:pt x="999" y="2670"/>
                    </a:lnTo>
                    <a:lnTo>
                      <a:pt x="1011" y="2671"/>
                    </a:lnTo>
                    <a:lnTo>
                      <a:pt x="1010" y="2665"/>
                    </a:lnTo>
                    <a:lnTo>
                      <a:pt x="1008" y="2665"/>
                    </a:lnTo>
                    <a:lnTo>
                      <a:pt x="1006" y="2663"/>
                    </a:lnTo>
                    <a:lnTo>
                      <a:pt x="1004" y="2662"/>
                    </a:lnTo>
                    <a:lnTo>
                      <a:pt x="992" y="2665"/>
                    </a:lnTo>
                    <a:lnTo>
                      <a:pt x="981" y="2664"/>
                    </a:lnTo>
                    <a:lnTo>
                      <a:pt x="979" y="2660"/>
                    </a:lnTo>
                    <a:lnTo>
                      <a:pt x="979" y="2659"/>
                    </a:lnTo>
                    <a:lnTo>
                      <a:pt x="977" y="2656"/>
                    </a:lnTo>
                    <a:lnTo>
                      <a:pt x="977" y="2652"/>
                    </a:lnTo>
                    <a:lnTo>
                      <a:pt x="979" y="2651"/>
                    </a:lnTo>
                    <a:lnTo>
                      <a:pt x="981" y="2626"/>
                    </a:lnTo>
                    <a:lnTo>
                      <a:pt x="976" y="2625"/>
                    </a:lnTo>
                    <a:lnTo>
                      <a:pt x="975" y="2630"/>
                    </a:lnTo>
                    <a:lnTo>
                      <a:pt x="966" y="2638"/>
                    </a:lnTo>
                    <a:lnTo>
                      <a:pt x="960" y="2649"/>
                    </a:lnTo>
                    <a:lnTo>
                      <a:pt x="955" y="2648"/>
                    </a:lnTo>
                    <a:lnTo>
                      <a:pt x="952" y="2641"/>
                    </a:lnTo>
                    <a:lnTo>
                      <a:pt x="952" y="2637"/>
                    </a:lnTo>
                    <a:lnTo>
                      <a:pt x="955" y="2626"/>
                    </a:lnTo>
                    <a:lnTo>
                      <a:pt x="949" y="2626"/>
                    </a:lnTo>
                    <a:lnTo>
                      <a:pt x="949" y="2621"/>
                    </a:lnTo>
                    <a:lnTo>
                      <a:pt x="946" y="2621"/>
                    </a:lnTo>
                    <a:lnTo>
                      <a:pt x="944" y="2616"/>
                    </a:lnTo>
                    <a:lnTo>
                      <a:pt x="944" y="2611"/>
                    </a:lnTo>
                    <a:lnTo>
                      <a:pt x="939" y="2606"/>
                    </a:lnTo>
                    <a:lnTo>
                      <a:pt x="936" y="2598"/>
                    </a:lnTo>
                    <a:lnTo>
                      <a:pt x="935" y="2600"/>
                    </a:lnTo>
                    <a:lnTo>
                      <a:pt x="938" y="2609"/>
                    </a:lnTo>
                    <a:lnTo>
                      <a:pt x="936" y="2614"/>
                    </a:lnTo>
                    <a:lnTo>
                      <a:pt x="930" y="2605"/>
                    </a:lnTo>
                    <a:lnTo>
                      <a:pt x="927" y="2615"/>
                    </a:lnTo>
                    <a:lnTo>
                      <a:pt x="923" y="2617"/>
                    </a:lnTo>
                    <a:lnTo>
                      <a:pt x="911" y="2617"/>
                    </a:lnTo>
                    <a:lnTo>
                      <a:pt x="902" y="2610"/>
                    </a:lnTo>
                    <a:lnTo>
                      <a:pt x="898" y="2605"/>
                    </a:lnTo>
                    <a:lnTo>
                      <a:pt x="892" y="2599"/>
                    </a:lnTo>
                    <a:lnTo>
                      <a:pt x="891" y="2594"/>
                    </a:lnTo>
                    <a:lnTo>
                      <a:pt x="898" y="2588"/>
                    </a:lnTo>
                    <a:lnTo>
                      <a:pt x="900" y="2584"/>
                    </a:lnTo>
                    <a:lnTo>
                      <a:pt x="900" y="2578"/>
                    </a:lnTo>
                    <a:lnTo>
                      <a:pt x="897" y="2573"/>
                    </a:lnTo>
                    <a:lnTo>
                      <a:pt x="900" y="2565"/>
                    </a:lnTo>
                    <a:lnTo>
                      <a:pt x="896" y="2563"/>
                    </a:lnTo>
                    <a:lnTo>
                      <a:pt x="890" y="2568"/>
                    </a:lnTo>
                    <a:lnTo>
                      <a:pt x="884" y="2570"/>
                    </a:lnTo>
                    <a:lnTo>
                      <a:pt x="880" y="2565"/>
                    </a:lnTo>
                    <a:lnTo>
                      <a:pt x="878" y="2555"/>
                    </a:lnTo>
                    <a:lnTo>
                      <a:pt x="875" y="2555"/>
                    </a:lnTo>
                    <a:lnTo>
                      <a:pt x="864" y="2561"/>
                    </a:lnTo>
                    <a:lnTo>
                      <a:pt x="853" y="2557"/>
                    </a:lnTo>
                    <a:lnTo>
                      <a:pt x="849" y="2560"/>
                    </a:lnTo>
                    <a:lnTo>
                      <a:pt x="842" y="2554"/>
                    </a:lnTo>
                    <a:lnTo>
                      <a:pt x="841" y="2558"/>
                    </a:lnTo>
                    <a:lnTo>
                      <a:pt x="837" y="2561"/>
                    </a:lnTo>
                    <a:lnTo>
                      <a:pt x="833" y="2557"/>
                    </a:lnTo>
                    <a:lnTo>
                      <a:pt x="803" y="2556"/>
                    </a:lnTo>
                    <a:lnTo>
                      <a:pt x="800" y="2552"/>
                    </a:lnTo>
                    <a:lnTo>
                      <a:pt x="826" y="2545"/>
                    </a:lnTo>
                    <a:lnTo>
                      <a:pt x="828" y="2541"/>
                    </a:lnTo>
                    <a:lnTo>
                      <a:pt x="816" y="2541"/>
                    </a:lnTo>
                    <a:lnTo>
                      <a:pt x="819" y="2531"/>
                    </a:lnTo>
                    <a:lnTo>
                      <a:pt x="809" y="2528"/>
                    </a:lnTo>
                    <a:lnTo>
                      <a:pt x="803" y="2527"/>
                    </a:lnTo>
                    <a:lnTo>
                      <a:pt x="803" y="2525"/>
                    </a:lnTo>
                    <a:lnTo>
                      <a:pt x="810" y="2525"/>
                    </a:lnTo>
                    <a:lnTo>
                      <a:pt x="815" y="2523"/>
                    </a:lnTo>
                    <a:lnTo>
                      <a:pt x="810" y="2517"/>
                    </a:lnTo>
                    <a:lnTo>
                      <a:pt x="794" y="2514"/>
                    </a:lnTo>
                    <a:lnTo>
                      <a:pt x="787" y="2522"/>
                    </a:lnTo>
                    <a:lnTo>
                      <a:pt x="783" y="2518"/>
                    </a:lnTo>
                    <a:lnTo>
                      <a:pt x="766" y="2517"/>
                    </a:lnTo>
                    <a:lnTo>
                      <a:pt x="764" y="2520"/>
                    </a:lnTo>
                    <a:lnTo>
                      <a:pt x="767" y="2524"/>
                    </a:lnTo>
                    <a:lnTo>
                      <a:pt x="762" y="2525"/>
                    </a:lnTo>
                    <a:lnTo>
                      <a:pt x="740" y="2514"/>
                    </a:lnTo>
                    <a:lnTo>
                      <a:pt x="731" y="2504"/>
                    </a:lnTo>
                    <a:lnTo>
                      <a:pt x="729" y="2498"/>
                    </a:lnTo>
                    <a:lnTo>
                      <a:pt x="729" y="2492"/>
                    </a:lnTo>
                    <a:lnTo>
                      <a:pt x="735" y="2490"/>
                    </a:lnTo>
                    <a:lnTo>
                      <a:pt x="741" y="2490"/>
                    </a:lnTo>
                    <a:lnTo>
                      <a:pt x="747" y="2487"/>
                    </a:lnTo>
                    <a:lnTo>
                      <a:pt x="745" y="2484"/>
                    </a:lnTo>
                    <a:lnTo>
                      <a:pt x="740" y="2481"/>
                    </a:lnTo>
                    <a:lnTo>
                      <a:pt x="729" y="2484"/>
                    </a:lnTo>
                    <a:lnTo>
                      <a:pt x="730" y="2479"/>
                    </a:lnTo>
                    <a:lnTo>
                      <a:pt x="741" y="2474"/>
                    </a:lnTo>
                    <a:lnTo>
                      <a:pt x="752" y="2475"/>
                    </a:lnTo>
                    <a:lnTo>
                      <a:pt x="756" y="2472"/>
                    </a:lnTo>
                    <a:lnTo>
                      <a:pt x="745" y="2469"/>
                    </a:lnTo>
                    <a:lnTo>
                      <a:pt x="742" y="2465"/>
                    </a:lnTo>
                    <a:lnTo>
                      <a:pt x="750" y="2457"/>
                    </a:lnTo>
                    <a:lnTo>
                      <a:pt x="742" y="2448"/>
                    </a:lnTo>
                    <a:lnTo>
                      <a:pt x="734" y="2461"/>
                    </a:lnTo>
                    <a:lnTo>
                      <a:pt x="728" y="2463"/>
                    </a:lnTo>
                    <a:lnTo>
                      <a:pt x="725" y="2461"/>
                    </a:lnTo>
                    <a:lnTo>
                      <a:pt x="723" y="2454"/>
                    </a:lnTo>
                    <a:lnTo>
                      <a:pt x="723" y="2443"/>
                    </a:lnTo>
                    <a:lnTo>
                      <a:pt x="725" y="2430"/>
                    </a:lnTo>
                    <a:lnTo>
                      <a:pt x="723" y="2428"/>
                    </a:lnTo>
                    <a:lnTo>
                      <a:pt x="722" y="2425"/>
                    </a:lnTo>
                    <a:lnTo>
                      <a:pt x="722" y="2420"/>
                    </a:lnTo>
                    <a:lnTo>
                      <a:pt x="724" y="2409"/>
                    </a:lnTo>
                    <a:lnTo>
                      <a:pt x="723" y="2402"/>
                    </a:lnTo>
                    <a:lnTo>
                      <a:pt x="719" y="2400"/>
                    </a:lnTo>
                    <a:lnTo>
                      <a:pt x="719" y="2393"/>
                    </a:lnTo>
                    <a:lnTo>
                      <a:pt x="718" y="2388"/>
                    </a:lnTo>
                    <a:lnTo>
                      <a:pt x="707" y="2394"/>
                    </a:lnTo>
                    <a:lnTo>
                      <a:pt x="698" y="2395"/>
                    </a:lnTo>
                    <a:lnTo>
                      <a:pt x="699" y="2390"/>
                    </a:lnTo>
                    <a:lnTo>
                      <a:pt x="702" y="2388"/>
                    </a:lnTo>
                    <a:lnTo>
                      <a:pt x="702" y="2383"/>
                    </a:lnTo>
                    <a:lnTo>
                      <a:pt x="699" y="2378"/>
                    </a:lnTo>
                    <a:lnTo>
                      <a:pt x="693" y="2378"/>
                    </a:lnTo>
                    <a:lnTo>
                      <a:pt x="683" y="2382"/>
                    </a:lnTo>
                    <a:lnTo>
                      <a:pt x="674" y="2380"/>
                    </a:lnTo>
                    <a:lnTo>
                      <a:pt x="671" y="2377"/>
                    </a:lnTo>
                    <a:lnTo>
                      <a:pt x="669" y="2363"/>
                    </a:lnTo>
                    <a:lnTo>
                      <a:pt x="663" y="2361"/>
                    </a:lnTo>
                    <a:lnTo>
                      <a:pt x="656" y="2350"/>
                    </a:lnTo>
                    <a:lnTo>
                      <a:pt x="655" y="2345"/>
                    </a:lnTo>
                    <a:lnTo>
                      <a:pt x="651" y="2337"/>
                    </a:lnTo>
                    <a:lnTo>
                      <a:pt x="654" y="2326"/>
                    </a:lnTo>
                    <a:lnTo>
                      <a:pt x="658" y="2321"/>
                    </a:lnTo>
                    <a:lnTo>
                      <a:pt x="658" y="2308"/>
                    </a:lnTo>
                    <a:lnTo>
                      <a:pt x="658" y="2298"/>
                    </a:lnTo>
                    <a:lnTo>
                      <a:pt x="656" y="2296"/>
                    </a:lnTo>
                    <a:lnTo>
                      <a:pt x="653" y="2292"/>
                    </a:lnTo>
                    <a:lnTo>
                      <a:pt x="647" y="2297"/>
                    </a:lnTo>
                    <a:lnTo>
                      <a:pt x="645" y="2299"/>
                    </a:lnTo>
                    <a:lnTo>
                      <a:pt x="643" y="2298"/>
                    </a:lnTo>
                    <a:lnTo>
                      <a:pt x="642" y="2296"/>
                    </a:lnTo>
                    <a:lnTo>
                      <a:pt x="640" y="2296"/>
                    </a:lnTo>
                    <a:lnTo>
                      <a:pt x="624" y="2278"/>
                    </a:lnTo>
                    <a:lnTo>
                      <a:pt x="621" y="2270"/>
                    </a:lnTo>
                    <a:lnTo>
                      <a:pt x="616" y="2264"/>
                    </a:lnTo>
                    <a:lnTo>
                      <a:pt x="600" y="2250"/>
                    </a:lnTo>
                    <a:lnTo>
                      <a:pt x="599" y="2246"/>
                    </a:lnTo>
                    <a:lnTo>
                      <a:pt x="600" y="2238"/>
                    </a:lnTo>
                    <a:lnTo>
                      <a:pt x="605" y="2233"/>
                    </a:lnTo>
                    <a:lnTo>
                      <a:pt x="610" y="2231"/>
                    </a:lnTo>
                    <a:lnTo>
                      <a:pt x="608" y="2226"/>
                    </a:lnTo>
                    <a:lnTo>
                      <a:pt x="595" y="2227"/>
                    </a:lnTo>
                    <a:lnTo>
                      <a:pt x="590" y="2224"/>
                    </a:lnTo>
                    <a:lnTo>
                      <a:pt x="583" y="2211"/>
                    </a:lnTo>
                    <a:lnTo>
                      <a:pt x="580" y="2208"/>
                    </a:lnTo>
                    <a:lnTo>
                      <a:pt x="580" y="2195"/>
                    </a:lnTo>
                    <a:lnTo>
                      <a:pt x="584" y="2189"/>
                    </a:lnTo>
                    <a:lnTo>
                      <a:pt x="586" y="2181"/>
                    </a:lnTo>
                    <a:lnTo>
                      <a:pt x="591" y="2179"/>
                    </a:lnTo>
                    <a:lnTo>
                      <a:pt x="599" y="2185"/>
                    </a:lnTo>
                    <a:lnTo>
                      <a:pt x="600" y="2181"/>
                    </a:lnTo>
                    <a:lnTo>
                      <a:pt x="596" y="2175"/>
                    </a:lnTo>
                    <a:lnTo>
                      <a:pt x="596" y="2170"/>
                    </a:lnTo>
                    <a:lnTo>
                      <a:pt x="599" y="2161"/>
                    </a:lnTo>
                    <a:lnTo>
                      <a:pt x="604" y="2157"/>
                    </a:lnTo>
                    <a:lnTo>
                      <a:pt x="604" y="2153"/>
                    </a:lnTo>
                    <a:lnTo>
                      <a:pt x="601" y="2147"/>
                    </a:lnTo>
                    <a:lnTo>
                      <a:pt x="599" y="2147"/>
                    </a:lnTo>
                    <a:lnTo>
                      <a:pt x="600" y="2140"/>
                    </a:lnTo>
                    <a:lnTo>
                      <a:pt x="602" y="2136"/>
                    </a:lnTo>
                    <a:lnTo>
                      <a:pt x="605" y="2130"/>
                    </a:lnTo>
                    <a:lnTo>
                      <a:pt x="605" y="2125"/>
                    </a:lnTo>
                    <a:lnTo>
                      <a:pt x="600" y="2109"/>
                    </a:lnTo>
                    <a:lnTo>
                      <a:pt x="600" y="2082"/>
                    </a:lnTo>
                    <a:lnTo>
                      <a:pt x="602" y="2067"/>
                    </a:lnTo>
                    <a:lnTo>
                      <a:pt x="605" y="2062"/>
                    </a:lnTo>
                    <a:lnTo>
                      <a:pt x="605" y="2060"/>
                    </a:lnTo>
                    <a:lnTo>
                      <a:pt x="601" y="2054"/>
                    </a:lnTo>
                    <a:lnTo>
                      <a:pt x="599" y="2050"/>
                    </a:lnTo>
                    <a:lnTo>
                      <a:pt x="580" y="2045"/>
                    </a:lnTo>
                    <a:lnTo>
                      <a:pt x="575" y="2039"/>
                    </a:lnTo>
                    <a:lnTo>
                      <a:pt x="550" y="2018"/>
                    </a:lnTo>
                    <a:lnTo>
                      <a:pt x="514" y="2008"/>
                    </a:lnTo>
                    <a:lnTo>
                      <a:pt x="502" y="2001"/>
                    </a:lnTo>
                    <a:lnTo>
                      <a:pt x="497" y="1995"/>
                    </a:lnTo>
                    <a:lnTo>
                      <a:pt x="492" y="1986"/>
                    </a:lnTo>
                    <a:lnTo>
                      <a:pt x="487" y="1969"/>
                    </a:lnTo>
                    <a:lnTo>
                      <a:pt x="487" y="1965"/>
                    </a:lnTo>
                    <a:lnTo>
                      <a:pt x="483" y="1958"/>
                    </a:lnTo>
                    <a:lnTo>
                      <a:pt x="473" y="1949"/>
                    </a:lnTo>
                    <a:lnTo>
                      <a:pt x="472" y="1944"/>
                    </a:lnTo>
                    <a:lnTo>
                      <a:pt x="475" y="1939"/>
                    </a:lnTo>
                    <a:lnTo>
                      <a:pt x="475" y="1936"/>
                    </a:lnTo>
                    <a:lnTo>
                      <a:pt x="471" y="1928"/>
                    </a:lnTo>
                    <a:lnTo>
                      <a:pt x="457" y="1911"/>
                    </a:lnTo>
                    <a:lnTo>
                      <a:pt x="452" y="1893"/>
                    </a:lnTo>
                    <a:lnTo>
                      <a:pt x="449" y="1893"/>
                    </a:lnTo>
                    <a:lnTo>
                      <a:pt x="448" y="1890"/>
                    </a:lnTo>
                    <a:lnTo>
                      <a:pt x="441" y="1872"/>
                    </a:lnTo>
                    <a:lnTo>
                      <a:pt x="413" y="1826"/>
                    </a:lnTo>
                    <a:lnTo>
                      <a:pt x="402" y="1807"/>
                    </a:lnTo>
                    <a:lnTo>
                      <a:pt x="395" y="1786"/>
                    </a:lnTo>
                    <a:lnTo>
                      <a:pt x="384" y="1775"/>
                    </a:lnTo>
                    <a:lnTo>
                      <a:pt x="363" y="1766"/>
                    </a:lnTo>
                    <a:lnTo>
                      <a:pt x="359" y="1759"/>
                    </a:lnTo>
                    <a:lnTo>
                      <a:pt x="359" y="1756"/>
                    </a:lnTo>
                    <a:lnTo>
                      <a:pt x="355" y="1740"/>
                    </a:lnTo>
                    <a:lnTo>
                      <a:pt x="343" y="1729"/>
                    </a:lnTo>
                    <a:lnTo>
                      <a:pt x="341" y="1721"/>
                    </a:lnTo>
                    <a:lnTo>
                      <a:pt x="332" y="1707"/>
                    </a:lnTo>
                    <a:lnTo>
                      <a:pt x="328" y="1695"/>
                    </a:lnTo>
                    <a:lnTo>
                      <a:pt x="323" y="1695"/>
                    </a:lnTo>
                    <a:lnTo>
                      <a:pt x="320" y="1691"/>
                    </a:lnTo>
                    <a:lnTo>
                      <a:pt x="311" y="1673"/>
                    </a:lnTo>
                    <a:lnTo>
                      <a:pt x="305" y="1667"/>
                    </a:lnTo>
                    <a:lnTo>
                      <a:pt x="300" y="1666"/>
                    </a:lnTo>
                    <a:lnTo>
                      <a:pt x="278" y="1683"/>
                    </a:lnTo>
                    <a:lnTo>
                      <a:pt x="257" y="1689"/>
                    </a:lnTo>
                    <a:lnTo>
                      <a:pt x="252" y="1695"/>
                    </a:lnTo>
                    <a:lnTo>
                      <a:pt x="251" y="1707"/>
                    </a:lnTo>
                    <a:lnTo>
                      <a:pt x="249" y="1710"/>
                    </a:lnTo>
                    <a:lnTo>
                      <a:pt x="242" y="1713"/>
                    </a:lnTo>
                    <a:lnTo>
                      <a:pt x="240" y="1717"/>
                    </a:lnTo>
                    <a:lnTo>
                      <a:pt x="240" y="1726"/>
                    </a:lnTo>
                    <a:lnTo>
                      <a:pt x="236" y="1734"/>
                    </a:lnTo>
                    <a:lnTo>
                      <a:pt x="220" y="1739"/>
                    </a:lnTo>
                    <a:lnTo>
                      <a:pt x="204" y="1753"/>
                    </a:lnTo>
                    <a:lnTo>
                      <a:pt x="191" y="1758"/>
                    </a:lnTo>
                    <a:lnTo>
                      <a:pt x="188" y="1756"/>
                    </a:lnTo>
                    <a:lnTo>
                      <a:pt x="188" y="1753"/>
                    </a:lnTo>
                    <a:lnTo>
                      <a:pt x="185" y="1747"/>
                    </a:lnTo>
                    <a:lnTo>
                      <a:pt x="175" y="1723"/>
                    </a:lnTo>
                    <a:lnTo>
                      <a:pt x="159" y="1710"/>
                    </a:lnTo>
                    <a:lnTo>
                      <a:pt x="176" y="1695"/>
                    </a:lnTo>
                    <a:lnTo>
                      <a:pt x="174" y="1691"/>
                    </a:lnTo>
                    <a:lnTo>
                      <a:pt x="158" y="1681"/>
                    </a:lnTo>
                    <a:lnTo>
                      <a:pt x="169" y="1693"/>
                    </a:lnTo>
                    <a:lnTo>
                      <a:pt x="166" y="1697"/>
                    </a:lnTo>
                    <a:lnTo>
                      <a:pt x="155" y="1695"/>
                    </a:lnTo>
                    <a:lnTo>
                      <a:pt x="152" y="1702"/>
                    </a:lnTo>
                    <a:lnTo>
                      <a:pt x="149" y="1699"/>
                    </a:lnTo>
                    <a:lnTo>
                      <a:pt x="122" y="1664"/>
                    </a:lnTo>
                    <a:lnTo>
                      <a:pt x="117" y="1653"/>
                    </a:lnTo>
                    <a:lnTo>
                      <a:pt x="104" y="1642"/>
                    </a:lnTo>
                    <a:lnTo>
                      <a:pt x="97" y="1636"/>
                    </a:lnTo>
                    <a:lnTo>
                      <a:pt x="101" y="1636"/>
                    </a:lnTo>
                    <a:lnTo>
                      <a:pt x="101" y="1630"/>
                    </a:lnTo>
                    <a:lnTo>
                      <a:pt x="101" y="1608"/>
                    </a:lnTo>
                    <a:lnTo>
                      <a:pt x="68" y="1609"/>
                    </a:lnTo>
                    <a:lnTo>
                      <a:pt x="56" y="1624"/>
                    </a:lnTo>
                    <a:lnTo>
                      <a:pt x="50" y="1621"/>
                    </a:lnTo>
                    <a:lnTo>
                      <a:pt x="35" y="1610"/>
                    </a:lnTo>
                    <a:lnTo>
                      <a:pt x="20" y="1621"/>
                    </a:lnTo>
                    <a:lnTo>
                      <a:pt x="0" y="1609"/>
                    </a:lnTo>
                    <a:lnTo>
                      <a:pt x="0" y="1573"/>
                    </a:lnTo>
                    <a:lnTo>
                      <a:pt x="0" y="1463"/>
                    </a:lnTo>
                    <a:lnTo>
                      <a:pt x="0" y="1356"/>
                    </a:lnTo>
                    <a:lnTo>
                      <a:pt x="0" y="1255"/>
                    </a:lnTo>
                    <a:lnTo>
                      <a:pt x="0" y="1146"/>
                    </a:lnTo>
                    <a:lnTo>
                      <a:pt x="0" y="1022"/>
                    </a:lnTo>
                    <a:lnTo>
                      <a:pt x="0" y="900"/>
                    </a:lnTo>
                    <a:lnTo>
                      <a:pt x="0" y="785"/>
                    </a:lnTo>
                    <a:lnTo>
                      <a:pt x="0" y="660"/>
                    </a:lnTo>
                    <a:lnTo>
                      <a:pt x="0" y="516"/>
                    </a:lnTo>
                    <a:lnTo>
                      <a:pt x="0" y="373"/>
                    </a:lnTo>
                    <a:lnTo>
                      <a:pt x="2" y="376"/>
                    </a:lnTo>
                    <a:lnTo>
                      <a:pt x="11" y="381"/>
                    </a:lnTo>
                    <a:lnTo>
                      <a:pt x="21" y="384"/>
                    </a:lnTo>
                    <a:lnTo>
                      <a:pt x="62" y="383"/>
                    </a:lnTo>
                    <a:lnTo>
                      <a:pt x="70" y="386"/>
                    </a:lnTo>
                    <a:lnTo>
                      <a:pt x="74" y="393"/>
                    </a:lnTo>
                    <a:lnTo>
                      <a:pt x="91" y="394"/>
                    </a:lnTo>
                    <a:lnTo>
                      <a:pt x="110" y="413"/>
                    </a:lnTo>
                    <a:lnTo>
                      <a:pt x="132" y="447"/>
                    </a:lnTo>
                    <a:lnTo>
                      <a:pt x="139" y="447"/>
                    </a:lnTo>
                    <a:lnTo>
                      <a:pt x="143" y="451"/>
                    </a:lnTo>
                    <a:lnTo>
                      <a:pt x="145" y="445"/>
                    </a:lnTo>
                    <a:lnTo>
                      <a:pt x="149" y="454"/>
                    </a:lnTo>
                    <a:lnTo>
                      <a:pt x="159" y="465"/>
                    </a:lnTo>
                    <a:lnTo>
                      <a:pt x="170" y="475"/>
                    </a:lnTo>
                    <a:lnTo>
                      <a:pt x="179" y="480"/>
                    </a:lnTo>
                    <a:lnTo>
                      <a:pt x="191" y="492"/>
                    </a:lnTo>
                    <a:lnTo>
                      <a:pt x="198" y="491"/>
                    </a:lnTo>
                    <a:lnTo>
                      <a:pt x="214" y="495"/>
                    </a:lnTo>
                    <a:lnTo>
                      <a:pt x="228" y="502"/>
                    </a:lnTo>
                    <a:lnTo>
                      <a:pt x="235" y="504"/>
                    </a:lnTo>
                    <a:lnTo>
                      <a:pt x="241" y="501"/>
                    </a:lnTo>
                    <a:lnTo>
                      <a:pt x="246" y="505"/>
                    </a:lnTo>
                    <a:lnTo>
                      <a:pt x="246" y="500"/>
                    </a:lnTo>
                    <a:lnTo>
                      <a:pt x="244" y="492"/>
                    </a:lnTo>
                    <a:lnTo>
                      <a:pt x="255" y="497"/>
                    </a:lnTo>
                    <a:lnTo>
                      <a:pt x="265" y="501"/>
                    </a:lnTo>
                    <a:lnTo>
                      <a:pt x="269" y="506"/>
                    </a:lnTo>
                    <a:lnTo>
                      <a:pt x="277" y="507"/>
                    </a:lnTo>
                    <a:lnTo>
                      <a:pt x="288" y="516"/>
                    </a:lnTo>
                    <a:lnTo>
                      <a:pt x="309" y="537"/>
                    </a:lnTo>
                    <a:lnTo>
                      <a:pt x="316" y="535"/>
                    </a:lnTo>
                    <a:lnTo>
                      <a:pt x="321" y="537"/>
                    </a:lnTo>
                    <a:lnTo>
                      <a:pt x="319" y="529"/>
                    </a:lnTo>
                    <a:lnTo>
                      <a:pt x="308" y="517"/>
                    </a:lnTo>
                    <a:lnTo>
                      <a:pt x="304" y="506"/>
                    </a:lnTo>
                    <a:lnTo>
                      <a:pt x="300" y="501"/>
                    </a:lnTo>
                    <a:lnTo>
                      <a:pt x="306" y="499"/>
                    </a:lnTo>
                    <a:lnTo>
                      <a:pt x="322" y="505"/>
                    </a:lnTo>
                    <a:lnTo>
                      <a:pt x="331" y="502"/>
                    </a:lnTo>
                    <a:lnTo>
                      <a:pt x="341" y="505"/>
                    </a:lnTo>
                    <a:lnTo>
                      <a:pt x="347" y="510"/>
                    </a:lnTo>
                    <a:lnTo>
                      <a:pt x="349" y="524"/>
                    </a:lnTo>
                    <a:lnTo>
                      <a:pt x="354" y="532"/>
                    </a:lnTo>
                    <a:lnTo>
                      <a:pt x="370" y="545"/>
                    </a:lnTo>
                    <a:lnTo>
                      <a:pt x="373" y="553"/>
                    </a:lnTo>
                    <a:lnTo>
                      <a:pt x="376" y="542"/>
                    </a:lnTo>
                    <a:lnTo>
                      <a:pt x="375" y="527"/>
                    </a:lnTo>
                    <a:lnTo>
                      <a:pt x="370" y="522"/>
                    </a:lnTo>
                    <a:lnTo>
                      <a:pt x="353" y="490"/>
                    </a:lnTo>
                    <a:lnTo>
                      <a:pt x="349" y="480"/>
                    </a:lnTo>
                    <a:lnTo>
                      <a:pt x="349" y="475"/>
                    </a:lnTo>
                    <a:lnTo>
                      <a:pt x="360" y="468"/>
                    </a:lnTo>
                    <a:lnTo>
                      <a:pt x="369" y="456"/>
                    </a:lnTo>
                    <a:lnTo>
                      <a:pt x="385" y="445"/>
                    </a:lnTo>
                    <a:lnTo>
                      <a:pt x="391" y="435"/>
                    </a:lnTo>
                    <a:lnTo>
                      <a:pt x="396" y="435"/>
                    </a:lnTo>
                    <a:lnTo>
                      <a:pt x="400" y="429"/>
                    </a:lnTo>
                    <a:lnTo>
                      <a:pt x="423" y="425"/>
                    </a:lnTo>
                    <a:lnTo>
                      <a:pt x="430" y="420"/>
                    </a:lnTo>
                    <a:lnTo>
                      <a:pt x="439" y="411"/>
                    </a:lnTo>
                    <a:lnTo>
                      <a:pt x="440" y="391"/>
                    </a:lnTo>
                    <a:lnTo>
                      <a:pt x="448" y="384"/>
                    </a:lnTo>
                    <a:lnTo>
                      <a:pt x="450" y="387"/>
                    </a:lnTo>
                    <a:lnTo>
                      <a:pt x="455" y="387"/>
                    </a:lnTo>
                    <a:lnTo>
                      <a:pt x="457" y="378"/>
                    </a:lnTo>
                    <a:lnTo>
                      <a:pt x="464" y="371"/>
                    </a:lnTo>
                    <a:lnTo>
                      <a:pt x="468" y="371"/>
                    </a:lnTo>
                    <a:lnTo>
                      <a:pt x="470" y="376"/>
                    </a:lnTo>
                    <a:lnTo>
                      <a:pt x="484" y="376"/>
                    </a:lnTo>
                    <a:lnTo>
                      <a:pt x="491" y="370"/>
                    </a:lnTo>
                    <a:lnTo>
                      <a:pt x="492" y="365"/>
                    </a:lnTo>
                    <a:lnTo>
                      <a:pt x="500" y="362"/>
                    </a:lnTo>
                    <a:lnTo>
                      <a:pt x="521" y="348"/>
                    </a:lnTo>
                    <a:lnTo>
                      <a:pt x="524" y="336"/>
                    </a:lnTo>
                    <a:lnTo>
                      <a:pt x="542" y="344"/>
                    </a:lnTo>
                    <a:lnTo>
                      <a:pt x="550" y="334"/>
                    </a:lnTo>
                    <a:lnTo>
                      <a:pt x="551" y="324"/>
                    </a:lnTo>
                    <a:lnTo>
                      <a:pt x="554" y="316"/>
                    </a:lnTo>
                    <a:lnTo>
                      <a:pt x="568" y="309"/>
                    </a:lnTo>
                    <a:lnTo>
                      <a:pt x="574" y="303"/>
                    </a:lnTo>
                    <a:lnTo>
                      <a:pt x="585" y="312"/>
                    </a:lnTo>
                    <a:lnTo>
                      <a:pt x="593" y="312"/>
                    </a:lnTo>
                    <a:lnTo>
                      <a:pt x="597" y="317"/>
                    </a:lnTo>
                    <a:lnTo>
                      <a:pt x="606" y="313"/>
                    </a:lnTo>
                    <a:lnTo>
                      <a:pt x="612" y="302"/>
                    </a:lnTo>
                    <a:lnTo>
                      <a:pt x="613" y="295"/>
                    </a:lnTo>
                    <a:lnTo>
                      <a:pt x="621" y="290"/>
                    </a:lnTo>
                    <a:lnTo>
                      <a:pt x="623" y="297"/>
                    </a:lnTo>
                    <a:lnTo>
                      <a:pt x="629" y="305"/>
                    </a:lnTo>
                    <a:lnTo>
                      <a:pt x="633" y="318"/>
                    </a:lnTo>
                    <a:lnTo>
                      <a:pt x="629" y="321"/>
                    </a:lnTo>
                    <a:lnTo>
                      <a:pt x="622" y="332"/>
                    </a:lnTo>
                    <a:lnTo>
                      <a:pt x="583" y="360"/>
                    </a:lnTo>
                    <a:lnTo>
                      <a:pt x="574" y="372"/>
                    </a:lnTo>
                    <a:lnTo>
                      <a:pt x="564" y="378"/>
                    </a:lnTo>
                    <a:lnTo>
                      <a:pt x="548" y="398"/>
                    </a:lnTo>
                    <a:lnTo>
                      <a:pt x="534" y="392"/>
                    </a:lnTo>
                    <a:lnTo>
                      <a:pt x="499" y="404"/>
                    </a:lnTo>
                    <a:lnTo>
                      <a:pt x="488" y="414"/>
                    </a:lnTo>
                    <a:lnTo>
                      <a:pt x="484" y="424"/>
                    </a:lnTo>
                    <a:lnTo>
                      <a:pt x="492" y="421"/>
                    </a:lnTo>
                    <a:lnTo>
                      <a:pt x="476" y="435"/>
                    </a:lnTo>
                    <a:lnTo>
                      <a:pt x="473" y="443"/>
                    </a:lnTo>
                    <a:lnTo>
                      <a:pt x="468" y="441"/>
                    </a:lnTo>
                    <a:lnTo>
                      <a:pt x="464" y="451"/>
                    </a:lnTo>
                    <a:lnTo>
                      <a:pt x="460" y="461"/>
                    </a:lnTo>
                    <a:lnTo>
                      <a:pt x="459" y="452"/>
                    </a:lnTo>
                    <a:lnTo>
                      <a:pt x="454" y="449"/>
                    </a:lnTo>
                    <a:lnTo>
                      <a:pt x="441" y="469"/>
                    </a:lnTo>
                    <a:lnTo>
                      <a:pt x="441" y="478"/>
                    </a:lnTo>
                    <a:lnTo>
                      <a:pt x="449" y="477"/>
                    </a:lnTo>
                    <a:lnTo>
                      <a:pt x="459" y="467"/>
                    </a:lnTo>
                    <a:lnTo>
                      <a:pt x="483" y="458"/>
                    </a:lnTo>
                    <a:lnTo>
                      <a:pt x="504" y="435"/>
                    </a:lnTo>
                    <a:lnTo>
                      <a:pt x="505" y="431"/>
                    </a:lnTo>
                    <a:lnTo>
                      <a:pt x="502" y="426"/>
                    </a:lnTo>
                    <a:lnTo>
                      <a:pt x="504" y="424"/>
                    </a:lnTo>
                    <a:lnTo>
                      <a:pt x="513" y="418"/>
                    </a:lnTo>
                    <a:lnTo>
                      <a:pt x="518" y="420"/>
                    </a:lnTo>
                    <a:lnTo>
                      <a:pt x="516" y="434"/>
                    </a:lnTo>
                    <a:lnTo>
                      <a:pt x="524" y="421"/>
                    </a:lnTo>
                    <a:lnTo>
                      <a:pt x="526" y="432"/>
                    </a:lnTo>
                    <a:lnTo>
                      <a:pt x="535" y="415"/>
                    </a:lnTo>
                    <a:lnTo>
                      <a:pt x="543" y="411"/>
                    </a:lnTo>
                    <a:lnTo>
                      <a:pt x="550" y="418"/>
                    </a:lnTo>
                    <a:lnTo>
                      <a:pt x="548" y="432"/>
                    </a:lnTo>
                    <a:lnTo>
                      <a:pt x="546" y="454"/>
                    </a:lnTo>
                    <a:lnTo>
                      <a:pt x="564" y="418"/>
                    </a:lnTo>
                    <a:lnTo>
                      <a:pt x="581" y="389"/>
                    </a:lnTo>
                    <a:lnTo>
                      <a:pt x="583" y="378"/>
                    </a:lnTo>
                    <a:lnTo>
                      <a:pt x="596" y="376"/>
                    </a:lnTo>
                    <a:lnTo>
                      <a:pt x="607" y="371"/>
                    </a:lnTo>
                    <a:lnTo>
                      <a:pt x="617" y="360"/>
                    </a:lnTo>
                    <a:lnTo>
                      <a:pt x="645" y="351"/>
                    </a:lnTo>
                    <a:lnTo>
                      <a:pt x="663" y="334"/>
                    </a:lnTo>
                    <a:lnTo>
                      <a:pt x="660" y="354"/>
                    </a:lnTo>
                    <a:lnTo>
                      <a:pt x="656" y="352"/>
                    </a:lnTo>
                    <a:lnTo>
                      <a:pt x="650" y="366"/>
                    </a:lnTo>
                    <a:lnTo>
                      <a:pt x="649" y="376"/>
                    </a:lnTo>
                    <a:lnTo>
                      <a:pt x="672" y="361"/>
                    </a:lnTo>
                    <a:lnTo>
                      <a:pt x="681" y="348"/>
                    </a:lnTo>
                    <a:lnTo>
                      <a:pt x="692" y="336"/>
                    </a:lnTo>
                    <a:lnTo>
                      <a:pt x="697" y="324"/>
                    </a:lnTo>
                    <a:lnTo>
                      <a:pt x="693" y="316"/>
                    </a:lnTo>
                    <a:lnTo>
                      <a:pt x="698" y="309"/>
                    </a:lnTo>
                    <a:lnTo>
                      <a:pt x="725" y="298"/>
                    </a:lnTo>
                    <a:lnTo>
                      <a:pt x="731" y="292"/>
                    </a:lnTo>
                    <a:lnTo>
                      <a:pt x="715" y="287"/>
                    </a:lnTo>
                    <a:lnTo>
                      <a:pt x="709" y="281"/>
                    </a:lnTo>
                    <a:lnTo>
                      <a:pt x="710" y="276"/>
                    </a:lnTo>
                    <a:lnTo>
                      <a:pt x="712" y="266"/>
                    </a:lnTo>
                    <a:lnTo>
                      <a:pt x="709" y="262"/>
                    </a:lnTo>
                    <a:lnTo>
                      <a:pt x="699" y="265"/>
                    </a:lnTo>
                    <a:lnTo>
                      <a:pt x="701" y="255"/>
                    </a:lnTo>
                    <a:lnTo>
                      <a:pt x="706" y="247"/>
                    </a:lnTo>
                    <a:lnTo>
                      <a:pt x="709" y="242"/>
                    </a:lnTo>
                    <a:lnTo>
                      <a:pt x="722" y="247"/>
                    </a:lnTo>
                    <a:lnTo>
                      <a:pt x="751" y="281"/>
                    </a:lnTo>
                    <a:lnTo>
                      <a:pt x="757" y="295"/>
                    </a:lnTo>
                    <a:lnTo>
                      <a:pt x="761" y="323"/>
                    </a:lnTo>
                    <a:lnTo>
                      <a:pt x="768" y="335"/>
                    </a:lnTo>
                    <a:lnTo>
                      <a:pt x="780" y="376"/>
                    </a:lnTo>
                    <a:lnTo>
                      <a:pt x="787" y="389"/>
                    </a:lnTo>
                    <a:lnTo>
                      <a:pt x="796" y="394"/>
                    </a:lnTo>
                    <a:lnTo>
                      <a:pt x="803" y="410"/>
                    </a:lnTo>
                    <a:lnTo>
                      <a:pt x="805" y="409"/>
                    </a:lnTo>
                    <a:lnTo>
                      <a:pt x="821" y="425"/>
                    </a:lnTo>
                    <a:lnTo>
                      <a:pt x="831" y="429"/>
                    </a:lnTo>
                    <a:lnTo>
                      <a:pt x="853" y="430"/>
                    </a:lnTo>
                    <a:lnTo>
                      <a:pt x="853" y="426"/>
                    </a:lnTo>
                    <a:lnTo>
                      <a:pt x="855" y="424"/>
                    </a:lnTo>
                    <a:lnTo>
                      <a:pt x="866" y="424"/>
                    </a:lnTo>
                    <a:lnTo>
                      <a:pt x="866" y="418"/>
                    </a:lnTo>
                    <a:lnTo>
                      <a:pt x="858" y="414"/>
                    </a:lnTo>
                    <a:lnTo>
                      <a:pt x="841" y="420"/>
                    </a:lnTo>
                    <a:lnTo>
                      <a:pt x="844" y="409"/>
                    </a:lnTo>
                    <a:lnTo>
                      <a:pt x="859" y="408"/>
                    </a:lnTo>
                    <a:lnTo>
                      <a:pt x="868" y="403"/>
                    </a:lnTo>
                    <a:lnTo>
                      <a:pt x="863" y="403"/>
                    </a:lnTo>
                    <a:lnTo>
                      <a:pt x="852" y="387"/>
                    </a:lnTo>
                    <a:lnTo>
                      <a:pt x="858" y="381"/>
                    </a:lnTo>
                    <a:lnTo>
                      <a:pt x="871" y="376"/>
                    </a:lnTo>
                    <a:lnTo>
                      <a:pt x="871" y="368"/>
                    </a:lnTo>
                    <a:lnTo>
                      <a:pt x="863" y="366"/>
                    </a:lnTo>
                    <a:lnTo>
                      <a:pt x="863" y="354"/>
                    </a:lnTo>
                    <a:lnTo>
                      <a:pt x="866" y="362"/>
                    </a:lnTo>
                    <a:lnTo>
                      <a:pt x="884" y="341"/>
                    </a:lnTo>
                    <a:lnTo>
                      <a:pt x="887" y="330"/>
                    </a:lnTo>
                    <a:lnTo>
                      <a:pt x="884" y="328"/>
                    </a:lnTo>
                    <a:lnTo>
                      <a:pt x="876" y="333"/>
                    </a:lnTo>
                    <a:lnTo>
                      <a:pt x="873" y="341"/>
                    </a:lnTo>
                    <a:lnTo>
                      <a:pt x="869" y="338"/>
                    </a:lnTo>
                    <a:lnTo>
                      <a:pt x="868" y="328"/>
                    </a:lnTo>
                    <a:lnTo>
                      <a:pt x="871" y="321"/>
                    </a:lnTo>
                    <a:lnTo>
                      <a:pt x="878" y="324"/>
                    </a:lnTo>
                    <a:lnTo>
                      <a:pt x="887" y="322"/>
                    </a:lnTo>
                    <a:lnTo>
                      <a:pt x="892" y="324"/>
                    </a:lnTo>
                    <a:lnTo>
                      <a:pt x="895" y="335"/>
                    </a:lnTo>
                    <a:lnTo>
                      <a:pt x="900" y="325"/>
                    </a:lnTo>
                    <a:lnTo>
                      <a:pt x="907" y="324"/>
                    </a:lnTo>
                    <a:lnTo>
                      <a:pt x="906" y="318"/>
                    </a:lnTo>
                    <a:lnTo>
                      <a:pt x="898" y="316"/>
                    </a:lnTo>
                    <a:lnTo>
                      <a:pt x="893" y="311"/>
                    </a:lnTo>
                    <a:lnTo>
                      <a:pt x="908" y="308"/>
                    </a:lnTo>
                    <a:lnTo>
                      <a:pt x="908" y="313"/>
                    </a:lnTo>
                    <a:lnTo>
                      <a:pt x="912" y="321"/>
                    </a:lnTo>
                    <a:lnTo>
                      <a:pt x="909" y="335"/>
                    </a:lnTo>
                    <a:lnTo>
                      <a:pt x="908" y="359"/>
                    </a:lnTo>
                    <a:lnTo>
                      <a:pt x="906" y="366"/>
                    </a:lnTo>
                    <a:lnTo>
                      <a:pt x="907" y="373"/>
                    </a:lnTo>
                    <a:lnTo>
                      <a:pt x="912" y="378"/>
                    </a:lnTo>
                    <a:lnTo>
                      <a:pt x="919" y="372"/>
                    </a:lnTo>
                    <a:lnTo>
                      <a:pt x="930" y="376"/>
                    </a:lnTo>
                    <a:lnTo>
                      <a:pt x="912" y="409"/>
                    </a:lnTo>
                    <a:lnTo>
                      <a:pt x="907" y="424"/>
                    </a:lnTo>
                    <a:lnTo>
                      <a:pt x="906" y="413"/>
                    </a:lnTo>
                    <a:lnTo>
                      <a:pt x="903" y="424"/>
                    </a:lnTo>
                    <a:lnTo>
                      <a:pt x="903" y="430"/>
                    </a:lnTo>
                    <a:lnTo>
                      <a:pt x="925" y="432"/>
                    </a:lnTo>
                    <a:lnTo>
                      <a:pt x="933" y="425"/>
                    </a:lnTo>
                    <a:lnTo>
                      <a:pt x="938" y="429"/>
                    </a:lnTo>
                    <a:lnTo>
                      <a:pt x="954" y="430"/>
                    </a:lnTo>
                    <a:lnTo>
                      <a:pt x="962" y="424"/>
                    </a:lnTo>
                    <a:lnTo>
                      <a:pt x="965" y="414"/>
                    </a:lnTo>
                    <a:lnTo>
                      <a:pt x="975" y="405"/>
                    </a:lnTo>
                    <a:lnTo>
                      <a:pt x="976" y="394"/>
                    </a:lnTo>
                    <a:lnTo>
                      <a:pt x="981" y="378"/>
                    </a:lnTo>
                    <a:lnTo>
                      <a:pt x="982" y="360"/>
                    </a:lnTo>
                    <a:lnTo>
                      <a:pt x="991" y="360"/>
                    </a:lnTo>
                    <a:lnTo>
                      <a:pt x="1005" y="354"/>
                    </a:lnTo>
                    <a:lnTo>
                      <a:pt x="1016" y="360"/>
                    </a:lnTo>
                    <a:lnTo>
                      <a:pt x="1025" y="359"/>
                    </a:lnTo>
                    <a:lnTo>
                      <a:pt x="1032" y="360"/>
                    </a:lnTo>
                    <a:lnTo>
                      <a:pt x="1032" y="362"/>
                    </a:lnTo>
                    <a:lnTo>
                      <a:pt x="1054" y="360"/>
                    </a:lnTo>
                    <a:lnTo>
                      <a:pt x="1077" y="367"/>
                    </a:lnTo>
                    <a:lnTo>
                      <a:pt x="1107" y="392"/>
                    </a:lnTo>
                    <a:lnTo>
                      <a:pt x="1127" y="418"/>
                    </a:lnTo>
                    <a:lnTo>
                      <a:pt x="1145" y="429"/>
                    </a:lnTo>
                    <a:lnTo>
                      <a:pt x="1166" y="431"/>
                    </a:lnTo>
                    <a:lnTo>
                      <a:pt x="1175" y="438"/>
                    </a:lnTo>
                    <a:lnTo>
                      <a:pt x="1187" y="438"/>
                    </a:lnTo>
                    <a:lnTo>
                      <a:pt x="1207" y="447"/>
                    </a:lnTo>
                    <a:lnTo>
                      <a:pt x="1214" y="446"/>
                    </a:lnTo>
                    <a:lnTo>
                      <a:pt x="1224" y="449"/>
                    </a:lnTo>
                    <a:lnTo>
                      <a:pt x="1229" y="461"/>
                    </a:lnTo>
                    <a:lnTo>
                      <a:pt x="1244" y="470"/>
                    </a:lnTo>
                    <a:lnTo>
                      <a:pt x="1256" y="475"/>
                    </a:lnTo>
                    <a:lnTo>
                      <a:pt x="1282" y="491"/>
                    </a:lnTo>
                    <a:lnTo>
                      <a:pt x="1300" y="492"/>
                    </a:lnTo>
                    <a:lnTo>
                      <a:pt x="1307" y="497"/>
                    </a:lnTo>
                    <a:lnTo>
                      <a:pt x="1319" y="500"/>
                    </a:lnTo>
                    <a:lnTo>
                      <a:pt x="1317" y="496"/>
                    </a:lnTo>
                    <a:lnTo>
                      <a:pt x="1348" y="501"/>
                    </a:lnTo>
                    <a:lnTo>
                      <a:pt x="1360" y="500"/>
                    </a:lnTo>
                    <a:lnTo>
                      <a:pt x="1371" y="513"/>
                    </a:lnTo>
                    <a:lnTo>
                      <a:pt x="1374" y="504"/>
                    </a:lnTo>
                    <a:lnTo>
                      <a:pt x="1357" y="488"/>
                    </a:lnTo>
                    <a:lnTo>
                      <a:pt x="1369" y="485"/>
                    </a:lnTo>
                    <a:lnTo>
                      <a:pt x="1375" y="490"/>
                    </a:lnTo>
                    <a:lnTo>
                      <a:pt x="1386" y="491"/>
                    </a:lnTo>
                    <a:lnTo>
                      <a:pt x="1386" y="485"/>
                    </a:lnTo>
                    <a:lnTo>
                      <a:pt x="1413" y="491"/>
                    </a:lnTo>
                    <a:lnTo>
                      <a:pt x="1407" y="496"/>
                    </a:lnTo>
                    <a:lnTo>
                      <a:pt x="1423" y="505"/>
                    </a:lnTo>
                    <a:lnTo>
                      <a:pt x="1424" y="513"/>
                    </a:lnTo>
                    <a:lnTo>
                      <a:pt x="1434" y="508"/>
                    </a:lnTo>
                    <a:lnTo>
                      <a:pt x="1434" y="517"/>
                    </a:lnTo>
                    <a:lnTo>
                      <a:pt x="1451" y="528"/>
                    </a:lnTo>
                    <a:lnTo>
                      <a:pt x="1463" y="547"/>
                    </a:lnTo>
                    <a:lnTo>
                      <a:pt x="1470" y="553"/>
                    </a:lnTo>
                    <a:lnTo>
                      <a:pt x="1470" y="575"/>
                    </a:lnTo>
                    <a:lnTo>
                      <a:pt x="1478" y="564"/>
                    </a:lnTo>
                    <a:lnTo>
                      <a:pt x="1478" y="576"/>
                    </a:lnTo>
                    <a:lnTo>
                      <a:pt x="1475" y="585"/>
                    </a:lnTo>
                    <a:lnTo>
                      <a:pt x="1479" y="591"/>
                    </a:lnTo>
                    <a:lnTo>
                      <a:pt x="1470" y="590"/>
                    </a:lnTo>
                    <a:lnTo>
                      <a:pt x="1467" y="597"/>
                    </a:lnTo>
                    <a:lnTo>
                      <a:pt x="1461" y="599"/>
                    </a:lnTo>
                    <a:lnTo>
                      <a:pt x="1456" y="590"/>
                    </a:lnTo>
                    <a:lnTo>
                      <a:pt x="1443" y="594"/>
                    </a:lnTo>
                    <a:lnTo>
                      <a:pt x="1424" y="591"/>
                    </a:lnTo>
                    <a:lnTo>
                      <a:pt x="1436" y="597"/>
                    </a:lnTo>
                    <a:lnTo>
                      <a:pt x="1429" y="607"/>
                    </a:lnTo>
                    <a:lnTo>
                      <a:pt x="1409" y="603"/>
                    </a:lnTo>
                    <a:lnTo>
                      <a:pt x="1413" y="609"/>
                    </a:lnTo>
                    <a:lnTo>
                      <a:pt x="1409" y="615"/>
                    </a:lnTo>
                    <a:lnTo>
                      <a:pt x="1409" y="630"/>
                    </a:lnTo>
                    <a:lnTo>
                      <a:pt x="1393" y="639"/>
                    </a:lnTo>
                    <a:lnTo>
                      <a:pt x="1400" y="645"/>
                    </a:lnTo>
                    <a:lnTo>
                      <a:pt x="1405" y="646"/>
                    </a:lnTo>
                    <a:lnTo>
                      <a:pt x="1412" y="644"/>
                    </a:lnTo>
                    <a:lnTo>
                      <a:pt x="1406" y="650"/>
                    </a:lnTo>
                    <a:lnTo>
                      <a:pt x="1420" y="655"/>
                    </a:lnTo>
                    <a:lnTo>
                      <a:pt x="1441" y="667"/>
                    </a:lnTo>
                    <a:lnTo>
                      <a:pt x="1445" y="658"/>
                    </a:lnTo>
                    <a:lnTo>
                      <a:pt x="1454" y="662"/>
                    </a:lnTo>
                    <a:lnTo>
                      <a:pt x="1459" y="668"/>
                    </a:lnTo>
                    <a:lnTo>
                      <a:pt x="1470" y="667"/>
                    </a:lnTo>
                    <a:lnTo>
                      <a:pt x="1482" y="671"/>
                    </a:lnTo>
                    <a:lnTo>
                      <a:pt x="1503" y="669"/>
                    </a:lnTo>
                    <a:lnTo>
                      <a:pt x="1516" y="674"/>
                    </a:lnTo>
                    <a:lnTo>
                      <a:pt x="1535" y="669"/>
                    </a:lnTo>
                    <a:lnTo>
                      <a:pt x="1533" y="673"/>
                    </a:lnTo>
                    <a:lnTo>
                      <a:pt x="1546" y="675"/>
                    </a:lnTo>
                    <a:lnTo>
                      <a:pt x="1570" y="674"/>
                    </a:lnTo>
                    <a:lnTo>
                      <a:pt x="1573" y="667"/>
                    </a:lnTo>
                    <a:lnTo>
                      <a:pt x="1591" y="667"/>
                    </a:lnTo>
                    <a:lnTo>
                      <a:pt x="1588" y="674"/>
                    </a:lnTo>
                    <a:lnTo>
                      <a:pt x="1599" y="674"/>
                    </a:lnTo>
                    <a:lnTo>
                      <a:pt x="1592" y="669"/>
                    </a:lnTo>
                    <a:lnTo>
                      <a:pt x="1601" y="662"/>
                    </a:lnTo>
                    <a:lnTo>
                      <a:pt x="1604" y="669"/>
                    </a:lnTo>
                    <a:lnTo>
                      <a:pt x="1615" y="671"/>
                    </a:lnTo>
                    <a:lnTo>
                      <a:pt x="1616" y="667"/>
                    </a:lnTo>
                    <a:lnTo>
                      <a:pt x="1623" y="668"/>
                    </a:lnTo>
                    <a:lnTo>
                      <a:pt x="1628" y="651"/>
                    </a:lnTo>
                    <a:lnTo>
                      <a:pt x="1639" y="648"/>
                    </a:lnTo>
                    <a:lnTo>
                      <a:pt x="1637" y="667"/>
                    </a:lnTo>
                    <a:lnTo>
                      <a:pt x="1648" y="667"/>
                    </a:lnTo>
                    <a:lnTo>
                      <a:pt x="1655" y="662"/>
                    </a:lnTo>
                    <a:lnTo>
                      <a:pt x="1667" y="644"/>
                    </a:lnTo>
                    <a:lnTo>
                      <a:pt x="1678" y="636"/>
                    </a:lnTo>
                    <a:lnTo>
                      <a:pt x="1691" y="636"/>
                    </a:lnTo>
                    <a:lnTo>
                      <a:pt x="1696" y="626"/>
                    </a:lnTo>
                    <a:lnTo>
                      <a:pt x="1703" y="639"/>
                    </a:lnTo>
                    <a:lnTo>
                      <a:pt x="1701" y="646"/>
                    </a:lnTo>
                    <a:lnTo>
                      <a:pt x="1707" y="650"/>
                    </a:lnTo>
                    <a:lnTo>
                      <a:pt x="1709" y="645"/>
                    </a:lnTo>
                    <a:lnTo>
                      <a:pt x="1713" y="655"/>
                    </a:lnTo>
                    <a:lnTo>
                      <a:pt x="1715" y="658"/>
                    </a:lnTo>
                    <a:lnTo>
                      <a:pt x="1715" y="667"/>
                    </a:lnTo>
                    <a:lnTo>
                      <a:pt x="1713" y="667"/>
                    </a:lnTo>
                    <a:lnTo>
                      <a:pt x="1730" y="673"/>
                    </a:lnTo>
                    <a:lnTo>
                      <a:pt x="1729" y="667"/>
                    </a:lnTo>
                    <a:lnTo>
                      <a:pt x="1757" y="667"/>
                    </a:lnTo>
                    <a:lnTo>
                      <a:pt x="1755" y="675"/>
                    </a:lnTo>
                    <a:lnTo>
                      <a:pt x="1757" y="682"/>
                    </a:lnTo>
                    <a:lnTo>
                      <a:pt x="1755" y="687"/>
                    </a:lnTo>
                    <a:lnTo>
                      <a:pt x="1760" y="695"/>
                    </a:lnTo>
                    <a:lnTo>
                      <a:pt x="1757" y="707"/>
                    </a:lnTo>
                    <a:lnTo>
                      <a:pt x="1763" y="715"/>
                    </a:lnTo>
                    <a:lnTo>
                      <a:pt x="1763" y="709"/>
                    </a:lnTo>
                    <a:lnTo>
                      <a:pt x="1764" y="714"/>
                    </a:lnTo>
                    <a:lnTo>
                      <a:pt x="1769" y="701"/>
                    </a:lnTo>
                    <a:lnTo>
                      <a:pt x="1771" y="683"/>
                    </a:lnTo>
                    <a:lnTo>
                      <a:pt x="1776" y="685"/>
                    </a:lnTo>
                    <a:lnTo>
                      <a:pt x="1776" y="695"/>
                    </a:lnTo>
                    <a:lnTo>
                      <a:pt x="1779" y="695"/>
                    </a:lnTo>
                    <a:lnTo>
                      <a:pt x="1777" y="705"/>
                    </a:lnTo>
                    <a:lnTo>
                      <a:pt x="1777" y="715"/>
                    </a:lnTo>
                    <a:lnTo>
                      <a:pt x="1784" y="718"/>
                    </a:lnTo>
                    <a:lnTo>
                      <a:pt x="1789" y="711"/>
                    </a:lnTo>
                    <a:lnTo>
                      <a:pt x="1796" y="727"/>
                    </a:lnTo>
                    <a:lnTo>
                      <a:pt x="1806" y="727"/>
                    </a:lnTo>
                    <a:lnTo>
                      <a:pt x="1810" y="737"/>
                    </a:lnTo>
                    <a:lnTo>
                      <a:pt x="1817" y="755"/>
                    </a:lnTo>
                    <a:lnTo>
                      <a:pt x="1809" y="764"/>
                    </a:lnTo>
                    <a:lnTo>
                      <a:pt x="1801" y="761"/>
                    </a:lnTo>
                    <a:lnTo>
                      <a:pt x="1791" y="768"/>
                    </a:lnTo>
                    <a:lnTo>
                      <a:pt x="1788" y="764"/>
                    </a:lnTo>
                    <a:lnTo>
                      <a:pt x="1790" y="774"/>
                    </a:lnTo>
                    <a:lnTo>
                      <a:pt x="1801" y="790"/>
                    </a:lnTo>
                    <a:lnTo>
                      <a:pt x="1812" y="804"/>
                    </a:lnTo>
                    <a:lnTo>
                      <a:pt x="1820" y="808"/>
                    </a:lnTo>
                    <a:lnTo>
                      <a:pt x="1821" y="788"/>
                    </a:lnTo>
                    <a:lnTo>
                      <a:pt x="1826" y="787"/>
                    </a:lnTo>
                    <a:lnTo>
                      <a:pt x="1834" y="793"/>
                    </a:lnTo>
                    <a:lnTo>
                      <a:pt x="1843" y="782"/>
                    </a:lnTo>
                    <a:lnTo>
                      <a:pt x="1852" y="785"/>
                    </a:lnTo>
                    <a:lnTo>
                      <a:pt x="1841" y="765"/>
                    </a:lnTo>
                    <a:lnTo>
                      <a:pt x="1850" y="758"/>
                    </a:lnTo>
                    <a:lnTo>
                      <a:pt x="1849" y="755"/>
                    </a:lnTo>
                    <a:lnTo>
                      <a:pt x="1841" y="755"/>
                    </a:lnTo>
                    <a:lnTo>
                      <a:pt x="1834" y="743"/>
                    </a:lnTo>
                    <a:lnTo>
                      <a:pt x="1831" y="727"/>
                    </a:lnTo>
                    <a:lnTo>
                      <a:pt x="1822" y="716"/>
                    </a:lnTo>
                    <a:lnTo>
                      <a:pt x="1827" y="712"/>
                    </a:lnTo>
                    <a:lnTo>
                      <a:pt x="1827" y="695"/>
                    </a:lnTo>
                    <a:lnTo>
                      <a:pt x="1822" y="690"/>
                    </a:lnTo>
                    <a:lnTo>
                      <a:pt x="1822" y="683"/>
                    </a:lnTo>
                    <a:lnTo>
                      <a:pt x="1809" y="675"/>
                    </a:lnTo>
                    <a:lnTo>
                      <a:pt x="1804" y="667"/>
                    </a:lnTo>
                    <a:lnTo>
                      <a:pt x="1812" y="650"/>
                    </a:lnTo>
                    <a:lnTo>
                      <a:pt x="1818" y="651"/>
                    </a:lnTo>
                    <a:lnTo>
                      <a:pt x="1821" y="644"/>
                    </a:lnTo>
                    <a:lnTo>
                      <a:pt x="1827" y="640"/>
                    </a:lnTo>
                    <a:lnTo>
                      <a:pt x="1820" y="637"/>
                    </a:lnTo>
                    <a:lnTo>
                      <a:pt x="1826" y="623"/>
                    </a:lnTo>
                    <a:lnTo>
                      <a:pt x="1839" y="623"/>
                    </a:lnTo>
                    <a:lnTo>
                      <a:pt x="1852" y="614"/>
                    </a:lnTo>
                    <a:lnTo>
                      <a:pt x="1853" y="609"/>
                    </a:lnTo>
                    <a:lnTo>
                      <a:pt x="1853" y="615"/>
                    </a:lnTo>
                    <a:lnTo>
                      <a:pt x="1876" y="613"/>
                    </a:lnTo>
                    <a:lnTo>
                      <a:pt x="1875" y="601"/>
                    </a:lnTo>
                    <a:lnTo>
                      <a:pt x="1884" y="597"/>
                    </a:lnTo>
                    <a:lnTo>
                      <a:pt x="1895" y="599"/>
                    </a:lnTo>
                    <a:lnTo>
                      <a:pt x="1893" y="582"/>
                    </a:lnTo>
                    <a:lnTo>
                      <a:pt x="1897" y="578"/>
                    </a:lnTo>
                    <a:lnTo>
                      <a:pt x="1901" y="591"/>
                    </a:lnTo>
                    <a:lnTo>
                      <a:pt x="1907" y="575"/>
                    </a:lnTo>
                    <a:lnTo>
                      <a:pt x="1912" y="569"/>
                    </a:lnTo>
                    <a:lnTo>
                      <a:pt x="1909" y="559"/>
                    </a:lnTo>
                    <a:lnTo>
                      <a:pt x="1924" y="553"/>
                    </a:lnTo>
                    <a:lnTo>
                      <a:pt x="1918" y="550"/>
                    </a:lnTo>
                    <a:lnTo>
                      <a:pt x="1925" y="542"/>
                    </a:lnTo>
                    <a:lnTo>
                      <a:pt x="1925" y="533"/>
                    </a:lnTo>
                    <a:lnTo>
                      <a:pt x="1918" y="537"/>
                    </a:lnTo>
                    <a:lnTo>
                      <a:pt x="1916" y="533"/>
                    </a:lnTo>
                    <a:lnTo>
                      <a:pt x="1884" y="545"/>
                    </a:lnTo>
                    <a:lnTo>
                      <a:pt x="1891" y="555"/>
                    </a:lnTo>
                    <a:lnTo>
                      <a:pt x="1875" y="558"/>
                    </a:lnTo>
                    <a:lnTo>
                      <a:pt x="1882" y="575"/>
                    </a:lnTo>
                    <a:lnTo>
                      <a:pt x="1884" y="566"/>
                    </a:lnTo>
                    <a:lnTo>
                      <a:pt x="1884" y="585"/>
                    </a:lnTo>
                    <a:lnTo>
                      <a:pt x="1881" y="590"/>
                    </a:lnTo>
                    <a:lnTo>
                      <a:pt x="1877" y="583"/>
                    </a:lnTo>
                    <a:lnTo>
                      <a:pt x="1880" y="578"/>
                    </a:lnTo>
                    <a:lnTo>
                      <a:pt x="1875" y="581"/>
                    </a:lnTo>
                    <a:lnTo>
                      <a:pt x="1874" y="575"/>
                    </a:lnTo>
                    <a:lnTo>
                      <a:pt x="1863" y="575"/>
                    </a:lnTo>
                    <a:lnTo>
                      <a:pt x="1858" y="577"/>
                    </a:lnTo>
                    <a:lnTo>
                      <a:pt x="1852" y="588"/>
                    </a:lnTo>
                    <a:lnTo>
                      <a:pt x="1849" y="582"/>
                    </a:lnTo>
                    <a:lnTo>
                      <a:pt x="1834" y="581"/>
                    </a:lnTo>
                    <a:lnTo>
                      <a:pt x="1832" y="576"/>
                    </a:lnTo>
                    <a:lnTo>
                      <a:pt x="1818" y="581"/>
                    </a:lnTo>
                    <a:lnTo>
                      <a:pt x="1812" y="587"/>
                    </a:lnTo>
                    <a:lnTo>
                      <a:pt x="1815" y="594"/>
                    </a:lnTo>
                    <a:lnTo>
                      <a:pt x="1822" y="596"/>
                    </a:lnTo>
                    <a:lnTo>
                      <a:pt x="1822" y="601"/>
                    </a:lnTo>
                    <a:lnTo>
                      <a:pt x="1827" y="603"/>
                    </a:lnTo>
                    <a:lnTo>
                      <a:pt x="1817" y="605"/>
                    </a:lnTo>
                    <a:lnTo>
                      <a:pt x="1809" y="612"/>
                    </a:lnTo>
                    <a:lnTo>
                      <a:pt x="1804" y="609"/>
                    </a:lnTo>
                    <a:lnTo>
                      <a:pt x="1810" y="605"/>
                    </a:lnTo>
                    <a:lnTo>
                      <a:pt x="1791" y="608"/>
                    </a:lnTo>
                    <a:lnTo>
                      <a:pt x="1791" y="602"/>
                    </a:lnTo>
                    <a:lnTo>
                      <a:pt x="1783" y="605"/>
                    </a:lnTo>
                    <a:lnTo>
                      <a:pt x="1785" y="597"/>
                    </a:lnTo>
                    <a:lnTo>
                      <a:pt x="1777" y="597"/>
                    </a:lnTo>
                    <a:lnTo>
                      <a:pt x="1779" y="590"/>
                    </a:lnTo>
                    <a:lnTo>
                      <a:pt x="1766" y="594"/>
                    </a:lnTo>
                    <a:lnTo>
                      <a:pt x="1763" y="590"/>
                    </a:lnTo>
                    <a:lnTo>
                      <a:pt x="1764" y="578"/>
                    </a:lnTo>
                    <a:lnTo>
                      <a:pt x="1776" y="564"/>
                    </a:lnTo>
                    <a:lnTo>
                      <a:pt x="1776" y="558"/>
                    </a:lnTo>
                    <a:lnTo>
                      <a:pt x="1783" y="542"/>
                    </a:lnTo>
                    <a:lnTo>
                      <a:pt x="1790" y="537"/>
                    </a:lnTo>
                    <a:lnTo>
                      <a:pt x="1822" y="533"/>
                    </a:lnTo>
                    <a:lnTo>
                      <a:pt x="1846" y="521"/>
                    </a:lnTo>
                    <a:lnTo>
                      <a:pt x="1861" y="516"/>
                    </a:lnTo>
                    <a:lnTo>
                      <a:pt x="1868" y="506"/>
                    </a:lnTo>
                    <a:lnTo>
                      <a:pt x="1882" y="501"/>
                    </a:lnTo>
                    <a:lnTo>
                      <a:pt x="1884" y="492"/>
                    </a:lnTo>
                    <a:lnTo>
                      <a:pt x="1897" y="496"/>
                    </a:lnTo>
                    <a:lnTo>
                      <a:pt x="1907" y="486"/>
                    </a:lnTo>
                    <a:lnTo>
                      <a:pt x="1916" y="492"/>
                    </a:lnTo>
                    <a:lnTo>
                      <a:pt x="1919" y="497"/>
                    </a:lnTo>
                    <a:lnTo>
                      <a:pt x="1927" y="499"/>
                    </a:lnTo>
                    <a:lnTo>
                      <a:pt x="1929" y="513"/>
                    </a:lnTo>
                    <a:lnTo>
                      <a:pt x="1944" y="522"/>
                    </a:lnTo>
                    <a:lnTo>
                      <a:pt x="1936" y="528"/>
                    </a:lnTo>
                    <a:lnTo>
                      <a:pt x="1944" y="537"/>
                    </a:lnTo>
                    <a:lnTo>
                      <a:pt x="1945" y="547"/>
                    </a:lnTo>
                    <a:lnTo>
                      <a:pt x="1954" y="551"/>
                    </a:lnTo>
                    <a:lnTo>
                      <a:pt x="1954" y="558"/>
                    </a:lnTo>
                    <a:lnTo>
                      <a:pt x="1945" y="558"/>
                    </a:lnTo>
                    <a:lnTo>
                      <a:pt x="1939" y="560"/>
                    </a:lnTo>
                    <a:lnTo>
                      <a:pt x="1939" y="565"/>
                    </a:lnTo>
                    <a:lnTo>
                      <a:pt x="1945" y="564"/>
                    </a:lnTo>
                    <a:lnTo>
                      <a:pt x="1954" y="575"/>
                    </a:lnTo>
                    <a:lnTo>
                      <a:pt x="1960" y="577"/>
                    </a:lnTo>
                    <a:lnTo>
                      <a:pt x="1962" y="582"/>
                    </a:lnTo>
                    <a:lnTo>
                      <a:pt x="1971" y="593"/>
                    </a:lnTo>
                    <a:lnTo>
                      <a:pt x="1989" y="597"/>
                    </a:lnTo>
                    <a:lnTo>
                      <a:pt x="1988" y="599"/>
                    </a:lnTo>
                    <a:lnTo>
                      <a:pt x="1989" y="608"/>
                    </a:lnTo>
                    <a:lnTo>
                      <a:pt x="1989" y="618"/>
                    </a:lnTo>
                    <a:lnTo>
                      <a:pt x="1999" y="625"/>
                    </a:lnTo>
                    <a:lnTo>
                      <a:pt x="2006" y="624"/>
                    </a:lnTo>
                    <a:lnTo>
                      <a:pt x="2020" y="630"/>
                    </a:lnTo>
                    <a:lnTo>
                      <a:pt x="2030" y="624"/>
                    </a:lnTo>
                    <a:lnTo>
                      <a:pt x="2038" y="628"/>
                    </a:lnTo>
                    <a:lnTo>
                      <a:pt x="2038" y="619"/>
                    </a:lnTo>
                    <a:lnTo>
                      <a:pt x="2046" y="624"/>
                    </a:lnTo>
                    <a:lnTo>
                      <a:pt x="2051" y="615"/>
                    </a:lnTo>
                    <a:lnTo>
                      <a:pt x="2051" y="605"/>
                    </a:lnTo>
                    <a:lnTo>
                      <a:pt x="2068" y="613"/>
                    </a:lnTo>
                    <a:lnTo>
                      <a:pt x="2068" y="630"/>
                    </a:lnTo>
                    <a:lnTo>
                      <a:pt x="2083" y="645"/>
                    </a:lnTo>
                    <a:lnTo>
                      <a:pt x="2090" y="650"/>
                    </a:lnTo>
                    <a:lnTo>
                      <a:pt x="2099" y="667"/>
                    </a:lnTo>
                    <a:lnTo>
                      <a:pt x="2106" y="667"/>
                    </a:lnTo>
                    <a:lnTo>
                      <a:pt x="2121" y="678"/>
                    </a:lnTo>
                    <a:lnTo>
                      <a:pt x="2129" y="677"/>
                    </a:lnTo>
                    <a:lnTo>
                      <a:pt x="2129" y="668"/>
                    </a:lnTo>
                    <a:lnTo>
                      <a:pt x="2137" y="669"/>
                    </a:lnTo>
                    <a:lnTo>
                      <a:pt x="2139" y="667"/>
                    </a:lnTo>
                    <a:lnTo>
                      <a:pt x="2148" y="673"/>
                    </a:lnTo>
                    <a:lnTo>
                      <a:pt x="2150" y="669"/>
                    </a:lnTo>
                    <a:lnTo>
                      <a:pt x="2164" y="677"/>
                    </a:lnTo>
                    <a:lnTo>
                      <a:pt x="2182" y="667"/>
                    </a:lnTo>
                    <a:lnTo>
                      <a:pt x="2204" y="673"/>
                    </a:lnTo>
                    <a:lnTo>
                      <a:pt x="2221" y="667"/>
                    </a:lnTo>
                    <a:lnTo>
                      <a:pt x="2230" y="655"/>
                    </a:lnTo>
                    <a:lnTo>
                      <a:pt x="2267" y="660"/>
                    </a:lnTo>
                    <a:lnTo>
                      <a:pt x="2275" y="657"/>
                    </a:lnTo>
                    <a:lnTo>
                      <a:pt x="2290" y="671"/>
                    </a:lnTo>
                    <a:lnTo>
                      <a:pt x="2293" y="668"/>
                    </a:lnTo>
                    <a:lnTo>
                      <a:pt x="2300" y="667"/>
                    </a:lnTo>
                    <a:lnTo>
                      <a:pt x="2300" y="673"/>
                    </a:lnTo>
                    <a:lnTo>
                      <a:pt x="2322" y="667"/>
                    </a:lnTo>
                    <a:lnTo>
                      <a:pt x="2337" y="667"/>
                    </a:lnTo>
                    <a:lnTo>
                      <a:pt x="2328" y="655"/>
                    </a:lnTo>
                    <a:lnTo>
                      <a:pt x="2328" y="650"/>
                    </a:lnTo>
                    <a:lnTo>
                      <a:pt x="2321" y="640"/>
                    </a:lnTo>
                    <a:lnTo>
                      <a:pt x="2317" y="630"/>
                    </a:lnTo>
                    <a:lnTo>
                      <a:pt x="2322" y="623"/>
                    </a:lnTo>
                    <a:lnTo>
                      <a:pt x="2328" y="623"/>
                    </a:lnTo>
                    <a:lnTo>
                      <a:pt x="2331" y="625"/>
                    </a:lnTo>
                    <a:lnTo>
                      <a:pt x="2336" y="636"/>
                    </a:lnTo>
                    <a:lnTo>
                      <a:pt x="2342" y="641"/>
                    </a:lnTo>
                    <a:lnTo>
                      <a:pt x="2342" y="655"/>
                    </a:lnTo>
                    <a:lnTo>
                      <a:pt x="2349" y="667"/>
                    </a:lnTo>
                    <a:lnTo>
                      <a:pt x="2359" y="669"/>
                    </a:lnTo>
                    <a:lnTo>
                      <a:pt x="2364" y="678"/>
                    </a:lnTo>
                    <a:lnTo>
                      <a:pt x="2377" y="683"/>
                    </a:lnTo>
                    <a:lnTo>
                      <a:pt x="2384" y="689"/>
                    </a:lnTo>
                    <a:lnTo>
                      <a:pt x="2396" y="688"/>
                    </a:lnTo>
                    <a:lnTo>
                      <a:pt x="2404" y="677"/>
                    </a:lnTo>
                    <a:lnTo>
                      <a:pt x="2403" y="641"/>
                    </a:lnTo>
                    <a:lnTo>
                      <a:pt x="2398" y="641"/>
                    </a:lnTo>
                    <a:lnTo>
                      <a:pt x="2397" y="650"/>
                    </a:lnTo>
                    <a:lnTo>
                      <a:pt x="2390" y="650"/>
                    </a:lnTo>
                    <a:lnTo>
                      <a:pt x="2390" y="641"/>
                    </a:lnTo>
                    <a:lnTo>
                      <a:pt x="2385" y="636"/>
                    </a:lnTo>
                    <a:lnTo>
                      <a:pt x="2364" y="637"/>
                    </a:lnTo>
                    <a:lnTo>
                      <a:pt x="2359" y="646"/>
                    </a:lnTo>
                    <a:lnTo>
                      <a:pt x="2360" y="650"/>
                    </a:lnTo>
                    <a:lnTo>
                      <a:pt x="2361" y="658"/>
                    </a:lnTo>
                    <a:lnTo>
                      <a:pt x="2354" y="656"/>
                    </a:lnTo>
                    <a:lnTo>
                      <a:pt x="2348" y="636"/>
                    </a:lnTo>
                    <a:lnTo>
                      <a:pt x="2339" y="624"/>
                    </a:lnTo>
                    <a:lnTo>
                      <a:pt x="2334" y="614"/>
                    </a:lnTo>
                    <a:lnTo>
                      <a:pt x="2342" y="619"/>
                    </a:lnTo>
                    <a:lnTo>
                      <a:pt x="2342" y="605"/>
                    </a:lnTo>
                    <a:lnTo>
                      <a:pt x="2331" y="596"/>
                    </a:lnTo>
                    <a:lnTo>
                      <a:pt x="2331" y="590"/>
                    </a:lnTo>
                    <a:lnTo>
                      <a:pt x="2321" y="575"/>
                    </a:lnTo>
                    <a:lnTo>
                      <a:pt x="2328" y="575"/>
                    </a:lnTo>
                    <a:lnTo>
                      <a:pt x="2334" y="583"/>
                    </a:lnTo>
                    <a:lnTo>
                      <a:pt x="2339" y="578"/>
                    </a:lnTo>
                    <a:lnTo>
                      <a:pt x="2339" y="575"/>
                    </a:lnTo>
                    <a:lnTo>
                      <a:pt x="2349" y="575"/>
                    </a:lnTo>
                    <a:lnTo>
                      <a:pt x="2353" y="581"/>
                    </a:lnTo>
                    <a:lnTo>
                      <a:pt x="2374" y="577"/>
                    </a:lnTo>
                    <a:lnTo>
                      <a:pt x="2374" y="575"/>
                    </a:lnTo>
                    <a:lnTo>
                      <a:pt x="2358" y="554"/>
                    </a:lnTo>
                    <a:lnTo>
                      <a:pt x="2365" y="551"/>
                    </a:lnTo>
                    <a:lnTo>
                      <a:pt x="2377" y="554"/>
                    </a:lnTo>
                    <a:lnTo>
                      <a:pt x="2379" y="562"/>
                    </a:lnTo>
                    <a:lnTo>
                      <a:pt x="2390" y="575"/>
                    </a:lnTo>
                    <a:lnTo>
                      <a:pt x="2385" y="559"/>
                    </a:lnTo>
                    <a:lnTo>
                      <a:pt x="2398" y="560"/>
                    </a:lnTo>
                    <a:lnTo>
                      <a:pt x="2404" y="575"/>
                    </a:lnTo>
                    <a:lnTo>
                      <a:pt x="2420" y="582"/>
                    </a:lnTo>
                    <a:lnTo>
                      <a:pt x="2414" y="590"/>
                    </a:lnTo>
                    <a:lnTo>
                      <a:pt x="2422" y="594"/>
                    </a:lnTo>
                    <a:lnTo>
                      <a:pt x="2439" y="587"/>
                    </a:lnTo>
                    <a:lnTo>
                      <a:pt x="2439" y="594"/>
                    </a:lnTo>
                    <a:lnTo>
                      <a:pt x="2434" y="605"/>
                    </a:lnTo>
                    <a:lnTo>
                      <a:pt x="2433" y="615"/>
                    </a:lnTo>
                    <a:lnTo>
                      <a:pt x="2427" y="623"/>
                    </a:lnTo>
                    <a:lnTo>
                      <a:pt x="2431" y="628"/>
                    </a:lnTo>
                    <a:lnTo>
                      <a:pt x="2439" y="624"/>
                    </a:lnTo>
                    <a:lnTo>
                      <a:pt x="2443" y="631"/>
                    </a:lnTo>
                    <a:lnTo>
                      <a:pt x="2443" y="612"/>
                    </a:lnTo>
                    <a:lnTo>
                      <a:pt x="2466" y="596"/>
                    </a:lnTo>
                    <a:lnTo>
                      <a:pt x="2467" y="597"/>
                    </a:lnTo>
                    <a:lnTo>
                      <a:pt x="2466" y="607"/>
                    </a:lnTo>
                    <a:lnTo>
                      <a:pt x="2467" y="619"/>
                    </a:lnTo>
                    <a:lnTo>
                      <a:pt x="2466" y="636"/>
                    </a:lnTo>
                    <a:lnTo>
                      <a:pt x="2460" y="650"/>
                    </a:lnTo>
                    <a:lnTo>
                      <a:pt x="2459" y="668"/>
                    </a:lnTo>
                    <a:lnTo>
                      <a:pt x="2466" y="683"/>
                    </a:lnTo>
                    <a:lnTo>
                      <a:pt x="2446" y="695"/>
                    </a:lnTo>
                    <a:lnTo>
                      <a:pt x="2451" y="712"/>
                    </a:lnTo>
                    <a:lnTo>
                      <a:pt x="2466" y="711"/>
                    </a:lnTo>
                    <a:lnTo>
                      <a:pt x="2466" y="736"/>
                    </a:lnTo>
                    <a:lnTo>
                      <a:pt x="2482" y="720"/>
                    </a:lnTo>
                    <a:lnTo>
                      <a:pt x="2486" y="727"/>
                    </a:lnTo>
                    <a:lnTo>
                      <a:pt x="2495" y="718"/>
                    </a:lnTo>
                    <a:lnTo>
                      <a:pt x="2495" y="727"/>
                    </a:lnTo>
                    <a:lnTo>
                      <a:pt x="2489" y="733"/>
                    </a:lnTo>
                    <a:lnTo>
                      <a:pt x="2494" y="743"/>
                    </a:lnTo>
                    <a:lnTo>
                      <a:pt x="2504" y="744"/>
                    </a:lnTo>
                    <a:lnTo>
                      <a:pt x="2509" y="727"/>
                    </a:lnTo>
                    <a:lnTo>
                      <a:pt x="2504" y="711"/>
                    </a:lnTo>
                    <a:lnTo>
                      <a:pt x="2506" y="695"/>
                    </a:lnTo>
                    <a:lnTo>
                      <a:pt x="2502" y="682"/>
                    </a:lnTo>
                    <a:lnTo>
                      <a:pt x="2488" y="673"/>
                    </a:lnTo>
                    <a:lnTo>
                      <a:pt x="2488" y="667"/>
                    </a:lnTo>
                    <a:lnTo>
                      <a:pt x="2495" y="636"/>
                    </a:lnTo>
                    <a:lnTo>
                      <a:pt x="2492" y="631"/>
                    </a:lnTo>
                    <a:lnTo>
                      <a:pt x="2489" y="620"/>
                    </a:lnTo>
                    <a:lnTo>
                      <a:pt x="2495" y="620"/>
                    </a:lnTo>
                    <a:lnTo>
                      <a:pt x="2500" y="618"/>
                    </a:lnTo>
                    <a:lnTo>
                      <a:pt x="2504" y="620"/>
                    </a:lnTo>
                    <a:lnTo>
                      <a:pt x="2506" y="625"/>
                    </a:lnTo>
                    <a:lnTo>
                      <a:pt x="2510" y="623"/>
                    </a:lnTo>
                    <a:lnTo>
                      <a:pt x="2521" y="621"/>
                    </a:lnTo>
                    <a:lnTo>
                      <a:pt x="2533" y="628"/>
                    </a:lnTo>
                    <a:lnTo>
                      <a:pt x="2540" y="625"/>
                    </a:lnTo>
                    <a:lnTo>
                      <a:pt x="2545" y="613"/>
                    </a:lnTo>
                    <a:lnTo>
                      <a:pt x="2549" y="607"/>
                    </a:lnTo>
                    <a:lnTo>
                      <a:pt x="2563" y="599"/>
                    </a:lnTo>
                    <a:lnTo>
                      <a:pt x="2563" y="590"/>
                    </a:lnTo>
                    <a:lnTo>
                      <a:pt x="2569" y="574"/>
                    </a:lnTo>
                    <a:lnTo>
                      <a:pt x="2595" y="555"/>
                    </a:lnTo>
                    <a:lnTo>
                      <a:pt x="2602" y="544"/>
                    </a:lnTo>
                    <a:lnTo>
                      <a:pt x="2591" y="542"/>
                    </a:lnTo>
                    <a:lnTo>
                      <a:pt x="2594" y="520"/>
                    </a:lnTo>
                    <a:lnTo>
                      <a:pt x="2592" y="506"/>
                    </a:lnTo>
                    <a:lnTo>
                      <a:pt x="2589" y="491"/>
                    </a:lnTo>
                    <a:lnTo>
                      <a:pt x="2576" y="483"/>
                    </a:lnTo>
                    <a:lnTo>
                      <a:pt x="2575" y="491"/>
                    </a:lnTo>
                    <a:lnTo>
                      <a:pt x="2573" y="499"/>
                    </a:lnTo>
                    <a:lnTo>
                      <a:pt x="2572" y="508"/>
                    </a:lnTo>
                    <a:lnTo>
                      <a:pt x="2579" y="505"/>
                    </a:lnTo>
                    <a:lnTo>
                      <a:pt x="2583" y="497"/>
                    </a:lnTo>
                    <a:lnTo>
                      <a:pt x="2570" y="522"/>
                    </a:lnTo>
                    <a:lnTo>
                      <a:pt x="2551" y="528"/>
                    </a:lnTo>
                    <a:lnTo>
                      <a:pt x="2538" y="526"/>
                    </a:lnTo>
                    <a:lnTo>
                      <a:pt x="2542" y="516"/>
                    </a:lnTo>
                    <a:lnTo>
                      <a:pt x="2543" y="494"/>
                    </a:lnTo>
                    <a:lnTo>
                      <a:pt x="2547" y="491"/>
                    </a:lnTo>
                    <a:lnTo>
                      <a:pt x="2554" y="492"/>
                    </a:lnTo>
                    <a:lnTo>
                      <a:pt x="2563" y="472"/>
                    </a:lnTo>
                    <a:lnTo>
                      <a:pt x="2563" y="462"/>
                    </a:lnTo>
                    <a:lnTo>
                      <a:pt x="2557" y="465"/>
                    </a:lnTo>
                    <a:lnTo>
                      <a:pt x="2557" y="463"/>
                    </a:lnTo>
                    <a:lnTo>
                      <a:pt x="2558" y="449"/>
                    </a:lnTo>
                    <a:lnTo>
                      <a:pt x="2567" y="432"/>
                    </a:lnTo>
                    <a:lnTo>
                      <a:pt x="2586" y="425"/>
                    </a:lnTo>
                    <a:lnTo>
                      <a:pt x="2589" y="421"/>
                    </a:lnTo>
                    <a:lnTo>
                      <a:pt x="2581" y="436"/>
                    </a:lnTo>
                    <a:lnTo>
                      <a:pt x="2581" y="451"/>
                    </a:lnTo>
                    <a:lnTo>
                      <a:pt x="2585" y="458"/>
                    </a:lnTo>
                    <a:lnTo>
                      <a:pt x="2595" y="445"/>
                    </a:lnTo>
                    <a:lnTo>
                      <a:pt x="2599" y="427"/>
                    </a:lnTo>
                    <a:lnTo>
                      <a:pt x="2594" y="408"/>
                    </a:lnTo>
                    <a:lnTo>
                      <a:pt x="2583" y="408"/>
                    </a:lnTo>
                    <a:lnTo>
                      <a:pt x="2569" y="420"/>
                    </a:lnTo>
                    <a:lnTo>
                      <a:pt x="2556" y="418"/>
                    </a:lnTo>
                    <a:lnTo>
                      <a:pt x="2542" y="391"/>
                    </a:lnTo>
                    <a:lnTo>
                      <a:pt x="2536" y="386"/>
                    </a:lnTo>
                    <a:lnTo>
                      <a:pt x="2537" y="394"/>
                    </a:lnTo>
                    <a:lnTo>
                      <a:pt x="2532" y="399"/>
                    </a:lnTo>
                    <a:lnTo>
                      <a:pt x="2524" y="392"/>
                    </a:lnTo>
                    <a:lnTo>
                      <a:pt x="2524" y="387"/>
                    </a:lnTo>
                    <a:lnTo>
                      <a:pt x="2508" y="379"/>
                    </a:lnTo>
                    <a:lnTo>
                      <a:pt x="2505" y="372"/>
                    </a:lnTo>
                    <a:lnTo>
                      <a:pt x="2505" y="367"/>
                    </a:lnTo>
                    <a:lnTo>
                      <a:pt x="2479" y="370"/>
                    </a:lnTo>
                    <a:lnTo>
                      <a:pt x="2465" y="360"/>
                    </a:lnTo>
                    <a:lnTo>
                      <a:pt x="2461" y="352"/>
                    </a:lnTo>
                    <a:lnTo>
                      <a:pt x="2465" y="345"/>
                    </a:lnTo>
                    <a:lnTo>
                      <a:pt x="2447" y="336"/>
                    </a:lnTo>
                    <a:lnTo>
                      <a:pt x="2445" y="328"/>
                    </a:lnTo>
                    <a:lnTo>
                      <a:pt x="2436" y="318"/>
                    </a:lnTo>
                    <a:lnTo>
                      <a:pt x="2434" y="290"/>
                    </a:lnTo>
                    <a:lnTo>
                      <a:pt x="2434" y="275"/>
                    </a:lnTo>
                    <a:lnTo>
                      <a:pt x="2435" y="266"/>
                    </a:lnTo>
                    <a:lnTo>
                      <a:pt x="2441" y="262"/>
                    </a:lnTo>
                    <a:lnTo>
                      <a:pt x="2445" y="262"/>
                    </a:lnTo>
                    <a:lnTo>
                      <a:pt x="2456" y="236"/>
                    </a:lnTo>
                    <a:lnTo>
                      <a:pt x="2459" y="236"/>
                    </a:lnTo>
                    <a:lnTo>
                      <a:pt x="2461" y="242"/>
                    </a:lnTo>
                    <a:lnTo>
                      <a:pt x="2465" y="237"/>
                    </a:lnTo>
                    <a:lnTo>
                      <a:pt x="2466" y="222"/>
                    </a:lnTo>
                    <a:lnTo>
                      <a:pt x="2461" y="227"/>
                    </a:lnTo>
                    <a:lnTo>
                      <a:pt x="2452" y="204"/>
                    </a:lnTo>
                    <a:lnTo>
                      <a:pt x="2444" y="194"/>
                    </a:lnTo>
                    <a:lnTo>
                      <a:pt x="2444" y="184"/>
                    </a:lnTo>
                    <a:lnTo>
                      <a:pt x="2445" y="171"/>
                    </a:lnTo>
                    <a:lnTo>
                      <a:pt x="2452" y="156"/>
                    </a:lnTo>
                    <a:lnTo>
                      <a:pt x="2449" y="156"/>
                    </a:lnTo>
                    <a:lnTo>
                      <a:pt x="2450" y="145"/>
                    </a:lnTo>
                    <a:lnTo>
                      <a:pt x="2451" y="137"/>
                    </a:lnTo>
                    <a:lnTo>
                      <a:pt x="2451" y="122"/>
                    </a:lnTo>
                    <a:lnTo>
                      <a:pt x="2455" y="117"/>
                    </a:lnTo>
                    <a:lnTo>
                      <a:pt x="2460" y="118"/>
                    </a:lnTo>
                    <a:lnTo>
                      <a:pt x="2461" y="114"/>
                    </a:lnTo>
                    <a:lnTo>
                      <a:pt x="2462" y="106"/>
                    </a:lnTo>
                    <a:lnTo>
                      <a:pt x="2470" y="101"/>
                    </a:lnTo>
                    <a:lnTo>
                      <a:pt x="2488" y="124"/>
                    </a:lnTo>
                    <a:lnTo>
                      <a:pt x="2492" y="123"/>
                    </a:lnTo>
                    <a:lnTo>
                      <a:pt x="2495" y="107"/>
                    </a:lnTo>
                    <a:lnTo>
                      <a:pt x="2493" y="86"/>
                    </a:lnTo>
                    <a:lnTo>
                      <a:pt x="2487" y="85"/>
                    </a:lnTo>
                    <a:lnTo>
                      <a:pt x="2481" y="79"/>
                    </a:lnTo>
                    <a:lnTo>
                      <a:pt x="2479" y="67"/>
                    </a:lnTo>
                    <a:lnTo>
                      <a:pt x="2488" y="52"/>
                    </a:lnTo>
                    <a:lnTo>
                      <a:pt x="2502" y="36"/>
                    </a:lnTo>
                    <a:lnTo>
                      <a:pt x="2505" y="26"/>
                    </a:lnTo>
                    <a:lnTo>
                      <a:pt x="2506" y="16"/>
                    </a:lnTo>
                    <a:lnTo>
                      <a:pt x="2513" y="2"/>
                    </a:lnTo>
                    <a:lnTo>
                      <a:pt x="2522" y="0"/>
                    </a:lnTo>
                    <a:lnTo>
                      <a:pt x="2531" y="2"/>
                    </a:lnTo>
                    <a:lnTo>
                      <a:pt x="2541" y="0"/>
                    </a:lnTo>
                    <a:lnTo>
                      <a:pt x="2551" y="10"/>
                    </a:lnTo>
                    <a:lnTo>
                      <a:pt x="2549" y="18"/>
                    </a:lnTo>
                    <a:lnTo>
                      <a:pt x="2546" y="22"/>
                    </a:lnTo>
                    <a:lnTo>
                      <a:pt x="2545" y="32"/>
                    </a:lnTo>
                    <a:lnTo>
                      <a:pt x="2546" y="38"/>
                    </a:lnTo>
                    <a:lnTo>
                      <a:pt x="2554" y="32"/>
                    </a:lnTo>
                    <a:lnTo>
                      <a:pt x="2554" y="49"/>
                    </a:lnTo>
                    <a:lnTo>
                      <a:pt x="2564" y="40"/>
                    </a:lnTo>
                    <a:lnTo>
                      <a:pt x="2567" y="32"/>
                    </a:lnTo>
                    <a:lnTo>
                      <a:pt x="2576" y="44"/>
                    </a:lnTo>
                    <a:lnTo>
                      <a:pt x="2594" y="37"/>
                    </a:lnTo>
                    <a:lnTo>
                      <a:pt x="2594" y="47"/>
                    </a:lnTo>
                    <a:lnTo>
                      <a:pt x="2590" y="63"/>
                    </a:lnTo>
                    <a:lnTo>
                      <a:pt x="2595" y="75"/>
                    </a:lnTo>
                    <a:lnTo>
                      <a:pt x="2605" y="76"/>
                    </a:lnTo>
                    <a:lnTo>
                      <a:pt x="2632" y="115"/>
                    </a:lnTo>
                    <a:lnTo>
                      <a:pt x="2637" y="147"/>
                    </a:lnTo>
                    <a:lnTo>
                      <a:pt x="2638" y="167"/>
                    </a:lnTo>
                    <a:lnTo>
                      <a:pt x="2637" y="190"/>
                    </a:lnTo>
                    <a:lnTo>
                      <a:pt x="2633" y="189"/>
                    </a:lnTo>
                    <a:lnTo>
                      <a:pt x="2634" y="198"/>
                    </a:lnTo>
                    <a:lnTo>
                      <a:pt x="2645" y="201"/>
                    </a:lnTo>
                    <a:lnTo>
                      <a:pt x="2648" y="221"/>
                    </a:lnTo>
                    <a:lnTo>
                      <a:pt x="2662" y="220"/>
                    </a:lnTo>
                    <a:lnTo>
                      <a:pt x="2671" y="230"/>
                    </a:lnTo>
                    <a:lnTo>
                      <a:pt x="2671" y="244"/>
                    </a:lnTo>
                    <a:lnTo>
                      <a:pt x="2672" y="251"/>
                    </a:lnTo>
                    <a:lnTo>
                      <a:pt x="2681" y="264"/>
                    </a:lnTo>
                    <a:lnTo>
                      <a:pt x="2683" y="274"/>
                    </a:lnTo>
                    <a:lnTo>
                      <a:pt x="2685" y="284"/>
                    </a:lnTo>
                    <a:lnTo>
                      <a:pt x="2688" y="284"/>
                    </a:lnTo>
                    <a:lnTo>
                      <a:pt x="2692" y="279"/>
                    </a:lnTo>
                    <a:lnTo>
                      <a:pt x="2693" y="274"/>
                    </a:lnTo>
                    <a:lnTo>
                      <a:pt x="2701" y="280"/>
                    </a:lnTo>
                    <a:lnTo>
                      <a:pt x="2703" y="297"/>
                    </a:lnTo>
                    <a:lnTo>
                      <a:pt x="2709" y="301"/>
                    </a:lnTo>
                    <a:lnTo>
                      <a:pt x="2713" y="308"/>
                    </a:lnTo>
                    <a:lnTo>
                      <a:pt x="2694" y="312"/>
                    </a:lnTo>
                    <a:lnTo>
                      <a:pt x="2671" y="301"/>
                    </a:lnTo>
                    <a:lnTo>
                      <a:pt x="2664" y="302"/>
                    </a:lnTo>
                    <a:lnTo>
                      <a:pt x="2665" y="306"/>
                    </a:lnTo>
                    <a:lnTo>
                      <a:pt x="2665" y="312"/>
                    </a:lnTo>
                    <a:lnTo>
                      <a:pt x="2661" y="316"/>
                    </a:lnTo>
                    <a:lnTo>
                      <a:pt x="2661" y="318"/>
                    </a:lnTo>
                    <a:lnTo>
                      <a:pt x="2680" y="321"/>
                    </a:lnTo>
                    <a:lnTo>
                      <a:pt x="2688" y="334"/>
                    </a:lnTo>
                    <a:lnTo>
                      <a:pt x="2683" y="343"/>
                    </a:lnTo>
                    <a:lnTo>
                      <a:pt x="2676" y="352"/>
                    </a:lnTo>
                    <a:lnTo>
                      <a:pt x="2670" y="352"/>
                    </a:lnTo>
                    <a:lnTo>
                      <a:pt x="2664" y="357"/>
                    </a:lnTo>
                    <a:lnTo>
                      <a:pt x="2658" y="357"/>
                    </a:lnTo>
                    <a:lnTo>
                      <a:pt x="2656" y="364"/>
                    </a:lnTo>
                    <a:lnTo>
                      <a:pt x="2648" y="371"/>
                    </a:lnTo>
                    <a:lnTo>
                      <a:pt x="2650" y="378"/>
                    </a:lnTo>
                    <a:lnTo>
                      <a:pt x="2649" y="381"/>
                    </a:lnTo>
                    <a:lnTo>
                      <a:pt x="2669" y="381"/>
                    </a:lnTo>
                    <a:lnTo>
                      <a:pt x="2673" y="388"/>
                    </a:lnTo>
                    <a:lnTo>
                      <a:pt x="2678" y="402"/>
                    </a:lnTo>
                    <a:lnTo>
                      <a:pt x="2692" y="408"/>
                    </a:lnTo>
                    <a:lnTo>
                      <a:pt x="2705" y="405"/>
                    </a:lnTo>
                    <a:lnTo>
                      <a:pt x="2715" y="391"/>
                    </a:lnTo>
                    <a:lnTo>
                      <a:pt x="2723" y="389"/>
                    </a:lnTo>
                    <a:lnTo>
                      <a:pt x="2724" y="395"/>
                    </a:lnTo>
                    <a:lnTo>
                      <a:pt x="2718" y="404"/>
                    </a:lnTo>
                    <a:lnTo>
                      <a:pt x="2725" y="402"/>
                    </a:lnTo>
                    <a:lnTo>
                      <a:pt x="2731" y="413"/>
                    </a:lnTo>
                    <a:lnTo>
                      <a:pt x="2735" y="409"/>
                    </a:lnTo>
                    <a:lnTo>
                      <a:pt x="2745" y="415"/>
                    </a:lnTo>
                    <a:lnTo>
                      <a:pt x="2748" y="406"/>
                    </a:lnTo>
                    <a:lnTo>
                      <a:pt x="2751" y="421"/>
                    </a:lnTo>
                    <a:lnTo>
                      <a:pt x="2748" y="432"/>
                    </a:lnTo>
                    <a:lnTo>
                      <a:pt x="2744" y="440"/>
                    </a:lnTo>
                    <a:lnTo>
                      <a:pt x="2735" y="430"/>
                    </a:lnTo>
                    <a:lnTo>
                      <a:pt x="2729" y="434"/>
                    </a:lnTo>
                    <a:lnTo>
                      <a:pt x="2720" y="431"/>
                    </a:lnTo>
                    <a:lnTo>
                      <a:pt x="2745" y="465"/>
                    </a:lnTo>
                    <a:lnTo>
                      <a:pt x="2755" y="469"/>
                    </a:lnTo>
                    <a:lnTo>
                      <a:pt x="2756" y="479"/>
                    </a:lnTo>
                    <a:lnTo>
                      <a:pt x="2764" y="494"/>
                    </a:lnTo>
                    <a:lnTo>
                      <a:pt x="2763" y="499"/>
                    </a:lnTo>
                    <a:lnTo>
                      <a:pt x="2773" y="515"/>
                    </a:lnTo>
                    <a:lnTo>
                      <a:pt x="2768" y="531"/>
                    </a:lnTo>
                    <a:lnTo>
                      <a:pt x="2768" y="549"/>
                    </a:lnTo>
                    <a:lnTo>
                      <a:pt x="2766" y="558"/>
                    </a:lnTo>
                    <a:lnTo>
                      <a:pt x="2771" y="574"/>
                    </a:lnTo>
                    <a:lnTo>
                      <a:pt x="2775" y="581"/>
                    </a:lnTo>
                    <a:lnTo>
                      <a:pt x="2779" y="591"/>
                    </a:lnTo>
                    <a:lnTo>
                      <a:pt x="2787" y="581"/>
                    </a:lnTo>
                    <a:lnTo>
                      <a:pt x="2798" y="559"/>
                    </a:lnTo>
                    <a:lnTo>
                      <a:pt x="2798" y="540"/>
                    </a:lnTo>
                    <a:lnTo>
                      <a:pt x="2799" y="535"/>
                    </a:lnTo>
                    <a:lnTo>
                      <a:pt x="2800" y="532"/>
                    </a:lnTo>
                    <a:lnTo>
                      <a:pt x="2806" y="532"/>
                    </a:lnTo>
                    <a:lnTo>
                      <a:pt x="2807" y="513"/>
                    </a:lnTo>
                    <a:lnTo>
                      <a:pt x="2806" y="495"/>
                    </a:lnTo>
                    <a:lnTo>
                      <a:pt x="2806" y="480"/>
                    </a:lnTo>
                    <a:lnTo>
                      <a:pt x="2818" y="465"/>
                    </a:lnTo>
                    <a:lnTo>
                      <a:pt x="2826" y="447"/>
                    </a:lnTo>
                    <a:lnTo>
                      <a:pt x="2837" y="442"/>
                    </a:lnTo>
                    <a:lnTo>
                      <a:pt x="2850" y="443"/>
                    </a:lnTo>
                    <a:lnTo>
                      <a:pt x="2855" y="462"/>
                    </a:lnTo>
                    <a:lnTo>
                      <a:pt x="2866" y="480"/>
                    </a:lnTo>
                    <a:lnTo>
                      <a:pt x="2896" y="505"/>
                    </a:lnTo>
                    <a:lnTo>
                      <a:pt x="2901" y="517"/>
                    </a:lnTo>
                    <a:lnTo>
                      <a:pt x="2907" y="554"/>
                    </a:lnTo>
                    <a:lnTo>
                      <a:pt x="2913" y="575"/>
                    </a:lnTo>
                    <a:lnTo>
                      <a:pt x="2914" y="592"/>
                    </a:lnTo>
                    <a:lnTo>
                      <a:pt x="2906" y="599"/>
                    </a:lnTo>
                    <a:lnTo>
                      <a:pt x="2897" y="597"/>
                    </a:lnTo>
                    <a:lnTo>
                      <a:pt x="2893" y="592"/>
                    </a:lnTo>
                    <a:lnTo>
                      <a:pt x="2893" y="575"/>
                    </a:lnTo>
                    <a:lnTo>
                      <a:pt x="2884" y="598"/>
                    </a:lnTo>
                    <a:lnTo>
                      <a:pt x="2887" y="615"/>
                    </a:lnTo>
                    <a:lnTo>
                      <a:pt x="2884" y="631"/>
                    </a:lnTo>
                    <a:lnTo>
                      <a:pt x="2884" y="641"/>
                    </a:lnTo>
                    <a:lnTo>
                      <a:pt x="2895" y="663"/>
                    </a:lnTo>
                    <a:lnTo>
                      <a:pt x="2900" y="677"/>
                    </a:lnTo>
                    <a:lnTo>
                      <a:pt x="2908" y="689"/>
                    </a:lnTo>
                    <a:lnTo>
                      <a:pt x="2930" y="732"/>
                    </a:lnTo>
                    <a:lnTo>
                      <a:pt x="2936" y="737"/>
                    </a:lnTo>
                    <a:lnTo>
                      <a:pt x="2944" y="746"/>
                    </a:lnTo>
                    <a:lnTo>
                      <a:pt x="2954" y="741"/>
                    </a:lnTo>
                    <a:lnTo>
                      <a:pt x="2955" y="732"/>
                    </a:lnTo>
                    <a:lnTo>
                      <a:pt x="2957" y="721"/>
                    </a:lnTo>
                    <a:lnTo>
                      <a:pt x="2966" y="716"/>
                    </a:lnTo>
                    <a:lnTo>
                      <a:pt x="2971" y="721"/>
                    </a:lnTo>
                    <a:lnTo>
                      <a:pt x="2974" y="715"/>
                    </a:lnTo>
                    <a:lnTo>
                      <a:pt x="2977" y="720"/>
                    </a:lnTo>
                    <a:lnTo>
                      <a:pt x="2983" y="721"/>
                    </a:lnTo>
                    <a:lnTo>
                      <a:pt x="2987" y="699"/>
                    </a:lnTo>
                    <a:lnTo>
                      <a:pt x="2987" y="679"/>
                    </a:lnTo>
                    <a:lnTo>
                      <a:pt x="2988" y="673"/>
                    </a:lnTo>
                    <a:lnTo>
                      <a:pt x="2997" y="653"/>
                    </a:lnTo>
                    <a:lnTo>
                      <a:pt x="3009" y="640"/>
                    </a:lnTo>
                    <a:lnTo>
                      <a:pt x="3020" y="607"/>
                    </a:lnTo>
                    <a:lnTo>
                      <a:pt x="3021" y="592"/>
                    </a:lnTo>
                    <a:lnTo>
                      <a:pt x="3027" y="586"/>
                    </a:lnTo>
                    <a:lnTo>
                      <a:pt x="3030" y="545"/>
                    </a:lnTo>
                    <a:lnTo>
                      <a:pt x="3029" y="538"/>
                    </a:lnTo>
                    <a:lnTo>
                      <a:pt x="3035" y="531"/>
                    </a:lnTo>
                    <a:lnTo>
                      <a:pt x="3047" y="529"/>
                    </a:lnTo>
                    <a:lnTo>
                      <a:pt x="3049" y="523"/>
                    </a:lnTo>
                    <a:lnTo>
                      <a:pt x="3054" y="524"/>
                    </a:lnTo>
                    <a:lnTo>
                      <a:pt x="3064" y="520"/>
                    </a:lnTo>
                    <a:lnTo>
                      <a:pt x="3076" y="524"/>
                    </a:lnTo>
                    <a:lnTo>
                      <a:pt x="3087" y="522"/>
                    </a:lnTo>
                    <a:lnTo>
                      <a:pt x="3083" y="517"/>
                    </a:lnTo>
                    <a:lnTo>
                      <a:pt x="3069" y="515"/>
                    </a:lnTo>
                    <a:lnTo>
                      <a:pt x="3064" y="507"/>
                    </a:lnTo>
                    <a:lnTo>
                      <a:pt x="3068" y="501"/>
                    </a:lnTo>
                    <a:lnTo>
                      <a:pt x="3065" y="496"/>
                    </a:lnTo>
                    <a:lnTo>
                      <a:pt x="3075" y="496"/>
                    </a:lnTo>
                    <a:lnTo>
                      <a:pt x="3074" y="488"/>
                    </a:lnTo>
                    <a:lnTo>
                      <a:pt x="3079" y="485"/>
                    </a:lnTo>
                    <a:lnTo>
                      <a:pt x="3090" y="489"/>
                    </a:lnTo>
                    <a:lnTo>
                      <a:pt x="3087" y="479"/>
                    </a:lnTo>
                    <a:lnTo>
                      <a:pt x="3080" y="479"/>
                    </a:lnTo>
                    <a:lnTo>
                      <a:pt x="3073" y="469"/>
                    </a:lnTo>
                    <a:lnTo>
                      <a:pt x="3059" y="465"/>
                    </a:lnTo>
                    <a:lnTo>
                      <a:pt x="3052" y="456"/>
                    </a:lnTo>
                    <a:lnTo>
                      <a:pt x="3047" y="442"/>
                    </a:lnTo>
                    <a:lnTo>
                      <a:pt x="3048" y="431"/>
                    </a:lnTo>
                    <a:lnTo>
                      <a:pt x="3049" y="426"/>
                    </a:lnTo>
                    <a:lnTo>
                      <a:pt x="3046" y="410"/>
                    </a:lnTo>
                    <a:lnTo>
                      <a:pt x="3048" y="400"/>
                    </a:lnTo>
                    <a:lnTo>
                      <a:pt x="3044" y="386"/>
                    </a:lnTo>
                    <a:lnTo>
                      <a:pt x="3046" y="381"/>
                    </a:lnTo>
                    <a:lnTo>
                      <a:pt x="3048" y="371"/>
                    </a:lnTo>
                    <a:lnTo>
                      <a:pt x="3048" y="360"/>
                    </a:lnTo>
                    <a:lnTo>
                      <a:pt x="3067" y="365"/>
                    </a:lnTo>
                    <a:lnTo>
                      <a:pt x="3075" y="356"/>
                    </a:lnTo>
                    <a:lnTo>
                      <a:pt x="3097" y="355"/>
                    </a:lnTo>
                    <a:lnTo>
                      <a:pt x="3116" y="360"/>
                    </a:lnTo>
                    <a:lnTo>
                      <a:pt x="3126" y="371"/>
                    </a:lnTo>
                    <a:lnTo>
                      <a:pt x="3150" y="384"/>
                    </a:lnTo>
                    <a:lnTo>
                      <a:pt x="3173" y="381"/>
                    </a:lnTo>
                    <a:lnTo>
                      <a:pt x="3181" y="386"/>
                    </a:lnTo>
                    <a:lnTo>
                      <a:pt x="3192" y="383"/>
                    </a:lnTo>
                    <a:lnTo>
                      <a:pt x="3200" y="378"/>
                    </a:lnTo>
                    <a:lnTo>
                      <a:pt x="3205" y="386"/>
                    </a:lnTo>
                    <a:lnTo>
                      <a:pt x="3205" y="403"/>
                    </a:lnTo>
                    <a:lnTo>
                      <a:pt x="3207" y="411"/>
                    </a:lnTo>
                    <a:lnTo>
                      <a:pt x="3198" y="415"/>
                    </a:lnTo>
                    <a:lnTo>
                      <a:pt x="3205" y="415"/>
                    </a:lnTo>
                    <a:lnTo>
                      <a:pt x="3216" y="431"/>
                    </a:lnTo>
                    <a:lnTo>
                      <a:pt x="3224" y="445"/>
                    </a:lnTo>
                    <a:lnTo>
                      <a:pt x="3220" y="451"/>
                    </a:lnTo>
                    <a:lnTo>
                      <a:pt x="3223" y="453"/>
                    </a:lnTo>
                    <a:lnTo>
                      <a:pt x="3251" y="451"/>
                    </a:lnTo>
                    <a:lnTo>
                      <a:pt x="3259" y="458"/>
                    </a:lnTo>
                    <a:lnTo>
                      <a:pt x="3269" y="461"/>
                    </a:lnTo>
                    <a:lnTo>
                      <a:pt x="3272" y="470"/>
                    </a:lnTo>
                    <a:lnTo>
                      <a:pt x="3262" y="484"/>
                    </a:lnTo>
                    <a:lnTo>
                      <a:pt x="3246" y="496"/>
                    </a:lnTo>
                    <a:lnTo>
                      <a:pt x="3240" y="508"/>
                    </a:lnTo>
                    <a:lnTo>
                      <a:pt x="3272" y="513"/>
                    </a:lnTo>
                    <a:lnTo>
                      <a:pt x="3277" y="526"/>
                    </a:lnTo>
                    <a:lnTo>
                      <a:pt x="3275" y="542"/>
                    </a:lnTo>
                    <a:lnTo>
                      <a:pt x="3271" y="549"/>
                    </a:lnTo>
                    <a:lnTo>
                      <a:pt x="3258" y="558"/>
                    </a:lnTo>
                    <a:lnTo>
                      <a:pt x="3252" y="559"/>
                    </a:lnTo>
                    <a:lnTo>
                      <a:pt x="3246" y="570"/>
                    </a:lnTo>
                    <a:lnTo>
                      <a:pt x="3242" y="577"/>
                    </a:lnTo>
                    <a:lnTo>
                      <a:pt x="3236" y="571"/>
                    </a:lnTo>
                    <a:lnTo>
                      <a:pt x="3232" y="556"/>
                    </a:lnTo>
                    <a:lnTo>
                      <a:pt x="3225" y="559"/>
                    </a:lnTo>
                    <a:lnTo>
                      <a:pt x="3223" y="566"/>
                    </a:lnTo>
                    <a:lnTo>
                      <a:pt x="3208" y="559"/>
                    </a:lnTo>
                    <a:lnTo>
                      <a:pt x="3207" y="569"/>
                    </a:lnTo>
                    <a:lnTo>
                      <a:pt x="3220" y="588"/>
                    </a:lnTo>
                    <a:lnTo>
                      <a:pt x="3215" y="592"/>
                    </a:lnTo>
                    <a:lnTo>
                      <a:pt x="3215" y="596"/>
                    </a:lnTo>
                    <a:lnTo>
                      <a:pt x="3221" y="597"/>
                    </a:lnTo>
                    <a:lnTo>
                      <a:pt x="3221" y="605"/>
                    </a:lnTo>
                    <a:lnTo>
                      <a:pt x="3220" y="613"/>
                    </a:lnTo>
                    <a:lnTo>
                      <a:pt x="3239" y="604"/>
                    </a:lnTo>
                    <a:lnTo>
                      <a:pt x="3232" y="620"/>
                    </a:lnTo>
                    <a:lnTo>
                      <a:pt x="3230" y="637"/>
                    </a:lnTo>
                    <a:lnTo>
                      <a:pt x="3231" y="651"/>
                    </a:lnTo>
                    <a:lnTo>
                      <a:pt x="3257" y="688"/>
                    </a:lnTo>
                    <a:lnTo>
                      <a:pt x="3268" y="699"/>
                    </a:lnTo>
                    <a:lnTo>
                      <a:pt x="3275" y="711"/>
                    </a:lnTo>
                    <a:lnTo>
                      <a:pt x="3275" y="717"/>
                    </a:lnTo>
                    <a:lnTo>
                      <a:pt x="3271" y="723"/>
                    </a:lnTo>
                    <a:lnTo>
                      <a:pt x="3271" y="738"/>
                    </a:lnTo>
                    <a:lnTo>
                      <a:pt x="3274" y="748"/>
                    </a:lnTo>
                    <a:lnTo>
                      <a:pt x="3268" y="755"/>
                    </a:lnTo>
                    <a:lnTo>
                      <a:pt x="3268" y="764"/>
                    </a:lnTo>
                    <a:lnTo>
                      <a:pt x="3255" y="770"/>
                    </a:lnTo>
                    <a:lnTo>
                      <a:pt x="3248" y="776"/>
                    </a:lnTo>
                    <a:lnTo>
                      <a:pt x="3236" y="790"/>
                    </a:lnTo>
                    <a:lnTo>
                      <a:pt x="3235" y="798"/>
                    </a:lnTo>
                    <a:lnTo>
                      <a:pt x="3230" y="807"/>
                    </a:lnTo>
                    <a:lnTo>
                      <a:pt x="3202" y="835"/>
                    </a:lnTo>
                    <a:lnTo>
                      <a:pt x="3183" y="840"/>
                    </a:lnTo>
                    <a:lnTo>
                      <a:pt x="3180" y="851"/>
                    </a:lnTo>
                    <a:lnTo>
                      <a:pt x="3170" y="863"/>
                    </a:lnTo>
                    <a:lnTo>
                      <a:pt x="3162" y="863"/>
                    </a:lnTo>
                    <a:lnTo>
                      <a:pt x="3157" y="859"/>
                    </a:lnTo>
                    <a:lnTo>
                      <a:pt x="3155" y="851"/>
                    </a:lnTo>
                    <a:lnTo>
                      <a:pt x="3134" y="831"/>
                    </a:lnTo>
                    <a:lnTo>
                      <a:pt x="3126" y="819"/>
                    </a:lnTo>
                    <a:lnTo>
                      <a:pt x="3119" y="827"/>
                    </a:lnTo>
                    <a:lnTo>
                      <a:pt x="3121" y="836"/>
                    </a:lnTo>
                    <a:lnTo>
                      <a:pt x="3133" y="855"/>
                    </a:lnTo>
                    <a:lnTo>
                      <a:pt x="3134" y="868"/>
                    </a:lnTo>
                    <a:lnTo>
                      <a:pt x="3140" y="886"/>
                    </a:lnTo>
                    <a:lnTo>
                      <a:pt x="3140" y="892"/>
                    </a:lnTo>
                    <a:lnTo>
                      <a:pt x="3139" y="886"/>
                    </a:lnTo>
                    <a:lnTo>
                      <a:pt x="3128" y="884"/>
                    </a:lnTo>
                    <a:lnTo>
                      <a:pt x="3114" y="870"/>
                    </a:lnTo>
                    <a:lnTo>
                      <a:pt x="3106" y="866"/>
                    </a:lnTo>
                    <a:lnTo>
                      <a:pt x="3103" y="863"/>
                    </a:lnTo>
                    <a:lnTo>
                      <a:pt x="3100" y="863"/>
                    </a:lnTo>
                    <a:lnTo>
                      <a:pt x="3100" y="887"/>
                    </a:lnTo>
                    <a:lnTo>
                      <a:pt x="3084" y="881"/>
                    </a:lnTo>
                    <a:lnTo>
                      <a:pt x="3076" y="882"/>
                    </a:lnTo>
                    <a:lnTo>
                      <a:pt x="3065" y="874"/>
                    </a:lnTo>
                    <a:lnTo>
                      <a:pt x="3063" y="879"/>
                    </a:lnTo>
                    <a:lnTo>
                      <a:pt x="3053" y="836"/>
                    </a:lnTo>
                    <a:lnTo>
                      <a:pt x="3044" y="835"/>
                    </a:lnTo>
                    <a:lnTo>
                      <a:pt x="3026" y="849"/>
                    </a:lnTo>
                    <a:lnTo>
                      <a:pt x="3025" y="846"/>
                    </a:lnTo>
                    <a:lnTo>
                      <a:pt x="3017" y="847"/>
                    </a:lnTo>
                    <a:lnTo>
                      <a:pt x="2990" y="838"/>
                    </a:lnTo>
                    <a:lnTo>
                      <a:pt x="2979" y="847"/>
                    </a:lnTo>
                    <a:lnTo>
                      <a:pt x="2981" y="854"/>
                    </a:lnTo>
                    <a:lnTo>
                      <a:pt x="2977" y="856"/>
                    </a:lnTo>
                    <a:lnTo>
                      <a:pt x="2979" y="865"/>
                    </a:lnTo>
                    <a:lnTo>
                      <a:pt x="3003" y="877"/>
                    </a:lnTo>
                    <a:lnTo>
                      <a:pt x="3011" y="878"/>
                    </a:lnTo>
                    <a:lnTo>
                      <a:pt x="3017" y="887"/>
                    </a:lnTo>
                    <a:lnTo>
                      <a:pt x="3015" y="895"/>
                    </a:lnTo>
                    <a:lnTo>
                      <a:pt x="3015" y="905"/>
                    </a:lnTo>
                    <a:lnTo>
                      <a:pt x="3011" y="909"/>
                    </a:lnTo>
                    <a:lnTo>
                      <a:pt x="3011" y="915"/>
                    </a:lnTo>
                    <a:lnTo>
                      <a:pt x="3009" y="921"/>
                    </a:lnTo>
                    <a:lnTo>
                      <a:pt x="3001" y="927"/>
                    </a:lnTo>
                    <a:lnTo>
                      <a:pt x="2994" y="944"/>
                    </a:lnTo>
                    <a:lnTo>
                      <a:pt x="2988" y="953"/>
                    </a:lnTo>
                    <a:lnTo>
                      <a:pt x="2981" y="960"/>
                    </a:lnTo>
                    <a:lnTo>
                      <a:pt x="2978" y="968"/>
                    </a:lnTo>
                    <a:lnTo>
                      <a:pt x="2967" y="973"/>
                    </a:lnTo>
                    <a:lnTo>
                      <a:pt x="2960" y="991"/>
                    </a:lnTo>
                    <a:lnTo>
                      <a:pt x="2956" y="996"/>
                    </a:lnTo>
                    <a:lnTo>
                      <a:pt x="2946" y="999"/>
                    </a:lnTo>
                    <a:lnTo>
                      <a:pt x="2909" y="1002"/>
                    </a:lnTo>
                    <a:lnTo>
                      <a:pt x="2906" y="994"/>
                    </a:lnTo>
                    <a:lnTo>
                      <a:pt x="2900" y="984"/>
                    </a:lnTo>
                    <a:lnTo>
                      <a:pt x="2869" y="958"/>
                    </a:lnTo>
                    <a:lnTo>
                      <a:pt x="2869" y="956"/>
                    </a:lnTo>
                    <a:lnTo>
                      <a:pt x="2847" y="947"/>
                    </a:lnTo>
                    <a:lnTo>
                      <a:pt x="2826" y="930"/>
                    </a:lnTo>
                    <a:lnTo>
                      <a:pt x="2818" y="929"/>
                    </a:lnTo>
                    <a:lnTo>
                      <a:pt x="2810" y="932"/>
                    </a:lnTo>
                    <a:lnTo>
                      <a:pt x="2794" y="927"/>
                    </a:lnTo>
                    <a:lnTo>
                      <a:pt x="2789" y="940"/>
                    </a:lnTo>
                    <a:lnTo>
                      <a:pt x="2807" y="951"/>
                    </a:lnTo>
                    <a:lnTo>
                      <a:pt x="2822" y="967"/>
                    </a:lnTo>
                    <a:lnTo>
                      <a:pt x="2833" y="986"/>
                    </a:lnTo>
                    <a:lnTo>
                      <a:pt x="2850" y="1002"/>
                    </a:lnTo>
                    <a:lnTo>
                      <a:pt x="2879" y="1006"/>
                    </a:lnTo>
                    <a:lnTo>
                      <a:pt x="2903" y="1016"/>
                    </a:lnTo>
                    <a:lnTo>
                      <a:pt x="2912" y="1011"/>
                    </a:lnTo>
                    <a:lnTo>
                      <a:pt x="2936" y="1012"/>
                    </a:lnTo>
                    <a:lnTo>
                      <a:pt x="2961" y="1016"/>
                    </a:lnTo>
                    <a:lnTo>
                      <a:pt x="2962" y="1021"/>
                    </a:lnTo>
                    <a:lnTo>
                      <a:pt x="2968" y="1019"/>
                    </a:lnTo>
                    <a:lnTo>
                      <a:pt x="2965" y="1032"/>
                    </a:lnTo>
                    <a:lnTo>
                      <a:pt x="2960" y="1040"/>
                    </a:lnTo>
                    <a:lnTo>
                      <a:pt x="2960" y="1050"/>
                    </a:lnTo>
                    <a:lnTo>
                      <a:pt x="2950" y="1062"/>
                    </a:lnTo>
                    <a:lnTo>
                      <a:pt x="2946" y="1081"/>
                    </a:lnTo>
                    <a:lnTo>
                      <a:pt x="2939" y="1085"/>
                    </a:lnTo>
                    <a:lnTo>
                      <a:pt x="2931" y="1104"/>
                    </a:lnTo>
                    <a:lnTo>
                      <a:pt x="2918" y="1110"/>
                    </a:lnTo>
                    <a:lnTo>
                      <a:pt x="2918" y="1125"/>
                    </a:lnTo>
                    <a:lnTo>
                      <a:pt x="2913" y="1131"/>
                    </a:lnTo>
                    <a:lnTo>
                      <a:pt x="2903" y="1153"/>
                    </a:lnTo>
                    <a:lnTo>
                      <a:pt x="2900" y="1151"/>
                    </a:lnTo>
                    <a:lnTo>
                      <a:pt x="2888" y="1164"/>
                    </a:lnTo>
                    <a:lnTo>
                      <a:pt x="2871" y="1174"/>
                    </a:lnTo>
                    <a:lnTo>
                      <a:pt x="2850" y="1169"/>
                    </a:lnTo>
                    <a:lnTo>
                      <a:pt x="2847" y="1177"/>
                    </a:lnTo>
                    <a:lnTo>
                      <a:pt x="2827" y="1162"/>
                    </a:lnTo>
                    <a:lnTo>
                      <a:pt x="2826" y="1166"/>
                    </a:lnTo>
                    <a:lnTo>
                      <a:pt x="2826" y="1170"/>
                    </a:lnTo>
                    <a:lnTo>
                      <a:pt x="2820" y="1159"/>
                    </a:lnTo>
                    <a:lnTo>
                      <a:pt x="2816" y="1162"/>
                    </a:lnTo>
                    <a:lnTo>
                      <a:pt x="2809" y="1156"/>
                    </a:lnTo>
                    <a:lnTo>
                      <a:pt x="2804" y="1155"/>
                    </a:lnTo>
                    <a:lnTo>
                      <a:pt x="2806" y="1162"/>
                    </a:lnTo>
                    <a:lnTo>
                      <a:pt x="2806" y="1170"/>
                    </a:lnTo>
                    <a:lnTo>
                      <a:pt x="2809" y="1180"/>
                    </a:lnTo>
                    <a:lnTo>
                      <a:pt x="2809" y="1182"/>
                    </a:lnTo>
                    <a:lnTo>
                      <a:pt x="2804" y="1182"/>
                    </a:lnTo>
                    <a:lnTo>
                      <a:pt x="2796" y="1178"/>
                    </a:lnTo>
                    <a:lnTo>
                      <a:pt x="2795" y="1189"/>
                    </a:lnTo>
                    <a:lnTo>
                      <a:pt x="2800" y="1196"/>
                    </a:lnTo>
                    <a:lnTo>
                      <a:pt x="2796" y="1201"/>
                    </a:lnTo>
                    <a:lnTo>
                      <a:pt x="2793" y="1215"/>
                    </a:lnTo>
                    <a:lnTo>
                      <a:pt x="2788" y="1222"/>
                    </a:lnTo>
                    <a:lnTo>
                      <a:pt x="2780" y="1222"/>
                    </a:lnTo>
                    <a:lnTo>
                      <a:pt x="2778" y="1229"/>
                    </a:lnTo>
                    <a:lnTo>
                      <a:pt x="2773" y="1231"/>
                    </a:lnTo>
                    <a:lnTo>
                      <a:pt x="2767" y="1228"/>
                    </a:lnTo>
                    <a:lnTo>
                      <a:pt x="2763" y="1237"/>
                    </a:lnTo>
                    <a:lnTo>
                      <a:pt x="2758" y="1229"/>
                    </a:lnTo>
                    <a:lnTo>
                      <a:pt x="2752" y="1227"/>
                    </a:lnTo>
                    <a:lnTo>
                      <a:pt x="2746" y="1221"/>
                    </a:lnTo>
                    <a:lnTo>
                      <a:pt x="2734" y="1216"/>
                    </a:lnTo>
                    <a:lnTo>
                      <a:pt x="2721" y="1205"/>
                    </a:lnTo>
                    <a:lnTo>
                      <a:pt x="2716" y="1209"/>
                    </a:lnTo>
                    <a:lnTo>
                      <a:pt x="2714" y="1195"/>
                    </a:lnTo>
                    <a:lnTo>
                      <a:pt x="2707" y="1204"/>
                    </a:lnTo>
                    <a:lnTo>
                      <a:pt x="2697" y="1205"/>
                    </a:lnTo>
                    <a:lnTo>
                      <a:pt x="2692" y="1200"/>
                    </a:lnTo>
                    <a:lnTo>
                      <a:pt x="2688" y="1204"/>
                    </a:lnTo>
                    <a:lnTo>
                      <a:pt x="2678" y="1204"/>
                    </a:lnTo>
                    <a:lnTo>
                      <a:pt x="2658" y="1195"/>
                    </a:lnTo>
                    <a:lnTo>
                      <a:pt x="2654" y="1189"/>
                    </a:lnTo>
                    <a:lnTo>
                      <a:pt x="2608" y="1167"/>
                    </a:lnTo>
                    <a:lnTo>
                      <a:pt x="2606" y="1170"/>
                    </a:lnTo>
                    <a:lnTo>
                      <a:pt x="2600" y="1182"/>
                    </a:lnTo>
                    <a:lnTo>
                      <a:pt x="2602" y="1189"/>
                    </a:lnTo>
                    <a:lnTo>
                      <a:pt x="2611" y="1195"/>
                    </a:lnTo>
                    <a:lnTo>
                      <a:pt x="2618" y="1191"/>
                    </a:lnTo>
                    <a:lnTo>
                      <a:pt x="2617" y="1186"/>
                    </a:lnTo>
                    <a:lnTo>
                      <a:pt x="2617" y="1180"/>
                    </a:lnTo>
                    <a:lnTo>
                      <a:pt x="2626" y="1189"/>
                    </a:lnTo>
                    <a:lnTo>
                      <a:pt x="2642" y="1194"/>
                    </a:lnTo>
                    <a:lnTo>
                      <a:pt x="2654" y="1200"/>
                    </a:lnTo>
                    <a:lnTo>
                      <a:pt x="2656" y="1205"/>
                    </a:lnTo>
                    <a:lnTo>
                      <a:pt x="2656" y="1211"/>
                    </a:lnTo>
                    <a:lnTo>
                      <a:pt x="2662" y="1202"/>
                    </a:lnTo>
                    <a:lnTo>
                      <a:pt x="2682" y="1209"/>
                    </a:lnTo>
                    <a:lnTo>
                      <a:pt x="2683" y="1215"/>
                    </a:lnTo>
                    <a:lnTo>
                      <a:pt x="2676" y="1220"/>
                    </a:lnTo>
                    <a:lnTo>
                      <a:pt x="2672" y="1227"/>
                    </a:lnTo>
                    <a:lnTo>
                      <a:pt x="2678" y="1228"/>
                    </a:lnTo>
                    <a:lnTo>
                      <a:pt x="2682" y="1220"/>
                    </a:lnTo>
                    <a:lnTo>
                      <a:pt x="2689" y="1213"/>
                    </a:lnTo>
                    <a:lnTo>
                      <a:pt x="2701" y="1211"/>
                    </a:lnTo>
                    <a:lnTo>
                      <a:pt x="2709" y="1215"/>
                    </a:lnTo>
                    <a:lnTo>
                      <a:pt x="2712" y="1222"/>
                    </a:lnTo>
                    <a:lnTo>
                      <a:pt x="2724" y="1233"/>
                    </a:lnTo>
                    <a:lnTo>
                      <a:pt x="2737" y="1237"/>
                    </a:lnTo>
                    <a:lnTo>
                      <a:pt x="2740" y="1242"/>
                    </a:lnTo>
                    <a:lnTo>
                      <a:pt x="2748" y="1238"/>
                    </a:lnTo>
                    <a:lnTo>
                      <a:pt x="2751" y="1243"/>
                    </a:lnTo>
                    <a:lnTo>
                      <a:pt x="2750" y="1248"/>
                    </a:lnTo>
                    <a:lnTo>
                      <a:pt x="2758" y="1258"/>
                    </a:lnTo>
                    <a:lnTo>
                      <a:pt x="2759" y="1264"/>
                    </a:lnTo>
                    <a:lnTo>
                      <a:pt x="2764" y="1287"/>
                    </a:lnTo>
                    <a:lnTo>
                      <a:pt x="2763" y="1298"/>
                    </a:lnTo>
                    <a:lnTo>
                      <a:pt x="2761" y="1304"/>
                    </a:lnTo>
                    <a:lnTo>
                      <a:pt x="2756" y="1311"/>
                    </a:lnTo>
                    <a:lnTo>
                      <a:pt x="2734" y="1311"/>
                    </a:lnTo>
                    <a:lnTo>
                      <a:pt x="2726" y="1318"/>
                    </a:lnTo>
                    <a:lnTo>
                      <a:pt x="2719" y="1322"/>
                    </a:lnTo>
                    <a:lnTo>
                      <a:pt x="2708" y="1323"/>
                    </a:lnTo>
                    <a:lnTo>
                      <a:pt x="2685" y="1320"/>
                    </a:lnTo>
                    <a:lnTo>
                      <a:pt x="2676" y="1323"/>
                    </a:lnTo>
                    <a:lnTo>
                      <a:pt x="2665" y="1319"/>
                    </a:lnTo>
                    <a:lnTo>
                      <a:pt x="2661" y="1326"/>
                    </a:lnTo>
                    <a:lnTo>
                      <a:pt x="2670" y="1341"/>
                    </a:lnTo>
                    <a:lnTo>
                      <a:pt x="2686" y="1340"/>
                    </a:lnTo>
                    <a:lnTo>
                      <a:pt x="2688" y="1347"/>
                    </a:lnTo>
                    <a:lnTo>
                      <a:pt x="2676" y="1351"/>
                    </a:lnTo>
                    <a:lnTo>
                      <a:pt x="2667" y="1347"/>
                    </a:lnTo>
                    <a:lnTo>
                      <a:pt x="2655" y="1349"/>
                    </a:lnTo>
                    <a:lnTo>
                      <a:pt x="2651" y="1368"/>
                    </a:lnTo>
                    <a:lnTo>
                      <a:pt x="2651" y="1379"/>
                    </a:lnTo>
                    <a:lnTo>
                      <a:pt x="2656" y="1410"/>
                    </a:lnTo>
                    <a:lnTo>
                      <a:pt x="2639" y="1390"/>
                    </a:lnTo>
                    <a:lnTo>
                      <a:pt x="2633" y="1393"/>
                    </a:lnTo>
                    <a:lnTo>
                      <a:pt x="2634" y="1400"/>
                    </a:lnTo>
                    <a:lnTo>
                      <a:pt x="2626" y="1406"/>
                    </a:lnTo>
                    <a:lnTo>
                      <a:pt x="2626" y="1414"/>
                    </a:lnTo>
                    <a:lnTo>
                      <a:pt x="2622" y="1421"/>
                    </a:lnTo>
                    <a:lnTo>
                      <a:pt x="2621" y="1426"/>
                    </a:lnTo>
                    <a:lnTo>
                      <a:pt x="2605" y="1426"/>
                    </a:lnTo>
                    <a:lnTo>
                      <a:pt x="2608" y="1437"/>
                    </a:lnTo>
                    <a:lnTo>
                      <a:pt x="2613" y="1441"/>
                    </a:lnTo>
                    <a:lnTo>
                      <a:pt x="2603" y="1459"/>
                    </a:lnTo>
                    <a:lnTo>
                      <a:pt x="2581" y="1475"/>
                    </a:lnTo>
                    <a:lnTo>
                      <a:pt x="2575" y="1482"/>
                    </a:lnTo>
                    <a:lnTo>
                      <a:pt x="2551" y="1484"/>
                    </a:lnTo>
                    <a:lnTo>
                      <a:pt x="2546" y="1489"/>
                    </a:lnTo>
                    <a:lnTo>
                      <a:pt x="2568" y="1506"/>
                    </a:lnTo>
                    <a:lnTo>
                      <a:pt x="2568" y="1512"/>
                    </a:lnTo>
                    <a:lnTo>
                      <a:pt x="2565" y="1524"/>
                    </a:lnTo>
                    <a:lnTo>
                      <a:pt x="2563" y="1538"/>
                    </a:lnTo>
                    <a:lnTo>
                      <a:pt x="2560" y="1544"/>
                    </a:lnTo>
                    <a:lnTo>
                      <a:pt x="2549" y="1548"/>
                    </a:lnTo>
                    <a:lnTo>
                      <a:pt x="2551" y="1573"/>
                    </a:lnTo>
                    <a:lnTo>
                      <a:pt x="2547" y="1583"/>
                    </a:lnTo>
                    <a:lnTo>
                      <a:pt x="2540" y="1584"/>
                    </a:lnTo>
                    <a:lnTo>
                      <a:pt x="2537" y="1589"/>
                    </a:lnTo>
                    <a:lnTo>
                      <a:pt x="2541" y="1605"/>
                    </a:lnTo>
                    <a:lnTo>
                      <a:pt x="2538" y="1632"/>
                    </a:lnTo>
                    <a:lnTo>
                      <a:pt x="2537" y="1642"/>
                    </a:lnTo>
                    <a:lnTo>
                      <a:pt x="2533" y="1675"/>
                    </a:lnTo>
                    <a:lnTo>
                      <a:pt x="2533" y="1702"/>
                    </a:lnTo>
                    <a:lnTo>
                      <a:pt x="2535" y="1718"/>
                    </a:lnTo>
                    <a:lnTo>
                      <a:pt x="2535" y="1729"/>
                    </a:lnTo>
                    <a:lnTo>
                      <a:pt x="2525" y="1747"/>
                    </a:lnTo>
                    <a:lnTo>
                      <a:pt x="2533" y="1749"/>
                    </a:lnTo>
                    <a:lnTo>
                      <a:pt x="2537" y="1758"/>
                    </a:lnTo>
                    <a:lnTo>
                      <a:pt x="2545" y="1770"/>
                    </a:lnTo>
                    <a:lnTo>
                      <a:pt x="2551" y="1776"/>
                    </a:lnTo>
                    <a:lnTo>
                      <a:pt x="2552" y="1776"/>
                    </a:lnTo>
                    <a:lnTo>
                      <a:pt x="2558" y="1772"/>
                    </a:lnTo>
                    <a:lnTo>
                      <a:pt x="2559" y="1779"/>
                    </a:lnTo>
                    <a:lnTo>
                      <a:pt x="2560" y="1802"/>
                    </a:lnTo>
                    <a:lnTo>
                      <a:pt x="2564" y="1797"/>
                    </a:lnTo>
                    <a:lnTo>
                      <a:pt x="2564" y="1775"/>
                    </a:lnTo>
                    <a:lnTo>
                      <a:pt x="2568" y="1772"/>
                    </a:lnTo>
                    <a:lnTo>
                      <a:pt x="2596" y="1772"/>
                    </a:lnTo>
                    <a:lnTo>
                      <a:pt x="2601" y="1776"/>
                    </a:lnTo>
                    <a:lnTo>
                      <a:pt x="2608" y="1776"/>
                    </a:lnTo>
                    <a:lnTo>
                      <a:pt x="2613" y="1774"/>
                    </a:lnTo>
                    <a:lnTo>
                      <a:pt x="2622" y="1779"/>
                    </a:lnTo>
                    <a:lnTo>
                      <a:pt x="2624" y="1785"/>
                    </a:lnTo>
                    <a:lnTo>
                      <a:pt x="2628" y="1812"/>
                    </a:lnTo>
                    <a:lnTo>
                      <a:pt x="2646" y="1856"/>
                    </a:lnTo>
                    <a:lnTo>
                      <a:pt x="2646" y="1876"/>
                    </a:lnTo>
                    <a:lnTo>
                      <a:pt x="2648" y="1890"/>
                    </a:lnTo>
                    <a:lnTo>
                      <a:pt x="2660" y="1909"/>
                    </a:lnTo>
                    <a:lnTo>
                      <a:pt x="2662" y="1936"/>
                    </a:lnTo>
                    <a:lnTo>
                      <a:pt x="2661" y="1944"/>
                    </a:lnTo>
                    <a:lnTo>
                      <a:pt x="2658" y="1953"/>
                    </a:lnTo>
                    <a:lnTo>
                      <a:pt x="2650" y="1959"/>
                    </a:lnTo>
                    <a:lnTo>
                      <a:pt x="2644" y="1964"/>
                    </a:lnTo>
                    <a:lnTo>
                      <a:pt x="2645" y="1966"/>
                    </a:lnTo>
                    <a:lnTo>
                      <a:pt x="2666" y="1955"/>
                    </a:lnTo>
                    <a:lnTo>
                      <a:pt x="2666" y="1964"/>
                    </a:lnTo>
                    <a:lnTo>
                      <a:pt x="2670" y="1964"/>
                    </a:lnTo>
                    <a:lnTo>
                      <a:pt x="2686" y="1952"/>
                    </a:lnTo>
                    <a:lnTo>
                      <a:pt x="2734" y="1930"/>
                    </a:lnTo>
                    <a:lnTo>
                      <a:pt x="2756" y="1936"/>
                    </a:lnTo>
                    <a:lnTo>
                      <a:pt x="2762" y="1942"/>
                    </a:lnTo>
                    <a:lnTo>
                      <a:pt x="2774" y="1948"/>
                    </a:lnTo>
                    <a:lnTo>
                      <a:pt x="2779" y="1957"/>
                    </a:lnTo>
                    <a:lnTo>
                      <a:pt x="2796" y="1964"/>
                    </a:lnTo>
                    <a:lnTo>
                      <a:pt x="2821" y="1976"/>
                    </a:lnTo>
                    <a:lnTo>
                      <a:pt x="2842" y="1977"/>
                    </a:lnTo>
                    <a:lnTo>
                      <a:pt x="2847" y="1980"/>
                    </a:lnTo>
                    <a:lnTo>
                      <a:pt x="2885" y="2006"/>
                    </a:lnTo>
                    <a:lnTo>
                      <a:pt x="2900" y="2012"/>
                    </a:lnTo>
                    <a:lnTo>
                      <a:pt x="2920" y="2043"/>
                    </a:lnTo>
                    <a:lnTo>
                      <a:pt x="2924" y="2049"/>
                    </a:lnTo>
                    <a:lnTo>
                      <a:pt x="2923" y="2056"/>
                    </a:lnTo>
                    <a:lnTo>
                      <a:pt x="2929" y="2061"/>
                    </a:lnTo>
                    <a:lnTo>
                      <a:pt x="2934" y="2057"/>
                    </a:lnTo>
                    <a:lnTo>
                      <a:pt x="2939" y="2060"/>
                    </a:lnTo>
                    <a:lnTo>
                      <a:pt x="2943" y="2065"/>
                    </a:lnTo>
                    <a:lnTo>
                      <a:pt x="2950" y="2066"/>
                    </a:lnTo>
                    <a:lnTo>
                      <a:pt x="2958" y="2065"/>
                    </a:lnTo>
                    <a:lnTo>
                      <a:pt x="2966" y="2066"/>
                    </a:lnTo>
                    <a:lnTo>
                      <a:pt x="2978" y="2076"/>
                    </a:lnTo>
                    <a:lnTo>
                      <a:pt x="3020" y="2089"/>
                    </a:lnTo>
                    <a:lnTo>
                      <a:pt x="3032" y="2099"/>
                    </a:lnTo>
                    <a:lnTo>
                      <a:pt x="3035" y="2106"/>
                    </a:lnTo>
                    <a:lnTo>
                      <a:pt x="3051" y="2116"/>
                    </a:lnTo>
                    <a:lnTo>
                      <a:pt x="3052" y="2122"/>
                    </a:lnTo>
                    <a:lnTo>
                      <a:pt x="3046" y="2137"/>
                    </a:lnTo>
                    <a:lnTo>
                      <a:pt x="3042" y="2149"/>
                    </a:lnTo>
                    <a:lnTo>
                      <a:pt x="3033" y="2169"/>
                    </a:lnTo>
                    <a:lnTo>
                      <a:pt x="3046" y="2148"/>
                    </a:lnTo>
                    <a:lnTo>
                      <a:pt x="3051" y="2136"/>
                    </a:lnTo>
                    <a:lnTo>
                      <a:pt x="3056" y="2127"/>
                    </a:lnTo>
                    <a:lnTo>
                      <a:pt x="3112" y="2126"/>
                    </a:lnTo>
                    <a:lnTo>
                      <a:pt x="3139" y="2132"/>
                    </a:lnTo>
                    <a:lnTo>
                      <a:pt x="3160" y="2130"/>
                    </a:lnTo>
                    <a:lnTo>
                      <a:pt x="3166" y="2131"/>
                    </a:lnTo>
                    <a:lnTo>
                      <a:pt x="3171" y="2127"/>
                    </a:lnTo>
                    <a:lnTo>
                      <a:pt x="3182" y="2130"/>
                    </a:lnTo>
                    <a:lnTo>
                      <a:pt x="3185" y="2137"/>
                    </a:lnTo>
                    <a:lnTo>
                      <a:pt x="3193" y="2136"/>
                    </a:lnTo>
                    <a:lnTo>
                      <a:pt x="3203" y="2140"/>
                    </a:lnTo>
                    <a:lnTo>
                      <a:pt x="3210" y="2145"/>
                    </a:lnTo>
                    <a:lnTo>
                      <a:pt x="3216" y="2141"/>
                    </a:lnTo>
                    <a:lnTo>
                      <a:pt x="3221" y="2165"/>
                    </a:lnTo>
                    <a:lnTo>
                      <a:pt x="3219" y="2199"/>
                    </a:lnTo>
                    <a:lnTo>
                      <a:pt x="3214" y="2217"/>
                    </a:lnTo>
                    <a:lnTo>
                      <a:pt x="3213" y="2235"/>
                    </a:lnTo>
                    <a:lnTo>
                      <a:pt x="3219" y="2246"/>
                    </a:lnTo>
                    <a:lnTo>
                      <a:pt x="3221" y="2258"/>
                    </a:lnTo>
                    <a:lnTo>
                      <a:pt x="3221" y="2281"/>
                    </a:lnTo>
                    <a:lnTo>
                      <a:pt x="3225" y="2314"/>
                    </a:lnTo>
                    <a:lnTo>
                      <a:pt x="3219" y="2321"/>
                    </a:lnTo>
                    <a:lnTo>
                      <a:pt x="3219" y="2341"/>
                    </a:lnTo>
                    <a:lnTo>
                      <a:pt x="3223" y="2348"/>
                    </a:lnTo>
                    <a:lnTo>
                      <a:pt x="3228" y="2352"/>
                    </a:lnTo>
                    <a:lnTo>
                      <a:pt x="3230" y="2358"/>
                    </a:lnTo>
                    <a:lnTo>
                      <a:pt x="3239" y="2369"/>
                    </a:lnTo>
                    <a:lnTo>
                      <a:pt x="3247" y="2373"/>
                    </a:lnTo>
                    <a:lnTo>
                      <a:pt x="3255" y="2382"/>
                    </a:lnTo>
                    <a:lnTo>
                      <a:pt x="3259" y="2393"/>
                    </a:lnTo>
                    <a:lnTo>
                      <a:pt x="3267" y="2402"/>
                    </a:lnTo>
                    <a:lnTo>
                      <a:pt x="3267" y="2405"/>
                    </a:lnTo>
                    <a:lnTo>
                      <a:pt x="3253" y="2406"/>
                    </a:lnTo>
                    <a:lnTo>
                      <a:pt x="3234" y="2418"/>
                    </a:lnTo>
                    <a:lnTo>
                      <a:pt x="3229" y="2423"/>
                    </a:lnTo>
                    <a:lnTo>
                      <a:pt x="3229" y="2425"/>
                    </a:lnTo>
                    <a:lnTo>
                      <a:pt x="3262" y="2416"/>
                    </a:lnTo>
                    <a:lnTo>
                      <a:pt x="3272" y="2417"/>
                    </a:lnTo>
                    <a:lnTo>
                      <a:pt x="3279" y="2421"/>
                    </a:lnTo>
                    <a:lnTo>
                      <a:pt x="3307" y="2450"/>
                    </a:lnTo>
                    <a:lnTo>
                      <a:pt x="3312" y="2459"/>
                    </a:lnTo>
                    <a:lnTo>
                      <a:pt x="3317" y="2477"/>
                    </a:lnTo>
                    <a:lnTo>
                      <a:pt x="3314" y="2486"/>
                    </a:lnTo>
                    <a:lnTo>
                      <a:pt x="3289" y="2514"/>
                    </a:lnTo>
                    <a:lnTo>
                      <a:pt x="3314" y="2495"/>
                    </a:lnTo>
                    <a:lnTo>
                      <a:pt x="3318" y="2488"/>
                    </a:lnTo>
                    <a:lnTo>
                      <a:pt x="3323" y="2488"/>
                    </a:lnTo>
                    <a:lnTo>
                      <a:pt x="3337" y="2500"/>
                    </a:lnTo>
                    <a:lnTo>
                      <a:pt x="3344" y="2501"/>
                    </a:lnTo>
                    <a:lnTo>
                      <a:pt x="3359" y="2512"/>
                    </a:lnTo>
                    <a:lnTo>
                      <a:pt x="3363" y="2509"/>
                    </a:lnTo>
                    <a:lnTo>
                      <a:pt x="3360" y="2482"/>
                    </a:lnTo>
                    <a:lnTo>
                      <a:pt x="3363" y="2476"/>
                    </a:lnTo>
                    <a:lnTo>
                      <a:pt x="3370" y="2476"/>
                    </a:lnTo>
                    <a:lnTo>
                      <a:pt x="3370" y="2470"/>
                    </a:lnTo>
                    <a:lnTo>
                      <a:pt x="3371" y="2464"/>
                    </a:lnTo>
                    <a:lnTo>
                      <a:pt x="3379" y="2461"/>
                    </a:lnTo>
                    <a:lnTo>
                      <a:pt x="3386" y="2461"/>
                    </a:lnTo>
                    <a:lnTo>
                      <a:pt x="3386" y="2466"/>
                    </a:lnTo>
                    <a:lnTo>
                      <a:pt x="3399" y="2475"/>
                    </a:lnTo>
                    <a:lnTo>
                      <a:pt x="3402" y="2495"/>
                    </a:lnTo>
                    <a:lnTo>
                      <a:pt x="3408" y="2493"/>
                    </a:lnTo>
                    <a:lnTo>
                      <a:pt x="3415" y="2487"/>
                    </a:lnTo>
                    <a:lnTo>
                      <a:pt x="3415" y="2481"/>
                    </a:lnTo>
                    <a:lnTo>
                      <a:pt x="3419" y="2477"/>
                    </a:lnTo>
                    <a:lnTo>
                      <a:pt x="3420" y="2470"/>
                    </a:lnTo>
                    <a:lnTo>
                      <a:pt x="3412" y="2468"/>
                    </a:lnTo>
                    <a:lnTo>
                      <a:pt x="3401" y="2450"/>
                    </a:lnTo>
                    <a:lnTo>
                      <a:pt x="3399" y="2443"/>
                    </a:lnTo>
                    <a:lnTo>
                      <a:pt x="3412" y="2442"/>
                    </a:lnTo>
                    <a:lnTo>
                      <a:pt x="3412" y="2437"/>
                    </a:lnTo>
                    <a:lnTo>
                      <a:pt x="3420" y="2432"/>
                    </a:lnTo>
                    <a:lnTo>
                      <a:pt x="3424" y="2421"/>
                    </a:lnTo>
                    <a:lnTo>
                      <a:pt x="3429" y="2415"/>
                    </a:lnTo>
                    <a:lnTo>
                      <a:pt x="3435" y="2410"/>
                    </a:lnTo>
                    <a:lnTo>
                      <a:pt x="3454" y="2411"/>
                    </a:lnTo>
                    <a:lnTo>
                      <a:pt x="3460" y="2407"/>
                    </a:lnTo>
                    <a:lnTo>
                      <a:pt x="3460" y="2405"/>
                    </a:lnTo>
                    <a:lnTo>
                      <a:pt x="3444" y="2407"/>
                    </a:lnTo>
                    <a:lnTo>
                      <a:pt x="3436" y="2406"/>
                    </a:lnTo>
                    <a:lnTo>
                      <a:pt x="3429" y="2400"/>
                    </a:lnTo>
                    <a:lnTo>
                      <a:pt x="3427" y="2391"/>
                    </a:lnTo>
                    <a:lnTo>
                      <a:pt x="3424" y="2387"/>
                    </a:lnTo>
                    <a:lnTo>
                      <a:pt x="3417" y="2383"/>
                    </a:lnTo>
                    <a:lnTo>
                      <a:pt x="3411" y="2364"/>
                    </a:lnTo>
                    <a:lnTo>
                      <a:pt x="3414" y="2361"/>
                    </a:lnTo>
                    <a:lnTo>
                      <a:pt x="3415" y="2356"/>
                    </a:lnTo>
                    <a:lnTo>
                      <a:pt x="3411" y="2353"/>
                    </a:lnTo>
                    <a:lnTo>
                      <a:pt x="3407" y="2309"/>
                    </a:lnTo>
                    <a:lnTo>
                      <a:pt x="3404" y="2299"/>
                    </a:lnTo>
                    <a:lnTo>
                      <a:pt x="3403" y="2274"/>
                    </a:lnTo>
                    <a:lnTo>
                      <a:pt x="3404" y="2264"/>
                    </a:lnTo>
                    <a:lnTo>
                      <a:pt x="3402" y="2251"/>
                    </a:lnTo>
                    <a:lnTo>
                      <a:pt x="3399" y="2242"/>
                    </a:lnTo>
                    <a:lnTo>
                      <a:pt x="3391" y="2232"/>
                    </a:lnTo>
                    <a:lnTo>
                      <a:pt x="3379" y="2206"/>
                    </a:lnTo>
                    <a:lnTo>
                      <a:pt x="3374" y="2200"/>
                    </a:lnTo>
                    <a:lnTo>
                      <a:pt x="3366" y="2197"/>
                    </a:lnTo>
                    <a:lnTo>
                      <a:pt x="3361" y="2195"/>
                    </a:lnTo>
                    <a:lnTo>
                      <a:pt x="3380" y="2186"/>
                    </a:lnTo>
                    <a:lnTo>
                      <a:pt x="3407" y="2169"/>
                    </a:lnTo>
                    <a:lnTo>
                      <a:pt x="3422" y="2162"/>
                    </a:lnTo>
                    <a:lnTo>
                      <a:pt x="3449" y="2140"/>
                    </a:lnTo>
                    <a:lnTo>
                      <a:pt x="3461" y="2132"/>
                    </a:lnTo>
                    <a:lnTo>
                      <a:pt x="3476" y="2119"/>
                    </a:lnTo>
                    <a:lnTo>
                      <a:pt x="3489" y="2104"/>
                    </a:lnTo>
                    <a:lnTo>
                      <a:pt x="3476" y="2114"/>
                    </a:lnTo>
                    <a:lnTo>
                      <a:pt x="3492" y="2092"/>
                    </a:lnTo>
                    <a:lnTo>
                      <a:pt x="3513" y="2055"/>
                    </a:lnTo>
                    <a:lnTo>
                      <a:pt x="3519" y="2041"/>
                    </a:lnTo>
                    <a:lnTo>
                      <a:pt x="3524" y="2036"/>
                    </a:lnTo>
                    <a:lnTo>
                      <a:pt x="3532" y="2038"/>
                    </a:lnTo>
                    <a:lnTo>
                      <a:pt x="3541" y="2045"/>
                    </a:lnTo>
                    <a:lnTo>
                      <a:pt x="3551" y="2040"/>
                    </a:lnTo>
                    <a:lnTo>
                      <a:pt x="3554" y="2032"/>
                    </a:lnTo>
                    <a:lnTo>
                      <a:pt x="3548" y="2030"/>
                    </a:lnTo>
                    <a:lnTo>
                      <a:pt x="3543" y="2007"/>
                    </a:lnTo>
                    <a:lnTo>
                      <a:pt x="3540" y="2001"/>
                    </a:lnTo>
                    <a:lnTo>
                      <a:pt x="3531" y="2022"/>
                    </a:lnTo>
                    <a:lnTo>
                      <a:pt x="3527" y="2030"/>
                    </a:lnTo>
                    <a:lnTo>
                      <a:pt x="3525" y="2027"/>
                    </a:lnTo>
                    <a:lnTo>
                      <a:pt x="3524" y="2005"/>
                    </a:lnTo>
                    <a:lnTo>
                      <a:pt x="3521" y="1980"/>
                    </a:lnTo>
                    <a:lnTo>
                      <a:pt x="3517" y="1959"/>
                    </a:lnTo>
                    <a:lnTo>
                      <a:pt x="3514" y="1953"/>
                    </a:lnTo>
                    <a:lnTo>
                      <a:pt x="3511" y="1947"/>
                    </a:lnTo>
                    <a:lnTo>
                      <a:pt x="3510" y="1927"/>
                    </a:lnTo>
                    <a:lnTo>
                      <a:pt x="3500" y="1892"/>
                    </a:lnTo>
                    <a:lnTo>
                      <a:pt x="3492" y="1861"/>
                    </a:lnTo>
                    <a:lnTo>
                      <a:pt x="3490" y="1849"/>
                    </a:lnTo>
                    <a:lnTo>
                      <a:pt x="3483" y="1835"/>
                    </a:lnTo>
                    <a:lnTo>
                      <a:pt x="3483" y="1829"/>
                    </a:lnTo>
                    <a:lnTo>
                      <a:pt x="3482" y="1825"/>
                    </a:lnTo>
                    <a:lnTo>
                      <a:pt x="3472" y="1826"/>
                    </a:lnTo>
                    <a:lnTo>
                      <a:pt x="3454" y="1815"/>
                    </a:lnTo>
                    <a:lnTo>
                      <a:pt x="3449" y="1809"/>
                    </a:lnTo>
                    <a:lnTo>
                      <a:pt x="3428" y="1793"/>
                    </a:lnTo>
                    <a:lnTo>
                      <a:pt x="3413" y="1777"/>
                    </a:lnTo>
                    <a:lnTo>
                      <a:pt x="3411" y="1771"/>
                    </a:lnTo>
                    <a:lnTo>
                      <a:pt x="3414" y="1767"/>
                    </a:lnTo>
                    <a:lnTo>
                      <a:pt x="3412" y="1760"/>
                    </a:lnTo>
                    <a:lnTo>
                      <a:pt x="3411" y="1749"/>
                    </a:lnTo>
                    <a:lnTo>
                      <a:pt x="3413" y="1740"/>
                    </a:lnTo>
                    <a:lnTo>
                      <a:pt x="3419" y="1739"/>
                    </a:lnTo>
                    <a:lnTo>
                      <a:pt x="3433" y="1729"/>
                    </a:lnTo>
                    <a:lnTo>
                      <a:pt x="3451" y="1729"/>
                    </a:lnTo>
                    <a:lnTo>
                      <a:pt x="3455" y="1723"/>
                    </a:lnTo>
                    <a:lnTo>
                      <a:pt x="3471" y="1722"/>
                    </a:lnTo>
                    <a:lnTo>
                      <a:pt x="3471" y="1708"/>
                    </a:lnTo>
                    <a:lnTo>
                      <a:pt x="3465" y="1705"/>
                    </a:lnTo>
                    <a:lnTo>
                      <a:pt x="3465" y="1695"/>
                    </a:lnTo>
                    <a:lnTo>
                      <a:pt x="3470" y="1683"/>
                    </a:lnTo>
                    <a:lnTo>
                      <a:pt x="3483" y="1688"/>
                    </a:lnTo>
                    <a:lnTo>
                      <a:pt x="3487" y="1691"/>
                    </a:lnTo>
                    <a:lnTo>
                      <a:pt x="3508" y="1686"/>
                    </a:lnTo>
                    <a:lnTo>
                      <a:pt x="3492" y="1681"/>
                    </a:lnTo>
                    <a:lnTo>
                      <a:pt x="3487" y="1675"/>
                    </a:lnTo>
                    <a:lnTo>
                      <a:pt x="3487" y="1664"/>
                    </a:lnTo>
                    <a:lnTo>
                      <a:pt x="3489" y="1658"/>
                    </a:lnTo>
                    <a:lnTo>
                      <a:pt x="3493" y="1658"/>
                    </a:lnTo>
                    <a:lnTo>
                      <a:pt x="3500" y="1643"/>
                    </a:lnTo>
                    <a:lnTo>
                      <a:pt x="3493" y="1648"/>
                    </a:lnTo>
                    <a:lnTo>
                      <a:pt x="3471" y="1645"/>
                    </a:lnTo>
                    <a:lnTo>
                      <a:pt x="3471" y="1635"/>
                    </a:lnTo>
                    <a:lnTo>
                      <a:pt x="3476" y="1637"/>
                    </a:lnTo>
                    <a:lnTo>
                      <a:pt x="3482" y="1634"/>
                    </a:lnTo>
                    <a:lnTo>
                      <a:pt x="3483" y="1625"/>
                    </a:lnTo>
                    <a:lnTo>
                      <a:pt x="3477" y="1616"/>
                    </a:lnTo>
                    <a:lnTo>
                      <a:pt x="3476" y="1615"/>
                    </a:lnTo>
                    <a:lnTo>
                      <a:pt x="3467" y="1597"/>
                    </a:lnTo>
                    <a:lnTo>
                      <a:pt x="3472" y="1578"/>
                    </a:lnTo>
                    <a:lnTo>
                      <a:pt x="3466" y="1576"/>
                    </a:lnTo>
                    <a:lnTo>
                      <a:pt x="3465" y="1568"/>
                    </a:lnTo>
                    <a:lnTo>
                      <a:pt x="3483" y="1562"/>
                    </a:lnTo>
                    <a:lnTo>
                      <a:pt x="3483" y="1561"/>
                    </a:lnTo>
                    <a:lnTo>
                      <a:pt x="3473" y="1561"/>
                    </a:lnTo>
                    <a:lnTo>
                      <a:pt x="3468" y="1556"/>
                    </a:lnTo>
                    <a:lnTo>
                      <a:pt x="3460" y="1561"/>
                    </a:lnTo>
                    <a:lnTo>
                      <a:pt x="3452" y="1559"/>
                    </a:lnTo>
                    <a:lnTo>
                      <a:pt x="3445" y="1550"/>
                    </a:lnTo>
                    <a:lnTo>
                      <a:pt x="3445" y="1539"/>
                    </a:lnTo>
                    <a:lnTo>
                      <a:pt x="3456" y="1523"/>
                    </a:lnTo>
                    <a:lnTo>
                      <a:pt x="3461" y="1505"/>
                    </a:lnTo>
                    <a:lnTo>
                      <a:pt x="3467" y="1500"/>
                    </a:lnTo>
                    <a:lnTo>
                      <a:pt x="3467" y="1486"/>
                    </a:lnTo>
                    <a:lnTo>
                      <a:pt x="3471" y="1485"/>
                    </a:lnTo>
                    <a:lnTo>
                      <a:pt x="3476" y="1478"/>
                    </a:lnTo>
                    <a:lnTo>
                      <a:pt x="3476" y="1468"/>
                    </a:lnTo>
                    <a:lnTo>
                      <a:pt x="3483" y="1465"/>
                    </a:lnTo>
                    <a:lnTo>
                      <a:pt x="3485" y="1447"/>
                    </a:lnTo>
                    <a:lnTo>
                      <a:pt x="3481" y="1454"/>
                    </a:lnTo>
                    <a:lnTo>
                      <a:pt x="3472" y="1457"/>
                    </a:lnTo>
                    <a:lnTo>
                      <a:pt x="3466" y="1452"/>
                    </a:lnTo>
                    <a:lnTo>
                      <a:pt x="3458" y="1449"/>
                    </a:lnTo>
                    <a:lnTo>
                      <a:pt x="3449" y="1441"/>
                    </a:lnTo>
                    <a:lnTo>
                      <a:pt x="3447" y="1428"/>
                    </a:lnTo>
                    <a:lnTo>
                      <a:pt x="3442" y="1419"/>
                    </a:lnTo>
                    <a:lnTo>
                      <a:pt x="3441" y="1404"/>
                    </a:lnTo>
                    <a:lnTo>
                      <a:pt x="3441" y="1392"/>
                    </a:lnTo>
                    <a:lnTo>
                      <a:pt x="3442" y="1387"/>
                    </a:lnTo>
                    <a:lnTo>
                      <a:pt x="3454" y="1379"/>
                    </a:lnTo>
                    <a:lnTo>
                      <a:pt x="3466" y="1360"/>
                    </a:lnTo>
                    <a:lnTo>
                      <a:pt x="3474" y="1350"/>
                    </a:lnTo>
                    <a:lnTo>
                      <a:pt x="3481" y="1347"/>
                    </a:lnTo>
                    <a:lnTo>
                      <a:pt x="3481" y="1355"/>
                    </a:lnTo>
                    <a:lnTo>
                      <a:pt x="3490" y="1354"/>
                    </a:lnTo>
                    <a:lnTo>
                      <a:pt x="3516" y="1355"/>
                    </a:lnTo>
                    <a:lnTo>
                      <a:pt x="3547" y="1362"/>
                    </a:lnTo>
                    <a:lnTo>
                      <a:pt x="3552" y="1367"/>
                    </a:lnTo>
                    <a:lnTo>
                      <a:pt x="3553" y="1369"/>
                    </a:lnTo>
                    <a:lnTo>
                      <a:pt x="3562" y="1374"/>
                    </a:lnTo>
                    <a:lnTo>
                      <a:pt x="3579" y="1377"/>
                    </a:lnTo>
                    <a:lnTo>
                      <a:pt x="3586" y="1379"/>
                    </a:lnTo>
                    <a:lnTo>
                      <a:pt x="3583" y="1388"/>
                    </a:lnTo>
                    <a:lnTo>
                      <a:pt x="3585" y="1390"/>
                    </a:lnTo>
                    <a:lnTo>
                      <a:pt x="3596" y="1383"/>
                    </a:lnTo>
                    <a:lnTo>
                      <a:pt x="3612" y="1383"/>
                    </a:lnTo>
                    <a:lnTo>
                      <a:pt x="3616" y="1389"/>
                    </a:lnTo>
                    <a:lnTo>
                      <a:pt x="3613" y="1397"/>
                    </a:lnTo>
                    <a:lnTo>
                      <a:pt x="3633" y="1395"/>
                    </a:lnTo>
                    <a:lnTo>
                      <a:pt x="3630" y="1390"/>
                    </a:lnTo>
                    <a:lnTo>
                      <a:pt x="3637" y="1384"/>
                    </a:lnTo>
                    <a:lnTo>
                      <a:pt x="3670" y="1373"/>
                    </a:lnTo>
                    <a:lnTo>
                      <a:pt x="3682" y="1361"/>
                    </a:lnTo>
                    <a:lnTo>
                      <a:pt x="3715" y="1378"/>
                    </a:lnTo>
                    <a:lnTo>
                      <a:pt x="3724" y="1390"/>
                    </a:lnTo>
                    <a:lnTo>
                      <a:pt x="3739" y="1397"/>
                    </a:lnTo>
                    <a:lnTo>
                      <a:pt x="3748" y="1398"/>
                    </a:lnTo>
                    <a:lnTo>
                      <a:pt x="3751" y="1403"/>
                    </a:lnTo>
                    <a:lnTo>
                      <a:pt x="3752" y="1411"/>
                    </a:lnTo>
                    <a:lnTo>
                      <a:pt x="3740" y="1438"/>
                    </a:lnTo>
                    <a:lnTo>
                      <a:pt x="3743" y="1435"/>
                    </a:lnTo>
                    <a:lnTo>
                      <a:pt x="3751" y="1437"/>
                    </a:lnTo>
                    <a:lnTo>
                      <a:pt x="3753" y="1433"/>
                    </a:lnTo>
                    <a:lnTo>
                      <a:pt x="3753" y="1422"/>
                    </a:lnTo>
                    <a:lnTo>
                      <a:pt x="3759" y="1421"/>
                    </a:lnTo>
                    <a:lnTo>
                      <a:pt x="3769" y="1425"/>
                    </a:lnTo>
                    <a:lnTo>
                      <a:pt x="3769" y="1441"/>
                    </a:lnTo>
                    <a:lnTo>
                      <a:pt x="3775" y="1448"/>
                    </a:lnTo>
                    <a:lnTo>
                      <a:pt x="3778" y="1455"/>
                    </a:lnTo>
                    <a:lnTo>
                      <a:pt x="3770" y="1460"/>
                    </a:lnTo>
                    <a:lnTo>
                      <a:pt x="3772" y="1469"/>
                    </a:lnTo>
                    <a:lnTo>
                      <a:pt x="3782" y="1465"/>
                    </a:lnTo>
                    <a:lnTo>
                      <a:pt x="3784" y="1458"/>
                    </a:lnTo>
                    <a:lnTo>
                      <a:pt x="3793" y="1455"/>
                    </a:lnTo>
                    <a:lnTo>
                      <a:pt x="3801" y="1458"/>
                    </a:lnTo>
                    <a:lnTo>
                      <a:pt x="3807" y="1464"/>
                    </a:lnTo>
                    <a:lnTo>
                      <a:pt x="3802" y="1471"/>
                    </a:lnTo>
                    <a:lnTo>
                      <a:pt x="3798" y="1474"/>
                    </a:lnTo>
                    <a:lnTo>
                      <a:pt x="3791" y="1479"/>
                    </a:lnTo>
                    <a:lnTo>
                      <a:pt x="3791" y="1489"/>
                    </a:lnTo>
                    <a:lnTo>
                      <a:pt x="3794" y="1495"/>
                    </a:lnTo>
                    <a:lnTo>
                      <a:pt x="3799" y="1501"/>
                    </a:lnTo>
                    <a:lnTo>
                      <a:pt x="3807" y="1503"/>
                    </a:lnTo>
                    <a:lnTo>
                      <a:pt x="3805" y="1511"/>
                    </a:lnTo>
                    <a:lnTo>
                      <a:pt x="3806" y="1514"/>
                    </a:lnTo>
                    <a:lnTo>
                      <a:pt x="3823" y="1511"/>
                    </a:lnTo>
                    <a:lnTo>
                      <a:pt x="3834" y="1513"/>
                    </a:lnTo>
                    <a:lnTo>
                      <a:pt x="3837" y="1523"/>
                    </a:lnTo>
                    <a:lnTo>
                      <a:pt x="3843" y="1532"/>
                    </a:lnTo>
                    <a:lnTo>
                      <a:pt x="3849" y="1524"/>
                    </a:lnTo>
                    <a:lnTo>
                      <a:pt x="3864" y="1529"/>
                    </a:lnTo>
                    <a:lnTo>
                      <a:pt x="3877" y="1523"/>
                    </a:lnTo>
                    <a:lnTo>
                      <a:pt x="3882" y="1529"/>
                    </a:lnTo>
                    <a:lnTo>
                      <a:pt x="3884" y="1537"/>
                    </a:lnTo>
                    <a:lnTo>
                      <a:pt x="3884" y="1544"/>
                    </a:lnTo>
                    <a:lnTo>
                      <a:pt x="3888" y="1545"/>
                    </a:lnTo>
                    <a:lnTo>
                      <a:pt x="3908" y="1535"/>
                    </a:lnTo>
                    <a:lnTo>
                      <a:pt x="3907" y="1528"/>
                    </a:lnTo>
                    <a:lnTo>
                      <a:pt x="3914" y="1524"/>
                    </a:lnTo>
                    <a:lnTo>
                      <a:pt x="3925" y="1541"/>
                    </a:lnTo>
                    <a:lnTo>
                      <a:pt x="3926" y="1548"/>
                    </a:lnTo>
                    <a:lnTo>
                      <a:pt x="3925" y="1553"/>
                    </a:lnTo>
                    <a:lnTo>
                      <a:pt x="3920" y="1560"/>
                    </a:lnTo>
                    <a:lnTo>
                      <a:pt x="3912" y="1566"/>
                    </a:lnTo>
                    <a:lnTo>
                      <a:pt x="3912" y="1575"/>
                    </a:lnTo>
                    <a:lnTo>
                      <a:pt x="3909" y="1584"/>
                    </a:lnTo>
                    <a:lnTo>
                      <a:pt x="3912" y="1592"/>
                    </a:lnTo>
                    <a:lnTo>
                      <a:pt x="3911" y="1598"/>
                    </a:lnTo>
                    <a:lnTo>
                      <a:pt x="3915" y="1599"/>
                    </a:lnTo>
                    <a:lnTo>
                      <a:pt x="3918" y="1615"/>
                    </a:lnTo>
                    <a:lnTo>
                      <a:pt x="3926" y="1632"/>
                    </a:lnTo>
                    <a:lnTo>
                      <a:pt x="3913" y="1634"/>
                    </a:lnTo>
                    <a:lnTo>
                      <a:pt x="3912" y="1638"/>
                    </a:lnTo>
                    <a:lnTo>
                      <a:pt x="3908" y="1642"/>
                    </a:lnTo>
                    <a:lnTo>
                      <a:pt x="3896" y="1642"/>
                    </a:lnTo>
                    <a:lnTo>
                      <a:pt x="3887" y="1640"/>
                    </a:lnTo>
                    <a:lnTo>
                      <a:pt x="3869" y="1641"/>
                    </a:lnTo>
                    <a:lnTo>
                      <a:pt x="3853" y="1638"/>
                    </a:lnTo>
                    <a:lnTo>
                      <a:pt x="3842" y="1631"/>
                    </a:lnTo>
                    <a:lnTo>
                      <a:pt x="3831" y="1632"/>
                    </a:lnTo>
                    <a:lnTo>
                      <a:pt x="3826" y="1636"/>
                    </a:lnTo>
                    <a:lnTo>
                      <a:pt x="3845" y="1638"/>
                    </a:lnTo>
                    <a:lnTo>
                      <a:pt x="3863" y="1650"/>
                    </a:lnTo>
                    <a:lnTo>
                      <a:pt x="3899" y="1648"/>
                    </a:lnTo>
                    <a:lnTo>
                      <a:pt x="3912" y="1653"/>
                    </a:lnTo>
                    <a:lnTo>
                      <a:pt x="3924" y="1664"/>
                    </a:lnTo>
                    <a:lnTo>
                      <a:pt x="3926" y="1674"/>
                    </a:lnTo>
                    <a:lnTo>
                      <a:pt x="3924" y="1677"/>
                    </a:lnTo>
                    <a:lnTo>
                      <a:pt x="3926" y="1683"/>
                    </a:lnTo>
                    <a:lnTo>
                      <a:pt x="3913" y="1713"/>
                    </a:lnTo>
                    <a:lnTo>
                      <a:pt x="3915" y="1717"/>
                    </a:lnTo>
                    <a:lnTo>
                      <a:pt x="3931" y="1712"/>
                    </a:lnTo>
                    <a:lnTo>
                      <a:pt x="3938" y="1717"/>
                    </a:lnTo>
                    <a:lnTo>
                      <a:pt x="3935" y="1722"/>
                    </a:lnTo>
                    <a:lnTo>
                      <a:pt x="3923" y="1731"/>
                    </a:lnTo>
                    <a:lnTo>
                      <a:pt x="3924" y="1736"/>
                    </a:lnTo>
                    <a:lnTo>
                      <a:pt x="3934" y="1736"/>
                    </a:lnTo>
                    <a:lnTo>
                      <a:pt x="3938" y="1743"/>
                    </a:lnTo>
                    <a:lnTo>
                      <a:pt x="3938" y="1748"/>
                    </a:lnTo>
                    <a:lnTo>
                      <a:pt x="3935" y="1751"/>
                    </a:lnTo>
                    <a:lnTo>
                      <a:pt x="3931" y="1750"/>
                    </a:lnTo>
                    <a:lnTo>
                      <a:pt x="3930" y="1748"/>
                    </a:lnTo>
                    <a:lnTo>
                      <a:pt x="3924" y="1755"/>
                    </a:lnTo>
                    <a:lnTo>
                      <a:pt x="3912" y="1766"/>
                    </a:lnTo>
                    <a:lnTo>
                      <a:pt x="3909" y="1755"/>
                    </a:lnTo>
                    <a:lnTo>
                      <a:pt x="3903" y="1749"/>
                    </a:lnTo>
                    <a:lnTo>
                      <a:pt x="3893" y="1750"/>
                    </a:lnTo>
                    <a:lnTo>
                      <a:pt x="3899" y="1764"/>
                    </a:lnTo>
                    <a:lnTo>
                      <a:pt x="3899" y="1770"/>
                    </a:lnTo>
                    <a:lnTo>
                      <a:pt x="3879" y="1774"/>
                    </a:lnTo>
                    <a:lnTo>
                      <a:pt x="3885" y="1779"/>
                    </a:lnTo>
                    <a:lnTo>
                      <a:pt x="3895" y="1779"/>
                    </a:lnTo>
                    <a:lnTo>
                      <a:pt x="3901" y="1780"/>
                    </a:lnTo>
                    <a:lnTo>
                      <a:pt x="3907" y="1787"/>
                    </a:lnTo>
                    <a:lnTo>
                      <a:pt x="3924" y="1770"/>
                    </a:lnTo>
                    <a:lnTo>
                      <a:pt x="3931" y="1765"/>
                    </a:lnTo>
                    <a:lnTo>
                      <a:pt x="3945" y="1765"/>
                    </a:lnTo>
                    <a:lnTo>
                      <a:pt x="3956" y="1761"/>
                    </a:lnTo>
                    <a:lnTo>
                      <a:pt x="3969" y="1760"/>
                    </a:lnTo>
                    <a:lnTo>
                      <a:pt x="3979" y="1764"/>
                    </a:lnTo>
                    <a:lnTo>
                      <a:pt x="3985" y="1788"/>
                    </a:lnTo>
                    <a:lnTo>
                      <a:pt x="3990" y="1793"/>
                    </a:lnTo>
                    <a:lnTo>
                      <a:pt x="3992" y="1808"/>
                    </a:lnTo>
                    <a:lnTo>
                      <a:pt x="3987" y="1839"/>
                    </a:lnTo>
                    <a:lnTo>
                      <a:pt x="3972" y="1851"/>
                    </a:lnTo>
                    <a:lnTo>
                      <a:pt x="3934" y="1872"/>
                    </a:lnTo>
                    <a:lnTo>
                      <a:pt x="3966" y="1860"/>
                    </a:lnTo>
                    <a:lnTo>
                      <a:pt x="3987" y="1844"/>
                    </a:lnTo>
                    <a:lnTo>
                      <a:pt x="3994" y="1829"/>
                    </a:lnTo>
                    <a:lnTo>
                      <a:pt x="4000" y="1802"/>
                    </a:lnTo>
                    <a:lnTo>
                      <a:pt x="4008" y="1791"/>
                    </a:lnTo>
                    <a:lnTo>
                      <a:pt x="4008" y="1812"/>
                    </a:lnTo>
                    <a:lnTo>
                      <a:pt x="4005" y="1818"/>
                    </a:lnTo>
                    <a:lnTo>
                      <a:pt x="4015" y="1807"/>
                    </a:lnTo>
                    <a:lnTo>
                      <a:pt x="4017" y="1817"/>
                    </a:lnTo>
                    <a:lnTo>
                      <a:pt x="4015" y="1825"/>
                    </a:lnTo>
                    <a:lnTo>
                      <a:pt x="4016" y="1840"/>
                    </a:lnTo>
                    <a:lnTo>
                      <a:pt x="4019" y="1844"/>
                    </a:lnTo>
                    <a:lnTo>
                      <a:pt x="4026" y="1828"/>
                    </a:lnTo>
                    <a:lnTo>
                      <a:pt x="4055" y="1808"/>
                    </a:lnTo>
                    <a:lnTo>
                      <a:pt x="4078" y="1802"/>
                    </a:lnTo>
                    <a:lnTo>
                      <a:pt x="4079" y="1788"/>
                    </a:lnTo>
                    <a:lnTo>
                      <a:pt x="4085" y="1775"/>
                    </a:lnTo>
                    <a:lnTo>
                      <a:pt x="4091" y="1766"/>
                    </a:lnTo>
                    <a:lnTo>
                      <a:pt x="4100" y="1775"/>
                    </a:lnTo>
                    <a:lnTo>
                      <a:pt x="4112" y="1781"/>
                    </a:lnTo>
                    <a:lnTo>
                      <a:pt x="4116" y="1791"/>
                    </a:lnTo>
                    <a:lnTo>
                      <a:pt x="4111" y="1809"/>
                    </a:lnTo>
                    <a:lnTo>
                      <a:pt x="4114" y="1803"/>
                    </a:lnTo>
                    <a:lnTo>
                      <a:pt x="4123" y="1782"/>
                    </a:lnTo>
                    <a:lnTo>
                      <a:pt x="4116" y="1772"/>
                    </a:lnTo>
                    <a:lnTo>
                      <a:pt x="4110" y="1766"/>
                    </a:lnTo>
                    <a:lnTo>
                      <a:pt x="4106" y="1758"/>
                    </a:lnTo>
                    <a:lnTo>
                      <a:pt x="4116" y="1766"/>
                    </a:lnTo>
                    <a:lnTo>
                      <a:pt x="4122" y="1764"/>
                    </a:lnTo>
                    <a:lnTo>
                      <a:pt x="4127" y="1758"/>
                    </a:lnTo>
                    <a:lnTo>
                      <a:pt x="4123" y="1755"/>
                    </a:lnTo>
                    <a:lnTo>
                      <a:pt x="4124" y="1745"/>
                    </a:lnTo>
                    <a:lnTo>
                      <a:pt x="4133" y="1747"/>
                    </a:lnTo>
                    <a:lnTo>
                      <a:pt x="4135" y="1732"/>
                    </a:lnTo>
                    <a:lnTo>
                      <a:pt x="4130" y="1718"/>
                    </a:lnTo>
                    <a:lnTo>
                      <a:pt x="4137" y="1726"/>
                    </a:lnTo>
                    <a:lnTo>
                      <a:pt x="4141" y="1717"/>
                    </a:lnTo>
                    <a:lnTo>
                      <a:pt x="4149" y="1712"/>
                    </a:lnTo>
                    <a:lnTo>
                      <a:pt x="4149" y="1704"/>
                    </a:lnTo>
                    <a:lnTo>
                      <a:pt x="4157" y="1699"/>
                    </a:lnTo>
                    <a:lnTo>
                      <a:pt x="4150" y="1686"/>
                    </a:lnTo>
                    <a:lnTo>
                      <a:pt x="4143" y="1679"/>
                    </a:lnTo>
                    <a:lnTo>
                      <a:pt x="4138" y="1669"/>
                    </a:lnTo>
                    <a:lnTo>
                      <a:pt x="4143" y="1658"/>
                    </a:lnTo>
                    <a:lnTo>
                      <a:pt x="4157" y="1635"/>
                    </a:lnTo>
                    <a:lnTo>
                      <a:pt x="4165" y="1630"/>
                    </a:lnTo>
                    <a:lnTo>
                      <a:pt x="4172" y="1621"/>
                    </a:lnTo>
                    <a:lnTo>
                      <a:pt x="4172" y="1619"/>
                    </a:lnTo>
                    <a:lnTo>
                      <a:pt x="4177" y="1609"/>
                    </a:lnTo>
                    <a:lnTo>
                      <a:pt x="4186" y="1608"/>
                    </a:lnTo>
                    <a:lnTo>
                      <a:pt x="4196" y="1609"/>
                    </a:lnTo>
                    <a:lnTo>
                      <a:pt x="4198" y="1615"/>
                    </a:lnTo>
                    <a:lnTo>
                      <a:pt x="4194" y="1621"/>
                    </a:lnTo>
                    <a:lnTo>
                      <a:pt x="4202" y="1623"/>
                    </a:lnTo>
                    <a:lnTo>
                      <a:pt x="4200" y="1631"/>
                    </a:lnTo>
                    <a:lnTo>
                      <a:pt x="4203" y="1638"/>
                    </a:lnTo>
                    <a:lnTo>
                      <a:pt x="4203" y="1650"/>
                    </a:lnTo>
                    <a:lnTo>
                      <a:pt x="4198" y="1656"/>
                    </a:lnTo>
                    <a:lnTo>
                      <a:pt x="4207" y="1651"/>
                    </a:lnTo>
                    <a:lnTo>
                      <a:pt x="4211" y="1656"/>
                    </a:lnTo>
                    <a:lnTo>
                      <a:pt x="4211" y="1679"/>
                    </a:lnTo>
                    <a:lnTo>
                      <a:pt x="4223" y="1680"/>
                    </a:lnTo>
                    <a:lnTo>
                      <a:pt x="4218" y="1683"/>
                    </a:lnTo>
                    <a:lnTo>
                      <a:pt x="4219" y="1690"/>
                    </a:lnTo>
                    <a:lnTo>
                      <a:pt x="4229" y="1688"/>
                    </a:lnTo>
                    <a:lnTo>
                      <a:pt x="4239" y="1693"/>
                    </a:lnTo>
                    <a:lnTo>
                      <a:pt x="4234" y="1700"/>
                    </a:lnTo>
                    <a:lnTo>
                      <a:pt x="4226" y="1708"/>
                    </a:lnTo>
                    <a:lnTo>
                      <a:pt x="4237" y="1710"/>
                    </a:lnTo>
                    <a:lnTo>
                      <a:pt x="4240" y="1718"/>
                    </a:lnTo>
                    <a:lnTo>
                      <a:pt x="4243" y="1710"/>
                    </a:lnTo>
                    <a:lnTo>
                      <a:pt x="4248" y="1712"/>
                    </a:lnTo>
                    <a:lnTo>
                      <a:pt x="4248" y="1724"/>
                    </a:lnTo>
                    <a:lnTo>
                      <a:pt x="4254" y="1721"/>
                    </a:lnTo>
                    <a:lnTo>
                      <a:pt x="4259" y="1724"/>
                    </a:lnTo>
                    <a:lnTo>
                      <a:pt x="4258" y="1734"/>
                    </a:lnTo>
                    <a:lnTo>
                      <a:pt x="4247" y="1740"/>
                    </a:lnTo>
                    <a:lnTo>
                      <a:pt x="4226" y="1740"/>
                    </a:lnTo>
                    <a:lnTo>
                      <a:pt x="4214" y="1747"/>
                    </a:lnTo>
                    <a:lnTo>
                      <a:pt x="4211" y="1753"/>
                    </a:lnTo>
                    <a:lnTo>
                      <a:pt x="4221" y="1745"/>
                    </a:lnTo>
                    <a:lnTo>
                      <a:pt x="4226" y="1749"/>
                    </a:lnTo>
                    <a:lnTo>
                      <a:pt x="4234" y="1747"/>
                    </a:lnTo>
                    <a:lnTo>
                      <a:pt x="4250" y="1747"/>
                    </a:lnTo>
                    <a:lnTo>
                      <a:pt x="4266" y="1742"/>
                    </a:lnTo>
                    <a:lnTo>
                      <a:pt x="4269" y="1743"/>
                    </a:lnTo>
                    <a:lnTo>
                      <a:pt x="4266" y="1754"/>
                    </a:lnTo>
                    <a:lnTo>
                      <a:pt x="4268" y="1755"/>
                    </a:lnTo>
                    <a:lnTo>
                      <a:pt x="4268" y="1764"/>
                    </a:lnTo>
                    <a:lnTo>
                      <a:pt x="4266" y="1771"/>
                    </a:lnTo>
                    <a:lnTo>
                      <a:pt x="4270" y="1769"/>
                    </a:lnTo>
                    <a:lnTo>
                      <a:pt x="4283" y="1770"/>
                    </a:lnTo>
                    <a:lnTo>
                      <a:pt x="4280" y="1781"/>
                    </a:lnTo>
                    <a:lnTo>
                      <a:pt x="4282" y="1785"/>
                    </a:lnTo>
                    <a:lnTo>
                      <a:pt x="4289" y="1787"/>
                    </a:lnTo>
                    <a:lnTo>
                      <a:pt x="4286" y="1792"/>
                    </a:lnTo>
                    <a:lnTo>
                      <a:pt x="4278" y="1796"/>
                    </a:lnTo>
                    <a:lnTo>
                      <a:pt x="4264" y="1798"/>
                    </a:lnTo>
                    <a:lnTo>
                      <a:pt x="4257" y="1794"/>
                    </a:lnTo>
                    <a:lnTo>
                      <a:pt x="4251" y="1797"/>
                    </a:lnTo>
                    <a:lnTo>
                      <a:pt x="4251" y="1802"/>
                    </a:lnTo>
                    <a:lnTo>
                      <a:pt x="4256" y="1806"/>
                    </a:lnTo>
                    <a:lnTo>
                      <a:pt x="4266" y="1803"/>
                    </a:lnTo>
                    <a:lnTo>
                      <a:pt x="4284" y="1804"/>
                    </a:lnTo>
                    <a:lnTo>
                      <a:pt x="4301" y="1803"/>
                    </a:lnTo>
                    <a:lnTo>
                      <a:pt x="4304" y="1814"/>
                    </a:lnTo>
                    <a:lnTo>
                      <a:pt x="4297" y="1819"/>
                    </a:lnTo>
                    <a:lnTo>
                      <a:pt x="4294" y="1825"/>
                    </a:lnTo>
                    <a:lnTo>
                      <a:pt x="4299" y="1828"/>
                    </a:lnTo>
                    <a:lnTo>
                      <a:pt x="4293" y="1833"/>
                    </a:lnTo>
                    <a:lnTo>
                      <a:pt x="4280" y="1836"/>
                    </a:lnTo>
                    <a:lnTo>
                      <a:pt x="4269" y="1851"/>
                    </a:lnTo>
                    <a:lnTo>
                      <a:pt x="4278" y="1850"/>
                    </a:lnTo>
                    <a:lnTo>
                      <a:pt x="4286" y="1842"/>
                    </a:lnTo>
                    <a:lnTo>
                      <a:pt x="4296" y="1841"/>
                    </a:lnTo>
                    <a:lnTo>
                      <a:pt x="4305" y="1837"/>
                    </a:lnTo>
                    <a:lnTo>
                      <a:pt x="4315" y="1852"/>
                    </a:lnTo>
                    <a:lnTo>
                      <a:pt x="4310" y="1853"/>
                    </a:lnTo>
                    <a:lnTo>
                      <a:pt x="4304" y="1860"/>
                    </a:lnTo>
                    <a:lnTo>
                      <a:pt x="4304" y="1866"/>
                    </a:lnTo>
                    <a:lnTo>
                      <a:pt x="4315" y="1861"/>
                    </a:lnTo>
                    <a:lnTo>
                      <a:pt x="4322" y="1864"/>
                    </a:lnTo>
                    <a:lnTo>
                      <a:pt x="4322" y="1867"/>
                    </a:lnTo>
                    <a:lnTo>
                      <a:pt x="4331" y="1878"/>
                    </a:lnTo>
                    <a:lnTo>
                      <a:pt x="4339" y="1884"/>
                    </a:lnTo>
                    <a:lnTo>
                      <a:pt x="4342" y="1893"/>
                    </a:lnTo>
                    <a:lnTo>
                      <a:pt x="4323" y="1907"/>
                    </a:lnTo>
                    <a:lnTo>
                      <a:pt x="4312" y="1907"/>
                    </a:lnTo>
                    <a:lnTo>
                      <a:pt x="4312" y="1914"/>
                    </a:lnTo>
                    <a:lnTo>
                      <a:pt x="4339" y="1912"/>
                    </a:lnTo>
                    <a:lnTo>
                      <a:pt x="4347" y="1922"/>
                    </a:lnTo>
                    <a:lnTo>
                      <a:pt x="4342" y="1932"/>
                    </a:lnTo>
                    <a:lnTo>
                      <a:pt x="4364" y="1939"/>
                    </a:lnTo>
                    <a:lnTo>
                      <a:pt x="4368" y="1953"/>
                    </a:lnTo>
                    <a:lnTo>
                      <a:pt x="4358" y="1963"/>
                    </a:lnTo>
                    <a:lnTo>
                      <a:pt x="4347" y="1974"/>
                    </a:lnTo>
                    <a:lnTo>
                      <a:pt x="4350" y="1987"/>
                    </a:lnTo>
                    <a:lnTo>
                      <a:pt x="4343" y="1989"/>
                    </a:lnTo>
                    <a:lnTo>
                      <a:pt x="4315" y="1973"/>
                    </a:lnTo>
                    <a:lnTo>
                      <a:pt x="4312" y="1979"/>
                    </a:lnTo>
                    <a:lnTo>
                      <a:pt x="4326" y="1984"/>
                    </a:lnTo>
                    <a:lnTo>
                      <a:pt x="4326" y="1986"/>
                    </a:lnTo>
                    <a:lnTo>
                      <a:pt x="4295" y="1990"/>
                    </a:lnTo>
                    <a:lnTo>
                      <a:pt x="4286" y="1992"/>
                    </a:lnTo>
                    <a:lnTo>
                      <a:pt x="4302" y="1996"/>
                    </a:lnTo>
                    <a:lnTo>
                      <a:pt x="4334" y="1995"/>
                    </a:lnTo>
                    <a:lnTo>
                      <a:pt x="4348" y="1997"/>
                    </a:lnTo>
                    <a:lnTo>
                      <a:pt x="4350" y="2002"/>
                    </a:lnTo>
                    <a:lnTo>
                      <a:pt x="4342" y="2003"/>
                    </a:lnTo>
                    <a:lnTo>
                      <a:pt x="4334" y="2009"/>
                    </a:lnTo>
                    <a:lnTo>
                      <a:pt x="4336" y="2013"/>
                    </a:lnTo>
                    <a:lnTo>
                      <a:pt x="4350" y="2022"/>
                    </a:lnTo>
                    <a:lnTo>
                      <a:pt x="4352" y="2028"/>
                    </a:lnTo>
                    <a:lnTo>
                      <a:pt x="4342" y="2027"/>
                    </a:lnTo>
                    <a:lnTo>
                      <a:pt x="4338" y="2036"/>
                    </a:lnTo>
                    <a:lnTo>
                      <a:pt x="4371" y="2034"/>
                    </a:lnTo>
                    <a:lnTo>
                      <a:pt x="4375" y="2055"/>
                    </a:lnTo>
                    <a:lnTo>
                      <a:pt x="4379" y="2060"/>
                    </a:lnTo>
                    <a:lnTo>
                      <a:pt x="4374" y="2065"/>
                    </a:lnTo>
                    <a:lnTo>
                      <a:pt x="4403" y="2068"/>
                    </a:lnTo>
                    <a:lnTo>
                      <a:pt x="4411" y="2073"/>
                    </a:lnTo>
                    <a:lnTo>
                      <a:pt x="4412" y="2084"/>
                    </a:lnTo>
                    <a:lnTo>
                      <a:pt x="4418" y="2079"/>
                    </a:lnTo>
                    <a:lnTo>
                      <a:pt x="4428" y="2079"/>
                    </a:lnTo>
                    <a:lnTo>
                      <a:pt x="4428" y="2089"/>
                    </a:lnTo>
                    <a:lnTo>
                      <a:pt x="4424" y="2097"/>
                    </a:lnTo>
                    <a:lnTo>
                      <a:pt x="4429" y="2102"/>
                    </a:lnTo>
                    <a:lnTo>
                      <a:pt x="4431" y="2110"/>
                    </a:lnTo>
                    <a:lnTo>
                      <a:pt x="4420" y="2122"/>
                    </a:lnTo>
                    <a:lnTo>
                      <a:pt x="4420" y="2126"/>
                    </a:lnTo>
                    <a:lnTo>
                      <a:pt x="4433" y="2119"/>
                    </a:lnTo>
                    <a:lnTo>
                      <a:pt x="4447" y="2130"/>
                    </a:lnTo>
                    <a:lnTo>
                      <a:pt x="4452" y="2125"/>
                    </a:lnTo>
                    <a:lnTo>
                      <a:pt x="4462" y="2120"/>
                    </a:lnTo>
                    <a:lnTo>
                      <a:pt x="4463" y="2129"/>
                    </a:lnTo>
                    <a:lnTo>
                      <a:pt x="4473" y="2132"/>
                    </a:lnTo>
                    <a:lnTo>
                      <a:pt x="4461" y="2162"/>
                    </a:lnTo>
                    <a:lnTo>
                      <a:pt x="4469" y="2154"/>
                    </a:lnTo>
                    <a:lnTo>
                      <a:pt x="4481" y="2138"/>
                    </a:lnTo>
                    <a:lnTo>
                      <a:pt x="4490" y="2131"/>
                    </a:lnTo>
                    <a:lnTo>
                      <a:pt x="4489" y="2145"/>
                    </a:lnTo>
                    <a:lnTo>
                      <a:pt x="4493" y="2145"/>
                    </a:lnTo>
                    <a:lnTo>
                      <a:pt x="4499" y="2137"/>
                    </a:lnTo>
                    <a:lnTo>
                      <a:pt x="4501" y="2149"/>
                    </a:lnTo>
                    <a:lnTo>
                      <a:pt x="4504" y="2158"/>
                    </a:lnTo>
                    <a:lnTo>
                      <a:pt x="4510" y="2164"/>
                    </a:lnTo>
                    <a:lnTo>
                      <a:pt x="4522" y="2167"/>
                    </a:lnTo>
                    <a:lnTo>
                      <a:pt x="4536" y="2174"/>
                    </a:lnTo>
                    <a:lnTo>
                      <a:pt x="4543" y="2170"/>
                    </a:lnTo>
                    <a:lnTo>
                      <a:pt x="4542" y="2163"/>
                    </a:lnTo>
                    <a:lnTo>
                      <a:pt x="4552" y="2156"/>
                    </a:lnTo>
                    <a:lnTo>
                      <a:pt x="4559" y="2165"/>
                    </a:lnTo>
                    <a:lnTo>
                      <a:pt x="4557" y="2174"/>
                    </a:lnTo>
                    <a:lnTo>
                      <a:pt x="4568" y="2176"/>
                    </a:lnTo>
                    <a:lnTo>
                      <a:pt x="4575" y="2181"/>
                    </a:lnTo>
                    <a:lnTo>
                      <a:pt x="4581" y="2183"/>
                    </a:lnTo>
                    <a:lnTo>
                      <a:pt x="4586" y="2192"/>
                    </a:lnTo>
                    <a:lnTo>
                      <a:pt x="4581" y="2199"/>
                    </a:lnTo>
                    <a:lnTo>
                      <a:pt x="4581" y="2203"/>
                    </a:lnTo>
                    <a:lnTo>
                      <a:pt x="4580" y="2206"/>
                    </a:lnTo>
                    <a:lnTo>
                      <a:pt x="4571" y="2208"/>
                    </a:lnTo>
                    <a:lnTo>
                      <a:pt x="4565" y="2206"/>
                    </a:lnTo>
                    <a:lnTo>
                      <a:pt x="4558" y="2207"/>
                    </a:lnTo>
                    <a:lnTo>
                      <a:pt x="4544" y="2213"/>
                    </a:lnTo>
                    <a:lnTo>
                      <a:pt x="4539" y="2216"/>
                    </a:lnTo>
                    <a:lnTo>
                      <a:pt x="4539" y="2218"/>
                    </a:lnTo>
                    <a:lnTo>
                      <a:pt x="4524" y="2228"/>
                    </a:lnTo>
                    <a:lnTo>
                      <a:pt x="4494" y="2232"/>
                    </a:lnTo>
                    <a:lnTo>
                      <a:pt x="4477" y="2238"/>
                    </a:lnTo>
                    <a:lnTo>
                      <a:pt x="4469" y="2246"/>
                    </a:lnTo>
                    <a:lnTo>
                      <a:pt x="4482" y="2246"/>
                    </a:lnTo>
                    <a:lnTo>
                      <a:pt x="4495" y="2242"/>
                    </a:lnTo>
                    <a:lnTo>
                      <a:pt x="4510" y="2233"/>
                    </a:lnTo>
                    <a:lnTo>
                      <a:pt x="4515" y="2235"/>
                    </a:lnTo>
                    <a:lnTo>
                      <a:pt x="4482" y="2251"/>
                    </a:lnTo>
                    <a:lnTo>
                      <a:pt x="4467" y="2256"/>
                    </a:lnTo>
                    <a:lnTo>
                      <a:pt x="4452" y="2256"/>
                    </a:lnTo>
                    <a:lnTo>
                      <a:pt x="4436" y="2280"/>
                    </a:lnTo>
                    <a:lnTo>
                      <a:pt x="4424" y="2276"/>
                    </a:lnTo>
                    <a:lnTo>
                      <a:pt x="4413" y="2267"/>
                    </a:lnTo>
                    <a:lnTo>
                      <a:pt x="4399" y="2264"/>
                    </a:lnTo>
                    <a:lnTo>
                      <a:pt x="4386" y="2265"/>
                    </a:lnTo>
                    <a:lnTo>
                      <a:pt x="4387" y="2274"/>
                    </a:lnTo>
                    <a:lnTo>
                      <a:pt x="4404" y="2276"/>
                    </a:lnTo>
                    <a:lnTo>
                      <a:pt x="4419" y="2282"/>
                    </a:lnTo>
                    <a:lnTo>
                      <a:pt x="4430" y="2289"/>
                    </a:lnTo>
                    <a:lnTo>
                      <a:pt x="4426" y="2314"/>
                    </a:lnTo>
                    <a:lnTo>
                      <a:pt x="4438" y="2308"/>
                    </a:lnTo>
                    <a:lnTo>
                      <a:pt x="4451" y="2298"/>
                    </a:lnTo>
                    <a:lnTo>
                      <a:pt x="4456" y="2291"/>
                    </a:lnTo>
                    <a:lnTo>
                      <a:pt x="4468" y="2283"/>
                    </a:lnTo>
                    <a:lnTo>
                      <a:pt x="4479" y="2272"/>
                    </a:lnTo>
                    <a:lnTo>
                      <a:pt x="4496" y="2265"/>
                    </a:lnTo>
                    <a:lnTo>
                      <a:pt x="4506" y="2251"/>
                    </a:lnTo>
                    <a:lnTo>
                      <a:pt x="4519" y="2244"/>
                    </a:lnTo>
                    <a:lnTo>
                      <a:pt x="4547" y="2237"/>
                    </a:lnTo>
                    <a:lnTo>
                      <a:pt x="4563" y="2240"/>
                    </a:lnTo>
                    <a:lnTo>
                      <a:pt x="4569" y="2238"/>
                    </a:lnTo>
                    <a:lnTo>
                      <a:pt x="4560" y="2234"/>
                    </a:lnTo>
                    <a:lnTo>
                      <a:pt x="4546" y="2231"/>
                    </a:lnTo>
                    <a:lnTo>
                      <a:pt x="4530" y="2234"/>
                    </a:lnTo>
                    <a:lnTo>
                      <a:pt x="4538" y="2229"/>
                    </a:lnTo>
                    <a:lnTo>
                      <a:pt x="4555" y="2226"/>
                    </a:lnTo>
                    <a:lnTo>
                      <a:pt x="4582" y="2228"/>
                    </a:lnTo>
                    <a:lnTo>
                      <a:pt x="4594" y="2228"/>
                    </a:lnTo>
                    <a:lnTo>
                      <a:pt x="4596" y="2233"/>
                    </a:lnTo>
                    <a:lnTo>
                      <a:pt x="4595" y="2243"/>
                    </a:lnTo>
                    <a:lnTo>
                      <a:pt x="4597" y="2253"/>
                    </a:lnTo>
                    <a:lnTo>
                      <a:pt x="4598" y="2265"/>
                    </a:lnTo>
                    <a:lnTo>
                      <a:pt x="4591" y="2275"/>
                    </a:lnTo>
                    <a:lnTo>
                      <a:pt x="4590" y="2285"/>
                    </a:lnTo>
                    <a:lnTo>
                      <a:pt x="4592" y="2301"/>
                    </a:lnTo>
                    <a:lnTo>
                      <a:pt x="4595" y="2301"/>
                    </a:lnTo>
                    <a:lnTo>
                      <a:pt x="4607" y="2274"/>
                    </a:lnTo>
                    <a:lnTo>
                      <a:pt x="4616" y="2267"/>
                    </a:lnTo>
                    <a:lnTo>
                      <a:pt x="4629" y="2266"/>
                    </a:lnTo>
                    <a:lnTo>
                      <a:pt x="4637" y="2269"/>
                    </a:lnTo>
                    <a:lnTo>
                      <a:pt x="4633" y="2274"/>
                    </a:lnTo>
                    <a:lnTo>
                      <a:pt x="4667" y="2286"/>
                    </a:lnTo>
                    <a:lnTo>
                      <a:pt x="4668" y="2289"/>
                    </a:lnTo>
                    <a:lnTo>
                      <a:pt x="4662" y="2293"/>
                    </a:lnTo>
                    <a:lnTo>
                      <a:pt x="4668" y="2303"/>
                    </a:lnTo>
                    <a:lnTo>
                      <a:pt x="4675" y="2307"/>
                    </a:lnTo>
                    <a:lnTo>
                      <a:pt x="4676" y="2313"/>
                    </a:lnTo>
                    <a:lnTo>
                      <a:pt x="4680" y="2315"/>
                    </a:lnTo>
                    <a:lnTo>
                      <a:pt x="4680" y="2323"/>
                    </a:lnTo>
                    <a:lnTo>
                      <a:pt x="4675" y="2325"/>
                    </a:lnTo>
                    <a:lnTo>
                      <a:pt x="4670" y="2330"/>
                    </a:lnTo>
                    <a:lnTo>
                      <a:pt x="4648" y="2321"/>
                    </a:lnTo>
                    <a:lnTo>
                      <a:pt x="4655" y="2334"/>
                    </a:lnTo>
                    <a:lnTo>
                      <a:pt x="4660" y="2336"/>
                    </a:lnTo>
                    <a:lnTo>
                      <a:pt x="4668" y="2336"/>
                    </a:lnTo>
                    <a:lnTo>
                      <a:pt x="4672" y="2350"/>
                    </a:lnTo>
                    <a:lnTo>
                      <a:pt x="4668" y="2353"/>
                    </a:lnTo>
                    <a:lnTo>
                      <a:pt x="4668" y="2357"/>
                    </a:lnTo>
                    <a:lnTo>
                      <a:pt x="4677" y="2371"/>
                    </a:lnTo>
                    <a:lnTo>
                      <a:pt x="4677" y="2373"/>
                    </a:lnTo>
                    <a:lnTo>
                      <a:pt x="4667" y="2372"/>
                    </a:lnTo>
                    <a:lnTo>
                      <a:pt x="4664" y="2378"/>
                    </a:lnTo>
                    <a:lnTo>
                      <a:pt x="4681" y="2383"/>
                    </a:lnTo>
                    <a:lnTo>
                      <a:pt x="4686" y="2395"/>
                    </a:lnTo>
                    <a:lnTo>
                      <a:pt x="4671" y="2394"/>
                    </a:lnTo>
                    <a:lnTo>
                      <a:pt x="4664" y="2391"/>
                    </a:lnTo>
                    <a:lnTo>
                      <a:pt x="4668" y="239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4" name="Freeform 305"/>
              <p:cNvSpPr>
                <a:spLocks noChangeAspect="1"/>
              </p:cNvSpPr>
              <p:nvPr/>
            </p:nvSpPr>
            <p:spPr bwMode="gray">
              <a:xfrm>
                <a:off x="1437" y="1025"/>
                <a:ext cx="39" cy="63"/>
              </a:xfrm>
              <a:custGeom>
                <a:avLst/>
                <a:gdLst/>
                <a:ahLst/>
                <a:cxnLst>
                  <a:cxn ang="0">
                    <a:pos x="197" y="156"/>
                  </a:cxn>
                  <a:cxn ang="0">
                    <a:pos x="180" y="119"/>
                  </a:cxn>
                  <a:cxn ang="0">
                    <a:pos x="140" y="109"/>
                  </a:cxn>
                  <a:cxn ang="0">
                    <a:pos x="128" y="97"/>
                  </a:cxn>
                  <a:cxn ang="0">
                    <a:pos x="132" y="73"/>
                  </a:cxn>
                  <a:cxn ang="0">
                    <a:pos x="121" y="63"/>
                  </a:cxn>
                  <a:cxn ang="0">
                    <a:pos x="95" y="44"/>
                  </a:cxn>
                  <a:cxn ang="0">
                    <a:pos x="22" y="0"/>
                  </a:cxn>
                  <a:cxn ang="0">
                    <a:pos x="6" y="25"/>
                  </a:cxn>
                  <a:cxn ang="0">
                    <a:pos x="4" y="44"/>
                  </a:cxn>
                  <a:cxn ang="0">
                    <a:pos x="9" y="65"/>
                  </a:cxn>
                  <a:cxn ang="0">
                    <a:pos x="18" y="82"/>
                  </a:cxn>
                  <a:cxn ang="0">
                    <a:pos x="0" y="98"/>
                  </a:cxn>
                  <a:cxn ang="0">
                    <a:pos x="20" y="127"/>
                  </a:cxn>
                  <a:cxn ang="0">
                    <a:pos x="21" y="161"/>
                  </a:cxn>
                  <a:cxn ang="0">
                    <a:pos x="34" y="173"/>
                  </a:cxn>
                  <a:cxn ang="0">
                    <a:pos x="27" y="184"/>
                  </a:cxn>
                  <a:cxn ang="0">
                    <a:pos x="54" y="187"/>
                  </a:cxn>
                  <a:cxn ang="0">
                    <a:pos x="83" y="215"/>
                  </a:cxn>
                  <a:cxn ang="0">
                    <a:pos x="79" y="226"/>
                  </a:cxn>
                  <a:cxn ang="0">
                    <a:pos x="35" y="236"/>
                  </a:cxn>
                  <a:cxn ang="0">
                    <a:pos x="63" y="300"/>
                  </a:cxn>
                  <a:cxn ang="0">
                    <a:pos x="86" y="316"/>
                  </a:cxn>
                  <a:cxn ang="0">
                    <a:pos x="97" y="295"/>
                  </a:cxn>
                  <a:cxn ang="0">
                    <a:pos x="91" y="292"/>
                  </a:cxn>
                  <a:cxn ang="0">
                    <a:pos x="120" y="290"/>
                  </a:cxn>
                  <a:cxn ang="0">
                    <a:pos x="170" y="268"/>
                  </a:cxn>
                  <a:cxn ang="0">
                    <a:pos x="185" y="275"/>
                  </a:cxn>
                  <a:cxn ang="0">
                    <a:pos x="190" y="264"/>
                  </a:cxn>
                  <a:cxn ang="0">
                    <a:pos x="197" y="233"/>
                  </a:cxn>
                  <a:cxn ang="0">
                    <a:pos x="186" y="221"/>
                  </a:cxn>
                  <a:cxn ang="0">
                    <a:pos x="185" y="219"/>
                  </a:cxn>
                  <a:cxn ang="0">
                    <a:pos x="197" y="163"/>
                  </a:cxn>
                </a:cxnLst>
                <a:rect l="0" t="0" r="r" b="b"/>
                <a:pathLst>
                  <a:path w="197" h="316">
                    <a:moveTo>
                      <a:pt x="197" y="163"/>
                    </a:moveTo>
                    <a:lnTo>
                      <a:pt x="197" y="156"/>
                    </a:lnTo>
                    <a:lnTo>
                      <a:pt x="196" y="149"/>
                    </a:lnTo>
                    <a:lnTo>
                      <a:pt x="180" y="119"/>
                    </a:lnTo>
                    <a:lnTo>
                      <a:pt x="156" y="102"/>
                    </a:lnTo>
                    <a:lnTo>
                      <a:pt x="140" y="109"/>
                    </a:lnTo>
                    <a:lnTo>
                      <a:pt x="127" y="107"/>
                    </a:lnTo>
                    <a:lnTo>
                      <a:pt x="128" y="97"/>
                    </a:lnTo>
                    <a:lnTo>
                      <a:pt x="128" y="86"/>
                    </a:lnTo>
                    <a:lnTo>
                      <a:pt x="132" y="73"/>
                    </a:lnTo>
                    <a:lnTo>
                      <a:pt x="127" y="65"/>
                    </a:lnTo>
                    <a:lnTo>
                      <a:pt x="121" y="63"/>
                    </a:lnTo>
                    <a:lnTo>
                      <a:pt x="106" y="47"/>
                    </a:lnTo>
                    <a:lnTo>
                      <a:pt x="95" y="44"/>
                    </a:lnTo>
                    <a:lnTo>
                      <a:pt x="53" y="7"/>
                    </a:lnTo>
                    <a:lnTo>
                      <a:pt x="22" y="0"/>
                    </a:lnTo>
                    <a:lnTo>
                      <a:pt x="5" y="16"/>
                    </a:lnTo>
                    <a:lnTo>
                      <a:pt x="6" y="25"/>
                    </a:lnTo>
                    <a:lnTo>
                      <a:pt x="4" y="27"/>
                    </a:lnTo>
                    <a:lnTo>
                      <a:pt x="4" y="44"/>
                    </a:lnTo>
                    <a:lnTo>
                      <a:pt x="5" y="52"/>
                    </a:lnTo>
                    <a:lnTo>
                      <a:pt x="9" y="65"/>
                    </a:lnTo>
                    <a:lnTo>
                      <a:pt x="15" y="70"/>
                    </a:lnTo>
                    <a:lnTo>
                      <a:pt x="18" y="82"/>
                    </a:lnTo>
                    <a:lnTo>
                      <a:pt x="14" y="90"/>
                    </a:lnTo>
                    <a:lnTo>
                      <a:pt x="0" y="98"/>
                    </a:lnTo>
                    <a:lnTo>
                      <a:pt x="13" y="124"/>
                    </a:lnTo>
                    <a:lnTo>
                      <a:pt x="20" y="127"/>
                    </a:lnTo>
                    <a:lnTo>
                      <a:pt x="18" y="139"/>
                    </a:lnTo>
                    <a:lnTo>
                      <a:pt x="21" y="161"/>
                    </a:lnTo>
                    <a:lnTo>
                      <a:pt x="31" y="163"/>
                    </a:lnTo>
                    <a:lnTo>
                      <a:pt x="34" y="173"/>
                    </a:lnTo>
                    <a:lnTo>
                      <a:pt x="24" y="177"/>
                    </a:lnTo>
                    <a:lnTo>
                      <a:pt x="27" y="184"/>
                    </a:lnTo>
                    <a:lnTo>
                      <a:pt x="46" y="190"/>
                    </a:lnTo>
                    <a:lnTo>
                      <a:pt x="54" y="187"/>
                    </a:lnTo>
                    <a:lnTo>
                      <a:pt x="85" y="203"/>
                    </a:lnTo>
                    <a:lnTo>
                      <a:pt x="83" y="215"/>
                    </a:lnTo>
                    <a:lnTo>
                      <a:pt x="89" y="216"/>
                    </a:lnTo>
                    <a:lnTo>
                      <a:pt x="79" y="226"/>
                    </a:lnTo>
                    <a:lnTo>
                      <a:pt x="38" y="224"/>
                    </a:lnTo>
                    <a:lnTo>
                      <a:pt x="35" y="236"/>
                    </a:lnTo>
                    <a:lnTo>
                      <a:pt x="72" y="279"/>
                    </a:lnTo>
                    <a:lnTo>
                      <a:pt x="63" y="300"/>
                    </a:lnTo>
                    <a:lnTo>
                      <a:pt x="65" y="307"/>
                    </a:lnTo>
                    <a:lnTo>
                      <a:pt x="86" y="316"/>
                    </a:lnTo>
                    <a:lnTo>
                      <a:pt x="97" y="300"/>
                    </a:lnTo>
                    <a:lnTo>
                      <a:pt x="97" y="295"/>
                    </a:lnTo>
                    <a:lnTo>
                      <a:pt x="94" y="290"/>
                    </a:lnTo>
                    <a:lnTo>
                      <a:pt x="91" y="292"/>
                    </a:lnTo>
                    <a:lnTo>
                      <a:pt x="106" y="275"/>
                    </a:lnTo>
                    <a:lnTo>
                      <a:pt x="120" y="290"/>
                    </a:lnTo>
                    <a:lnTo>
                      <a:pt x="133" y="287"/>
                    </a:lnTo>
                    <a:lnTo>
                      <a:pt x="170" y="268"/>
                    </a:lnTo>
                    <a:lnTo>
                      <a:pt x="181" y="270"/>
                    </a:lnTo>
                    <a:lnTo>
                      <a:pt x="185" y="275"/>
                    </a:lnTo>
                    <a:lnTo>
                      <a:pt x="188" y="271"/>
                    </a:lnTo>
                    <a:lnTo>
                      <a:pt x="190" y="264"/>
                    </a:lnTo>
                    <a:lnTo>
                      <a:pt x="196" y="249"/>
                    </a:lnTo>
                    <a:lnTo>
                      <a:pt x="197" y="233"/>
                    </a:lnTo>
                    <a:lnTo>
                      <a:pt x="193" y="227"/>
                    </a:lnTo>
                    <a:lnTo>
                      <a:pt x="186" y="221"/>
                    </a:lnTo>
                    <a:lnTo>
                      <a:pt x="186" y="225"/>
                    </a:lnTo>
                    <a:lnTo>
                      <a:pt x="185" y="219"/>
                    </a:lnTo>
                    <a:lnTo>
                      <a:pt x="185" y="174"/>
                    </a:lnTo>
                    <a:lnTo>
                      <a:pt x="197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5" name="Freeform 306"/>
              <p:cNvSpPr>
                <a:spLocks noChangeAspect="1"/>
              </p:cNvSpPr>
              <p:nvPr/>
            </p:nvSpPr>
            <p:spPr bwMode="gray">
              <a:xfrm>
                <a:off x="1356" y="1000"/>
                <a:ext cx="74" cy="86"/>
              </a:xfrm>
              <a:custGeom>
                <a:avLst/>
                <a:gdLst/>
                <a:ahLst/>
                <a:cxnLst>
                  <a:cxn ang="0">
                    <a:pos x="318" y="278"/>
                  </a:cxn>
                  <a:cxn ang="0">
                    <a:pos x="327" y="224"/>
                  </a:cxn>
                  <a:cxn ang="0">
                    <a:pos x="332" y="197"/>
                  </a:cxn>
                  <a:cxn ang="0">
                    <a:pos x="321" y="194"/>
                  </a:cxn>
                  <a:cxn ang="0">
                    <a:pos x="300" y="176"/>
                  </a:cxn>
                  <a:cxn ang="0">
                    <a:pos x="297" y="141"/>
                  </a:cxn>
                  <a:cxn ang="0">
                    <a:pos x="245" y="131"/>
                  </a:cxn>
                  <a:cxn ang="0">
                    <a:pos x="236" y="133"/>
                  </a:cxn>
                  <a:cxn ang="0">
                    <a:pos x="232" y="101"/>
                  </a:cxn>
                  <a:cxn ang="0">
                    <a:pos x="220" y="85"/>
                  </a:cxn>
                  <a:cxn ang="0">
                    <a:pos x="210" y="76"/>
                  </a:cxn>
                  <a:cxn ang="0">
                    <a:pos x="176" y="44"/>
                  </a:cxn>
                  <a:cxn ang="0">
                    <a:pos x="148" y="76"/>
                  </a:cxn>
                  <a:cxn ang="0">
                    <a:pos x="143" y="114"/>
                  </a:cxn>
                  <a:cxn ang="0">
                    <a:pos x="130" y="22"/>
                  </a:cxn>
                  <a:cxn ang="0">
                    <a:pos x="108" y="16"/>
                  </a:cxn>
                  <a:cxn ang="0">
                    <a:pos x="84" y="0"/>
                  </a:cxn>
                  <a:cxn ang="0">
                    <a:pos x="11" y="16"/>
                  </a:cxn>
                  <a:cxn ang="0">
                    <a:pos x="5" y="101"/>
                  </a:cxn>
                  <a:cxn ang="0">
                    <a:pos x="40" y="96"/>
                  </a:cxn>
                  <a:cxn ang="0">
                    <a:pos x="42" y="145"/>
                  </a:cxn>
                  <a:cxn ang="0">
                    <a:pos x="55" y="155"/>
                  </a:cxn>
                  <a:cxn ang="0">
                    <a:pos x="80" y="109"/>
                  </a:cxn>
                  <a:cxn ang="0">
                    <a:pos x="95" y="130"/>
                  </a:cxn>
                  <a:cxn ang="0">
                    <a:pos x="81" y="155"/>
                  </a:cxn>
                  <a:cxn ang="0">
                    <a:pos x="97" y="162"/>
                  </a:cxn>
                  <a:cxn ang="0">
                    <a:pos x="123" y="168"/>
                  </a:cxn>
                  <a:cxn ang="0">
                    <a:pos x="96" y="201"/>
                  </a:cxn>
                  <a:cxn ang="0">
                    <a:pos x="121" y="228"/>
                  </a:cxn>
                  <a:cxn ang="0">
                    <a:pos x="65" y="225"/>
                  </a:cxn>
                  <a:cxn ang="0">
                    <a:pos x="42" y="253"/>
                  </a:cxn>
                  <a:cxn ang="0">
                    <a:pos x="79" y="307"/>
                  </a:cxn>
                  <a:cxn ang="0">
                    <a:pos x="118" y="290"/>
                  </a:cxn>
                  <a:cxn ang="0">
                    <a:pos x="157" y="282"/>
                  </a:cxn>
                  <a:cxn ang="0">
                    <a:pos x="180" y="305"/>
                  </a:cxn>
                  <a:cxn ang="0">
                    <a:pos x="230" y="305"/>
                  </a:cxn>
                  <a:cxn ang="0">
                    <a:pos x="250" y="322"/>
                  </a:cxn>
                  <a:cxn ang="0">
                    <a:pos x="257" y="328"/>
                  </a:cxn>
                  <a:cxn ang="0">
                    <a:pos x="277" y="388"/>
                  </a:cxn>
                  <a:cxn ang="0">
                    <a:pos x="301" y="416"/>
                  </a:cxn>
                  <a:cxn ang="0">
                    <a:pos x="326" y="415"/>
                  </a:cxn>
                  <a:cxn ang="0">
                    <a:pos x="360" y="395"/>
                  </a:cxn>
                  <a:cxn ang="0">
                    <a:pos x="337" y="301"/>
                  </a:cxn>
                </a:cxnLst>
                <a:rect l="0" t="0" r="r" b="b"/>
                <a:pathLst>
                  <a:path w="368" h="430">
                    <a:moveTo>
                      <a:pt x="337" y="301"/>
                    </a:moveTo>
                    <a:lnTo>
                      <a:pt x="333" y="284"/>
                    </a:lnTo>
                    <a:lnTo>
                      <a:pt x="318" y="278"/>
                    </a:lnTo>
                    <a:lnTo>
                      <a:pt x="320" y="260"/>
                    </a:lnTo>
                    <a:lnTo>
                      <a:pt x="316" y="243"/>
                    </a:lnTo>
                    <a:lnTo>
                      <a:pt x="327" y="224"/>
                    </a:lnTo>
                    <a:lnTo>
                      <a:pt x="328" y="211"/>
                    </a:lnTo>
                    <a:lnTo>
                      <a:pt x="332" y="204"/>
                    </a:lnTo>
                    <a:lnTo>
                      <a:pt x="332" y="197"/>
                    </a:lnTo>
                    <a:lnTo>
                      <a:pt x="327" y="190"/>
                    </a:lnTo>
                    <a:lnTo>
                      <a:pt x="323" y="187"/>
                    </a:lnTo>
                    <a:lnTo>
                      <a:pt x="321" y="194"/>
                    </a:lnTo>
                    <a:lnTo>
                      <a:pt x="311" y="177"/>
                    </a:lnTo>
                    <a:lnTo>
                      <a:pt x="312" y="177"/>
                    </a:lnTo>
                    <a:lnTo>
                      <a:pt x="300" y="176"/>
                    </a:lnTo>
                    <a:lnTo>
                      <a:pt x="299" y="171"/>
                    </a:lnTo>
                    <a:lnTo>
                      <a:pt x="304" y="158"/>
                    </a:lnTo>
                    <a:lnTo>
                      <a:pt x="297" y="141"/>
                    </a:lnTo>
                    <a:lnTo>
                      <a:pt x="266" y="118"/>
                    </a:lnTo>
                    <a:lnTo>
                      <a:pt x="261" y="125"/>
                    </a:lnTo>
                    <a:lnTo>
                      <a:pt x="245" y="131"/>
                    </a:lnTo>
                    <a:lnTo>
                      <a:pt x="237" y="141"/>
                    </a:lnTo>
                    <a:lnTo>
                      <a:pt x="235" y="139"/>
                    </a:lnTo>
                    <a:lnTo>
                      <a:pt x="236" y="133"/>
                    </a:lnTo>
                    <a:lnTo>
                      <a:pt x="227" y="128"/>
                    </a:lnTo>
                    <a:lnTo>
                      <a:pt x="227" y="119"/>
                    </a:lnTo>
                    <a:lnTo>
                      <a:pt x="232" y="101"/>
                    </a:lnTo>
                    <a:lnTo>
                      <a:pt x="231" y="85"/>
                    </a:lnTo>
                    <a:lnTo>
                      <a:pt x="223" y="75"/>
                    </a:lnTo>
                    <a:lnTo>
                      <a:pt x="220" y="85"/>
                    </a:lnTo>
                    <a:lnTo>
                      <a:pt x="211" y="90"/>
                    </a:lnTo>
                    <a:lnTo>
                      <a:pt x="211" y="85"/>
                    </a:lnTo>
                    <a:lnTo>
                      <a:pt x="210" y="76"/>
                    </a:lnTo>
                    <a:lnTo>
                      <a:pt x="200" y="69"/>
                    </a:lnTo>
                    <a:lnTo>
                      <a:pt x="193" y="53"/>
                    </a:lnTo>
                    <a:lnTo>
                      <a:pt x="176" y="44"/>
                    </a:lnTo>
                    <a:lnTo>
                      <a:pt x="166" y="44"/>
                    </a:lnTo>
                    <a:lnTo>
                      <a:pt x="151" y="65"/>
                    </a:lnTo>
                    <a:lnTo>
                      <a:pt x="148" y="76"/>
                    </a:lnTo>
                    <a:lnTo>
                      <a:pt x="148" y="93"/>
                    </a:lnTo>
                    <a:lnTo>
                      <a:pt x="146" y="104"/>
                    </a:lnTo>
                    <a:lnTo>
                      <a:pt x="143" y="114"/>
                    </a:lnTo>
                    <a:lnTo>
                      <a:pt x="129" y="96"/>
                    </a:lnTo>
                    <a:lnTo>
                      <a:pt x="134" y="33"/>
                    </a:lnTo>
                    <a:lnTo>
                      <a:pt x="130" y="22"/>
                    </a:lnTo>
                    <a:lnTo>
                      <a:pt x="116" y="21"/>
                    </a:lnTo>
                    <a:lnTo>
                      <a:pt x="103" y="27"/>
                    </a:lnTo>
                    <a:lnTo>
                      <a:pt x="108" y="16"/>
                    </a:lnTo>
                    <a:lnTo>
                      <a:pt x="106" y="11"/>
                    </a:lnTo>
                    <a:lnTo>
                      <a:pt x="95" y="4"/>
                    </a:lnTo>
                    <a:lnTo>
                      <a:pt x="84" y="0"/>
                    </a:lnTo>
                    <a:lnTo>
                      <a:pt x="62" y="13"/>
                    </a:lnTo>
                    <a:lnTo>
                      <a:pt x="22" y="22"/>
                    </a:lnTo>
                    <a:lnTo>
                      <a:pt x="11" y="16"/>
                    </a:lnTo>
                    <a:lnTo>
                      <a:pt x="9" y="21"/>
                    </a:lnTo>
                    <a:lnTo>
                      <a:pt x="0" y="56"/>
                    </a:lnTo>
                    <a:lnTo>
                      <a:pt x="5" y="101"/>
                    </a:lnTo>
                    <a:lnTo>
                      <a:pt x="6" y="104"/>
                    </a:lnTo>
                    <a:lnTo>
                      <a:pt x="17" y="107"/>
                    </a:lnTo>
                    <a:lnTo>
                      <a:pt x="40" y="96"/>
                    </a:lnTo>
                    <a:lnTo>
                      <a:pt x="52" y="98"/>
                    </a:lnTo>
                    <a:lnTo>
                      <a:pt x="52" y="114"/>
                    </a:lnTo>
                    <a:lnTo>
                      <a:pt x="42" y="145"/>
                    </a:lnTo>
                    <a:lnTo>
                      <a:pt x="36" y="150"/>
                    </a:lnTo>
                    <a:lnTo>
                      <a:pt x="41" y="161"/>
                    </a:lnTo>
                    <a:lnTo>
                      <a:pt x="55" y="155"/>
                    </a:lnTo>
                    <a:lnTo>
                      <a:pt x="67" y="120"/>
                    </a:lnTo>
                    <a:lnTo>
                      <a:pt x="75" y="117"/>
                    </a:lnTo>
                    <a:lnTo>
                      <a:pt x="80" y="109"/>
                    </a:lnTo>
                    <a:lnTo>
                      <a:pt x="87" y="111"/>
                    </a:lnTo>
                    <a:lnTo>
                      <a:pt x="92" y="117"/>
                    </a:lnTo>
                    <a:lnTo>
                      <a:pt x="95" y="130"/>
                    </a:lnTo>
                    <a:lnTo>
                      <a:pt x="92" y="139"/>
                    </a:lnTo>
                    <a:lnTo>
                      <a:pt x="89" y="146"/>
                    </a:lnTo>
                    <a:lnTo>
                      <a:pt x="81" y="155"/>
                    </a:lnTo>
                    <a:lnTo>
                      <a:pt x="83" y="171"/>
                    </a:lnTo>
                    <a:lnTo>
                      <a:pt x="92" y="174"/>
                    </a:lnTo>
                    <a:lnTo>
                      <a:pt x="97" y="162"/>
                    </a:lnTo>
                    <a:lnTo>
                      <a:pt x="102" y="165"/>
                    </a:lnTo>
                    <a:lnTo>
                      <a:pt x="103" y="176"/>
                    </a:lnTo>
                    <a:lnTo>
                      <a:pt x="123" y="168"/>
                    </a:lnTo>
                    <a:lnTo>
                      <a:pt x="122" y="181"/>
                    </a:lnTo>
                    <a:lnTo>
                      <a:pt x="117" y="190"/>
                    </a:lnTo>
                    <a:lnTo>
                      <a:pt x="96" y="201"/>
                    </a:lnTo>
                    <a:lnTo>
                      <a:pt x="94" y="210"/>
                    </a:lnTo>
                    <a:lnTo>
                      <a:pt x="127" y="216"/>
                    </a:lnTo>
                    <a:lnTo>
                      <a:pt x="121" y="228"/>
                    </a:lnTo>
                    <a:lnTo>
                      <a:pt x="118" y="242"/>
                    </a:lnTo>
                    <a:lnTo>
                      <a:pt x="92" y="240"/>
                    </a:lnTo>
                    <a:lnTo>
                      <a:pt x="65" y="225"/>
                    </a:lnTo>
                    <a:lnTo>
                      <a:pt x="47" y="228"/>
                    </a:lnTo>
                    <a:lnTo>
                      <a:pt x="41" y="236"/>
                    </a:lnTo>
                    <a:lnTo>
                      <a:pt x="42" y="253"/>
                    </a:lnTo>
                    <a:lnTo>
                      <a:pt x="43" y="268"/>
                    </a:lnTo>
                    <a:lnTo>
                      <a:pt x="57" y="290"/>
                    </a:lnTo>
                    <a:lnTo>
                      <a:pt x="79" y="307"/>
                    </a:lnTo>
                    <a:lnTo>
                      <a:pt x="103" y="310"/>
                    </a:lnTo>
                    <a:lnTo>
                      <a:pt x="111" y="303"/>
                    </a:lnTo>
                    <a:lnTo>
                      <a:pt x="118" y="290"/>
                    </a:lnTo>
                    <a:lnTo>
                      <a:pt x="127" y="290"/>
                    </a:lnTo>
                    <a:lnTo>
                      <a:pt x="159" y="274"/>
                    </a:lnTo>
                    <a:lnTo>
                      <a:pt x="157" y="282"/>
                    </a:lnTo>
                    <a:lnTo>
                      <a:pt x="159" y="295"/>
                    </a:lnTo>
                    <a:lnTo>
                      <a:pt x="170" y="305"/>
                    </a:lnTo>
                    <a:lnTo>
                      <a:pt x="180" y="305"/>
                    </a:lnTo>
                    <a:lnTo>
                      <a:pt x="191" y="297"/>
                    </a:lnTo>
                    <a:lnTo>
                      <a:pt x="203" y="297"/>
                    </a:lnTo>
                    <a:lnTo>
                      <a:pt x="230" y="305"/>
                    </a:lnTo>
                    <a:lnTo>
                      <a:pt x="234" y="312"/>
                    </a:lnTo>
                    <a:lnTo>
                      <a:pt x="234" y="321"/>
                    </a:lnTo>
                    <a:lnTo>
                      <a:pt x="250" y="322"/>
                    </a:lnTo>
                    <a:lnTo>
                      <a:pt x="253" y="316"/>
                    </a:lnTo>
                    <a:lnTo>
                      <a:pt x="256" y="318"/>
                    </a:lnTo>
                    <a:lnTo>
                      <a:pt x="257" y="328"/>
                    </a:lnTo>
                    <a:lnTo>
                      <a:pt x="268" y="343"/>
                    </a:lnTo>
                    <a:lnTo>
                      <a:pt x="268" y="366"/>
                    </a:lnTo>
                    <a:lnTo>
                      <a:pt x="277" y="388"/>
                    </a:lnTo>
                    <a:lnTo>
                      <a:pt x="278" y="399"/>
                    </a:lnTo>
                    <a:lnTo>
                      <a:pt x="294" y="418"/>
                    </a:lnTo>
                    <a:lnTo>
                      <a:pt x="301" y="416"/>
                    </a:lnTo>
                    <a:lnTo>
                      <a:pt x="313" y="430"/>
                    </a:lnTo>
                    <a:lnTo>
                      <a:pt x="318" y="420"/>
                    </a:lnTo>
                    <a:lnTo>
                      <a:pt x="326" y="415"/>
                    </a:lnTo>
                    <a:lnTo>
                      <a:pt x="339" y="416"/>
                    </a:lnTo>
                    <a:lnTo>
                      <a:pt x="355" y="410"/>
                    </a:lnTo>
                    <a:lnTo>
                      <a:pt x="360" y="395"/>
                    </a:lnTo>
                    <a:lnTo>
                      <a:pt x="359" y="382"/>
                    </a:lnTo>
                    <a:lnTo>
                      <a:pt x="368" y="357"/>
                    </a:lnTo>
                    <a:lnTo>
                      <a:pt x="337" y="30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6" name="Freeform 307"/>
              <p:cNvSpPr>
                <a:spLocks noChangeAspect="1"/>
              </p:cNvSpPr>
              <p:nvPr/>
            </p:nvSpPr>
            <p:spPr bwMode="gray">
              <a:xfrm>
                <a:off x="1462" y="960"/>
                <a:ext cx="121" cy="112"/>
              </a:xfrm>
              <a:custGeom>
                <a:avLst/>
                <a:gdLst/>
                <a:ahLst/>
                <a:cxnLst>
                  <a:cxn ang="0">
                    <a:pos x="22" y="39"/>
                  </a:cxn>
                  <a:cxn ang="0">
                    <a:pos x="18" y="69"/>
                  </a:cxn>
                  <a:cxn ang="0">
                    <a:pos x="88" y="118"/>
                  </a:cxn>
                  <a:cxn ang="0">
                    <a:pos x="103" y="142"/>
                  </a:cxn>
                  <a:cxn ang="0">
                    <a:pos x="45" y="146"/>
                  </a:cxn>
                  <a:cxn ang="0">
                    <a:pos x="39" y="178"/>
                  </a:cxn>
                  <a:cxn ang="0">
                    <a:pos x="70" y="189"/>
                  </a:cxn>
                  <a:cxn ang="0">
                    <a:pos x="83" y="233"/>
                  </a:cxn>
                  <a:cxn ang="0">
                    <a:pos x="110" y="200"/>
                  </a:cxn>
                  <a:cxn ang="0">
                    <a:pos x="143" y="192"/>
                  </a:cxn>
                  <a:cxn ang="0">
                    <a:pos x="132" y="225"/>
                  </a:cxn>
                  <a:cxn ang="0">
                    <a:pos x="158" y="204"/>
                  </a:cxn>
                  <a:cxn ang="0">
                    <a:pos x="177" y="181"/>
                  </a:cxn>
                  <a:cxn ang="0">
                    <a:pos x="193" y="192"/>
                  </a:cxn>
                  <a:cxn ang="0">
                    <a:pos x="229" y="209"/>
                  </a:cxn>
                  <a:cxn ang="0">
                    <a:pos x="260" y="216"/>
                  </a:cxn>
                  <a:cxn ang="0">
                    <a:pos x="208" y="232"/>
                  </a:cxn>
                  <a:cxn ang="0">
                    <a:pos x="266" y="236"/>
                  </a:cxn>
                  <a:cxn ang="0">
                    <a:pos x="313" y="243"/>
                  </a:cxn>
                  <a:cxn ang="0">
                    <a:pos x="154" y="292"/>
                  </a:cxn>
                  <a:cxn ang="0">
                    <a:pos x="138" y="340"/>
                  </a:cxn>
                  <a:cxn ang="0">
                    <a:pos x="185" y="382"/>
                  </a:cxn>
                  <a:cxn ang="0">
                    <a:pos x="153" y="392"/>
                  </a:cxn>
                  <a:cxn ang="0">
                    <a:pos x="164" y="416"/>
                  </a:cxn>
                  <a:cxn ang="0">
                    <a:pos x="243" y="442"/>
                  </a:cxn>
                  <a:cxn ang="0">
                    <a:pos x="184" y="486"/>
                  </a:cxn>
                  <a:cxn ang="0">
                    <a:pos x="211" y="506"/>
                  </a:cxn>
                  <a:cxn ang="0">
                    <a:pos x="210" y="513"/>
                  </a:cxn>
                  <a:cxn ang="0">
                    <a:pos x="250" y="547"/>
                  </a:cxn>
                  <a:cxn ang="0">
                    <a:pos x="326" y="549"/>
                  </a:cxn>
                  <a:cxn ang="0">
                    <a:pos x="326" y="511"/>
                  </a:cxn>
                  <a:cxn ang="0">
                    <a:pos x="365" y="552"/>
                  </a:cxn>
                  <a:cxn ang="0">
                    <a:pos x="335" y="475"/>
                  </a:cxn>
                  <a:cxn ang="0">
                    <a:pos x="330" y="430"/>
                  </a:cxn>
                  <a:cxn ang="0">
                    <a:pos x="368" y="497"/>
                  </a:cxn>
                  <a:cxn ang="0">
                    <a:pos x="405" y="533"/>
                  </a:cxn>
                  <a:cxn ang="0">
                    <a:pos x="398" y="415"/>
                  </a:cxn>
                  <a:cxn ang="0">
                    <a:pos x="421" y="461"/>
                  </a:cxn>
                  <a:cxn ang="0">
                    <a:pos x="435" y="416"/>
                  </a:cxn>
                  <a:cxn ang="0">
                    <a:pos x="420" y="360"/>
                  </a:cxn>
                  <a:cxn ang="0">
                    <a:pos x="432" y="284"/>
                  </a:cxn>
                  <a:cxn ang="0">
                    <a:pos x="431" y="321"/>
                  </a:cxn>
                  <a:cxn ang="0">
                    <a:pos x="455" y="407"/>
                  </a:cxn>
                  <a:cxn ang="0">
                    <a:pos x="486" y="303"/>
                  </a:cxn>
                  <a:cxn ang="0">
                    <a:pos x="513" y="310"/>
                  </a:cxn>
                  <a:cxn ang="0">
                    <a:pos x="602" y="231"/>
                  </a:cxn>
                  <a:cxn ang="0">
                    <a:pos x="588" y="170"/>
                  </a:cxn>
                  <a:cxn ang="0">
                    <a:pos x="551" y="135"/>
                  </a:cxn>
                  <a:cxn ang="0">
                    <a:pos x="535" y="176"/>
                  </a:cxn>
                  <a:cxn ang="0">
                    <a:pos x="539" y="141"/>
                  </a:cxn>
                  <a:cxn ang="0">
                    <a:pos x="507" y="93"/>
                  </a:cxn>
                  <a:cxn ang="0">
                    <a:pos x="468" y="127"/>
                  </a:cxn>
                  <a:cxn ang="0">
                    <a:pos x="481" y="96"/>
                  </a:cxn>
                  <a:cxn ang="0">
                    <a:pos x="481" y="33"/>
                  </a:cxn>
                  <a:cxn ang="0">
                    <a:pos x="104" y="0"/>
                  </a:cxn>
                  <a:cxn ang="0">
                    <a:pos x="99" y="0"/>
                  </a:cxn>
                  <a:cxn ang="0">
                    <a:pos x="2" y="0"/>
                  </a:cxn>
                </a:cxnLst>
                <a:rect l="0" t="0" r="r" b="b"/>
                <a:pathLst>
                  <a:path w="603" h="558">
                    <a:moveTo>
                      <a:pt x="3" y="21"/>
                    </a:moveTo>
                    <a:lnTo>
                      <a:pt x="23" y="26"/>
                    </a:lnTo>
                    <a:lnTo>
                      <a:pt x="25" y="32"/>
                    </a:lnTo>
                    <a:lnTo>
                      <a:pt x="22" y="39"/>
                    </a:lnTo>
                    <a:lnTo>
                      <a:pt x="1" y="42"/>
                    </a:lnTo>
                    <a:lnTo>
                      <a:pt x="12" y="52"/>
                    </a:lnTo>
                    <a:lnTo>
                      <a:pt x="9" y="57"/>
                    </a:lnTo>
                    <a:lnTo>
                      <a:pt x="18" y="69"/>
                    </a:lnTo>
                    <a:lnTo>
                      <a:pt x="34" y="103"/>
                    </a:lnTo>
                    <a:lnTo>
                      <a:pt x="55" y="117"/>
                    </a:lnTo>
                    <a:lnTo>
                      <a:pt x="59" y="124"/>
                    </a:lnTo>
                    <a:lnTo>
                      <a:pt x="88" y="118"/>
                    </a:lnTo>
                    <a:lnTo>
                      <a:pt x="105" y="128"/>
                    </a:lnTo>
                    <a:lnTo>
                      <a:pt x="126" y="104"/>
                    </a:lnTo>
                    <a:lnTo>
                      <a:pt x="120" y="129"/>
                    </a:lnTo>
                    <a:lnTo>
                      <a:pt x="103" y="142"/>
                    </a:lnTo>
                    <a:lnTo>
                      <a:pt x="81" y="144"/>
                    </a:lnTo>
                    <a:lnTo>
                      <a:pt x="80" y="149"/>
                    </a:lnTo>
                    <a:lnTo>
                      <a:pt x="64" y="155"/>
                    </a:lnTo>
                    <a:lnTo>
                      <a:pt x="45" y="146"/>
                    </a:lnTo>
                    <a:lnTo>
                      <a:pt x="39" y="152"/>
                    </a:lnTo>
                    <a:lnTo>
                      <a:pt x="38" y="161"/>
                    </a:lnTo>
                    <a:lnTo>
                      <a:pt x="40" y="168"/>
                    </a:lnTo>
                    <a:lnTo>
                      <a:pt x="39" y="178"/>
                    </a:lnTo>
                    <a:lnTo>
                      <a:pt x="48" y="189"/>
                    </a:lnTo>
                    <a:lnTo>
                      <a:pt x="56" y="188"/>
                    </a:lnTo>
                    <a:lnTo>
                      <a:pt x="60" y="195"/>
                    </a:lnTo>
                    <a:lnTo>
                      <a:pt x="70" y="189"/>
                    </a:lnTo>
                    <a:lnTo>
                      <a:pt x="72" y="200"/>
                    </a:lnTo>
                    <a:lnTo>
                      <a:pt x="77" y="209"/>
                    </a:lnTo>
                    <a:lnTo>
                      <a:pt x="76" y="212"/>
                    </a:lnTo>
                    <a:lnTo>
                      <a:pt x="83" y="233"/>
                    </a:lnTo>
                    <a:lnTo>
                      <a:pt x="88" y="224"/>
                    </a:lnTo>
                    <a:lnTo>
                      <a:pt x="98" y="212"/>
                    </a:lnTo>
                    <a:lnTo>
                      <a:pt x="108" y="209"/>
                    </a:lnTo>
                    <a:lnTo>
                      <a:pt x="110" y="200"/>
                    </a:lnTo>
                    <a:lnTo>
                      <a:pt x="109" y="193"/>
                    </a:lnTo>
                    <a:lnTo>
                      <a:pt x="116" y="183"/>
                    </a:lnTo>
                    <a:lnTo>
                      <a:pt x="135" y="193"/>
                    </a:lnTo>
                    <a:lnTo>
                      <a:pt x="143" y="192"/>
                    </a:lnTo>
                    <a:lnTo>
                      <a:pt x="132" y="203"/>
                    </a:lnTo>
                    <a:lnTo>
                      <a:pt x="130" y="209"/>
                    </a:lnTo>
                    <a:lnTo>
                      <a:pt x="129" y="225"/>
                    </a:lnTo>
                    <a:lnTo>
                      <a:pt x="132" y="225"/>
                    </a:lnTo>
                    <a:lnTo>
                      <a:pt x="138" y="236"/>
                    </a:lnTo>
                    <a:lnTo>
                      <a:pt x="146" y="233"/>
                    </a:lnTo>
                    <a:lnTo>
                      <a:pt x="156" y="221"/>
                    </a:lnTo>
                    <a:lnTo>
                      <a:pt x="158" y="204"/>
                    </a:lnTo>
                    <a:lnTo>
                      <a:pt x="168" y="197"/>
                    </a:lnTo>
                    <a:lnTo>
                      <a:pt x="170" y="181"/>
                    </a:lnTo>
                    <a:lnTo>
                      <a:pt x="175" y="172"/>
                    </a:lnTo>
                    <a:lnTo>
                      <a:pt x="177" y="181"/>
                    </a:lnTo>
                    <a:lnTo>
                      <a:pt x="170" y="208"/>
                    </a:lnTo>
                    <a:lnTo>
                      <a:pt x="174" y="211"/>
                    </a:lnTo>
                    <a:lnTo>
                      <a:pt x="191" y="205"/>
                    </a:lnTo>
                    <a:lnTo>
                      <a:pt x="193" y="192"/>
                    </a:lnTo>
                    <a:lnTo>
                      <a:pt x="194" y="189"/>
                    </a:lnTo>
                    <a:lnTo>
                      <a:pt x="218" y="183"/>
                    </a:lnTo>
                    <a:lnTo>
                      <a:pt x="215" y="200"/>
                    </a:lnTo>
                    <a:lnTo>
                      <a:pt x="229" y="209"/>
                    </a:lnTo>
                    <a:lnTo>
                      <a:pt x="276" y="203"/>
                    </a:lnTo>
                    <a:lnTo>
                      <a:pt x="277" y="206"/>
                    </a:lnTo>
                    <a:lnTo>
                      <a:pt x="272" y="211"/>
                    </a:lnTo>
                    <a:lnTo>
                      <a:pt x="260" y="216"/>
                    </a:lnTo>
                    <a:lnTo>
                      <a:pt x="222" y="216"/>
                    </a:lnTo>
                    <a:lnTo>
                      <a:pt x="220" y="224"/>
                    </a:lnTo>
                    <a:lnTo>
                      <a:pt x="208" y="224"/>
                    </a:lnTo>
                    <a:lnTo>
                      <a:pt x="208" y="232"/>
                    </a:lnTo>
                    <a:lnTo>
                      <a:pt x="213" y="237"/>
                    </a:lnTo>
                    <a:lnTo>
                      <a:pt x="227" y="244"/>
                    </a:lnTo>
                    <a:lnTo>
                      <a:pt x="259" y="243"/>
                    </a:lnTo>
                    <a:lnTo>
                      <a:pt x="266" y="236"/>
                    </a:lnTo>
                    <a:lnTo>
                      <a:pt x="312" y="231"/>
                    </a:lnTo>
                    <a:lnTo>
                      <a:pt x="324" y="222"/>
                    </a:lnTo>
                    <a:lnTo>
                      <a:pt x="315" y="241"/>
                    </a:lnTo>
                    <a:lnTo>
                      <a:pt x="313" y="243"/>
                    </a:lnTo>
                    <a:lnTo>
                      <a:pt x="275" y="247"/>
                    </a:lnTo>
                    <a:lnTo>
                      <a:pt x="242" y="258"/>
                    </a:lnTo>
                    <a:lnTo>
                      <a:pt x="173" y="265"/>
                    </a:lnTo>
                    <a:lnTo>
                      <a:pt x="154" y="292"/>
                    </a:lnTo>
                    <a:lnTo>
                      <a:pt x="138" y="298"/>
                    </a:lnTo>
                    <a:lnTo>
                      <a:pt x="127" y="313"/>
                    </a:lnTo>
                    <a:lnTo>
                      <a:pt x="130" y="325"/>
                    </a:lnTo>
                    <a:lnTo>
                      <a:pt x="138" y="340"/>
                    </a:lnTo>
                    <a:lnTo>
                      <a:pt x="145" y="359"/>
                    </a:lnTo>
                    <a:lnTo>
                      <a:pt x="163" y="356"/>
                    </a:lnTo>
                    <a:lnTo>
                      <a:pt x="183" y="371"/>
                    </a:lnTo>
                    <a:lnTo>
                      <a:pt x="185" y="382"/>
                    </a:lnTo>
                    <a:lnTo>
                      <a:pt x="163" y="380"/>
                    </a:lnTo>
                    <a:lnTo>
                      <a:pt x="156" y="373"/>
                    </a:lnTo>
                    <a:lnTo>
                      <a:pt x="151" y="377"/>
                    </a:lnTo>
                    <a:lnTo>
                      <a:pt x="153" y="392"/>
                    </a:lnTo>
                    <a:lnTo>
                      <a:pt x="158" y="404"/>
                    </a:lnTo>
                    <a:lnTo>
                      <a:pt x="165" y="404"/>
                    </a:lnTo>
                    <a:lnTo>
                      <a:pt x="163" y="410"/>
                    </a:lnTo>
                    <a:lnTo>
                      <a:pt x="164" y="416"/>
                    </a:lnTo>
                    <a:lnTo>
                      <a:pt x="170" y="426"/>
                    </a:lnTo>
                    <a:lnTo>
                      <a:pt x="193" y="420"/>
                    </a:lnTo>
                    <a:lnTo>
                      <a:pt x="201" y="427"/>
                    </a:lnTo>
                    <a:lnTo>
                      <a:pt x="243" y="442"/>
                    </a:lnTo>
                    <a:lnTo>
                      <a:pt x="238" y="448"/>
                    </a:lnTo>
                    <a:lnTo>
                      <a:pt x="178" y="457"/>
                    </a:lnTo>
                    <a:lnTo>
                      <a:pt x="178" y="472"/>
                    </a:lnTo>
                    <a:lnTo>
                      <a:pt x="184" y="486"/>
                    </a:lnTo>
                    <a:lnTo>
                      <a:pt x="193" y="491"/>
                    </a:lnTo>
                    <a:lnTo>
                      <a:pt x="199" y="505"/>
                    </a:lnTo>
                    <a:lnTo>
                      <a:pt x="205" y="509"/>
                    </a:lnTo>
                    <a:lnTo>
                      <a:pt x="211" y="506"/>
                    </a:lnTo>
                    <a:lnTo>
                      <a:pt x="212" y="497"/>
                    </a:lnTo>
                    <a:lnTo>
                      <a:pt x="216" y="500"/>
                    </a:lnTo>
                    <a:lnTo>
                      <a:pt x="216" y="506"/>
                    </a:lnTo>
                    <a:lnTo>
                      <a:pt x="210" y="513"/>
                    </a:lnTo>
                    <a:lnTo>
                      <a:pt x="218" y="523"/>
                    </a:lnTo>
                    <a:lnTo>
                      <a:pt x="223" y="537"/>
                    </a:lnTo>
                    <a:lnTo>
                      <a:pt x="242" y="537"/>
                    </a:lnTo>
                    <a:lnTo>
                      <a:pt x="250" y="547"/>
                    </a:lnTo>
                    <a:lnTo>
                      <a:pt x="269" y="549"/>
                    </a:lnTo>
                    <a:lnTo>
                      <a:pt x="290" y="558"/>
                    </a:lnTo>
                    <a:lnTo>
                      <a:pt x="324" y="558"/>
                    </a:lnTo>
                    <a:lnTo>
                      <a:pt x="326" y="549"/>
                    </a:lnTo>
                    <a:lnTo>
                      <a:pt x="323" y="532"/>
                    </a:lnTo>
                    <a:lnTo>
                      <a:pt x="307" y="523"/>
                    </a:lnTo>
                    <a:lnTo>
                      <a:pt x="299" y="511"/>
                    </a:lnTo>
                    <a:lnTo>
                      <a:pt x="326" y="511"/>
                    </a:lnTo>
                    <a:lnTo>
                      <a:pt x="339" y="515"/>
                    </a:lnTo>
                    <a:lnTo>
                      <a:pt x="347" y="532"/>
                    </a:lnTo>
                    <a:lnTo>
                      <a:pt x="360" y="539"/>
                    </a:lnTo>
                    <a:lnTo>
                      <a:pt x="365" y="552"/>
                    </a:lnTo>
                    <a:lnTo>
                      <a:pt x="367" y="545"/>
                    </a:lnTo>
                    <a:lnTo>
                      <a:pt x="350" y="501"/>
                    </a:lnTo>
                    <a:lnTo>
                      <a:pt x="339" y="486"/>
                    </a:lnTo>
                    <a:lnTo>
                      <a:pt x="335" y="475"/>
                    </a:lnTo>
                    <a:lnTo>
                      <a:pt x="322" y="447"/>
                    </a:lnTo>
                    <a:lnTo>
                      <a:pt x="323" y="426"/>
                    </a:lnTo>
                    <a:lnTo>
                      <a:pt x="328" y="424"/>
                    </a:lnTo>
                    <a:lnTo>
                      <a:pt x="330" y="430"/>
                    </a:lnTo>
                    <a:lnTo>
                      <a:pt x="339" y="457"/>
                    </a:lnTo>
                    <a:lnTo>
                      <a:pt x="346" y="469"/>
                    </a:lnTo>
                    <a:lnTo>
                      <a:pt x="367" y="486"/>
                    </a:lnTo>
                    <a:lnTo>
                      <a:pt x="368" y="497"/>
                    </a:lnTo>
                    <a:lnTo>
                      <a:pt x="384" y="532"/>
                    </a:lnTo>
                    <a:lnTo>
                      <a:pt x="394" y="544"/>
                    </a:lnTo>
                    <a:lnTo>
                      <a:pt x="401" y="545"/>
                    </a:lnTo>
                    <a:lnTo>
                      <a:pt x="405" y="533"/>
                    </a:lnTo>
                    <a:lnTo>
                      <a:pt x="412" y="483"/>
                    </a:lnTo>
                    <a:lnTo>
                      <a:pt x="395" y="451"/>
                    </a:lnTo>
                    <a:lnTo>
                      <a:pt x="394" y="436"/>
                    </a:lnTo>
                    <a:lnTo>
                      <a:pt x="398" y="415"/>
                    </a:lnTo>
                    <a:lnTo>
                      <a:pt x="401" y="416"/>
                    </a:lnTo>
                    <a:lnTo>
                      <a:pt x="403" y="426"/>
                    </a:lnTo>
                    <a:lnTo>
                      <a:pt x="417" y="447"/>
                    </a:lnTo>
                    <a:lnTo>
                      <a:pt x="421" y="461"/>
                    </a:lnTo>
                    <a:lnTo>
                      <a:pt x="436" y="461"/>
                    </a:lnTo>
                    <a:lnTo>
                      <a:pt x="436" y="451"/>
                    </a:lnTo>
                    <a:lnTo>
                      <a:pt x="438" y="434"/>
                    </a:lnTo>
                    <a:lnTo>
                      <a:pt x="435" y="416"/>
                    </a:lnTo>
                    <a:lnTo>
                      <a:pt x="423" y="407"/>
                    </a:lnTo>
                    <a:lnTo>
                      <a:pt x="425" y="396"/>
                    </a:lnTo>
                    <a:lnTo>
                      <a:pt x="420" y="376"/>
                    </a:lnTo>
                    <a:lnTo>
                      <a:pt x="420" y="360"/>
                    </a:lnTo>
                    <a:lnTo>
                      <a:pt x="421" y="348"/>
                    </a:lnTo>
                    <a:lnTo>
                      <a:pt x="421" y="329"/>
                    </a:lnTo>
                    <a:lnTo>
                      <a:pt x="427" y="312"/>
                    </a:lnTo>
                    <a:lnTo>
                      <a:pt x="432" y="284"/>
                    </a:lnTo>
                    <a:lnTo>
                      <a:pt x="436" y="280"/>
                    </a:lnTo>
                    <a:lnTo>
                      <a:pt x="436" y="287"/>
                    </a:lnTo>
                    <a:lnTo>
                      <a:pt x="433" y="298"/>
                    </a:lnTo>
                    <a:lnTo>
                      <a:pt x="431" y="321"/>
                    </a:lnTo>
                    <a:lnTo>
                      <a:pt x="436" y="334"/>
                    </a:lnTo>
                    <a:lnTo>
                      <a:pt x="436" y="361"/>
                    </a:lnTo>
                    <a:lnTo>
                      <a:pt x="438" y="380"/>
                    </a:lnTo>
                    <a:lnTo>
                      <a:pt x="455" y="407"/>
                    </a:lnTo>
                    <a:lnTo>
                      <a:pt x="460" y="404"/>
                    </a:lnTo>
                    <a:lnTo>
                      <a:pt x="475" y="367"/>
                    </a:lnTo>
                    <a:lnTo>
                      <a:pt x="489" y="345"/>
                    </a:lnTo>
                    <a:lnTo>
                      <a:pt x="486" y="303"/>
                    </a:lnTo>
                    <a:lnTo>
                      <a:pt x="486" y="291"/>
                    </a:lnTo>
                    <a:lnTo>
                      <a:pt x="496" y="300"/>
                    </a:lnTo>
                    <a:lnTo>
                      <a:pt x="498" y="329"/>
                    </a:lnTo>
                    <a:lnTo>
                      <a:pt x="513" y="310"/>
                    </a:lnTo>
                    <a:lnTo>
                      <a:pt x="511" y="307"/>
                    </a:lnTo>
                    <a:lnTo>
                      <a:pt x="512" y="292"/>
                    </a:lnTo>
                    <a:lnTo>
                      <a:pt x="565" y="267"/>
                    </a:lnTo>
                    <a:lnTo>
                      <a:pt x="602" y="231"/>
                    </a:lnTo>
                    <a:lnTo>
                      <a:pt x="603" y="204"/>
                    </a:lnTo>
                    <a:lnTo>
                      <a:pt x="600" y="195"/>
                    </a:lnTo>
                    <a:lnTo>
                      <a:pt x="592" y="184"/>
                    </a:lnTo>
                    <a:lnTo>
                      <a:pt x="588" y="170"/>
                    </a:lnTo>
                    <a:lnTo>
                      <a:pt x="571" y="146"/>
                    </a:lnTo>
                    <a:lnTo>
                      <a:pt x="560" y="123"/>
                    </a:lnTo>
                    <a:lnTo>
                      <a:pt x="552" y="128"/>
                    </a:lnTo>
                    <a:lnTo>
                      <a:pt x="551" y="135"/>
                    </a:lnTo>
                    <a:lnTo>
                      <a:pt x="549" y="145"/>
                    </a:lnTo>
                    <a:lnTo>
                      <a:pt x="549" y="156"/>
                    </a:lnTo>
                    <a:lnTo>
                      <a:pt x="545" y="165"/>
                    </a:lnTo>
                    <a:lnTo>
                      <a:pt x="535" y="176"/>
                    </a:lnTo>
                    <a:lnTo>
                      <a:pt x="534" y="168"/>
                    </a:lnTo>
                    <a:lnTo>
                      <a:pt x="540" y="162"/>
                    </a:lnTo>
                    <a:lnTo>
                      <a:pt x="538" y="150"/>
                    </a:lnTo>
                    <a:lnTo>
                      <a:pt x="539" y="141"/>
                    </a:lnTo>
                    <a:lnTo>
                      <a:pt x="538" y="130"/>
                    </a:lnTo>
                    <a:lnTo>
                      <a:pt x="529" y="123"/>
                    </a:lnTo>
                    <a:lnTo>
                      <a:pt x="519" y="103"/>
                    </a:lnTo>
                    <a:lnTo>
                      <a:pt x="507" y="93"/>
                    </a:lnTo>
                    <a:lnTo>
                      <a:pt x="502" y="92"/>
                    </a:lnTo>
                    <a:lnTo>
                      <a:pt x="489" y="107"/>
                    </a:lnTo>
                    <a:lnTo>
                      <a:pt x="479" y="107"/>
                    </a:lnTo>
                    <a:lnTo>
                      <a:pt x="468" y="127"/>
                    </a:lnTo>
                    <a:lnTo>
                      <a:pt x="464" y="128"/>
                    </a:lnTo>
                    <a:lnTo>
                      <a:pt x="464" y="115"/>
                    </a:lnTo>
                    <a:lnTo>
                      <a:pt x="470" y="102"/>
                    </a:lnTo>
                    <a:lnTo>
                      <a:pt x="481" y="96"/>
                    </a:lnTo>
                    <a:lnTo>
                      <a:pt x="487" y="60"/>
                    </a:lnTo>
                    <a:lnTo>
                      <a:pt x="496" y="32"/>
                    </a:lnTo>
                    <a:lnTo>
                      <a:pt x="496" y="27"/>
                    </a:lnTo>
                    <a:lnTo>
                      <a:pt x="481" y="33"/>
                    </a:lnTo>
                    <a:lnTo>
                      <a:pt x="481" y="28"/>
                    </a:lnTo>
                    <a:lnTo>
                      <a:pt x="491" y="17"/>
                    </a:lnTo>
                    <a:lnTo>
                      <a:pt x="487" y="0"/>
                    </a:lnTo>
                    <a:lnTo>
                      <a:pt x="104" y="0"/>
                    </a:lnTo>
                    <a:lnTo>
                      <a:pt x="110" y="9"/>
                    </a:lnTo>
                    <a:lnTo>
                      <a:pt x="111" y="15"/>
                    </a:lnTo>
                    <a:lnTo>
                      <a:pt x="102" y="1"/>
                    </a:lnTo>
                    <a:lnTo>
                      <a:pt x="99" y="0"/>
                    </a:lnTo>
                    <a:lnTo>
                      <a:pt x="78" y="0"/>
                    </a:lnTo>
                    <a:lnTo>
                      <a:pt x="75" y="2"/>
                    </a:lnTo>
                    <a:lnTo>
                      <a:pt x="7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3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7" name="Freeform 308"/>
              <p:cNvSpPr>
                <a:spLocks noChangeAspect="1"/>
              </p:cNvSpPr>
              <p:nvPr/>
            </p:nvSpPr>
            <p:spPr bwMode="gray">
              <a:xfrm>
                <a:off x="1532" y="960"/>
                <a:ext cx="206" cy="207"/>
              </a:xfrm>
              <a:custGeom>
                <a:avLst/>
                <a:gdLst/>
                <a:ahLst/>
                <a:cxnLst>
                  <a:cxn ang="0">
                    <a:pos x="181" y="70"/>
                  </a:cxn>
                  <a:cxn ang="0">
                    <a:pos x="284" y="215"/>
                  </a:cxn>
                  <a:cxn ang="0">
                    <a:pos x="322" y="275"/>
                  </a:cxn>
                  <a:cxn ang="0">
                    <a:pos x="270" y="271"/>
                  </a:cxn>
                  <a:cxn ang="0">
                    <a:pos x="419" y="334"/>
                  </a:cxn>
                  <a:cxn ang="0">
                    <a:pos x="416" y="370"/>
                  </a:cxn>
                  <a:cxn ang="0">
                    <a:pos x="402" y="402"/>
                  </a:cxn>
                  <a:cxn ang="0">
                    <a:pos x="243" y="332"/>
                  </a:cxn>
                  <a:cxn ang="0">
                    <a:pos x="144" y="436"/>
                  </a:cxn>
                  <a:cxn ang="0">
                    <a:pos x="140" y="531"/>
                  </a:cxn>
                  <a:cxn ang="0">
                    <a:pos x="192" y="511"/>
                  </a:cxn>
                  <a:cxn ang="0">
                    <a:pos x="221" y="553"/>
                  </a:cxn>
                  <a:cxn ang="0">
                    <a:pos x="264" y="454"/>
                  </a:cxn>
                  <a:cxn ang="0">
                    <a:pos x="278" y="529"/>
                  </a:cxn>
                  <a:cxn ang="0">
                    <a:pos x="246" y="561"/>
                  </a:cxn>
                  <a:cxn ang="0">
                    <a:pos x="230" y="609"/>
                  </a:cxn>
                  <a:cxn ang="0">
                    <a:pos x="227" y="620"/>
                  </a:cxn>
                  <a:cxn ang="0">
                    <a:pos x="267" y="650"/>
                  </a:cxn>
                  <a:cxn ang="0">
                    <a:pos x="351" y="657"/>
                  </a:cxn>
                  <a:cxn ang="0">
                    <a:pos x="378" y="623"/>
                  </a:cxn>
                  <a:cxn ang="0">
                    <a:pos x="335" y="739"/>
                  </a:cxn>
                  <a:cxn ang="0">
                    <a:pos x="233" y="736"/>
                  </a:cxn>
                  <a:cxn ang="0">
                    <a:pos x="168" y="622"/>
                  </a:cxn>
                  <a:cxn ang="0">
                    <a:pos x="88" y="693"/>
                  </a:cxn>
                  <a:cxn ang="0">
                    <a:pos x="145" y="753"/>
                  </a:cxn>
                  <a:cxn ang="0">
                    <a:pos x="147" y="801"/>
                  </a:cxn>
                  <a:cxn ang="0">
                    <a:pos x="92" y="819"/>
                  </a:cxn>
                  <a:cxn ang="0">
                    <a:pos x="6" y="903"/>
                  </a:cxn>
                  <a:cxn ang="0">
                    <a:pos x="45" y="897"/>
                  </a:cxn>
                  <a:cxn ang="0">
                    <a:pos x="108" y="964"/>
                  </a:cxn>
                  <a:cxn ang="0">
                    <a:pos x="190" y="995"/>
                  </a:cxn>
                  <a:cxn ang="0">
                    <a:pos x="286" y="925"/>
                  </a:cxn>
                  <a:cxn ang="0">
                    <a:pos x="399" y="979"/>
                  </a:cxn>
                  <a:cxn ang="0">
                    <a:pos x="456" y="958"/>
                  </a:cxn>
                  <a:cxn ang="0">
                    <a:pos x="581" y="943"/>
                  </a:cxn>
                  <a:cxn ang="0">
                    <a:pos x="595" y="865"/>
                  </a:cxn>
                  <a:cxn ang="0">
                    <a:pos x="570" y="792"/>
                  </a:cxn>
                  <a:cxn ang="0">
                    <a:pos x="423" y="805"/>
                  </a:cxn>
                  <a:cxn ang="0">
                    <a:pos x="498" y="773"/>
                  </a:cxn>
                  <a:cxn ang="0">
                    <a:pos x="652" y="694"/>
                  </a:cxn>
                  <a:cxn ang="0">
                    <a:pos x="622" y="596"/>
                  </a:cxn>
                  <a:cxn ang="0">
                    <a:pos x="768" y="555"/>
                  </a:cxn>
                  <a:cxn ang="0">
                    <a:pos x="775" y="468"/>
                  </a:cxn>
                  <a:cxn ang="0">
                    <a:pos x="813" y="411"/>
                  </a:cxn>
                  <a:cxn ang="0">
                    <a:pos x="757" y="319"/>
                  </a:cxn>
                  <a:cxn ang="0">
                    <a:pos x="645" y="291"/>
                  </a:cxn>
                  <a:cxn ang="0">
                    <a:pos x="715" y="247"/>
                  </a:cxn>
                  <a:cxn ang="0">
                    <a:pos x="828" y="274"/>
                  </a:cxn>
                  <a:cxn ang="0">
                    <a:pos x="650" y="222"/>
                  </a:cxn>
                  <a:cxn ang="0">
                    <a:pos x="746" y="209"/>
                  </a:cxn>
                  <a:cxn ang="0">
                    <a:pos x="801" y="185"/>
                  </a:cxn>
                  <a:cxn ang="0">
                    <a:pos x="881" y="140"/>
                  </a:cxn>
                  <a:cxn ang="0">
                    <a:pos x="884" y="103"/>
                  </a:cxn>
                  <a:cxn ang="0">
                    <a:pos x="978" y="58"/>
                  </a:cxn>
                  <a:cxn ang="0">
                    <a:pos x="426" y="41"/>
                  </a:cxn>
                  <a:cxn ang="0">
                    <a:pos x="526" y="107"/>
                  </a:cxn>
                  <a:cxn ang="0">
                    <a:pos x="432" y="129"/>
                  </a:cxn>
                  <a:cxn ang="0">
                    <a:pos x="220" y="14"/>
                  </a:cxn>
                </a:cxnLst>
                <a:rect l="0" t="0" r="r" b="b"/>
                <a:pathLst>
                  <a:path w="1028" h="1037">
                    <a:moveTo>
                      <a:pt x="231" y="23"/>
                    </a:moveTo>
                    <a:lnTo>
                      <a:pt x="231" y="28"/>
                    </a:lnTo>
                    <a:lnTo>
                      <a:pt x="228" y="33"/>
                    </a:lnTo>
                    <a:lnTo>
                      <a:pt x="193" y="18"/>
                    </a:lnTo>
                    <a:lnTo>
                      <a:pt x="184" y="9"/>
                    </a:lnTo>
                    <a:lnTo>
                      <a:pt x="174" y="7"/>
                    </a:lnTo>
                    <a:lnTo>
                      <a:pt x="168" y="11"/>
                    </a:lnTo>
                    <a:lnTo>
                      <a:pt x="168" y="49"/>
                    </a:lnTo>
                    <a:lnTo>
                      <a:pt x="170" y="57"/>
                    </a:lnTo>
                    <a:lnTo>
                      <a:pt x="181" y="70"/>
                    </a:lnTo>
                    <a:lnTo>
                      <a:pt x="204" y="86"/>
                    </a:lnTo>
                    <a:lnTo>
                      <a:pt x="217" y="87"/>
                    </a:lnTo>
                    <a:lnTo>
                      <a:pt x="243" y="111"/>
                    </a:lnTo>
                    <a:lnTo>
                      <a:pt x="247" y="120"/>
                    </a:lnTo>
                    <a:lnTo>
                      <a:pt x="251" y="141"/>
                    </a:lnTo>
                    <a:lnTo>
                      <a:pt x="256" y="151"/>
                    </a:lnTo>
                    <a:lnTo>
                      <a:pt x="279" y="182"/>
                    </a:lnTo>
                    <a:lnTo>
                      <a:pt x="281" y="192"/>
                    </a:lnTo>
                    <a:lnTo>
                      <a:pt x="280" y="204"/>
                    </a:lnTo>
                    <a:lnTo>
                      <a:pt x="284" y="215"/>
                    </a:lnTo>
                    <a:lnTo>
                      <a:pt x="284" y="225"/>
                    </a:lnTo>
                    <a:lnTo>
                      <a:pt x="283" y="228"/>
                    </a:lnTo>
                    <a:lnTo>
                      <a:pt x="286" y="237"/>
                    </a:lnTo>
                    <a:lnTo>
                      <a:pt x="289" y="253"/>
                    </a:lnTo>
                    <a:lnTo>
                      <a:pt x="303" y="249"/>
                    </a:lnTo>
                    <a:lnTo>
                      <a:pt x="310" y="240"/>
                    </a:lnTo>
                    <a:lnTo>
                      <a:pt x="308" y="251"/>
                    </a:lnTo>
                    <a:lnTo>
                      <a:pt x="303" y="259"/>
                    </a:lnTo>
                    <a:lnTo>
                      <a:pt x="314" y="278"/>
                    </a:lnTo>
                    <a:lnTo>
                      <a:pt x="322" y="275"/>
                    </a:lnTo>
                    <a:lnTo>
                      <a:pt x="324" y="290"/>
                    </a:lnTo>
                    <a:lnTo>
                      <a:pt x="330" y="298"/>
                    </a:lnTo>
                    <a:lnTo>
                      <a:pt x="344" y="296"/>
                    </a:lnTo>
                    <a:lnTo>
                      <a:pt x="337" y="307"/>
                    </a:lnTo>
                    <a:lnTo>
                      <a:pt x="318" y="306"/>
                    </a:lnTo>
                    <a:lnTo>
                      <a:pt x="307" y="301"/>
                    </a:lnTo>
                    <a:lnTo>
                      <a:pt x="295" y="280"/>
                    </a:lnTo>
                    <a:lnTo>
                      <a:pt x="283" y="279"/>
                    </a:lnTo>
                    <a:lnTo>
                      <a:pt x="276" y="269"/>
                    </a:lnTo>
                    <a:lnTo>
                      <a:pt x="270" y="271"/>
                    </a:lnTo>
                    <a:lnTo>
                      <a:pt x="262" y="286"/>
                    </a:lnTo>
                    <a:lnTo>
                      <a:pt x="265" y="302"/>
                    </a:lnTo>
                    <a:lnTo>
                      <a:pt x="278" y="307"/>
                    </a:lnTo>
                    <a:lnTo>
                      <a:pt x="295" y="327"/>
                    </a:lnTo>
                    <a:lnTo>
                      <a:pt x="354" y="333"/>
                    </a:lnTo>
                    <a:lnTo>
                      <a:pt x="377" y="346"/>
                    </a:lnTo>
                    <a:lnTo>
                      <a:pt x="407" y="345"/>
                    </a:lnTo>
                    <a:lnTo>
                      <a:pt x="410" y="343"/>
                    </a:lnTo>
                    <a:lnTo>
                      <a:pt x="413" y="335"/>
                    </a:lnTo>
                    <a:lnTo>
                      <a:pt x="419" y="334"/>
                    </a:lnTo>
                    <a:lnTo>
                      <a:pt x="434" y="316"/>
                    </a:lnTo>
                    <a:lnTo>
                      <a:pt x="442" y="313"/>
                    </a:lnTo>
                    <a:lnTo>
                      <a:pt x="442" y="316"/>
                    </a:lnTo>
                    <a:lnTo>
                      <a:pt x="434" y="332"/>
                    </a:lnTo>
                    <a:lnTo>
                      <a:pt x="431" y="349"/>
                    </a:lnTo>
                    <a:lnTo>
                      <a:pt x="434" y="353"/>
                    </a:lnTo>
                    <a:lnTo>
                      <a:pt x="427" y="361"/>
                    </a:lnTo>
                    <a:lnTo>
                      <a:pt x="424" y="360"/>
                    </a:lnTo>
                    <a:lnTo>
                      <a:pt x="421" y="367"/>
                    </a:lnTo>
                    <a:lnTo>
                      <a:pt x="416" y="370"/>
                    </a:lnTo>
                    <a:lnTo>
                      <a:pt x="408" y="357"/>
                    </a:lnTo>
                    <a:lnTo>
                      <a:pt x="398" y="364"/>
                    </a:lnTo>
                    <a:lnTo>
                      <a:pt x="355" y="357"/>
                    </a:lnTo>
                    <a:lnTo>
                      <a:pt x="348" y="366"/>
                    </a:lnTo>
                    <a:lnTo>
                      <a:pt x="351" y="375"/>
                    </a:lnTo>
                    <a:lnTo>
                      <a:pt x="364" y="384"/>
                    </a:lnTo>
                    <a:lnTo>
                      <a:pt x="373" y="386"/>
                    </a:lnTo>
                    <a:lnTo>
                      <a:pt x="377" y="393"/>
                    </a:lnTo>
                    <a:lnTo>
                      <a:pt x="405" y="394"/>
                    </a:lnTo>
                    <a:lnTo>
                      <a:pt x="402" y="402"/>
                    </a:lnTo>
                    <a:lnTo>
                      <a:pt x="388" y="402"/>
                    </a:lnTo>
                    <a:lnTo>
                      <a:pt x="402" y="431"/>
                    </a:lnTo>
                    <a:lnTo>
                      <a:pt x="399" y="437"/>
                    </a:lnTo>
                    <a:lnTo>
                      <a:pt x="380" y="426"/>
                    </a:lnTo>
                    <a:lnTo>
                      <a:pt x="377" y="418"/>
                    </a:lnTo>
                    <a:lnTo>
                      <a:pt x="367" y="400"/>
                    </a:lnTo>
                    <a:lnTo>
                      <a:pt x="356" y="399"/>
                    </a:lnTo>
                    <a:lnTo>
                      <a:pt x="313" y="353"/>
                    </a:lnTo>
                    <a:lnTo>
                      <a:pt x="270" y="345"/>
                    </a:lnTo>
                    <a:lnTo>
                      <a:pt x="243" y="332"/>
                    </a:lnTo>
                    <a:lnTo>
                      <a:pt x="233" y="333"/>
                    </a:lnTo>
                    <a:lnTo>
                      <a:pt x="232" y="341"/>
                    </a:lnTo>
                    <a:lnTo>
                      <a:pt x="225" y="354"/>
                    </a:lnTo>
                    <a:lnTo>
                      <a:pt x="157" y="367"/>
                    </a:lnTo>
                    <a:lnTo>
                      <a:pt x="152" y="371"/>
                    </a:lnTo>
                    <a:lnTo>
                      <a:pt x="146" y="382"/>
                    </a:lnTo>
                    <a:lnTo>
                      <a:pt x="140" y="404"/>
                    </a:lnTo>
                    <a:lnTo>
                      <a:pt x="136" y="426"/>
                    </a:lnTo>
                    <a:lnTo>
                      <a:pt x="147" y="430"/>
                    </a:lnTo>
                    <a:lnTo>
                      <a:pt x="144" y="436"/>
                    </a:lnTo>
                    <a:lnTo>
                      <a:pt x="125" y="442"/>
                    </a:lnTo>
                    <a:lnTo>
                      <a:pt x="118" y="452"/>
                    </a:lnTo>
                    <a:lnTo>
                      <a:pt x="108" y="474"/>
                    </a:lnTo>
                    <a:lnTo>
                      <a:pt x="114" y="488"/>
                    </a:lnTo>
                    <a:lnTo>
                      <a:pt x="115" y="502"/>
                    </a:lnTo>
                    <a:lnTo>
                      <a:pt x="117" y="507"/>
                    </a:lnTo>
                    <a:lnTo>
                      <a:pt x="115" y="523"/>
                    </a:lnTo>
                    <a:lnTo>
                      <a:pt x="117" y="529"/>
                    </a:lnTo>
                    <a:lnTo>
                      <a:pt x="125" y="524"/>
                    </a:lnTo>
                    <a:lnTo>
                      <a:pt x="140" y="531"/>
                    </a:lnTo>
                    <a:lnTo>
                      <a:pt x="127" y="534"/>
                    </a:lnTo>
                    <a:lnTo>
                      <a:pt x="119" y="542"/>
                    </a:lnTo>
                    <a:lnTo>
                      <a:pt x="117" y="549"/>
                    </a:lnTo>
                    <a:lnTo>
                      <a:pt x="118" y="552"/>
                    </a:lnTo>
                    <a:lnTo>
                      <a:pt x="144" y="558"/>
                    </a:lnTo>
                    <a:lnTo>
                      <a:pt x="170" y="545"/>
                    </a:lnTo>
                    <a:lnTo>
                      <a:pt x="176" y="526"/>
                    </a:lnTo>
                    <a:lnTo>
                      <a:pt x="184" y="528"/>
                    </a:lnTo>
                    <a:lnTo>
                      <a:pt x="188" y="523"/>
                    </a:lnTo>
                    <a:lnTo>
                      <a:pt x="192" y="511"/>
                    </a:lnTo>
                    <a:lnTo>
                      <a:pt x="193" y="500"/>
                    </a:lnTo>
                    <a:lnTo>
                      <a:pt x="205" y="486"/>
                    </a:lnTo>
                    <a:lnTo>
                      <a:pt x="205" y="493"/>
                    </a:lnTo>
                    <a:lnTo>
                      <a:pt x="199" y="515"/>
                    </a:lnTo>
                    <a:lnTo>
                      <a:pt x="185" y="542"/>
                    </a:lnTo>
                    <a:lnTo>
                      <a:pt x="187" y="547"/>
                    </a:lnTo>
                    <a:lnTo>
                      <a:pt x="187" y="554"/>
                    </a:lnTo>
                    <a:lnTo>
                      <a:pt x="188" y="561"/>
                    </a:lnTo>
                    <a:lnTo>
                      <a:pt x="194" y="566"/>
                    </a:lnTo>
                    <a:lnTo>
                      <a:pt x="221" y="553"/>
                    </a:lnTo>
                    <a:lnTo>
                      <a:pt x="226" y="558"/>
                    </a:lnTo>
                    <a:lnTo>
                      <a:pt x="233" y="550"/>
                    </a:lnTo>
                    <a:lnTo>
                      <a:pt x="247" y="523"/>
                    </a:lnTo>
                    <a:lnTo>
                      <a:pt x="249" y="510"/>
                    </a:lnTo>
                    <a:lnTo>
                      <a:pt x="254" y="499"/>
                    </a:lnTo>
                    <a:lnTo>
                      <a:pt x="258" y="472"/>
                    </a:lnTo>
                    <a:lnTo>
                      <a:pt x="263" y="458"/>
                    </a:lnTo>
                    <a:lnTo>
                      <a:pt x="263" y="447"/>
                    </a:lnTo>
                    <a:lnTo>
                      <a:pt x="273" y="425"/>
                    </a:lnTo>
                    <a:lnTo>
                      <a:pt x="264" y="454"/>
                    </a:lnTo>
                    <a:lnTo>
                      <a:pt x="263" y="483"/>
                    </a:lnTo>
                    <a:lnTo>
                      <a:pt x="265" y="490"/>
                    </a:lnTo>
                    <a:lnTo>
                      <a:pt x="270" y="491"/>
                    </a:lnTo>
                    <a:lnTo>
                      <a:pt x="276" y="486"/>
                    </a:lnTo>
                    <a:lnTo>
                      <a:pt x="274" y="494"/>
                    </a:lnTo>
                    <a:lnTo>
                      <a:pt x="263" y="505"/>
                    </a:lnTo>
                    <a:lnTo>
                      <a:pt x="259" y="513"/>
                    </a:lnTo>
                    <a:lnTo>
                      <a:pt x="259" y="531"/>
                    </a:lnTo>
                    <a:lnTo>
                      <a:pt x="260" y="536"/>
                    </a:lnTo>
                    <a:lnTo>
                      <a:pt x="278" y="529"/>
                    </a:lnTo>
                    <a:lnTo>
                      <a:pt x="286" y="532"/>
                    </a:lnTo>
                    <a:lnTo>
                      <a:pt x="294" y="536"/>
                    </a:lnTo>
                    <a:lnTo>
                      <a:pt x="296" y="542"/>
                    </a:lnTo>
                    <a:lnTo>
                      <a:pt x="303" y="538"/>
                    </a:lnTo>
                    <a:lnTo>
                      <a:pt x="303" y="545"/>
                    </a:lnTo>
                    <a:lnTo>
                      <a:pt x="298" y="552"/>
                    </a:lnTo>
                    <a:lnTo>
                      <a:pt x="275" y="542"/>
                    </a:lnTo>
                    <a:lnTo>
                      <a:pt x="252" y="547"/>
                    </a:lnTo>
                    <a:lnTo>
                      <a:pt x="246" y="555"/>
                    </a:lnTo>
                    <a:lnTo>
                      <a:pt x="246" y="561"/>
                    </a:lnTo>
                    <a:lnTo>
                      <a:pt x="243" y="570"/>
                    </a:lnTo>
                    <a:lnTo>
                      <a:pt x="257" y="576"/>
                    </a:lnTo>
                    <a:lnTo>
                      <a:pt x="247" y="581"/>
                    </a:lnTo>
                    <a:lnTo>
                      <a:pt x="232" y="576"/>
                    </a:lnTo>
                    <a:lnTo>
                      <a:pt x="226" y="580"/>
                    </a:lnTo>
                    <a:lnTo>
                      <a:pt x="208" y="602"/>
                    </a:lnTo>
                    <a:lnTo>
                      <a:pt x="209" y="607"/>
                    </a:lnTo>
                    <a:lnTo>
                      <a:pt x="214" y="608"/>
                    </a:lnTo>
                    <a:lnTo>
                      <a:pt x="219" y="618"/>
                    </a:lnTo>
                    <a:lnTo>
                      <a:pt x="230" y="609"/>
                    </a:lnTo>
                    <a:lnTo>
                      <a:pt x="253" y="608"/>
                    </a:lnTo>
                    <a:lnTo>
                      <a:pt x="259" y="602"/>
                    </a:lnTo>
                    <a:lnTo>
                      <a:pt x="264" y="604"/>
                    </a:lnTo>
                    <a:lnTo>
                      <a:pt x="265" y="609"/>
                    </a:lnTo>
                    <a:lnTo>
                      <a:pt x="259" y="610"/>
                    </a:lnTo>
                    <a:lnTo>
                      <a:pt x="249" y="620"/>
                    </a:lnTo>
                    <a:lnTo>
                      <a:pt x="251" y="617"/>
                    </a:lnTo>
                    <a:lnTo>
                      <a:pt x="247" y="615"/>
                    </a:lnTo>
                    <a:lnTo>
                      <a:pt x="230" y="618"/>
                    </a:lnTo>
                    <a:lnTo>
                      <a:pt x="227" y="620"/>
                    </a:lnTo>
                    <a:lnTo>
                      <a:pt x="226" y="626"/>
                    </a:lnTo>
                    <a:lnTo>
                      <a:pt x="227" y="631"/>
                    </a:lnTo>
                    <a:lnTo>
                      <a:pt x="247" y="626"/>
                    </a:lnTo>
                    <a:lnTo>
                      <a:pt x="238" y="637"/>
                    </a:lnTo>
                    <a:lnTo>
                      <a:pt x="235" y="651"/>
                    </a:lnTo>
                    <a:lnTo>
                      <a:pt x="235" y="655"/>
                    </a:lnTo>
                    <a:lnTo>
                      <a:pt x="238" y="669"/>
                    </a:lnTo>
                    <a:lnTo>
                      <a:pt x="254" y="682"/>
                    </a:lnTo>
                    <a:lnTo>
                      <a:pt x="265" y="663"/>
                    </a:lnTo>
                    <a:lnTo>
                      <a:pt x="267" y="650"/>
                    </a:lnTo>
                    <a:lnTo>
                      <a:pt x="269" y="645"/>
                    </a:lnTo>
                    <a:lnTo>
                      <a:pt x="271" y="660"/>
                    </a:lnTo>
                    <a:lnTo>
                      <a:pt x="260" y="687"/>
                    </a:lnTo>
                    <a:lnTo>
                      <a:pt x="263" y="701"/>
                    </a:lnTo>
                    <a:lnTo>
                      <a:pt x="278" y="704"/>
                    </a:lnTo>
                    <a:lnTo>
                      <a:pt x="292" y="700"/>
                    </a:lnTo>
                    <a:lnTo>
                      <a:pt x="314" y="708"/>
                    </a:lnTo>
                    <a:lnTo>
                      <a:pt x="333" y="698"/>
                    </a:lnTo>
                    <a:lnTo>
                      <a:pt x="343" y="684"/>
                    </a:lnTo>
                    <a:lnTo>
                      <a:pt x="351" y="657"/>
                    </a:lnTo>
                    <a:lnTo>
                      <a:pt x="359" y="639"/>
                    </a:lnTo>
                    <a:lnTo>
                      <a:pt x="366" y="628"/>
                    </a:lnTo>
                    <a:lnTo>
                      <a:pt x="373" y="599"/>
                    </a:lnTo>
                    <a:lnTo>
                      <a:pt x="373" y="587"/>
                    </a:lnTo>
                    <a:lnTo>
                      <a:pt x="377" y="579"/>
                    </a:lnTo>
                    <a:lnTo>
                      <a:pt x="383" y="571"/>
                    </a:lnTo>
                    <a:lnTo>
                      <a:pt x="396" y="572"/>
                    </a:lnTo>
                    <a:lnTo>
                      <a:pt x="383" y="587"/>
                    </a:lnTo>
                    <a:lnTo>
                      <a:pt x="383" y="602"/>
                    </a:lnTo>
                    <a:lnTo>
                      <a:pt x="378" y="623"/>
                    </a:lnTo>
                    <a:lnTo>
                      <a:pt x="366" y="649"/>
                    </a:lnTo>
                    <a:lnTo>
                      <a:pt x="365" y="657"/>
                    </a:lnTo>
                    <a:lnTo>
                      <a:pt x="360" y="668"/>
                    </a:lnTo>
                    <a:lnTo>
                      <a:pt x="341" y="696"/>
                    </a:lnTo>
                    <a:lnTo>
                      <a:pt x="340" y="701"/>
                    </a:lnTo>
                    <a:lnTo>
                      <a:pt x="323" y="719"/>
                    </a:lnTo>
                    <a:lnTo>
                      <a:pt x="323" y="726"/>
                    </a:lnTo>
                    <a:lnTo>
                      <a:pt x="326" y="730"/>
                    </a:lnTo>
                    <a:lnTo>
                      <a:pt x="335" y="732"/>
                    </a:lnTo>
                    <a:lnTo>
                      <a:pt x="335" y="739"/>
                    </a:lnTo>
                    <a:lnTo>
                      <a:pt x="329" y="742"/>
                    </a:lnTo>
                    <a:lnTo>
                      <a:pt x="313" y="736"/>
                    </a:lnTo>
                    <a:lnTo>
                      <a:pt x="306" y="728"/>
                    </a:lnTo>
                    <a:lnTo>
                      <a:pt x="278" y="733"/>
                    </a:lnTo>
                    <a:lnTo>
                      <a:pt x="284" y="746"/>
                    </a:lnTo>
                    <a:lnTo>
                      <a:pt x="285" y="750"/>
                    </a:lnTo>
                    <a:lnTo>
                      <a:pt x="284" y="757"/>
                    </a:lnTo>
                    <a:lnTo>
                      <a:pt x="276" y="758"/>
                    </a:lnTo>
                    <a:lnTo>
                      <a:pt x="256" y="738"/>
                    </a:lnTo>
                    <a:lnTo>
                      <a:pt x="233" y="736"/>
                    </a:lnTo>
                    <a:lnTo>
                      <a:pt x="215" y="723"/>
                    </a:lnTo>
                    <a:lnTo>
                      <a:pt x="211" y="726"/>
                    </a:lnTo>
                    <a:lnTo>
                      <a:pt x="213" y="716"/>
                    </a:lnTo>
                    <a:lnTo>
                      <a:pt x="209" y="711"/>
                    </a:lnTo>
                    <a:lnTo>
                      <a:pt x="205" y="689"/>
                    </a:lnTo>
                    <a:lnTo>
                      <a:pt x="199" y="678"/>
                    </a:lnTo>
                    <a:lnTo>
                      <a:pt x="194" y="665"/>
                    </a:lnTo>
                    <a:lnTo>
                      <a:pt x="188" y="656"/>
                    </a:lnTo>
                    <a:lnTo>
                      <a:pt x="187" y="646"/>
                    </a:lnTo>
                    <a:lnTo>
                      <a:pt x="168" y="622"/>
                    </a:lnTo>
                    <a:lnTo>
                      <a:pt x="119" y="612"/>
                    </a:lnTo>
                    <a:lnTo>
                      <a:pt x="88" y="628"/>
                    </a:lnTo>
                    <a:lnTo>
                      <a:pt x="82" y="626"/>
                    </a:lnTo>
                    <a:lnTo>
                      <a:pt x="75" y="636"/>
                    </a:lnTo>
                    <a:lnTo>
                      <a:pt x="69" y="636"/>
                    </a:lnTo>
                    <a:lnTo>
                      <a:pt x="70" y="647"/>
                    </a:lnTo>
                    <a:lnTo>
                      <a:pt x="69" y="650"/>
                    </a:lnTo>
                    <a:lnTo>
                      <a:pt x="72" y="655"/>
                    </a:lnTo>
                    <a:lnTo>
                      <a:pt x="70" y="679"/>
                    </a:lnTo>
                    <a:lnTo>
                      <a:pt x="88" y="693"/>
                    </a:lnTo>
                    <a:lnTo>
                      <a:pt x="88" y="699"/>
                    </a:lnTo>
                    <a:lnTo>
                      <a:pt x="99" y="714"/>
                    </a:lnTo>
                    <a:lnTo>
                      <a:pt x="101" y="716"/>
                    </a:lnTo>
                    <a:lnTo>
                      <a:pt x="98" y="735"/>
                    </a:lnTo>
                    <a:lnTo>
                      <a:pt x="102" y="743"/>
                    </a:lnTo>
                    <a:lnTo>
                      <a:pt x="103" y="750"/>
                    </a:lnTo>
                    <a:lnTo>
                      <a:pt x="120" y="757"/>
                    </a:lnTo>
                    <a:lnTo>
                      <a:pt x="131" y="748"/>
                    </a:lnTo>
                    <a:lnTo>
                      <a:pt x="144" y="748"/>
                    </a:lnTo>
                    <a:lnTo>
                      <a:pt x="145" y="753"/>
                    </a:lnTo>
                    <a:lnTo>
                      <a:pt x="127" y="768"/>
                    </a:lnTo>
                    <a:lnTo>
                      <a:pt x="128" y="770"/>
                    </a:lnTo>
                    <a:lnTo>
                      <a:pt x="139" y="773"/>
                    </a:lnTo>
                    <a:lnTo>
                      <a:pt x="139" y="776"/>
                    </a:lnTo>
                    <a:lnTo>
                      <a:pt x="129" y="781"/>
                    </a:lnTo>
                    <a:lnTo>
                      <a:pt x="129" y="790"/>
                    </a:lnTo>
                    <a:lnTo>
                      <a:pt x="130" y="793"/>
                    </a:lnTo>
                    <a:lnTo>
                      <a:pt x="134" y="790"/>
                    </a:lnTo>
                    <a:lnTo>
                      <a:pt x="152" y="796"/>
                    </a:lnTo>
                    <a:lnTo>
                      <a:pt x="147" y="801"/>
                    </a:lnTo>
                    <a:lnTo>
                      <a:pt x="146" y="807"/>
                    </a:lnTo>
                    <a:lnTo>
                      <a:pt x="135" y="801"/>
                    </a:lnTo>
                    <a:lnTo>
                      <a:pt x="134" y="795"/>
                    </a:lnTo>
                    <a:lnTo>
                      <a:pt x="118" y="800"/>
                    </a:lnTo>
                    <a:lnTo>
                      <a:pt x="113" y="807"/>
                    </a:lnTo>
                    <a:lnTo>
                      <a:pt x="118" y="814"/>
                    </a:lnTo>
                    <a:lnTo>
                      <a:pt x="104" y="817"/>
                    </a:lnTo>
                    <a:lnTo>
                      <a:pt x="103" y="811"/>
                    </a:lnTo>
                    <a:lnTo>
                      <a:pt x="101" y="811"/>
                    </a:lnTo>
                    <a:lnTo>
                      <a:pt x="92" y="819"/>
                    </a:lnTo>
                    <a:lnTo>
                      <a:pt x="85" y="813"/>
                    </a:lnTo>
                    <a:lnTo>
                      <a:pt x="72" y="811"/>
                    </a:lnTo>
                    <a:lnTo>
                      <a:pt x="69" y="813"/>
                    </a:lnTo>
                    <a:lnTo>
                      <a:pt x="68" y="824"/>
                    </a:lnTo>
                    <a:lnTo>
                      <a:pt x="56" y="829"/>
                    </a:lnTo>
                    <a:lnTo>
                      <a:pt x="49" y="835"/>
                    </a:lnTo>
                    <a:lnTo>
                      <a:pt x="45" y="845"/>
                    </a:lnTo>
                    <a:lnTo>
                      <a:pt x="10" y="871"/>
                    </a:lnTo>
                    <a:lnTo>
                      <a:pt x="4" y="892"/>
                    </a:lnTo>
                    <a:lnTo>
                      <a:pt x="6" y="903"/>
                    </a:lnTo>
                    <a:lnTo>
                      <a:pt x="5" y="919"/>
                    </a:lnTo>
                    <a:lnTo>
                      <a:pt x="2" y="932"/>
                    </a:lnTo>
                    <a:lnTo>
                      <a:pt x="0" y="941"/>
                    </a:lnTo>
                    <a:lnTo>
                      <a:pt x="18" y="974"/>
                    </a:lnTo>
                    <a:lnTo>
                      <a:pt x="26" y="975"/>
                    </a:lnTo>
                    <a:lnTo>
                      <a:pt x="39" y="958"/>
                    </a:lnTo>
                    <a:lnTo>
                      <a:pt x="42" y="941"/>
                    </a:lnTo>
                    <a:lnTo>
                      <a:pt x="47" y="970"/>
                    </a:lnTo>
                    <a:lnTo>
                      <a:pt x="53" y="946"/>
                    </a:lnTo>
                    <a:lnTo>
                      <a:pt x="45" y="897"/>
                    </a:lnTo>
                    <a:lnTo>
                      <a:pt x="53" y="886"/>
                    </a:lnTo>
                    <a:lnTo>
                      <a:pt x="55" y="904"/>
                    </a:lnTo>
                    <a:lnTo>
                      <a:pt x="55" y="937"/>
                    </a:lnTo>
                    <a:lnTo>
                      <a:pt x="59" y="976"/>
                    </a:lnTo>
                    <a:lnTo>
                      <a:pt x="79" y="979"/>
                    </a:lnTo>
                    <a:lnTo>
                      <a:pt x="84" y="990"/>
                    </a:lnTo>
                    <a:lnTo>
                      <a:pt x="99" y="985"/>
                    </a:lnTo>
                    <a:lnTo>
                      <a:pt x="104" y="967"/>
                    </a:lnTo>
                    <a:lnTo>
                      <a:pt x="102" y="945"/>
                    </a:lnTo>
                    <a:lnTo>
                      <a:pt x="108" y="964"/>
                    </a:lnTo>
                    <a:lnTo>
                      <a:pt x="124" y="975"/>
                    </a:lnTo>
                    <a:lnTo>
                      <a:pt x="129" y="985"/>
                    </a:lnTo>
                    <a:lnTo>
                      <a:pt x="142" y="989"/>
                    </a:lnTo>
                    <a:lnTo>
                      <a:pt x="146" y="970"/>
                    </a:lnTo>
                    <a:lnTo>
                      <a:pt x="158" y="958"/>
                    </a:lnTo>
                    <a:lnTo>
                      <a:pt x="158" y="934"/>
                    </a:lnTo>
                    <a:lnTo>
                      <a:pt x="163" y="945"/>
                    </a:lnTo>
                    <a:lnTo>
                      <a:pt x="165" y="961"/>
                    </a:lnTo>
                    <a:lnTo>
                      <a:pt x="163" y="965"/>
                    </a:lnTo>
                    <a:lnTo>
                      <a:pt x="190" y="995"/>
                    </a:lnTo>
                    <a:lnTo>
                      <a:pt x="200" y="1004"/>
                    </a:lnTo>
                    <a:lnTo>
                      <a:pt x="225" y="1006"/>
                    </a:lnTo>
                    <a:lnTo>
                      <a:pt x="227" y="1016"/>
                    </a:lnTo>
                    <a:lnTo>
                      <a:pt x="274" y="1008"/>
                    </a:lnTo>
                    <a:lnTo>
                      <a:pt x="243" y="964"/>
                    </a:lnTo>
                    <a:lnTo>
                      <a:pt x="242" y="943"/>
                    </a:lnTo>
                    <a:lnTo>
                      <a:pt x="256" y="973"/>
                    </a:lnTo>
                    <a:lnTo>
                      <a:pt x="269" y="974"/>
                    </a:lnTo>
                    <a:lnTo>
                      <a:pt x="286" y="957"/>
                    </a:lnTo>
                    <a:lnTo>
                      <a:pt x="286" y="925"/>
                    </a:lnTo>
                    <a:lnTo>
                      <a:pt x="310" y="964"/>
                    </a:lnTo>
                    <a:lnTo>
                      <a:pt x="330" y="976"/>
                    </a:lnTo>
                    <a:lnTo>
                      <a:pt x="344" y="968"/>
                    </a:lnTo>
                    <a:lnTo>
                      <a:pt x="345" y="942"/>
                    </a:lnTo>
                    <a:lnTo>
                      <a:pt x="333" y="906"/>
                    </a:lnTo>
                    <a:lnTo>
                      <a:pt x="332" y="897"/>
                    </a:lnTo>
                    <a:lnTo>
                      <a:pt x="339" y="909"/>
                    </a:lnTo>
                    <a:lnTo>
                      <a:pt x="357" y="974"/>
                    </a:lnTo>
                    <a:lnTo>
                      <a:pt x="372" y="985"/>
                    </a:lnTo>
                    <a:lnTo>
                      <a:pt x="399" y="979"/>
                    </a:lnTo>
                    <a:lnTo>
                      <a:pt x="407" y="953"/>
                    </a:lnTo>
                    <a:lnTo>
                      <a:pt x="398" y="935"/>
                    </a:lnTo>
                    <a:lnTo>
                      <a:pt x="384" y="913"/>
                    </a:lnTo>
                    <a:lnTo>
                      <a:pt x="394" y="922"/>
                    </a:lnTo>
                    <a:lnTo>
                      <a:pt x="412" y="925"/>
                    </a:lnTo>
                    <a:lnTo>
                      <a:pt x="413" y="932"/>
                    </a:lnTo>
                    <a:lnTo>
                      <a:pt x="413" y="949"/>
                    </a:lnTo>
                    <a:lnTo>
                      <a:pt x="419" y="961"/>
                    </a:lnTo>
                    <a:lnTo>
                      <a:pt x="440" y="965"/>
                    </a:lnTo>
                    <a:lnTo>
                      <a:pt x="456" y="958"/>
                    </a:lnTo>
                    <a:lnTo>
                      <a:pt x="466" y="961"/>
                    </a:lnTo>
                    <a:lnTo>
                      <a:pt x="474" y="974"/>
                    </a:lnTo>
                    <a:lnTo>
                      <a:pt x="475" y="989"/>
                    </a:lnTo>
                    <a:lnTo>
                      <a:pt x="469" y="1012"/>
                    </a:lnTo>
                    <a:lnTo>
                      <a:pt x="463" y="1023"/>
                    </a:lnTo>
                    <a:lnTo>
                      <a:pt x="469" y="1037"/>
                    </a:lnTo>
                    <a:lnTo>
                      <a:pt x="513" y="1013"/>
                    </a:lnTo>
                    <a:lnTo>
                      <a:pt x="541" y="1005"/>
                    </a:lnTo>
                    <a:lnTo>
                      <a:pt x="559" y="985"/>
                    </a:lnTo>
                    <a:lnTo>
                      <a:pt x="581" y="943"/>
                    </a:lnTo>
                    <a:lnTo>
                      <a:pt x="586" y="973"/>
                    </a:lnTo>
                    <a:lnTo>
                      <a:pt x="608" y="957"/>
                    </a:lnTo>
                    <a:lnTo>
                      <a:pt x="612" y="941"/>
                    </a:lnTo>
                    <a:lnTo>
                      <a:pt x="633" y="934"/>
                    </a:lnTo>
                    <a:lnTo>
                      <a:pt x="635" y="919"/>
                    </a:lnTo>
                    <a:lnTo>
                      <a:pt x="638" y="892"/>
                    </a:lnTo>
                    <a:lnTo>
                      <a:pt x="634" y="863"/>
                    </a:lnTo>
                    <a:lnTo>
                      <a:pt x="625" y="844"/>
                    </a:lnTo>
                    <a:lnTo>
                      <a:pt x="606" y="850"/>
                    </a:lnTo>
                    <a:lnTo>
                      <a:pt x="595" y="865"/>
                    </a:lnTo>
                    <a:lnTo>
                      <a:pt x="586" y="879"/>
                    </a:lnTo>
                    <a:lnTo>
                      <a:pt x="575" y="877"/>
                    </a:lnTo>
                    <a:lnTo>
                      <a:pt x="576" y="861"/>
                    </a:lnTo>
                    <a:lnTo>
                      <a:pt x="555" y="849"/>
                    </a:lnTo>
                    <a:lnTo>
                      <a:pt x="558" y="843"/>
                    </a:lnTo>
                    <a:lnTo>
                      <a:pt x="565" y="836"/>
                    </a:lnTo>
                    <a:lnTo>
                      <a:pt x="576" y="829"/>
                    </a:lnTo>
                    <a:lnTo>
                      <a:pt x="581" y="816"/>
                    </a:lnTo>
                    <a:lnTo>
                      <a:pt x="579" y="807"/>
                    </a:lnTo>
                    <a:lnTo>
                      <a:pt x="570" y="792"/>
                    </a:lnTo>
                    <a:lnTo>
                      <a:pt x="556" y="789"/>
                    </a:lnTo>
                    <a:lnTo>
                      <a:pt x="539" y="790"/>
                    </a:lnTo>
                    <a:lnTo>
                      <a:pt x="512" y="821"/>
                    </a:lnTo>
                    <a:lnTo>
                      <a:pt x="506" y="819"/>
                    </a:lnTo>
                    <a:lnTo>
                      <a:pt x="518" y="801"/>
                    </a:lnTo>
                    <a:lnTo>
                      <a:pt x="517" y="789"/>
                    </a:lnTo>
                    <a:lnTo>
                      <a:pt x="473" y="781"/>
                    </a:lnTo>
                    <a:lnTo>
                      <a:pt x="452" y="785"/>
                    </a:lnTo>
                    <a:lnTo>
                      <a:pt x="426" y="818"/>
                    </a:lnTo>
                    <a:lnTo>
                      <a:pt x="423" y="805"/>
                    </a:lnTo>
                    <a:lnTo>
                      <a:pt x="420" y="786"/>
                    </a:lnTo>
                    <a:lnTo>
                      <a:pt x="414" y="776"/>
                    </a:lnTo>
                    <a:lnTo>
                      <a:pt x="429" y="779"/>
                    </a:lnTo>
                    <a:lnTo>
                      <a:pt x="458" y="766"/>
                    </a:lnTo>
                    <a:lnTo>
                      <a:pt x="458" y="760"/>
                    </a:lnTo>
                    <a:lnTo>
                      <a:pt x="441" y="748"/>
                    </a:lnTo>
                    <a:lnTo>
                      <a:pt x="437" y="732"/>
                    </a:lnTo>
                    <a:lnTo>
                      <a:pt x="439" y="722"/>
                    </a:lnTo>
                    <a:lnTo>
                      <a:pt x="467" y="754"/>
                    </a:lnTo>
                    <a:lnTo>
                      <a:pt x="498" y="773"/>
                    </a:lnTo>
                    <a:lnTo>
                      <a:pt x="577" y="770"/>
                    </a:lnTo>
                    <a:lnTo>
                      <a:pt x="585" y="758"/>
                    </a:lnTo>
                    <a:lnTo>
                      <a:pt x="593" y="762"/>
                    </a:lnTo>
                    <a:lnTo>
                      <a:pt x="592" y="768"/>
                    </a:lnTo>
                    <a:lnTo>
                      <a:pt x="592" y="770"/>
                    </a:lnTo>
                    <a:lnTo>
                      <a:pt x="622" y="753"/>
                    </a:lnTo>
                    <a:lnTo>
                      <a:pt x="635" y="725"/>
                    </a:lnTo>
                    <a:lnTo>
                      <a:pt x="638" y="709"/>
                    </a:lnTo>
                    <a:lnTo>
                      <a:pt x="636" y="701"/>
                    </a:lnTo>
                    <a:lnTo>
                      <a:pt x="652" y="694"/>
                    </a:lnTo>
                    <a:lnTo>
                      <a:pt x="654" y="687"/>
                    </a:lnTo>
                    <a:lnTo>
                      <a:pt x="634" y="668"/>
                    </a:lnTo>
                    <a:lnTo>
                      <a:pt x="634" y="658"/>
                    </a:lnTo>
                    <a:lnTo>
                      <a:pt x="636" y="650"/>
                    </a:lnTo>
                    <a:lnTo>
                      <a:pt x="630" y="633"/>
                    </a:lnTo>
                    <a:lnTo>
                      <a:pt x="623" y="628"/>
                    </a:lnTo>
                    <a:lnTo>
                      <a:pt x="624" y="625"/>
                    </a:lnTo>
                    <a:lnTo>
                      <a:pt x="624" y="614"/>
                    </a:lnTo>
                    <a:lnTo>
                      <a:pt x="622" y="603"/>
                    </a:lnTo>
                    <a:lnTo>
                      <a:pt x="622" y="596"/>
                    </a:lnTo>
                    <a:lnTo>
                      <a:pt x="634" y="603"/>
                    </a:lnTo>
                    <a:lnTo>
                      <a:pt x="679" y="604"/>
                    </a:lnTo>
                    <a:lnTo>
                      <a:pt x="687" y="613"/>
                    </a:lnTo>
                    <a:lnTo>
                      <a:pt x="706" y="607"/>
                    </a:lnTo>
                    <a:lnTo>
                      <a:pt x="727" y="583"/>
                    </a:lnTo>
                    <a:lnTo>
                      <a:pt x="743" y="591"/>
                    </a:lnTo>
                    <a:lnTo>
                      <a:pt x="746" y="599"/>
                    </a:lnTo>
                    <a:lnTo>
                      <a:pt x="760" y="574"/>
                    </a:lnTo>
                    <a:lnTo>
                      <a:pt x="760" y="570"/>
                    </a:lnTo>
                    <a:lnTo>
                      <a:pt x="768" y="555"/>
                    </a:lnTo>
                    <a:lnTo>
                      <a:pt x="714" y="545"/>
                    </a:lnTo>
                    <a:lnTo>
                      <a:pt x="690" y="537"/>
                    </a:lnTo>
                    <a:lnTo>
                      <a:pt x="709" y="522"/>
                    </a:lnTo>
                    <a:lnTo>
                      <a:pt x="728" y="523"/>
                    </a:lnTo>
                    <a:lnTo>
                      <a:pt x="764" y="539"/>
                    </a:lnTo>
                    <a:lnTo>
                      <a:pt x="776" y="511"/>
                    </a:lnTo>
                    <a:lnTo>
                      <a:pt x="795" y="501"/>
                    </a:lnTo>
                    <a:lnTo>
                      <a:pt x="797" y="493"/>
                    </a:lnTo>
                    <a:lnTo>
                      <a:pt x="787" y="477"/>
                    </a:lnTo>
                    <a:lnTo>
                      <a:pt x="775" y="468"/>
                    </a:lnTo>
                    <a:lnTo>
                      <a:pt x="751" y="463"/>
                    </a:lnTo>
                    <a:lnTo>
                      <a:pt x="738" y="453"/>
                    </a:lnTo>
                    <a:lnTo>
                      <a:pt x="725" y="450"/>
                    </a:lnTo>
                    <a:lnTo>
                      <a:pt x="733" y="445"/>
                    </a:lnTo>
                    <a:lnTo>
                      <a:pt x="749" y="447"/>
                    </a:lnTo>
                    <a:lnTo>
                      <a:pt x="786" y="443"/>
                    </a:lnTo>
                    <a:lnTo>
                      <a:pt x="798" y="439"/>
                    </a:lnTo>
                    <a:lnTo>
                      <a:pt x="805" y="430"/>
                    </a:lnTo>
                    <a:lnTo>
                      <a:pt x="819" y="420"/>
                    </a:lnTo>
                    <a:lnTo>
                      <a:pt x="813" y="411"/>
                    </a:lnTo>
                    <a:lnTo>
                      <a:pt x="813" y="402"/>
                    </a:lnTo>
                    <a:lnTo>
                      <a:pt x="817" y="392"/>
                    </a:lnTo>
                    <a:lnTo>
                      <a:pt x="816" y="375"/>
                    </a:lnTo>
                    <a:lnTo>
                      <a:pt x="813" y="354"/>
                    </a:lnTo>
                    <a:lnTo>
                      <a:pt x="802" y="344"/>
                    </a:lnTo>
                    <a:lnTo>
                      <a:pt x="774" y="334"/>
                    </a:lnTo>
                    <a:lnTo>
                      <a:pt x="733" y="340"/>
                    </a:lnTo>
                    <a:lnTo>
                      <a:pt x="733" y="332"/>
                    </a:lnTo>
                    <a:lnTo>
                      <a:pt x="748" y="327"/>
                    </a:lnTo>
                    <a:lnTo>
                      <a:pt x="757" y="319"/>
                    </a:lnTo>
                    <a:lnTo>
                      <a:pt x="757" y="313"/>
                    </a:lnTo>
                    <a:lnTo>
                      <a:pt x="749" y="303"/>
                    </a:lnTo>
                    <a:lnTo>
                      <a:pt x="678" y="310"/>
                    </a:lnTo>
                    <a:lnTo>
                      <a:pt x="665" y="316"/>
                    </a:lnTo>
                    <a:lnTo>
                      <a:pt x="655" y="329"/>
                    </a:lnTo>
                    <a:lnTo>
                      <a:pt x="647" y="330"/>
                    </a:lnTo>
                    <a:lnTo>
                      <a:pt x="656" y="314"/>
                    </a:lnTo>
                    <a:lnTo>
                      <a:pt x="658" y="302"/>
                    </a:lnTo>
                    <a:lnTo>
                      <a:pt x="647" y="300"/>
                    </a:lnTo>
                    <a:lnTo>
                      <a:pt x="645" y="291"/>
                    </a:lnTo>
                    <a:lnTo>
                      <a:pt x="669" y="298"/>
                    </a:lnTo>
                    <a:lnTo>
                      <a:pt x="712" y="284"/>
                    </a:lnTo>
                    <a:lnTo>
                      <a:pt x="740" y="287"/>
                    </a:lnTo>
                    <a:lnTo>
                      <a:pt x="740" y="279"/>
                    </a:lnTo>
                    <a:lnTo>
                      <a:pt x="716" y="269"/>
                    </a:lnTo>
                    <a:lnTo>
                      <a:pt x="652" y="267"/>
                    </a:lnTo>
                    <a:lnTo>
                      <a:pt x="644" y="260"/>
                    </a:lnTo>
                    <a:lnTo>
                      <a:pt x="658" y="255"/>
                    </a:lnTo>
                    <a:lnTo>
                      <a:pt x="704" y="255"/>
                    </a:lnTo>
                    <a:lnTo>
                      <a:pt x="715" y="247"/>
                    </a:lnTo>
                    <a:lnTo>
                      <a:pt x="732" y="249"/>
                    </a:lnTo>
                    <a:lnTo>
                      <a:pt x="748" y="255"/>
                    </a:lnTo>
                    <a:lnTo>
                      <a:pt x="754" y="263"/>
                    </a:lnTo>
                    <a:lnTo>
                      <a:pt x="753" y="276"/>
                    </a:lnTo>
                    <a:lnTo>
                      <a:pt x="758" y="289"/>
                    </a:lnTo>
                    <a:lnTo>
                      <a:pt x="769" y="295"/>
                    </a:lnTo>
                    <a:lnTo>
                      <a:pt x="819" y="302"/>
                    </a:lnTo>
                    <a:lnTo>
                      <a:pt x="827" y="298"/>
                    </a:lnTo>
                    <a:lnTo>
                      <a:pt x="829" y="287"/>
                    </a:lnTo>
                    <a:lnTo>
                      <a:pt x="828" y="274"/>
                    </a:lnTo>
                    <a:lnTo>
                      <a:pt x="814" y="257"/>
                    </a:lnTo>
                    <a:lnTo>
                      <a:pt x="825" y="240"/>
                    </a:lnTo>
                    <a:lnTo>
                      <a:pt x="818" y="232"/>
                    </a:lnTo>
                    <a:lnTo>
                      <a:pt x="752" y="236"/>
                    </a:lnTo>
                    <a:lnTo>
                      <a:pt x="746" y="228"/>
                    </a:lnTo>
                    <a:lnTo>
                      <a:pt x="687" y="236"/>
                    </a:lnTo>
                    <a:lnTo>
                      <a:pt x="661" y="243"/>
                    </a:lnTo>
                    <a:lnTo>
                      <a:pt x="671" y="236"/>
                    </a:lnTo>
                    <a:lnTo>
                      <a:pt x="672" y="228"/>
                    </a:lnTo>
                    <a:lnTo>
                      <a:pt x="650" y="222"/>
                    </a:lnTo>
                    <a:lnTo>
                      <a:pt x="641" y="214"/>
                    </a:lnTo>
                    <a:lnTo>
                      <a:pt x="657" y="209"/>
                    </a:lnTo>
                    <a:lnTo>
                      <a:pt x="683" y="212"/>
                    </a:lnTo>
                    <a:lnTo>
                      <a:pt x="677" y="187"/>
                    </a:lnTo>
                    <a:lnTo>
                      <a:pt x="672" y="181"/>
                    </a:lnTo>
                    <a:lnTo>
                      <a:pt x="679" y="178"/>
                    </a:lnTo>
                    <a:lnTo>
                      <a:pt x="684" y="184"/>
                    </a:lnTo>
                    <a:lnTo>
                      <a:pt x="689" y="198"/>
                    </a:lnTo>
                    <a:lnTo>
                      <a:pt x="698" y="204"/>
                    </a:lnTo>
                    <a:lnTo>
                      <a:pt x="746" y="209"/>
                    </a:lnTo>
                    <a:lnTo>
                      <a:pt x="749" y="200"/>
                    </a:lnTo>
                    <a:lnTo>
                      <a:pt x="740" y="188"/>
                    </a:lnTo>
                    <a:lnTo>
                      <a:pt x="737" y="181"/>
                    </a:lnTo>
                    <a:lnTo>
                      <a:pt x="687" y="171"/>
                    </a:lnTo>
                    <a:lnTo>
                      <a:pt x="679" y="158"/>
                    </a:lnTo>
                    <a:lnTo>
                      <a:pt x="687" y="156"/>
                    </a:lnTo>
                    <a:lnTo>
                      <a:pt x="722" y="162"/>
                    </a:lnTo>
                    <a:lnTo>
                      <a:pt x="764" y="189"/>
                    </a:lnTo>
                    <a:lnTo>
                      <a:pt x="794" y="194"/>
                    </a:lnTo>
                    <a:lnTo>
                      <a:pt x="801" y="185"/>
                    </a:lnTo>
                    <a:lnTo>
                      <a:pt x="797" y="170"/>
                    </a:lnTo>
                    <a:lnTo>
                      <a:pt x="810" y="176"/>
                    </a:lnTo>
                    <a:lnTo>
                      <a:pt x="838" y="178"/>
                    </a:lnTo>
                    <a:lnTo>
                      <a:pt x="846" y="165"/>
                    </a:lnTo>
                    <a:lnTo>
                      <a:pt x="845" y="155"/>
                    </a:lnTo>
                    <a:lnTo>
                      <a:pt x="850" y="157"/>
                    </a:lnTo>
                    <a:lnTo>
                      <a:pt x="855" y="146"/>
                    </a:lnTo>
                    <a:lnTo>
                      <a:pt x="861" y="160"/>
                    </a:lnTo>
                    <a:lnTo>
                      <a:pt x="876" y="156"/>
                    </a:lnTo>
                    <a:lnTo>
                      <a:pt x="881" y="140"/>
                    </a:lnTo>
                    <a:lnTo>
                      <a:pt x="880" y="125"/>
                    </a:lnTo>
                    <a:lnTo>
                      <a:pt x="873" y="106"/>
                    </a:lnTo>
                    <a:lnTo>
                      <a:pt x="871" y="91"/>
                    </a:lnTo>
                    <a:lnTo>
                      <a:pt x="813" y="80"/>
                    </a:lnTo>
                    <a:lnTo>
                      <a:pt x="817" y="66"/>
                    </a:lnTo>
                    <a:lnTo>
                      <a:pt x="834" y="61"/>
                    </a:lnTo>
                    <a:lnTo>
                      <a:pt x="856" y="74"/>
                    </a:lnTo>
                    <a:lnTo>
                      <a:pt x="884" y="79"/>
                    </a:lnTo>
                    <a:lnTo>
                      <a:pt x="882" y="91"/>
                    </a:lnTo>
                    <a:lnTo>
                      <a:pt x="884" y="103"/>
                    </a:lnTo>
                    <a:lnTo>
                      <a:pt x="899" y="112"/>
                    </a:lnTo>
                    <a:lnTo>
                      <a:pt x="914" y="111"/>
                    </a:lnTo>
                    <a:lnTo>
                      <a:pt x="914" y="115"/>
                    </a:lnTo>
                    <a:lnTo>
                      <a:pt x="937" y="108"/>
                    </a:lnTo>
                    <a:lnTo>
                      <a:pt x="961" y="109"/>
                    </a:lnTo>
                    <a:lnTo>
                      <a:pt x="969" y="101"/>
                    </a:lnTo>
                    <a:lnTo>
                      <a:pt x="982" y="98"/>
                    </a:lnTo>
                    <a:lnTo>
                      <a:pt x="1004" y="59"/>
                    </a:lnTo>
                    <a:lnTo>
                      <a:pt x="995" y="54"/>
                    </a:lnTo>
                    <a:lnTo>
                      <a:pt x="978" y="58"/>
                    </a:lnTo>
                    <a:lnTo>
                      <a:pt x="980" y="44"/>
                    </a:lnTo>
                    <a:lnTo>
                      <a:pt x="990" y="29"/>
                    </a:lnTo>
                    <a:lnTo>
                      <a:pt x="1011" y="21"/>
                    </a:lnTo>
                    <a:lnTo>
                      <a:pt x="1015" y="12"/>
                    </a:lnTo>
                    <a:lnTo>
                      <a:pt x="1028" y="0"/>
                    </a:lnTo>
                    <a:lnTo>
                      <a:pt x="393" y="0"/>
                    </a:lnTo>
                    <a:lnTo>
                      <a:pt x="394" y="1"/>
                    </a:lnTo>
                    <a:lnTo>
                      <a:pt x="440" y="28"/>
                    </a:lnTo>
                    <a:lnTo>
                      <a:pt x="439" y="33"/>
                    </a:lnTo>
                    <a:lnTo>
                      <a:pt x="426" y="41"/>
                    </a:lnTo>
                    <a:lnTo>
                      <a:pt x="430" y="48"/>
                    </a:lnTo>
                    <a:lnTo>
                      <a:pt x="432" y="72"/>
                    </a:lnTo>
                    <a:lnTo>
                      <a:pt x="432" y="87"/>
                    </a:lnTo>
                    <a:lnTo>
                      <a:pt x="437" y="87"/>
                    </a:lnTo>
                    <a:lnTo>
                      <a:pt x="437" y="92"/>
                    </a:lnTo>
                    <a:lnTo>
                      <a:pt x="441" y="102"/>
                    </a:lnTo>
                    <a:lnTo>
                      <a:pt x="462" y="108"/>
                    </a:lnTo>
                    <a:lnTo>
                      <a:pt x="479" y="123"/>
                    </a:lnTo>
                    <a:lnTo>
                      <a:pt x="515" y="107"/>
                    </a:lnTo>
                    <a:lnTo>
                      <a:pt x="526" y="107"/>
                    </a:lnTo>
                    <a:lnTo>
                      <a:pt x="527" y="113"/>
                    </a:lnTo>
                    <a:lnTo>
                      <a:pt x="525" y="120"/>
                    </a:lnTo>
                    <a:lnTo>
                      <a:pt x="513" y="120"/>
                    </a:lnTo>
                    <a:lnTo>
                      <a:pt x="482" y="136"/>
                    </a:lnTo>
                    <a:lnTo>
                      <a:pt x="478" y="142"/>
                    </a:lnTo>
                    <a:lnTo>
                      <a:pt x="478" y="149"/>
                    </a:lnTo>
                    <a:lnTo>
                      <a:pt x="480" y="154"/>
                    </a:lnTo>
                    <a:lnTo>
                      <a:pt x="479" y="155"/>
                    </a:lnTo>
                    <a:lnTo>
                      <a:pt x="445" y="130"/>
                    </a:lnTo>
                    <a:lnTo>
                      <a:pt x="432" y="129"/>
                    </a:lnTo>
                    <a:lnTo>
                      <a:pt x="423" y="139"/>
                    </a:lnTo>
                    <a:lnTo>
                      <a:pt x="421" y="111"/>
                    </a:lnTo>
                    <a:lnTo>
                      <a:pt x="415" y="111"/>
                    </a:lnTo>
                    <a:lnTo>
                      <a:pt x="412" y="102"/>
                    </a:lnTo>
                    <a:lnTo>
                      <a:pt x="410" y="87"/>
                    </a:lnTo>
                    <a:lnTo>
                      <a:pt x="405" y="82"/>
                    </a:lnTo>
                    <a:lnTo>
                      <a:pt x="405" y="68"/>
                    </a:lnTo>
                    <a:lnTo>
                      <a:pt x="357" y="0"/>
                    </a:lnTo>
                    <a:lnTo>
                      <a:pt x="183" y="0"/>
                    </a:lnTo>
                    <a:lnTo>
                      <a:pt x="220" y="14"/>
                    </a:lnTo>
                    <a:lnTo>
                      <a:pt x="231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8" name="Freeform 309"/>
              <p:cNvSpPr>
                <a:spLocks noChangeAspect="1"/>
              </p:cNvSpPr>
              <p:nvPr/>
            </p:nvSpPr>
            <p:spPr bwMode="gray">
              <a:xfrm>
                <a:off x="1564" y="1153"/>
                <a:ext cx="6" cy="6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0" y="21"/>
                  </a:cxn>
                  <a:cxn ang="0">
                    <a:pos x="30" y="30"/>
                  </a:cxn>
                  <a:cxn ang="0">
                    <a:pos x="3" y="0"/>
                  </a:cxn>
                  <a:cxn ang="0">
                    <a:pos x="0" y="16"/>
                  </a:cxn>
                </a:cxnLst>
                <a:rect l="0" t="0" r="r" b="b"/>
                <a:pathLst>
                  <a:path w="30" h="30">
                    <a:moveTo>
                      <a:pt x="0" y="16"/>
                    </a:moveTo>
                    <a:lnTo>
                      <a:pt x="0" y="21"/>
                    </a:lnTo>
                    <a:lnTo>
                      <a:pt x="30" y="30"/>
                    </a:lnTo>
                    <a:lnTo>
                      <a:pt x="3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09" name="Freeform 310"/>
              <p:cNvSpPr>
                <a:spLocks noChangeAspect="1"/>
              </p:cNvSpPr>
              <p:nvPr/>
            </p:nvSpPr>
            <p:spPr bwMode="gray">
              <a:xfrm>
                <a:off x="1564" y="1147"/>
                <a:ext cx="1" cy="6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5" y="31"/>
                  </a:cxn>
                  <a:cxn ang="0">
                    <a:pos x="7" y="27"/>
                  </a:cxn>
                  <a:cxn ang="0">
                    <a:pos x="5" y="11"/>
                  </a:cxn>
                </a:cxnLst>
                <a:rect l="0" t="0" r="r" b="b"/>
                <a:pathLst>
                  <a:path w="7" h="31">
                    <a:moveTo>
                      <a:pt x="5" y="11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5" y="31"/>
                    </a:lnTo>
                    <a:lnTo>
                      <a:pt x="7" y="27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10" name="Freeform 311"/>
              <p:cNvSpPr>
                <a:spLocks noChangeAspect="1"/>
              </p:cNvSpPr>
              <p:nvPr/>
            </p:nvSpPr>
            <p:spPr bwMode="gray">
              <a:xfrm>
                <a:off x="1031" y="1408"/>
                <a:ext cx="17" cy="23"/>
              </a:xfrm>
              <a:custGeom>
                <a:avLst/>
                <a:gdLst/>
                <a:ahLst/>
                <a:cxnLst>
                  <a:cxn ang="0">
                    <a:pos x="16" y="58"/>
                  </a:cxn>
                  <a:cxn ang="0">
                    <a:pos x="22" y="61"/>
                  </a:cxn>
                  <a:cxn ang="0">
                    <a:pos x="25" y="56"/>
                  </a:cxn>
                  <a:cxn ang="0">
                    <a:pos x="19" y="46"/>
                  </a:cxn>
                  <a:cxn ang="0">
                    <a:pos x="24" y="46"/>
                  </a:cxn>
                  <a:cxn ang="0">
                    <a:pos x="30" y="52"/>
                  </a:cxn>
                  <a:cxn ang="0">
                    <a:pos x="35" y="47"/>
                  </a:cxn>
                  <a:cxn ang="0">
                    <a:pos x="38" y="52"/>
                  </a:cxn>
                  <a:cxn ang="0">
                    <a:pos x="46" y="46"/>
                  </a:cxn>
                  <a:cxn ang="0">
                    <a:pos x="47" y="37"/>
                  </a:cxn>
                  <a:cxn ang="0">
                    <a:pos x="43" y="41"/>
                  </a:cxn>
                  <a:cxn ang="0">
                    <a:pos x="38" y="37"/>
                  </a:cxn>
                  <a:cxn ang="0">
                    <a:pos x="43" y="32"/>
                  </a:cxn>
                  <a:cxn ang="0">
                    <a:pos x="48" y="19"/>
                  </a:cxn>
                  <a:cxn ang="0">
                    <a:pos x="44" y="11"/>
                  </a:cxn>
                  <a:cxn ang="0">
                    <a:pos x="43" y="3"/>
                  </a:cxn>
                  <a:cxn ang="0">
                    <a:pos x="47" y="0"/>
                  </a:cxn>
                  <a:cxn ang="0">
                    <a:pos x="47" y="10"/>
                  </a:cxn>
                  <a:cxn ang="0">
                    <a:pos x="58" y="18"/>
                  </a:cxn>
                  <a:cxn ang="0">
                    <a:pos x="57" y="26"/>
                  </a:cxn>
                  <a:cxn ang="0">
                    <a:pos x="60" y="32"/>
                  </a:cxn>
                  <a:cxn ang="0">
                    <a:pos x="67" y="35"/>
                  </a:cxn>
                  <a:cxn ang="0">
                    <a:pos x="76" y="24"/>
                  </a:cxn>
                  <a:cxn ang="0">
                    <a:pos x="81" y="30"/>
                  </a:cxn>
                  <a:cxn ang="0">
                    <a:pos x="81" y="41"/>
                  </a:cxn>
                  <a:cxn ang="0">
                    <a:pos x="79" y="50"/>
                  </a:cxn>
                  <a:cxn ang="0">
                    <a:pos x="70" y="58"/>
                  </a:cxn>
                  <a:cxn ang="0">
                    <a:pos x="49" y="94"/>
                  </a:cxn>
                  <a:cxn ang="0">
                    <a:pos x="35" y="110"/>
                  </a:cxn>
                  <a:cxn ang="0">
                    <a:pos x="24" y="106"/>
                  </a:cxn>
                  <a:cxn ang="0">
                    <a:pos x="22" y="110"/>
                  </a:cxn>
                  <a:cxn ang="0">
                    <a:pos x="22" y="113"/>
                  </a:cxn>
                  <a:cxn ang="0">
                    <a:pos x="16" y="106"/>
                  </a:cxn>
                  <a:cxn ang="0">
                    <a:pos x="17" y="101"/>
                  </a:cxn>
                  <a:cxn ang="0">
                    <a:pos x="27" y="104"/>
                  </a:cxn>
                  <a:cxn ang="0">
                    <a:pos x="33" y="96"/>
                  </a:cxn>
                  <a:cxn ang="0">
                    <a:pos x="38" y="85"/>
                  </a:cxn>
                  <a:cxn ang="0">
                    <a:pos x="26" y="96"/>
                  </a:cxn>
                  <a:cxn ang="0">
                    <a:pos x="12" y="86"/>
                  </a:cxn>
                  <a:cxn ang="0">
                    <a:pos x="8" y="73"/>
                  </a:cxn>
                  <a:cxn ang="0">
                    <a:pos x="6" y="61"/>
                  </a:cxn>
                  <a:cxn ang="0">
                    <a:pos x="1" y="57"/>
                  </a:cxn>
                  <a:cxn ang="0">
                    <a:pos x="0" y="52"/>
                  </a:cxn>
                  <a:cxn ang="0">
                    <a:pos x="3" y="46"/>
                  </a:cxn>
                  <a:cxn ang="0">
                    <a:pos x="6" y="46"/>
                  </a:cxn>
                  <a:cxn ang="0">
                    <a:pos x="16" y="58"/>
                  </a:cxn>
                </a:cxnLst>
                <a:rect l="0" t="0" r="r" b="b"/>
                <a:pathLst>
                  <a:path w="81" h="113">
                    <a:moveTo>
                      <a:pt x="16" y="58"/>
                    </a:moveTo>
                    <a:lnTo>
                      <a:pt x="22" y="61"/>
                    </a:lnTo>
                    <a:lnTo>
                      <a:pt x="25" y="56"/>
                    </a:lnTo>
                    <a:lnTo>
                      <a:pt x="19" y="46"/>
                    </a:lnTo>
                    <a:lnTo>
                      <a:pt x="24" y="46"/>
                    </a:lnTo>
                    <a:lnTo>
                      <a:pt x="30" y="52"/>
                    </a:lnTo>
                    <a:lnTo>
                      <a:pt x="35" y="47"/>
                    </a:lnTo>
                    <a:lnTo>
                      <a:pt x="38" y="52"/>
                    </a:lnTo>
                    <a:lnTo>
                      <a:pt x="46" y="46"/>
                    </a:lnTo>
                    <a:lnTo>
                      <a:pt x="47" y="37"/>
                    </a:lnTo>
                    <a:lnTo>
                      <a:pt x="43" y="41"/>
                    </a:lnTo>
                    <a:lnTo>
                      <a:pt x="38" y="37"/>
                    </a:lnTo>
                    <a:lnTo>
                      <a:pt x="43" y="32"/>
                    </a:lnTo>
                    <a:lnTo>
                      <a:pt x="48" y="19"/>
                    </a:lnTo>
                    <a:lnTo>
                      <a:pt x="44" y="11"/>
                    </a:lnTo>
                    <a:lnTo>
                      <a:pt x="43" y="3"/>
                    </a:lnTo>
                    <a:lnTo>
                      <a:pt x="47" y="0"/>
                    </a:lnTo>
                    <a:lnTo>
                      <a:pt x="47" y="10"/>
                    </a:lnTo>
                    <a:lnTo>
                      <a:pt x="58" y="18"/>
                    </a:lnTo>
                    <a:lnTo>
                      <a:pt x="57" y="26"/>
                    </a:lnTo>
                    <a:lnTo>
                      <a:pt x="60" y="32"/>
                    </a:lnTo>
                    <a:lnTo>
                      <a:pt x="67" y="35"/>
                    </a:lnTo>
                    <a:lnTo>
                      <a:pt x="76" y="24"/>
                    </a:lnTo>
                    <a:lnTo>
                      <a:pt x="81" y="30"/>
                    </a:lnTo>
                    <a:lnTo>
                      <a:pt x="81" y="41"/>
                    </a:lnTo>
                    <a:lnTo>
                      <a:pt x="79" y="50"/>
                    </a:lnTo>
                    <a:lnTo>
                      <a:pt x="70" y="58"/>
                    </a:lnTo>
                    <a:lnTo>
                      <a:pt x="49" y="94"/>
                    </a:lnTo>
                    <a:lnTo>
                      <a:pt x="35" y="110"/>
                    </a:lnTo>
                    <a:lnTo>
                      <a:pt x="24" y="106"/>
                    </a:lnTo>
                    <a:lnTo>
                      <a:pt x="22" y="110"/>
                    </a:lnTo>
                    <a:lnTo>
                      <a:pt x="22" y="113"/>
                    </a:lnTo>
                    <a:lnTo>
                      <a:pt x="16" y="106"/>
                    </a:lnTo>
                    <a:lnTo>
                      <a:pt x="17" y="101"/>
                    </a:lnTo>
                    <a:lnTo>
                      <a:pt x="27" y="104"/>
                    </a:lnTo>
                    <a:lnTo>
                      <a:pt x="33" y="96"/>
                    </a:lnTo>
                    <a:lnTo>
                      <a:pt x="38" y="85"/>
                    </a:lnTo>
                    <a:lnTo>
                      <a:pt x="26" y="96"/>
                    </a:lnTo>
                    <a:lnTo>
                      <a:pt x="12" y="86"/>
                    </a:lnTo>
                    <a:lnTo>
                      <a:pt x="8" y="73"/>
                    </a:lnTo>
                    <a:lnTo>
                      <a:pt x="6" y="61"/>
                    </a:lnTo>
                    <a:lnTo>
                      <a:pt x="1" y="57"/>
                    </a:lnTo>
                    <a:lnTo>
                      <a:pt x="0" y="52"/>
                    </a:lnTo>
                    <a:lnTo>
                      <a:pt x="3" y="46"/>
                    </a:lnTo>
                    <a:lnTo>
                      <a:pt x="6" y="46"/>
                    </a:lnTo>
                    <a:lnTo>
                      <a:pt x="16" y="5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  <p:sp>
            <p:nvSpPr>
              <p:cNvPr id="211" name="Freeform 312"/>
              <p:cNvSpPr>
                <a:spLocks noChangeAspect="1"/>
              </p:cNvSpPr>
              <p:nvPr/>
            </p:nvSpPr>
            <p:spPr bwMode="gray">
              <a:xfrm>
                <a:off x="1024" y="1423"/>
                <a:ext cx="11" cy="11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1" y="22"/>
                  </a:cxn>
                  <a:cxn ang="0">
                    <a:pos x="9" y="28"/>
                  </a:cxn>
                  <a:cxn ang="0">
                    <a:pos x="12" y="38"/>
                  </a:cxn>
                  <a:cxn ang="0">
                    <a:pos x="23" y="39"/>
                  </a:cxn>
                  <a:cxn ang="0">
                    <a:pos x="32" y="49"/>
                  </a:cxn>
                  <a:cxn ang="0">
                    <a:pos x="41" y="50"/>
                  </a:cxn>
                  <a:cxn ang="0">
                    <a:pos x="44" y="55"/>
                  </a:cxn>
                  <a:cxn ang="0">
                    <a:pos x="47" y="58"/>
                  </a:cxn>
                  <a:cxn ang="0">
                    <a:pos x="52" y="56"/>
                  </a:cxn>
                  <a:cxn ang="0">
                    <a:pos x="54" y="50"/>
                  </a:cxn>
                  <a:cxn ang="0">
                    <a:pos x="45" y="39"/>
                  </a:cxn>
                  <a:cxn ang="0">
                    <a:pos x="30" y="28"/>
                  </a:cxn>
                  <a:cxn ang="0">
                    <a:pos x="33" y="22"/>
                  </a:cxn>
                  <a:cxn ang="0">
                    <a:pos x="19" y="15"/>
                  </a:cxn>
                  <a:cxn ang="0">
                    <a:pos x="14" y="4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2" y="4"/>
                  </a:cxn>
                </a:cxnLst>
                <a:rect l="0" t="0" r="r" b="b"/>
                <a:pathLst>
                  <a:path w="54" h="58">
                    <a:moveTo>
                      <a:pt x="2" y="4"/>
                    </a:moveTo>
                    <a:lnTo>
                      <a:pt x="1" y="4"/>
                    </a:lnTo>
                    <a:lnTo>
                      <a:pt x="0" y="8"/>
                    </a:lnTo>
                    <a:lnTo>
                      <a:pt x="1" y="22"/>
                    </a:lnTo>
                    <a:lnTo>
                      <a:pt x="9" y="28"/>
                    </a:lnTo>
                    <a:lnTo>
                      <a:pt x="12" y="38"/>
                    </a:lnTo>
                    <a:lnTo>
                      <a:pt x="23" y="39"/>
                    </a:lnTo>
                    <a:lnTo>
                      <a:pt x="32" y="49"/>
                    </a:lnTo>
                    <a:lnTo>
                      <a:pt x="41" y="50"/>
                    </a:lnTo>
                    <a:lnTo>
                      <a:pt x="44" y="55"/>
                    </a:lnTo>
                    <a:lnTo>
                      <a:pt x="47" y="58"/>
                    </a:lnTo>
                    <a:lnTo>
                      <a:pt x="52" y="56"/>
                    </a:lnTo>
                    <a:lnTo>
                      <a:pt x="54" y="50"/>
                    </a:lnTo>
                    <a:lnTo>
                      <a:pt x="45" y="39"/>
                    </a:lnTo>
                    <a:lnTo>
                      <a:pt x="30" y="28"/>
                    </a:lnTo>
                    <a:lnTo>
                      <a:pt x="33" y="22"/>
                    </a:lnTo>
                    <a:lnTo>
                      <a:pt x="19" y="15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>
                  <a:solidFill>
                    <a:schemeClr val="accent1">
                      <a:lumMod val="20000"/>
                      <a:lumOff val="80000"/>
                    </a:schemeClr>
                  </a:solidFill>
                </a:endParaRPr>
              </a:p>
            </p:txBody>
          </p:sp>
        </p:grpSp>
        <p:sp>
          <p:nvSpPr>
            <p:cNvPr id="141" name="Freeform 313"/>
            <p:cNvSpPr>
              <a:spLocks noChangeAspect="1"/>
            </p:cNvSpPr>
            <p:nvPr/>
          </p:nvSpPr>
          <p:spPr bwMode="gray">
            <a:xfrm rot="21085610">
              <a:off x="2125013" y="3782609"/>
              <a:ext cx="10566" cy="5283"/>
            </a:xfrm>
            <a:custGeom>
              <a:avLst/>
              <a:gdLst/>
              <a:ahLst/>
              <a:cxnLst>
                <a:cxn ang="0">
                  <a:pos x="291" y="10"/>
                </a:cxn>
                <a:cxn ang="0">
                  <a:pos x="281" y="6"/>
                </a:cxn>
                <a:cxn ang="0">
                  <a:pos x="289" y="25"/>
                </a:cxn>
                <a:cxn ang="0">
                  <a:pos x="298" y="25"/>
                </a:cxn>
                <a:cxn ang="0">
                  <a:pos x="326" y="50"/>
                </a:cxn>
                <a:cxn ang="0">
                  <a:pos x="336" y="96"/>
                </a:cxn>
                <a:cxn ang="0">
                  <a:pos x="312" y="69"/>
                </a:cxn>
                <a:cxn ang="0">
                  <a:pos x="274" y="50"/>
                </a:cxn>
                <a:cxn ang="0">
                  <a:pos x="230" y="52"/>
                </a:cxn>
                <a:cxn ang="0">
                  <a:pos x="98" y="96"/>
                </a:cxn>
                <a:cxn ang="0">
                  <a:pos x="21" y="93"/>
                </a:cxn>
                <a:cxn ang="0">
                  <a:pos x="0" y="52"/>
                </a:cxn>
                <a:cxn ang="0">
                  <a:pos x="87" y="45"/>
                </a:cxn>
                <a:cxn ang="0">
                  <a:pos x="208" y="0"/>
                </a:cxn>
                <a:cxn ang="0">
                  <a:pos x="257" y="0"/>
                </a:cxn>
                <a:cxn ang="0">
                  <a:pos x="291" y="10"/>
                </a:cxn>
              </a:cxnLst>
              <a:rect l="0" t="0" r="r" b="b"/>
              <a:pathLst>
                <a:path w="336" h="96">
                  <a:moveTo>
                    <a:pt x="291" y="10"/>
                  </a:moveTo>
                  <a:lnTo>
                    <a:pt x="281" y="6"/>
                  </a:lnTo>
                  <a:lnTo>
                    <a:pt x="289" y="25"/>
                  </a:lnTo>
                  <a:lnTo>
                    <a:pt x="298" y="25"/>
                  </a:lnTo>
                  <a:lnTo>
                    <a:pt x="326" y="50"/>
                  </a:lnTo>
                  <a:lnTo>
                    <a:pt x="336" y="96"/>
                  </a:lnTo>
                  <a:lnTo>
                    <a:pt x="312" y="69"/>
                  </a:lnTo>
                  <a:lnTo>
                    <a:pt x="274" y="50"/>
                  </a:lnTo>
                  <a:lnTo>
                    <a:pt x="230" y="52"/>
                  </a:lnTo>
                  <a:lnTo>
                    <a:pt x="98" y="96"/>
                  </a:lnTo>
                  <a:lnTo>
                    <a:pt x="21" y="93"/>
                  </a:lnTo>
                  <a:lnTo>
                    <a:pt x="0" y="52"/>
                  </a:lnTo>
                  <a:lnTo>
                    <a:pt x="87" y="45"/>
                  </a:lnTo>
                  <a:lnTo>
                    <a:pt x="208" y="0"/>
                  </a:lnTo>
                  <a:lnTo>
                    <a:pt x="257" y="0"/>
                  </a:lnTo>
                  <a:lnTo>
                    <a:pt x="291" y="1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2" name="Freeform 314"/>
            <p:cNvSpPr>
              <a:spLocks noChangeAspect="1"/>
            </p:cNvSpPr>
            <p:nvPr/>
          </p:nvSpPr>
          <p:spPr bwMode="gray">
            <a:xfrm rot="21085610">
              <a:off x="2142183" y="3783929"/>
              <a:ext cx="1321" cy="13208"/>
            </a:xfrm>
            <a:custGeom>
              <a:avLst/>
              <a:gdLst/>
              <a:ahLst/>
              <a:cxnLst>
                <a:cxn ang="0">
                  <a:pos x="76" y="83"/>
                </a:cxn>
                <a:cxn ang="0">
                  <a:pos x="86" y="6"/>
                </a:cxn>
                <a:cxn ang="0">
                  <a:pos x="86" y="62"/>
                </a:cxn>
                <a:cxn ang="0">
                  <a:pos x="53" y="146"/>
                </a:cxn>
                <a:cxn ang="0">
                  <a:pos x="39" y="232"/>
                </a:cxn>
                <a:cxn ang="0">
                  <a:pos x="0" y="173"/>
                </a:cxn>
                <a:cxn ang="0">
                  <a:pos x="14" y="159"/>
                </a:cxn>
                <a:cxn ang="0">
                  <a:pos x="21" y="135"/>
                </a:cxn>
                <a:cxn ang="0">
                  <a:pos x="18" y="95"/>
                </a:cxn>
                <a:cxn ang="0">
                  <a:pos x="42" y="6"/>
                </a:cxn>
                <a:cxn ang="0">
                  <a:pos x="53" y="0"/>
                </a:cxn>
                <a:cxn ang="0">
                  <a:pos x="72" y="41"/>
                </a:cxn>
                <a:cxn ang="0">
                  <a:pos x="76" y="83"/>
                </a:cxn>
              </a:cxnLst>
              <a:rect l="0" t="0" r="r" b="b"/>
              <a:pathLst>
                <a:path w="86" h="232">
                  <a:moveTo>
                    <a:pt x="76" y="83"/>
                  </a:moveTo>
                  <a:lnTo>
                    <a:pt x="86" y="6"/>
                  </a:lnTo>
                  <a:lnTo>
                    <a:pt x="86" y="62"/>
                  </a:lnTo>
                  <a:lnTo>
                    <a:pt x="53" y="146"/>
                  </a:lnTo>
                  <a:lnTo>
                    <a:pt x="39" y="232"/>
                  </a:lnTo>
                  <a:lnTo>
                    <a:pt x="0" y="173"/>
                  </a:lnTo>
                  <a:lnTo>
                    <a:pt x="14" y="159"/>
                  </a:lnTo>
                  <a:lnTo>
                    <a:pt x="21" y="135"/>
                  </a:lnTo>
                  <a:lnTo>
                    <a:pt x="18" y="95"/>
                  </a:lnTo>
                  <a:lnTo>
                    <a:pt x="42" y="6"/>
                  </a:lnTo>
                  <a:lnTo>
                    <a:pt x="53" y="0"/>
                  </a:lnTo>
                  <a:lnTo>
                    <a:pt x="72" y="41"/>
                  </a:lnTo>
                  <a:lnTo>
                    <a:pt x="76" y="83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3" name="Freeform 315"/>
            <p:cNvSpPr>
              <a:spLocks noChangeAspect="1"/>
            </p:cNvSpPr>
            <p:nvPr/>
          </p:nvSpPr>
          <p:spPr bwMode="gray">
            <a:xfrm rot="21085610">
              <a:off x="2142183" y="3814307"/>
              <a:ext cx="2642" cy="1321"/>
            </a:xfrm>
            <a:custGeom>
              <a:avLst/>
              <a:gdLst/>
              <a:ahLst/>
              <a:cxnLst>
                <a:cxn ang="0">
                  <a:pos x="55" y="25"/>
                </a:cxn>
                <a:cxn ang="0">
                  <a:pos x="73" y="7"/>
                </a:cxn>
                <a:cxn ang="0">
                  <a:pos x="73" y="0"/>
                </a:cxn>
                <a:cxn ang="0">
                  <a:pos x="48" y="0"/>
                </a:cxn>
                <a:cxn ang="0">
                  <a:pos x="8" y="4"/>
                </a:cxn>
                <a:cxn ang="0">
                  <a:pos x="0" y="28"/>
                </a:cxn>
                <a:cxn ang="0">
                  <a:pos x="55" y="25"/>
                </a:cxn>
              </a:cxnLst>
              <a:rect l="0" t="0" r="r" b="b"/>
              <a:pathLst>
                <a:path w="73" h="28">
                  <a:moveTo>
                    <a:pt x="55" y="25"/>
                  </a:moveTo>
                  <a:lnTo>
                    <a:pt x="73" y="7"/>
                  </a:lnTo>
                  <a:lnTo>
                    <a:pt x="73" y="0"/>
                  </a:lnTo>
                  <a:lnTo>
                    <a:pt x="48" y="0"/>
                  </a:lnTo>
                  <a:lnTo>
                    <a:pt x="8" y="4"/>
                  </a:lnTo>
                  <a:lnTo>
                    <a:pt x="0" y="28"/>
                  </a:lnTo>
                  <a:lnTo>
                    <a:pt x="55" y="25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4" name="Freeform 316"/>
            <p:cNvSpPr>
              <a:spLocks noChangeAspect="1"/>
            </p:cNvSpPr>
            <p:nvPr/>
          </p:nvSpPr>
          <p:spPr bwMode="gray">
            <a:xfrm rot="21085610">
              <a:off x="2135579" y="3812986"/>
              <a:ext cx="5283" cy="15849"/>
            </a:xfrm>
            <a:custGeom>
              <a:avLst/>
              <a:gdLst/>
              <a:ahLst/>
              <a:cxnLst>
                <a:cxn ang="0">
                  <a:pos x="93" y="46"/>
                </a:cxn>
                <a:cxn ang="0">
                  <a:pos x="107" y="50"/>
                </a:cxn>
                <a:cxn ang="0">
                  <a:pos x="114" y="81"/>
                </a:cxn>
                <a:cxn ang="0">
                  <a:pos x="175" y="163"/>
                </a:cxn>
                <a:cxn ang="0">
                  <a:pos x="175" y="244"/>
                </a:cxn>
                <a:cxn ang="0">
                  <a:pos x="168" y="268"/>
                </a:cxn>
                <a:cxn ang="0">
                  <a:pos x="141" y="288"/>
                </a:cxn>
                <a:cxn ang="0">
                  <a:pos x="101" y="291"/>
                </a:cxn>
                <a:cxn ang="0">
                  <a:pos x="59" y="244"/>
                </a:cxn>
                <a:cxn ang="0">
                  <a:pos x="10" y="212"/>
                </a:cxn>
                <a:cxn ang="0">
                  <a:pos x="0" y="167"/>
                </a:cxn>
                <a:cxn ang="0">
                  <a:pos x="28" y="84"/>
                </a:cxn>
                <a:cxn ang="0">
                  <a:pos x="35" y="39"/>
                </a:cxn>
                <a:cxn ang="0">
                  <a:pos x="30" y="8"/>
                </a:cxn>
                <a:cxn ang="0">
                  <a:pos x="79" y="0"/>
                </a:cxn>
                <a:cxn ang="0">
                  <a:pos x="93" y="46"/>
                </a:cxn>
              </a:cxnLst>
              <a:rect l="0" t="0" r="r" b="b"/>
              <a:pathLst>
                <a:path w="175" h="291">
                  <a:moveTo>
                    <a:pt x="93" y="46"/>
                  </a:moveTo>
                  <a:lnTo>
                    <a:pt x="107" y="50"/>
                  </a:lnTo>
                  <a:lnTo>
                    <a:pt x="114" y="81"/>
                  </a:lnTo>
                  <a:lnTo>
                    <a:pt x="175" y="163"/>
                  </a:lnTo>
                  <a:lnTo>
                    <a:pt x="175" y="244"/>
                  </a:lnTo>
                  <a:lnTo>
                    <a:pt x="168" y="268"/>
                  </a:lnTo>
                  <a:lnTo>
                    <a:pt x="141" y="288"/>
                  </a:lnTo>
                  <a:lnTo>
                    <a:pt x="101" y="291"/>
                  </a:lnTo>
                  <a:lnTo>
                    <a:pt x="59" y="244"/>
                  </a:lnTo>
                  <a:lnTo>
                    <a:pt x="10" y="212"/>
                  </a:lnTo>
                  <a:lnTo>
                    <a:pt x="0" y="167"/>
                  </a:lnTo>
                  <a:lnTo>
                    <a:pt x="28" y="84"/>
                  </a:lnTo>
                  <a:lnTo>
                    <a:pt x="35" y="39"/>
                  </a:lnTo>
                  <a:lnTo>
                    <a:pt x="30" y="8"/>
                  </a:lnTo>
                  <a:lnTo>
                    <a:pt x="79" y="0"/>
                  </a:lnTo>
                  <a:lnTo>
                    <a:pt x="93" y="46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5" name="Freeform 317"/>
            <p:cNvSpPr>
              <a:spLocks noChangeAspect="1"/>
            </p:cNvSpPr>
            <p:nvPr/>
          </p:nvSpPr>
          <p:spPr bwMode="gray">
            <a:xfrm rot="21085610">
              <a:off x="2142183" y="3831476"/>
              <a:ext cx="1321" cy="7924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47" y="0"/>
                </a:cxn>
                <a:cxn ang="0">
                  <a:pos x="69" y="118"/>
                </a:cxn>
                <a:cxn ang="0">
                  <a:pos x="59" y="144"/>
                </a:cxn>
                <a:cxn ang="0">
                  <a:pos x="17" y="128"/>
                </a:cxn>
                <a:cxn ang="0">
                  <a:pos x="0" y="70"/>
                </a:cxn>
              </a:cxnLst>
              <a:rect l="0" t="0" r="r" b="b"/>
              <a:pathLst>
                <a:path w="69" h="144">
                  <a:moveTo>
                    <a:pt x="0" y="70"/>
                  </a:moveTo>
                  <a:lnTo>
                    <a:pt x="47" y="0"/>
                  </a:lnTo>
                  <a:lnTo>
                    <a:pt x="69" y="118"/>
                  </a:lnTo>
                  <a:lnTo>
                    <a:pt x="59" y="144"/>
                  </a:lnTo>
                  <a:lnTo>
                    <a:pt x="17" y="12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6" name="Freeform 318"/>
            <p:cNvSpPr>
              <a:spLocks noChangeAspect="1"/>
            </p:cNvSpPr>
            <p:nvPr/>
          </p:nvSpPr>
          <p:spPr bwMode="gray">
            <a:xfrm rot="21085610">
              <a:off x="2154069" y="3809023"/>
              <a:ext cx="1321" cy="10566"/>
            </a:xfrm>
            <a:custGeom>
              <a:avLst/>
              <a:gdLst/>
              <a:ahLst/>
              <a:cxnLst>
                <a:cxn ang="0">
                  <a:pos x="37" y="20"/>
                </a:cxn>
                <a:cxn ang="0">
                  <a:pos x="37" y="0"/>
                </a:cxn>
                <a:cxn ang="0">
                  <a:pos x="52" y="45"/>
                </a:cxn>
                <a:cxn ang="0">
                  <a:pos x="47" y="192"/>
                </a:cxn>
                <a:cxn ang="0">
                  <a:pos x="10" y="160"/>
                </a:cxn>
                <a:cxn ang="0">
                  <a:pos x="0" y="120"/>
                </a:cxn>
                <a:cxn ang="0">
                  <a:pos x="20" y="99"/>
                </a:cxn>
                <a:cxn ang="0">
                  <a:pos x="37" y="20"/>
                </a:cxn>
              </a:cxnLst>
              <a:rect l="0" t="0" r="r" b="b"/>
              <a:pathLst>
                <a:path w="52" h="192">
                  <a:moveTo>
                    <a:pt x="37" y="20"/>
                  </a:moveTo>
                  <a:lnTo>
                    <a:pt x="37" y="0"/>
                  </a:lnTo>
                  <a:lnTo>
                    <a:pt x="52" y="45"/>
                  </a:lnTo>
                  <a:lnTo>
                    <a:pt x="47" y="192"/>
                  </a:lnTo>
                  <a:lnTo>
                    <a:pt x="10" y="160"/>
                  </a:lnTo>
                  <a:lnTo>
                    <a:pt x="0" y="120"/>
                  </a:lnTo>
                  <a:lnTo>
                    <a:pt x="20" y="99"/>
                  </a:lnTo>
                  <a:lnTo>
                    <a:pt x="37" y="2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7" name="Freeform 319"/>
            <p:cNvSpPr>
              <a:spLocks noChangeAspect="1"/>
            </p:cNvSpPr>
            <p:nvPr/>
          </p:nvSpPr>
          <p:spPr bwMode="gray">
            <a:xfrm rot="21085610">
              <a:off x="2160673" y="3818268"/>
              <a:ext cx="3962" cy="11887"/>
            </a:xfrm>
            <a:custGeom>
              <a:avLst/>
              <a:gdLst/>
              <a:ahLst/>
              <a:cxnLst>
                <a:cxn ang="0">
                  <a:pos x="115" y="147"/>
                </a:cxn>
                <a:cxn ang="0">
                  <a:pos x="132" y="142"/>
                </a:cxn>
                <a:cxn ang="0">
                  <a:pos x="146" y="205"/>
                </a:cxn>
                <a:cxn ang="0">
                  <a:pos x="121" y="212"/>
                </a:cxn>
                <a:cxn ang="0">
                  <a:pos x="87" y="202"/>
                </a:cxn>
                <a:cxn ang="0">
                  <a:pos x="101" y="157"/>
                </a:cxn>
                <a:cxn ang="0">
                  <a:pos x="56" y="76"/>
                </a:cxn>
                <a:cxn ang="0">
                  <a:pos x="0" y="0"/>
                </a:cxn>
                <a:cxn ang="0">
                  <a:pos x="24" y="4"/>
                </a:cxn>
                <a:cxn ang="0">
                  <a:pos x="52" y="35"/>
                </a:cxn>
                <a:cxn ang="0">
                  <a:pos x="115" y="147"/>
                </a:cxn>
              </a:cxnLst>
              <a:rect l="0" t="0" r="r" b="b"/>
              <a:pathLst>
                <a:path w="146" h="212">
                  <a:moveTo>
                    <a:pt x="115" y="147"/>
                  </a:moveTo>
                  <a:lnTo>
                    <a:pt x="132" y="142"/>
                  </a:lnTo>
                  <a:lnTo>
                    <a:pt x="146" y="205"/>
                  </a:lnTo>
                  <a:lnTo>
                    <a:pt x="121" y="212"/>
                  </a:lnTo>
                  <a:lnTo>
                    <a:pt x="87" y="202"/>
                  </a:lnTo>
                  <a:lnTo>
                    <a:pt x="101" y="157"/>
                  </a:lnTo>
                  <a:lnTo>
                    <a:pt x="56" y="76"/>
                  </a:lnTo>
                  <a:lnTo>
                    <a:pt x="0" y="0"/>
                  </a:lnTo>
                  <a:lnTo>
                    <a:pt x="24" y="4"/>
                  </a:lnTo>
                  <a:lnTo>
                    <a:pt x="52" y="35"/>
                  </a:lnTo>
                  <a:lnTo>
                    <a:pt x="115" y="147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8" name="Freeform 320"/>
            <p:cNvSpPr>
              <a:spLocks noChangeAspect="1"/>
            </p:cNvSpPr>
            <p:nvPr/>
          </p:nvSpPr>
          <p:spPr bwMode="gray">
            <a:xfrm rot="21085610">
              <a:off x="2172560" y="3827513"/>
              <a:ext cx="2642" cy="2642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" y="28"/>
                </a:cxn>
                <a:cxn ang="0">
                  <a:pos x="0" y="55"/>
                </a:cxn>
                <a:cxn ang="0">
                  <a:pos x="35" y="52"/>
                </a:cxn>
                <a:cxn ang="0">
                  <a:pos x="52" y="0"/>
                </a:cxn>
                <a:cxn ang="0">
                  <a:pos x="20" y="0"/>
                </a:cxn>
              </a:cxnLst>
              <a:rect l="0" t="0" r="r" b="b"/>
              <a:pathLst>
                <a:path w="52" h="55">
                  <a:moveTo>
                    <a:pt x="20" y="0"/>
                  </a:moveTo>
                  <a:lnTo>
                    <a:pt x="3" y="28"/>
                  </a:lnTo>
                  <a:lnTo>
                    <a:pt x="0" y="55"/>
                  </a:lnTo>
                  <a:lnTo>
                    <a:pt x="35" y="52"/>
                  </a:lnTo>
                  <a:lnTo>
                    <a:pt x="5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49" name="Freeform 321"/>
            <p:cNvSpPr>
              <a:spLocks noChangeAspect="1"/>
            </p:cNvSpPr>
            <p:nvPr/>
          </p:nvSpPr>
          <p:spPr bwMode="gray">
            <a:xfrm rot="21085610">
              <a:off x="2167276" y="3839400"/>
              <a:ext cx="3962" cy="132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17"/>
                </a:cxn>
                <a:cxn ang="0">
                  <a:pos x="37" y="105"/>
                </a:cxn>
                <a:cxn ang="0">
                  <a:pos x="55" y="135"/>
                </a:cxn>
                <a:cxn ang="0">
                  <a:pos x="93" y="149"/>
                </a:cxn>
                <a:cxn ang="0">
                  <a:pos x="117" y="204"/>
                </a:cxn>
                <a:cxn ang="0">
                  <a:pos x="117" y="232"/>
                </a:cxn>
                <a:cxn ang="0">
                  <a:pos x="96" y="191"/>
                </a:cxn>
                <a:cxn ang="0">
                  <a:pos x="52" y="162"/>
                </a:cxn>
                <a:cxn ang="0">
                  <a:pos x="35" y="118"/>
                </a:cxn>
                <a:cxn ang="0">
                  <a:pos x="24" y="44"/>
                </a:cxn>
                <a:cxn ang="0">
                  <a:pos x="0" y="0"/>
                </a:cxn>
              </a:cxnLst>
              <a:rect l="0" t="0" r="r" b="b"/>
              <a:pathLst>
                <a:path w="117" h="232">
                  <a:moveTo>
                    <a:pt x="0" y="0"/>
                  </a:moveTo>
                  <a:lnTo>
                    <a:pt x="10" y="17"/>
                  </a:lnTo>
                  <a:lnTo>
                    <a:pt x="37" y="105"/>
                  </a:lnTo>
                  <a:lnTo>
                    <a:pt x="55" y="135"/>
                  </a:lnTo>
                  <a:lnTo>
                    <a:pt x="93" y="149"/>
                  </a:lnTo>
                  <a:lnTo>
                    <a:pt x="117" y="204"/>
                  </a:lnTo>
                  <a:lnTo>
                    <a:pt x="117" y="232"/>
                  </a:lnTo>
                  <a:lnTo>
                    <a:pt x="96" y="191"/>
                  </a:lnTo>
                  <a:lnTo>
                    <a:pt x="52" y="162"/>
                  </a:lnTo>
                  <a:lnTo>
                    <a:pt x="35" y="118"/>
                  </a:lnTo>
                  <a:lnTo>
                    <a:pt x="24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0" name="Freeform 322"/>
            <p:cNvSpPr>
              <a:spLocks noChangeAspect="1"/>
            </p:cNvSpPr>
            <p:nvPr/>
          </p:nvSpPr>
          <p:spPr bwMode="gray">
            <a:xfrm rot="21085610">
              <a:off x="2179163" y="3851287"/>
              <a:ext cx="3962" cy="11887"/>
            </a:xfrm>
            <a:custGeom>
              <a:avLst/>
              <a:gdLst/>
              <a:ahLst/>
              <a:cxnLst>
                <a:cxn ang="0">
                  <a:pos x="101" y="73"/>
                </a:cxn>
                <a:cxn ang="0">
                  <a:pos x="101" y="48"/>
                </a:cxn>
                <a:cxn ang="0">
                  <a:pos x="101" y="56"/>
                </a:cxn>
                <a:cxn ang="0">
                  <a:pos x="90" y="48"/>
                </a:cxn>
                <a:cxn ang="0">
                  <a:pos x="31" y="48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46" y="14"/>
                </a:cxn>
                <a:cxn ang="0">
                  <a:pos x="83" y="41"/>
                </a:cxn>
                <a:cxn ang="0">
                  <a:pos x="125" y="41"/>
                </a:cxn>
                <a:cxn ang="0">
                  <a:pos x="145" y="61"/>
                </a:cxn>
                <a:cxn ang="0">
                  <a:pos x="149" y="113"/>
                </a:cxn>
                <a:cxn ang="0">
                  <a:pos x="103" y="172"/>
                </a:cxn>
                <a:cxn ang="0">
                  <a:pos x="49" y="218"/>
                </a:cxn>
                <a:cxn ang="0">
                  <a:pos x="35" y="182"/>
                </a:cxn>
                <a:cxn ang="0">
                  <a:pos x="111" y="100"/>
                </a:cxn>
                <a:cxn ang="0">
                  <a:pos x="101" y="73"/>
                </a:cxn>
              </a:cxnLst>
              <a:rect l="0" t="0" r="r" b="b"/>
              <a:pathLst>
                <a:path w="149" h="218">
                  <a:moveTo>
                    <a:pt x="101" y="73"/>
                  </a:moveTo>
                  <a:lnTo>
                    <a:pt x="101" y="48"/>
                  </a:lnTo>
                  <a:lnTo>
                    <a:pt x="101" y="56"/>
                  </a:lnTo>
                  <a:lnTo>
                    <a:pt x="90" y="48"/>
                  </a:lnTo>
                  <a:lnTo>
                    <a:pt x="31" y="48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11" y="0"/>
                  </a:lnTo>
                  <a:lnTo>
                    <a:pt x="46" y="14"/>
                  </a:lnTo>
                  <a:lnTo>
                    <a:pt x="83" y="41"/>
                  </a:lnTo>
                  <a:lnTo>
                    <a:pt x="125" y="41"/>
                  </a:lnTo>
                  <a:lnTo>
                    <a:pt x="145" y="61"/>
                  </a:lnTo>
                  <a:lnTo>
                    <a:pt x="149" y="113"/>
                  </a:lnTo>
                  <a:lnTo>
                    <a:pt x="103" y="172"/>
                  </a:lnTo>
                  <a:lnTo>
                    <a:pt x="49" y="218"/>
                  </a:lnTo>
                  <a:lnTo>
                    <a:pt x="35" y="182"/>
                  </a:lnTo>
                  <a:lnTo>
                    <a:pt x="111" y="100"/>
                  </a:lnTo>
                  <a:lnTo>
                    <a:pt x="101" y="73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1" name="Freeform 323"/>
            <p:cNvSpPr>
              <a:spLocks noChangeAspect="1"/>
            </p:cNvSpPr>
            <p:nvPr/>
          </p:nvSpPr>
          <p:spPr bwMode="gray">
            <a:xfrm rot="21085610">
              <a:off x="2189729" y="3859212"/>
              <a:ext cx="3962" cy="1321"/>
            </a:xfrm>
            <a:custGeom>
              <a:avLst/>
              <a:gdLst/>
              <a:ahLst/>
              <a:cxnLst>
                <a:cxn ang="0">
                  <a:pos x="118" y="34"/>
                </a:cxn>
                <a:cxn ang="0">
                  <a:pos x="100" y="3"/>
                </a:cxn>
                <a:cxn ang="0">
                  <a:pos x="56" y="0"/>
                </a:cxn>
                <a:cxn ang="0">
                  <a:pos x="0" y="24"/>
                </a:cxn>
                <a:cxn ang="0">
                  <a:pos x="52" y="17"/>
                </a:cxn>
                <a:cxn ang="0">
                  <a:pos x="90" y="34"/>
                </a:cxn>
                <a:cxn ang="0">
                  <a:pos x="118" y="34"/>
                </a:cxn>
              </a:cxnLst>
              <a:rect l="0" t="0" r="r" b="b"/>
              <a:pathLst>
                <a:path w="118" h="34">
                  <a:moveTo>
                    <a:pt x="118" y="34"/>
                  </a:moveTo>
                  <a:lnTo>
                    <a:pt x="100" y="3"/>
                  </a:lnTo>
                  <a:lnTo>
                    <a:pt x="56" y="0"/>
                  </a:lnTo>
                  <a:lnTo>
                    <a:pt x="0" y="24"/>
                  </a:lnTo>
                  <a:lnTo>
                    <a:pt x="52" y="17"/>
                  </a:lnTo>
                  <a:lnTo>
                    <a:pt x="90" y="34"/>
                  </a:lnTo>
                  <a:lnTo>
                    <a:pt x="118" y="34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2" name="Freeform 324"/>
            <p:cNvSpPr>
              <a:spLocks noChangeAspect="1"/>
            </p:cNvSpPr>
            <p:nvPr/>
          </p:nvSpPr>
          <p:spPr bwMode="gray">
            <a:xfrm rot="21085610">
              <a:off x="2198975" y="3864494"/>
              <a:ext cx="7924" cy="5283"/>
            </a:xfrm>
            <a:custGeom>
              <a:avLst/>
              <a:gdLst/>
              <a:ahLst/>
              <a:cxnLst>
                <a:cxn ang="0">
                  <a:pos x="48" y="19"/>
                </a:cxn>
                <a:cxn ang="0">
                  <a:pos x="86" y="0"/>
                </a:cxn>
                <a:cxn ang="0">
                  <a:pos x="114" y="25"/>
                </a:cxn>
                <a:cxn ang="0">
                  <a:pos x="192" y="61"/>
                </a:cxn>
                <a:cxn ang="0">
                  <a:pos x="241" y="92"/>
                </a:cxn>
                <a:cxn ang="0">
                  <a:pos x="248" y="103"/>
                </a:cxn>
                <a:cxn ang="0">
                  <a:pos x="210" y="98"/>
                </a:cxn>
                <a:cxn ang="0">
                  <a:pos x="148" y="52"/>
                </a:cxn>
                <a:cxn ang="0">
                  <a:pos x="100" y="34"/>
                </a:cxn>
                <a:cxn ang="0">
                  <a:pos x="41" y="73"/>
                </a:cxn>
                <a:cxn ang="0">
                  <a:pos x="0" y="76"/>
                </a:cxn>
                <a:cxn ang="0">
                  <a:pos x="13" y="48"/>
                </a:cxn>
                <a:cxn ang="0">
                  <a:pos x="48" y="19"/>
                </a:cxn>
              </a:cxnLst>
              <a:rect l="0" t="0" r="r" b="b"/>
              <a:pathLst>
                <a:path w="248" h="103">
                  <a:moveTo>
                    <a:pt x="48" y="19"/>
                  </a:moveTo>
                  <a:lnTo>
                    <a:pt x="86" y="0"/>
                  </a:lnTo>
                  <a:lnTo>
                    <a:pt x="114" y="25"/>
                  </a:lnTo>
                  <a:lnTo>
                    <a:pt x="192" y="61"/>
                  </a:lnTo>
                  <a:lnTo>
                    <a:pt x="241" y="92"/>
                  </a:lnTo>
                  <a:lnTo>
                    <a:pt x="248" y="103"/>
                  </a:lnTo>
                  <a:lnTo>
                    <a:pt x="210" y="98"/>
                  </a:lnTo>
                  <a:lnTo>
                    <a:pt x="148" y="52"/>
                  </a:lnTo>
                  <a:lnTo>
                    <a:pt x="100" y="34"/>
                  </a:lnTo>
                  <a:lnTo>
                    <a:pt x="41" y="73"/>
                  </a:lnTo>
                  <a:lnTo>
                    <a:pt x="0" y="76"/>
                  </a:lnTo>
                  <a:lnTo>
                    <a:pt x="13" y="48"/>
                  </a:lnTo>
                  <a:lnTo>
                    <a:pt x="48" y="19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3" name="Freeform 325"/>
            <p:cNvSpPr>
              <a:spLocks noChangeAspect="1"/>
            </p:cNvSpPr>
            <p:nvPr/>
          </p:nvSpPr>
          <p:spPr bwMode="gray">
            <a:xfrm rot="21085610">
              <a:off x="2188408" y="3879023"/>
              <a:ext cx="5283" cy="7924"/>
            </a:xfrm>
            <a:custGeom>
              <a:avLst/>
              <a:gdLst/>
              <a:ahLst/>
              <a:cxnLst>
                <a:cxn ang="0">
                  <a:pos x="192" y="0"/>
                </a:cxn>
                <a:cxn ang="0">
                  <a:pos x="184" y="0"/>
                </a:cxn>
                <a:cxn ang="0">
                  <a:pos x="184" y="56"/>
                </a:cxn>
                <a:cxn ang="0">
                  <a:pos x="175" y="104"/>
                </a:cxn>
                <a:cxn ang="0">
                  <a:pos x="132" y="132"/>
                </a:cxn>
                <a:cxn ang="0">
                  <a:pos x="0" y="146"/>
                </a:cxn>
                <a:cxn ang="0">
                  <a:pos x="4" y="76"/>
                </a:cxn>
                <a:cxn ang="0">
                  <a:pos x="62" y="49"/>
                </a:cxn>
                <a:cxn ang="0">
                  <a:pos x="114" y="67"/>
                </a:cxn>
                <a:cxn ang="0">
                  <a:pos x="192" y="0"/>
                </a:cxn>
              </a:cxnLst>
              <a:rect l="0" t="0" r="r" b="b"/>
              <a:pathLst>
                <a:path w="192" h="146">
                  <a:moveTo>
                    <a:pt x="192" y="0"/>
                  </a:moveTo>
                  <a:lnTo>
                    <a:pt x="184" y="0"/>
                  </a:lnTo>
                  <a:lnTo>
                    <a:pt x="184" y="56"/>
                  </a:lnTo>
                  <a:lnTo>
                    <a:pt x="175" y="104"/>
                  </a:lnTo>
                  <a:lnTo>
                    <a:pt x="132" y="132"/>
                  </a:lnTo>
                  <a:lnTo>
                    <a:pt x="0" y="146"/>
                  </a:lnTo>
                  <a:lnTo>
                    <a:pt x="4" y="76"/>
                  </a:lnTo>
                  <a:lnTo>
                    <a:pt x="62" y="49"/>
                  </a:lnTo>
                  <a:lnTo>
                    <a:pt x="114" y="67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4" name="Freeform 326"/>
            <p:cNvSpPr>
              <a:spLocks noChangeAspect="1"/>
            </p:cNvSpPr>
            <p:nvPr/>
          </p:nvSpPr>
          <p:spPr bwMode="gray">
            <a:xfrm rot="21085610">
              <a:off x="2140862" y="3830155"/>
              <a:ext cx="2642" cy="3962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0" y="55"/>
                </a:cxn>
                <a:cxn ang="0">
                  <a:pos x="4" y="80"/>
                </a:cxn>
                <a:cxn ang="0">
                  <a:pos x="42" y="57"/>
                </a:cxn>
                <a:cxn ang="0">
                  <a:pos x="70" y="9"/>
                </a:cxn>
                <a:cxn ang="0">
                  <a:pos x="42" y="0"/>
                </a:cxn>
              </a:cxnLst>
              <a:rect l="0" t="0" r="r" b="b"/>
              <a:pathLst>
                <a:path w="70" h="80">
                  <a:moveTo>
                    <a:pt x="42" y="0"/>
                  </a:moveTo>
                  <a:lnTo>
                    <a:pt x="0" y="55"/>
                  </a:lnTo>
                  <a:lnTo>
                    <a:pt x="4" y="80"/>
                  </a:lnTo>
                  <a:lnTo>
                    <a:pt x="42" y="57"/>
                  </a:lnTo>
                  <a:lnTo>
                    <a:pt x="70" y="9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5" name="Freeform 327"/>
            <p:cNvSpPr>
              <a:spLocks noChangeAspect="1"/>
            </p:cNvSpPr>
            <p:nvPr/>
          </p:nvSpPr>
          <p:spPr bwMode="gray">
            <a:xfrm rot="21085610">
              <a:off x="2114447" y="3816948"/>
              <a:ext cx="1321" cy="5283"/>
            </a:xfrm>
            <a:custGeom>
              <a:avLst/>
              <a:gdLst/>
              <a:ahLst/>
              <a:cxnLst>
                <a:cxn ang="0">
                  <a:pos x="72" y="7"/>
                </a:cxn>
                <a:cxn ang="0">
                  <a:pos x="57" y="0"/>
                </a:cxn>
                <a:cxn ang="0">
                  <a:pos x="0" y="79"/>
                </a:cxn>
                <a:cxn ang="0">
                  <a:pos x="7" y="93"/>
                </a:cxn>
                <a:cxn ang="0">
                  <a:pos x="72" y="7"/>
                </a:cxn>
              </a:cxnLst>
              <a:rect l="0" t="0" r="r" b="b"/>
              <a:pathLst>
                <a:path w="72" h="93">
                  <a:moveTo>
                    <a:pt x="72" y="7"/>
                  </a:moveTo>
                  <a:lnTo>
                    <a:pt x="57" y="0"/>
                  </a:lnTo>
                  <a:lnTo>
                    <a:pt x="0" y="79"/>
                  </a:lnTo>
                  <a:lnTo>
                    <a:pt x="7" y="93"/>
                  </a:lnTo>
                  <a:lnTo>
                    <a:pt x="72" y="7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6" name="Freeform 328"/>
            <p:cNvSpPr>
              <a:spLocks noChangeAspect="1"/>
            </p:cNvSpPr>
            <p:nvPr/>
          </p:nvSpPr>
          <p:spPr bwMode="gray">
            <a:xfrm rot="21085610">
              <a:off x="2111805" y="3823552"/>
              <a:ext cx="2642" cy="264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26"/>
                </a:cxn>
                <a:cxn ang="0">
                  <a:pos x="4" y="36"/>
                </a:cxn>
                <a:cxn ang="0">
                  <a:pos x="53" y="18"/>
                </a:cxn>
                <a:cxn ang="0">
                  <a:pos x="56" y="0"/>
                </a:cxn>
              </a:cxnLst>
              <a:rect l="0" t="0" r="r" b="b"/>
              <a:pathLst>
                <a:path w="56" h="36">
                  <a:moveTo>
                    <a:pt x="56" y="0"/>
                  </a:moveTo>
                  <a:lnTo>
                    <a:pt x="0" y="26"/>
                  </a:lnTo>
                  <a:lnTo>
                    <a:pt x="4" y="36"/>
                  </a:lnTo>
                  <a:lnTo>
                    <a:pt x="53" y="1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7" name="Freeform 329"/>
            <p:cNvSpPr>
              <a:spLocks noChangeAspect="1"/>
            </p:cNvSpPr>
            <p:nvPr/>
          </p:nvSpPr>
          <p:spPr bwMode="gray">
            <a:xfrm rot="21085610">
              <a:off x="2103881" y="3826193"/>
              <a:ext cx="5283" cy="5283"/>
            </a:xfrm>
            <a:custGeom>
              <a:avLst/>
              <a:gdLst/>
              <a:ahLst/>
              <a:cxnLst>
                <a:cxn ang="0">
                  <a:pos x="152" y="40"/>
                </a:cxn>
                <a:cxn ang="0">
                  <a:pos x="109" y="36"/>
                </a:cxn>
                <a:cxn ang="0">
                  <a:pos x="44" y="67"/>
                </a:cxn>
                <a:cxn ang="0">
                  <a:pos x="0" y="70"/>
                </a:cxn>
                <a:cxn ang="0">
                  <a:pos x="9" y="50"/>
                </a:cxn>
                <a:cxn ang="0">
                  <a:pos x="59" y="36"/>
                </a:cxn>
                <a:cxn ang="0">
                  <a:pos x="119" y="0"/>
                </a:cxn>
                <a:cxn ang="0">
                  <a:pos x="155" y="9"/>
                </a:cxn>
                <a:cxn ang="0">
                  <a:pos x="152" y="40"/>
                </a:cxn>
              </a:cxnLst>
              <a:rect l="0" t="0" r="r" b="b"/>
              <a:pathLst>
                <a:path w="155" h="70">
                  <a:moveTo>
                    <a:pt x="152" y="40"/>
                  </a:moveTo>
                  <a:lnTo>
                    <a:pt x="109" y="36"/>
                  </a:lnTo>
                  <a:lnTo>
                    <a:pt x="44" y="67"/>
                  </a:lnTo>
                  <a:lnTo>
                    <a:pt x="0" y="70"/>
                  </a:lnTo>
                  <a:lnTo>
                    <a:pt x="9" y="50"/>
                  </a:lnTo>
                  <a:lnTo>
                    <a:pt x="59" y="36"/>
                  </a:lnTo>
                  <a:lnTo>
                    <a:pt x="119" y="0"/>
                  </a:lnTo>
                  <a:lnTo>
                    <a:pt x="155" y="9"/>
                  </a:lnTo>
                  <a:lnTo>
                    <a:pt x="152" y="4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8" name="Freeform 330"/>
            <p:cNvSpPr>
              <a:spLocks noChangeAspect="1"/>
            </p:cNvSpPr>
            <p:nvPr/>
          </p:nvSpPr>
          <p:spPr bwMode="gray">
            <a:xfrm rot="20552049">
              <a:off x="2139541" y="3939777"/>
              <a:ext cx="19811" cy="14528"/>
            </a:xfrm>
            <a:custGeom>
              <a:avLst/>
              <a:gdLst/>
              <a:ahLst/>
              <a:cxnLst>
                <a:cxn ang="0">
                  <a:pos x="373" y="31"/>
                </a:cxn>
                <a:cxn ang="0">
                  <a:pos x="397" y="35"/>
                </a:cxn>
                <a:cxn ang="0">
                  <a:pos x="450" y="63"/>
                </a:cxn>
                <a:cxn ang="0">
                  <a:pos x="483" y="101"/>
                </a:cxn>
                <a:cxn ang="0">
                  <a:pos x="600" y="104"/>
                </a:cxn>
                <a:cxn ang="0">
                  <a:pos x="642" y="212"/>
                </a:cxn>
                <a:cxn ang="0">
                  <a:pos x="588" y="222"/>
                </a:cxn>
                <a:cxn ang="0">
                  <a:pos x="504" y="197"/>
                </a:cxn>
                <a:cxn ang="0">
                  <a:pos x="442" y="222"/>
                </a:cxn>
                <a:cxn ang="0">
                  <a:pos x="390" y="222"/>
                </a:cxn>
                <a:cxn ang="0">
                  <a:pos x="369" y="260"/>
                </a:cxn>
                <a:cxn ang="0">
                  <a:pos x="304" y="256"/>
                </a:cxn>
                <a:cxn ang="0">
                  <a:pos x="273" y="228"/>
                </a:cxn>
                <a:cxn ang="0">
                  <a:pos x="194" y="222"/>
                </a:cxn>
                <a:cxn ang="0">
                  <a:pos x="101" y="135"/>
                </a:cxn>
                <a:cxn ang="0">
                  <a:pos x="39" y="115"/>
                </a:cxn>
                <a:cxn ang="0">
                  <a:pos x="0" y="73"/>
                </a:cxn>
                <a:cxn ang="0">
                  <a:pos x="10" y="44"/>
                </a:cxn>
                <a:cxn ang="0">
                  <a:pos x="138" y="0"/>
                </a:cxn>
                <a:cxn ang="0">
                  <a:pos x="194" y="4"/>
                </a:cxn>
                <a:cxn ang="0">
                  <a:pos x="279" y="21"/>
                </a:cxn>
                <a:cxn ang="0">
                  <a:pos x="373" y="31"/>
                </a:cxn>
              </a:cxnLst>
              <a:rect l="0" t="0" r="r" b="b"/>
              <a:pathLst>
                <a:path w="642" h="260">
                  <a:moveTo>
                    <a:pt x="373" y="31"/>
                  </a:moveTo>
                  <a:lnTo>
                    <a:pt x="397" y="35"/>
                  </a:lnTo>
                  <a:lnTo>
                    <a:pt x="450" y="63"/>
                  </a:lnTo>
                  <a:lnTo>
                    <a:pt x="483" y="101"/>
                  </a:lnTo>
                  <a:lnTo>
                    <a:pt x="600" y="104"/>
                  </a:lnTo>
                  <a:lnTo>
                    <a:pt x="642" y="212"/>
                  </a:lnTo>
                  <a:lnTo>
                    <a:pt x="588" y="222"/>
                  </a:lnTo>
                  <a:lnTo>
                    <a:pt x="504" y="197"/>
                  </a:lnTo>
                  <a:lnTo>
                    <a:pt x="442" y="222"/>
                  </a:lnTo>
                  <a:lnTo>
                    <a:pt x="390" y="222"/>
                  </a:lnTo>
                  <a:lnTo>
                    <a:pt x="369" y="260"/>
                  </a:lnTo>
                  <a:lnTo>
                    <a:pt x="304" y="256"/>
                  </a:lnTo>
                  <a:lnTo>
                    <a:pt x="273" y="228"/>
                  </a:lnTo>
                  <a:lnTo>
                    <a:pt x="194" y="222"/>
                  </a:lnTo>
                  <a:lnTo>
                    <a:pt x="101" y="135"/>
                  </a:lnTo>
                  <a:lnTo>
                    <a:pt x="39" y="115"/>
                  </a:lnTo>
                  <a:lnTo>
                    <a:pt x="0" y="73"/>
                  </a:lnTo>
                  <a:lnTo>
                    <a:pt x="10" y="44"/>
                  </a:lnTo>
                  <a:lnTo>
                    <a:pt x="138" y="0"/>
                  </a:lnTo>
                  <a:lnTo>
                    <a:pt x="194" y="4"/>
                  </a:lnTo>
                  <a:lnTo>
                    <a:pt x="279" y="21"/>
                  </a:lnTo>
                  <a:lnTo>
                    <a:pt x="373" y="31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59" name="Freeform 331"/>
            <p:cNvSpPr>
              <a:spLocks noChangeAspect="1"/>
            </p:cNvSpPr>
            <p:nvPr/>
          </p:nvSpPr>
          <p:spPr bwMode="gray">
            <a:xfrm rot="20552049">
              <a:off x="2193691" y="3892230"/>
              <a:ext cx="31698" cy="43584"/>
            </a:xfrm>
            <a:custGeom>
              <a:avLst/>
              <a:gdLst/>
              <a:ahLst/>
              <a:cxnLst>
                <a:cxn ang="0">
                  <a:pos x="25" y="17"/>
                </a:cxn>
                <a:cxn ang="0">
                  <a:pos x="119" y="0"/>
                </a:cxn>
                <a:cxn ang="0">
                  <a:pos x="338" y="4"/>
                </a:cxn>
                <a:cxn ang="0">
                  <a:pos x="512" y="76"/>
                </a:cxn>
                <a:cxn ang="0">
                  <a:pos x="614" y="110"/>
                </a:cxn>
                <a:cxn ang="0">
                  <a:pos x="643" y="181"/>
                </a:cxn>
                <a:cxn ang="0">
                  <a:pos x="805" y="193"/>
                </a:cxn>
                <a:cxn ang="0">
                  <a:pos x="825" y="227"/>
                </a:cxn>
                <a:cxn ang="0">
                  <a:pos x="728" y="244"/>
                </a:cxn>
                <a:cxn ang="0">
                  <a:pos x="796" y="294"/>
                </a:cxn>
                <a:cxn ang="0">
                  <a:pos x="977" y="336"/>
                </a:cxn>
                <a:cxn ang="0">
                  <a:pos x="1076" y="404"/>
                </a:cxn>
                <a:cxn ang="0">
                  <a:pos x="1080" y="462"/>
                </a:cxn>
                <a:cxn ang="0">
                  <a:pos x="1012" y="547"/>
                </a:cxn>
                <a:cxn ang="0">
                  <a:pos x="940" y="522"/>
                </a:cxn>
                <a:cxn ang="0">
                  <a:pos x="706" y="483"/>
                </a:cxn>
                <a:cxn ang="0">
                  <a:pos x="551" y="522"/>
                </a:cxn>
                <a:cxn ang="0">
                  <a:pos x="525" y="556"/>
                </a:cxn>
                <a:cxn ang="0">
                  <a:pos x="406" y="589"/>
                </a:cxn>
                <a:cxn ang="0">
                  <a:pos x="369" y="509"/>
                </a:cxn>
                <a:cxn ang="0">
                  <a:pos x="292" y="517"/>
                </a:cxn>
                <a:cxn ang="0">
                  <a:pos x="233" y="584"/>
                </a:cxn>
                <a:cxn ang="0">
                  <a:pos x="174" y="673"/>
                </a:cxn>
                <a:cxn ang="0">
                  <a:pos x="110" y="745"/>
                </a:cxn>
                <a:cxn ang="0">
                  <a:pos x="85" y="733"/>
                </a:cxn>
                <a:cxn ang="0">
                  <a:pos x="42" y="694"/>
                </a:cxn>
                <a:cxn ang="0">
                  <a:pos x="25" y="619"/>
                </a:cxn>
                <a:cxn ang="0">
                  <a:pos x="42" y="531"/>
                </a:cxn>
                <a:cxn ang="0">
                  <a:pos x="0" y="458"/>
                </a:cxn>
                <a:cxn ang="0">
                  <a:pos x="8" y="417"/>
                </a:cxn>
                <a:cxn ang="0">
                  <a:pos x="46" y="290"/>
                </a:cxn>
                <a:cxn ang="0">
                  <a:pos x="77" y="235"/>
                </a:cxn>
                <a:cxn ang="0">
                  <a:pos x="59" y="127"/>
                </a:cxn>
                <a:cxn ang="0">
                  <a:pos x="12" y="38"/>
                </a:cxn>
              </a:cxnLst>
              <a:rect l="0" t="0" r="r" b="b"/>
              <a:pathLst>
                <a:path w="1080" h="745">
                  <a:moveTo>
                    <a:pt x="17" y="29"/>
                  </a:moveTo>
                  <a:lnTo>
                    <a:pt x="25" y="17"/>
                  </a:lnTo>
                  <a:lnTo>
                    <a:pt x="51" y="0"/>
                  </a:lnTo>
                  <a:lnTo>
                    <a:pt x="119" y="0"/>
                  </a:lnTo>
                  <a:lnTo>
                    <a:pt x="183" y="9"/>
                  </a:lnTo>
                  <a:lnTo>
                    <a:pt x="338" y="4"/>
                  </a:lnTo>
                  <a:lnTo>
                    <a:pt x="423" y="29"/>
                  </a:lnTo>
                  <a:lnTo>
                    <a:pt x="512" y="76"/>
                  </a:lnTo>
                  <a:lnTo>
                    <a:pt x="589" y="84"/>
                  </a:lnTo>
                  <a:lnTo>
                    <a:pt x="614" y="110"/>
                  </a:lnTo>
                  <a:lnTo>
                    <a:pt x="632" y="169"/>
                  </a:lnTo>
                  <a:lnTo>
                    <a:pt x="643" y="181"/>
                  </a:lnTo>
                  <a:lnTo>
                    <a:pt x="699" y="193"/>
                  </a:lnTo>
                  <a:lnTo>
                    <a:pt x="805" y="193"/>
                  </a:lnTo>
                  <a:lnTo>
                    <a:pt x="822" y="203"/>
                  </a:lnTo>
                  <a:lnTo>
                    <a:pt x="825" y="227"/>
                  </a:lnTo>
                  <a:lnTo>
                    <a:pt x="779" y="244"/>
                  </a:lnTo>
                  <a:lnTo>
                    <a:pt x="728" y="244"/>
                  </a:lnTo>
                  <a:lnTo>
                    <a:pt x="723" y="269"/>
                  </a:lnTo>
                  <a:lnTo>
                    <a:pt x="796" y="294"/>
                  </a:lnTo>
                  <a:lnTo>
                    <a:pt x="944" y="298"/>
                  </a:lnTo>
                  <a:lnTo>
                    <a:pt x="977" y="336"/>
                  </a:lnTo>
                  <a:lnTo>
                    <a:pt x="1038" y="387"/>
                  </a:lnTo>
                  <a:lnTo>
                    <a:pt x="1076" y="404"/>
                  </a:lnTo>
                  <a:lnTo>
                    <a:pt x="1080" y="417"/>
                  </a:lnTo>
                  <a:lnTo>
                    <a:pt x="1080" y="462"/>
                  </a:lnTo>
                  <a:lnTo>
                    <a:pt x="1055" y="509"/>
                  </a:lnTo>
                  <a:lnTo>
                    <a:pt x="1012" y="547"/>
                  </a:lnTo>
                  <a:lnTo>
                    <a:pt x="969" y="547"/>
                  </a:lnTo>
                  <a:lnTo>
                    <a:pt x="940" y="522"/>
                  </a:lnTo>
                  <a:lnTo>
                    <a:pt x="872" y="496"/>
                  </a:lnTo>
                  <a:lnTo>
                    <a:pt x="706" y="483"/>
                  </a:lnTo>
                  <a:lnTo>
                    <a:pt x="589" y="500"/>
                  </a:lnTo>
                  <a:lnTo>
                    <a:pt x="551" y="522"/>
                  </a:lnTo>
                  <a:lnTo>
                    <a:pt x="538" y="547"/>
                  </a:lnTo>
                  <a:lnTo>
                    <a:pt x="525" y="556"/>
                  </a:lnTo>
                  <a:lnTo>
                    <a:pt x="474" y="576"/>
                  </a:lnTo>
                  <a:lnTo>
                    <a:pt x="406" y="589"/>
                  </a:lnTo>
                  <a:lnTo>
                    <a:pt x="369" y="522"/>
                  </a:lnTo>
                  <a:lnTo>
                    <a:pt x="369" y="509"/>
                  </a:lnTo>
                  <a:lnTo>
                    <a:pt x="322" y="504"/>
                  </a:lnTo>
                  <a:lnTo>
                    <a:pt x="292" y="517"/>
                  </a:lnTo>
                  <a:lnTo>
                    <a:pt x="271" y="534"/>
                  </a:lnTo>
                  <a:lnTo>
                    <a:pt x="233" y="584"/>
                  </a:lnTo>
                  <a:lnTo>
                    <a:pt x="191" y="656"/>
                  </a:lnTo>
                  <a:lnTo>
                    <a:pt x="174" y="673"/>
                  </a:lnTo>
                  <a:lnTo>
                    <a:pt x="170" y="690"/>
                  </a:lnTo>
                  <a:lnTo>
                    <a:pt x="110" y="745"/>
                  </a:lnTo>
                  <a:lnTo>
                    <a:pt x="88" y="745"/>
                  </a:lnTo>
                  <a:lnTo>
                    <a:pt x="85" y="733"/>
                  </a:lnTo>
                  <a:lnTo>
                    <a:pt x="46" y="702"/>
                  </a:lnTo>
                  <a:lnTo>
                    <a:pt x="42" y="694"/>
                  </a:lnTo>
                  <a:lnTo>
                    <a:pt x="42" y="640"/>
                  </a:lnTo>
                  <a:lnTo>
                    <a:pt x="25" y="619"/>
                  </a:lnTo>
                  <a:lnTo>
                    <a:pt x="34" y="606"/>
                  </a:lnTo>
                  <a:lnTo>
                    <a:pt x="42" y="531"/>
                  </a:lnTo>
                  <a:lnTo>
                    <a:pt x="34" y="496"/>
                  </a:lnTo>
                  <a:lnTo>
                    <a:pt x="0" y="458"/>
                  </a:lnTo>
                  <a:lnTo>
                    <a:pt x="0" y="434"/>
                  </a:lnTo>
                  <a:lnTo>
                    <a:pt x="8" y="417"/>
                  </a:lnTo>
                  <a:lnTo>
                    <a:pt x="51" y="384"/>
                  </a:lnTo>
                  <a:lnTo>
                    <a:pt x="46" y="290"/>
                  </a:lnTo>
                  <a:lnTo>
                    <a:pt x="68" y="269"/>
                  </a:lnTo>
                  <a:lnTo>
                    <a:pt x="77" y="235"/>
                  </a:lnTo>
                  <a:lnTo>
                    <a:pt x="51" y="206"/>
                  </a:lnTo>
                  <a:lnTo>
                    <a:pt x="59" y="127"/>
                  </a:lnTo>
                  <a:lnTo>
                    <a:pt x="46" y="80"/>
                  </a:lnTo>
                  <a:lnTo>
                    <a:pt x="12" y="38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0" name="Freeform 332"/>
            <p:cNvSpPr>
              <a:spLocks noChangeAspect="1"/>
            </p:cNvSpPr>
            <p:nvPr/>
          </p:nvSpPr>
          <p:spPr bwMode="gray">
            <a:xfrm rot="20552049">
              <a:off x="2288785" y="3918645"/>
              <a:ext cx="1321" cy="1321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1" y="4"/>
                </a:cxn>
                <a:cxn ang="0">
                  <a:pos x="0" y="28"/>
                </a:cxn>
                <a:cxn ang="0">
                  <a:pos x="4" y="48"/>
                </a:cxn>
                <a:cxn ang="0">
                  <a:pos x="24" y="53"/>
                </a:cxn>
                <a:cxn ang="0">
                  <a:pos x="52" y="34"/>
                </a:cxn>
                <a:cxn ang="0">
                  <a:pos x="56" y="22"/>
                </a:cxn>
                <a:cxn ang="0">
                  <a:pos x="18" y="0"/>
                </a:cxn>
              </a:cxnLst>
              <a:rect l="0" t="0" r="r" b="b"/>
              <a:pathLst>
                <a:path w="56" h="53">
                  <a:moveTo>
                    <a:pt x="18" y="0"/>
                  </a:moveTo>
                  <a:lnTo>
                    <a:pt x="11" y="4"/>
                  </a:lnTo>
                  <a:lnTo>
                    <a:pt x="0" y="28"/>
                  </a:lnTo>
                  <a:lnTo>
                    <a:pt x="4" y="48"/>
                  </a:lnTo>
                  <a:lnTo>
                    <a:pt x="24" y="53"/>
                  </a:lnTo>
                  <a:lnTo>
                    <a:pt x="52" y="34"/>
                  </a:lnTo>
                  <a:lnTo>
                    <a:pt x="56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1" name="Freeform 333"/>
            <p:cNvSpPr>
              <a:spLocks noChangeAspect="1"/>
            </p:cNvSpPr>
            <p:nvPr/>
          </p:nvSpPr>
          <p:spPr bwMode="gray">
            <a:xfrm rot="20552049">
              <a:off x="2307275" y="3954305"/>
              <a:ext cx="2642" cy="924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32" y="7"/>
                </a:cxn>
                <a:cxn ang="0">
                  <a:pos x="66" y="41"/>
                </a:cxn>
                <a:cxn ang="0">
                  <a:pos x="111" y="138"/>
                </a:cxn>
                <a:cxn ang="0">
                  <a:pos x="105" y="145"/>
                </a:cxn>
                <a:cxn ang="0">
                  <a:pos x="66" y="152"/>
                </a:cxn>
                <a:cxn ang="0">
                  <a:pos x="49" y="138"/>
                </a:cxn>
                <a:cxn ang="0">
                  <a:pos x="7" y="47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11" h="152">
                  <a:moveTo>
                    <a:pt x="4" y="0"/>
                  </a:moveTo>
                  <a:lnTo>
                    <a:pt x="32" y="7"/>
                  </a:lnTo>
                  <a:lnTo>
                    <a:pt x="66" y="41"/>
                  </a:lnTo>
                  <a:lnTo>
                    <a:pt x="111" y="138"/>
                  </a:lnTo>
                  <a:lnTo>
                    <a:pt x="105" y="145"/>
                  </a:lnTo>
                  <a:lnTo>
                    <a:pt x="66" y="152"/>
                  </a:lnTo>
                  <a:lnTo>
                    <a:pt x="49" y="138"/>
                  </a:lnTo>
                  <a:lnTo>
                    <a:pt x="7" y="47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2" name="Freeform 334"/>
            <p:cNvSpPr>
              <a:spLocks noChangeAspect="1"/>
            </p:cNvSpPr>
            <p:nvPr/>
          </p:nvSpPr>
          <p:spPr bwMode="gray">
            <a:xfrm rot="20552049">
              <a:off x="2327086" y="4019021"/>
              <a:ext cx="2642" cy="3962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51" y="11"/>
                </a:cxn>
                <a:cxn ang="0">
                  <a:pos x="0" y="52"/>
                </a:cxn>
                <a:cxn ang="0">
                  <a:pos x="14" y="63"/>
                </a:cxn>
                <a:cxn ang="0">
                  <a:pos x="62" y="31"/>
                </a:cxn>
                <a:cxn ang="0">
                  <a:pos x="86" y="0"/>
                </a:cxn>
              </a:cxnLst>
              <a:rect l="0" t="0" r="r" b="b"/>
              <a:pathLst>
                <a:path w="86" h="63">
                  <a:moveTo>
                    <a:pt x="86" y="0"/>
                  </a:moveTo>
                  <a:lnTo>
                    <a:pt x="51" y="11"/>
                  </a:lnTo>
                  <a:lnTo>
                    <a:pt x="0" y="52"/>
                  </a:lnTo>
                  <a:lnTo>
                    <a:pt x="14" y="63"/>
                  </a:lnTo>
                  <a:lnTo>
                    <a:pt x="62" y="31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3" name="Freeform 335"/>
            <p:cNvSpPr>
              <a:spLocks noChangeAspect="1"/>
            </p:cNvSpPr>
            <p:nvPr/>
          </p:nvSpPr>
          <p:spPr bwMode="gray">
            <a:xfrm rot="20552049">
              <a:off x="2321803" y="4030908"/>
              <a:ext cx="7924" cy="13208"/>
            </a:xfrm>
            <a:custGeom>
              <a:avLst/>
              <a:gdLst/>
              <a:ahLst/>
              <a:cxnLst>
                <a:cxn ang="0">
                  <a:pos x="287" y="26"/>
                </a:cxn>
                <a:cxn ang="0">
                  <a:pos x="267" y="48"/>
                </a:cxn>
                <a:cxn ang="0">
                  <a:pos x="259" y="106"/>
                </a:cxn>
                <a:cxn ang="0">
                  <a:pos x="267" y="144"/>
                </a:cxn>
                <a:cxn ang="0">
                  <a:pos x="276" y="153"/>
                </a:cxn>
                <a:cxn ang="0">
                  <a:pos x="270" y="204"/>
                </a:cxn>
                <a:cxn ang="0">
                  <a:pos x="233" y="232"/>
                </a:cxn>
                <a:cxn ang="0">
                  <a:pos x="173" y="245"/>
                </a:cxn>
                <a:cxn ang="0">
                  <a:pos x="3" y="245"/>
                </a:cxn>
                <a:cxn ang="0">
                  <a:pos x="0" y="232"/>
                </a:cxn>
                <a:cxn ang="0">
                  <a:pos x="102" y="194"/>
                </a:cxn>
                <a:cxn ang="0">
                  <a:pos x="118" y="156"/>
                </a:cxn>
                <a:cxn ang="0">
                  <a:pos x="128" y="85"/>
                </a:cxn>
                <a:cxn ang="0">
                  <a:pos x="123" y="72"/>
                </a:cxn>
                <a:cxn ang="0">
                  <a:pos x="111" y="65"/>
                </a:cxn>
                <a:cxn ang="0">
                  <a:pos x="77" y="60"/>
                </a:cxn>
                <a:cxn ang="0">
                  <a:pos x="72" y="34"/>
                </a:cxn>
                <a:cxn ang="0">
                  <a:pos x="85" y="34"/>
                </a:cxn>
                <a:cxn ang="0">
                  <a:pos x="111" y="23"/>
                </a:cxn>
                <a:cxn ang="0">
                  <a:pos x="207" y="18"/>
                </a:cxn>
                <a:cxn ang="0">
                  <a:pos x="276" y="0"/>
                </a:cxn>
                <a:cxn ang="0">
                  <a:pos x="287" y="0"/>
                </a:cxn>
                <a:cxn ang="0">
                  <a:pos x="287" y="26"/>
                </a:cxn>
              </a:cxnLst>
              <a:rect l="0" t="0" r="r" b="b"/>
              <a:pathLst>
                <a:path w="287" h="245">
                  <a:moveTo>
                    <a:pt x="287" y="26"/>
                  </a:moveTo>
                  <a:lnTo>
                    <a:pt x="267" y="48"/>
                  </a:lnTo>
                  <a:lnTo>
                    <a:pt x="259" y="106"/>
                  </a:lnTo>
                  <a:lnTo>
                    <a:pt x="267" y="144"/>
                  </a:lnTo>
                  <a:lnTo>
                    <a:pt x="276" y="153"/>
                  </a:lnTo>
                  <a:lnTo>
                    <a:pt x="270" y="204"/>
                  </a:lnTo>
                  <a:lnTo>
                    <a:pt x="233" y="232"/>
                  </a:lnTo>
                  <a:lnTo>
                    <a:pt x="173" y="245"/>
                  </a:lnTo>
                  <a:lnTo>
                    <a:pt x="3" y="245"/>
                  </a:lnTo>
                  <a:lnTo>
                    <a:pt x="0" y="232"/>
                  </a:lnTo>
                  <a:lnTo>
                    <a:pt x="102" y="194"/>
                  </a:lnTo>
                  <a:lnTo>
                    <a:pt x="118" y="156"/>
                  </a:lnTo>
                  <a:lnTo>
                    <a:pt x="128" y="85"/>
                  </a:lnTo>
                  <a:lnTo>
                    <a:pt x="123" y="72"/>
                  </a:lnTo>
                  <a:lnTo>
                    <a:pt x="111" y="65"/>
                  </a:lnTo>
                  <a:lnTo>
                    <a:pt x="77" y="60"/>
                  </a:lnTo>
                  <a:lnTo>
                    <a:pt x="72" y="34"/>
                  </a:lnTo>
                  <a:lnTo>
                    <a:pt x="85" y="34"/>
                  </a:lnTo>
                  <a:lnTo>
                    <a:pt x="111" y="23"/>
                  </a:lnTo>
                  <a:lnTo>
                    <a:pt x="207" y="18"/>
                  </a:lnTo>
                  <a:lnTo>
                    <a:pt x="276" y="0"/>
                  </a:lnTo>
                  <a:lnTo>
                    <a:pt x="287" y="0"/>
                  </a:lnTo>
                  <a:lnTo>
                    <a:pt x="287" y="26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4" name="Freeform 336"/>
            <p:cNvSpPr>
              <a:spLocks noChangeAspect="1"/>
            </p:cNvSpPr>
            <p:nvPr/>
          </p:nvSpPr>
          <p:spPr bwMode="gray">
            <a:xfrm rot="20552049">
              <a:off x="2177842" y="3897513"/>
              <a:ext cx="1321" cy="264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39" y="0"/>
                </a:cxn>
                <a:cxn ang="0">
                  <a:pos x="68" y="20"/>
                </a:cxn>
                <a:cxn ang="0">
                  <a:pos x="63" y="42"/>
                </a:cxn>
                <a:cxn ang="0">
                  <a:pos x="14" y="42"/>
                </a:cxn>
                <a:cxn ang="0">
                  <a:pos x="5" y="34"/>
                </a:cxn>
                <a:cxn ang="0">
                  <a:pos x="0" y="20"/>
                </a:cxn>
                <a:cxn ang="0">
                  <a:pos x="5" y="9"/>
                </a:cxn>
                <a:cxn ang="0">
                  <a:pos x="17" y="9"/>
                </a:cxn>
                <a:cxn ang="0">
                  <a:pos x="26" y="0"/>
                </a:cxn>
              </a:cxnLst>
              <a:rect l="0" t="0" r="r" b="b"/>
              <a:pathLst>
                <a:path w="68" h="42">
                  <a:moveTo>
                    <a:pt x="26" y="0"/>
                  </a:moveTo>
                  <a:lnTo>
                    <a:pt x="39" y="0"/>
                  </a:lnTo>
                  <a:lnTo>
                    <a:pt x="68" y="20"/>
                  </a:lnTo>
                  <a:lnTo>
                    <a:pt x="63" y="42"/>
                  </a:lnTo>
                  <a:lnTo>
                    <a:pt x="14" y="42"/>
                  </a:lnTo>
                  <a:lnTo>
                    <a:pt x="5" y="34"/>
                  </a:lnTo>
                  <a:lnTo>
                    <a:pt x="0" y="20"/>
                  </a:lnTo>
                  <a:lnTo>
                    <a:pt x="5" y="9"/>
                  </a:lnTo>
                  <a:lnTo>
                    <a:pt x="17" y="9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grpSp>
          <p:nvGrpSpPr>
            <p:cNvPr id="165" name="Group 337"/>
            <p:cNvGrpSpPr>
              <a:grpSpLocks noChangeAspect="1"/>
            </p:cNvGrpSpPr>
            <p:nvPr/>
          </p:nvGrpSpPr>
          <p:grpSpPr bwMode="gray">
            <a:xfrm>
              <a:off x="2171239" y="3900155"/>
              <a:ext cx="23773" cy="36981"/>
              <a:chOff x="1694" y="2257"/>
              <a:chExt cx="18" cy="28"/>
            </a:xfrm>
            <a:solidFill>
              <a:srgbClr val="DEEDBF"/>
            </a:solidFill>
          </p:grpSpPr>
          <p:sp>
            <p:nvSpPr>
              <p:cNvPr id="181" name="Freeform 338"/>
              <p:cNvSpPr>
                <a:spLocks noChangeAspect="1"/>
              </p:cNvSpPr>
              <p:nvPr/>
            </p:nvSpPr>
            <p:spPr bwMode="gray">
              <a:xfrm rot="-1047951">
                <a:off x="1701" y="2270"/>
                <a:ext cx="3" cy="4"/>
              </a:xfrm>
              <a:custGeom>
                <a:avLst/>
                <a:gdLst/>
                <a:ahLst/>
                <a:cxnLst>
                  <a:cxn ang="0">
                    <a:pos x="89" y="8"/>
                  </a:cxn>
                  <a:cxn ang="0">
                    <a:pos x="138" y="32"/>
                  </a:cxn>
                  <a:cxn ang="0">
                    <a:pos x="147" y="83"/>
                  </a:cxn>
                  <a:cxn ang="0">
                    <a:pos x="105" y="62"/>
                  </a:cxn>
                  <a:cxn ang="0">
                    <a:pos x="29" y="56"/>
                  </a:cxn>
                  <a:cxn ang="0">
                    <a:pos x="0" y="14"/>
                  </a:cxn>
                  <a:cxn ang="0">
                    <a:pos x="32" y="0"/>
                  </a:cxn>
                  <a:cxn ang="0">
                    <a:pos x="89" y="8"/>
                  </a:cxn>
                </a:cxnLst>
                <a:rect l="0" t="0" r="r" b="b"/>
                <a:pathLst>
                  <a:path w="147" h="83">
                    <a:moveTo>
                      <a:pt x="89" y="8"/>
                    </a:moveTo>
                    <a:lnTo>
                      <a:pt x="138" y="32"/>
                    </a:lnTo>
                    <a:lnTo>
                      <a:pt x="147" y="83"/>
                    </a:lnTo>
                    <a:lnTo>
                      <a:pt x="105" y="62"/>
                    </a:lnTo>
                    <a:lnTo>
                      <a:pt x="29" y="56"/>
                    </a:lnTo>
                    <a:lnTo>
                      <a:pt x="0" y="14"/>
                    </a:lnTo>
                    <a:lnTo>
                      <a:pt x="32" y="0"/>
                    </a:lnTo>
                    <a:lnTo>
                      <a:pt x="89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  <p:sp>
            <p:nvSpPr>
              <p:cNvPr id="182" name="Freeform 339"/>
              <p:cNvSpPr>
                <a:spLocks noChangeAspect="1"/>
              </p:cNvSpPr>
              <p:nvPr/>
            </p:nvSpPr>
            <p:spPr bwMode="gray">
              <a:xfrm rot="-1047951">
                <a:off x="1694" y="2257"/>
                <a:ext cx="18" cy="28"/>
              </a:xfrm>
              <a:custGeom>
                <a:avLst/>
                <a:gdLst/>
                <a:ahLst/>
                <a:cxnLst>
                  <a:cxn ang="0">
                    <a:pos x="826" y="627"/>
                  </a:cxn>
                  <a:cxn ang="0">
                    <a:pos x="835" y="614"/>
                  </a:cxn>
                  <a:cxn ang="0">
                    <a:pos x="843" y="539"/>
                  </a:cxn>
                  <a:cxn ang="0">
                    <a:pos x="835" y="504"/>
                  </a:cxn>
                  <a:cxn ang="0">
                    <a:pos x="801" y="466"/>
                  </a:cxn>
                  <a:cxn ang="0">
                    <a:pos x="801" y="442"/>
                  </a:cxn>
                  <a:cxn ang="0">
                    <a:pos x="809" y="425"/>
                  </a:cxn>
                  <a:cxn ang="0">
                    <a:pos x="852" y="392"/>
                  </a:cxn>
                  <a:cxn ang="0">
                    <a:pos x="847" y="298"/>
                  </a:cxn>
                  <a:cxn ang="0">
                    <a:pos x="868" y="277"/>
                  </a:cxn>
                  <a:cxn ang="0">
                    <a:pos x="877" y="243"/>
                  </a:cxn>
                  <a:cxn ang="0">
                    <a:pos x="852" y="214"/>
                  </a:cxn>
                  <a:cxn ang="0">
                    <a:pos x="860" y="135"/>
                  </a:cxn>
                  <a:cxn ang="0">
                    <a:pos x="847" y="88"/>
                  </a:cxn>
                  <a:cxn ang="0">
                    <a:pos x="813" y="46"/>
                  </a:cxn>
                  <a:cxn ang="0">
                    <a:pos x="818" y="37"/>
                  </a:cxn>
                  <a:cxn ang="0">
                    <a:pos x="809" y="37"/>
                  </a:cxn>
                  <a:cxn ang="0">
                    <a:pos x="775" y="63"/>
                  </a:cxn>
                  <a:cxn ang="0">
                    <a:pos x="639" y="67"/>
                  </a:cxn>
                  <a:cxn ang="0">
                    <a:pos x="606" y="59"/>
                  </a:cxn>
                  <a:cxn ang="0">
                    <a:pos x="564" y="29"/>
                  </a:cxn>
                  <a:cxn ang="0">
                    <a:pos x="513" y="8"/>
                  </a:cxn>
                  <a:cxn ang="0">
                    <a:pos x="445" y="0"/>
                  </a:cxn>
                  <a:cxn ang="0">
                    <a:pos x="356" y="17"/>
                  </a:cxn>
                  <a:cxn ang="0">
                    <a:pos x="317" y="37"/>
                  </a:cxn>
                  <a:cxn ang="0">
                    <a:pos x="300" y="63"/>
                  </a:cxn>
                  <a:cxn ang="0">
                    <a:pos x="305" y="101"/>
                  </a:cxn>
                  <a:cxn ang="0">
                    <a:pos x="326" y="109"/>
                  </a:cxn>
                  <a:cxn ang="0">
                    <a:pos x="445" y="109"/>
                  </a:cxn>
                  <a:cxn ang="0">
                    <a:pos x="492" y="135"/>
                  </a:cxn>
                  <a:cxn ang="0">
                    <a:pos x="504" y="172"/>
                  </a:cxn>
                  <a:cxn ang="0">
                    <a:pos x="504" y="298"/>
                  </a:cxn>
                  <a:cxn ang="0">
                    <a:pos x="513" y="327"/>
                  </a:cxn>
                  <a:cxn ang="0">
                    <a:pos x="584" y="387"/>
                  </a:cxn>
                  <a:cxn ang="0">
                    <a:pos x="631" y="412"/>
                  </a:cxn>
                  <a:cxn ang="0">
                    <a:pos x="635" y="442"/>
                  </a:cxn>
                  <a:cxn ang="0">
                    <a:pos x="618" y="459"/>
                  </a:cxn>
                  <a:cxn ang="0">
                    <a:pos x="581" y="459"/>
                  </a:cxn>
                  <a:cxn ang="0">
                    <a:pos x="516" y="476"/>
                  </a:cxn>
                  <a:cxn ang="0">
                    <a:pos x="377" y="479"/>
                  </a:cxn>
                  <a:cxn ang="0">
                    <a:pos x="262" y="466"/>
                  </a:cxn>
                  <a:cxn ang="0">
                    <a:pos x="186" y="445"/>
                  </a:cxn>
                  <a:cxn ang="0">
                    <a:pos x="8" y="445"/>
                  </a:cxn>
                  <a:cxn ang="0">
                    <a:pos x="0" y="459"/>
                  </a:cxn>
                  <a:cxn ang="0">
                    <a:pos x="0" y="491"/>
                  </a:cxn>
                  <a:cxn ang="0">
                    <a:pos x="42" y="550"/>
                  </a:cxn>
                  <a:cxn ang="0">
                    <a:pos x="131" y="589"/>
                  </a:cxn>
                  <a:cxn ang="0">
                    <a:pos x="164" y="623"/>
                  </a:cxn>
                  <a:cxn ang="0">
                    <a:pos x="186" y="614"/>
                  </a:cxn>
                  <a:cxn ang="0">
                    <a:pos x="181" y="584"/>
                  </a:cxn>
                  <a:cxn ang="0">
                    <a:pos x="198" y="567"/>
                  </a:cxn>
                  <a:cxn ang="0">
                    <a:pos x="224" y="555"/>
                  </a:cxn>
                  <a:cxn ang="0">
                    <a:pos x="249" y="555"/>
                  </a:cxn>
                  <a:cxn ang="0">
                    <a:pos x="339" y="559"/>
                  </a:cxn>
                  <a:cxn ang="0">
                    <a:pos x="504" y="601"/>
                  </a:cxn>
                  <a:cxn ang="0">
                    <a:pos x="547" y="597"/>
                  </a:cxn>
                  <a:cxn ang="0">
                    <a:pos x="648" y="567"/>
                  </a:cxn>
                  <a:cxn ang="0">
                    <a:pos x="690" y="567"/>
                  </a:cxn>
                  <a:cxn ang="0">
                    <a:pos x="729" y="575"/>
                  </a:cxn>
                  <a:cxn ang="0">
                    <a:pos x="758" y="592"/>
                  </a:cxn>
                  <a:cxn ang="0">
                    <a:pos x="787" y="601"/>
                  </a:cxn>
                  <a:cxn ang="0">
                    <a:pos x="821" y="617"/>
                  </a:cxn>
                  <a:cxn ang="0">
                    <a:pos x="826" y="627"/>
                  </a:cxn>
                </a:cxnLst>
                <a:rect l="0" t="0" r="r" b="b"/>
                <a:pathLst>
                  <a:path w="877" h="627">
                    <a:moveTo>
                      <a:pt x="826" y="627"/>
                    </a:moveTo>
                    <a:lnTo>
                      <a:pt x="835" y="614"/>
                    </a:lnTo>
                    <a:lnTo>
                      <a:pt x="843" y="539"/>
                    </a:lnTo>
                    <a:lnTo>
                      <a:pt x="835" y="504"/>
                    </a:lnTo>
                    <a:lnTo>
                      <a:pt x="801" y="466"/>
                    </a:lnTo>
                    <a:lnTo>
                      <a:pt x="801" y="442"/>
                    </a:lnTo>
                    <a:lnTo>
                      <a:pt x="809" y="425"/>
                    </a:lnTo>
                    <a:lnTo>
                      <a:pt x="852" y="392"/>
                    </a:lnTo>
                    <a:lnTo>
                      <a:pt x="847" y="298"/>
                    </a:lnTo>
                    <a:lnTo>
                      <a:pt x="868" y="277"/>
                    </a:lnTo>
                    <a:lnTo>
                      <a:pt x="877" y="243"/>
                    </a:lnTo>
                    <a:lnTo>
                      <a:pt x="852" y="214"/>
                    </a:lnTo>
                    <a:lnTo>
                      <a:pt x="860" y="135"/>
                    </a:lnTo>
                    <a:lnTo>
                      <a:pt x="847" y="88"/>
                    </a:lnTo>
                    <a:lnTo>
                      <a:pt x="813" y="46"/>
                    </a:lnTo>
                    <a:lnTo>
                      <a:pt x="818" y="37"/>
                    </a:lnTo>
                    <a:lnTo>
                      <a:pt x="809" y="37"/>
                    </a:lnTo>
                    <a:lnTo>
                      <a:pt x="775" y="63"/>
                    </a:lnTo>
                    <a:lnTo>
                      <a:pt x="639" y="67"/>
                    </a:lnTo>
                    <a:lnTo>
                      <a:pt x="606" y="59"/>
                    </a:lnTo>
                    <a:lnTo>
                      <a:pt x="564" y="29"/>
                    </a:lnTo>
                    <a:lnTo>
                      <a:pt x="513" y="8"/>
                    </a:lnTo>
                    <a:lnTo>
                      <a:pt x="445" y="0"/>
                    </a:lnTo>
                    <a:lnTo>
                      <a:pt x="356" y="17"/>
                    </a:lnTo>
                    <a:lnTo>
                      <a:pt x="317" y="37"/>
                    </a:lnTo>
                    <a:lnTo>
                      <a:pt x="300" y="63"/>
                    </a:lnTo>
                    <a:lnTo>
                      <a:pt x="305" y="101"/>
                    </a:lnTo>
                    <a:lnTo>
                      <a:pt x="326" y="109"/>
                    </a:lnTo>
                    <a:lnTo>
                      <a:pt x="445" y="109"/>
                    </a:lnTo>
                    <a:lnTo>
                      <a:pt x="492" y="135"/>
                    </a:lnTo>
                    <a:lnTo>
                      <a:pt x="504" y="172"/>
                    </a:lnTo>
                    <a:lnTo>
                      <a:pt x="504" y="298"/>
                    </a:lnTo>
                    <a:lnTo>
                      <a:pt x="513" y="327"/>
                    </a:lnTo>
                    <a:lnTo>
                      <a:pt x="584" y="387"/>
                    </a:lnTo>
                    <a:lnTo>
                      <a:pt x="631" y="412"/>
                    </a:lnTo>
                    <a:lnTo>
                      <a:pt x="635" y="442"/>
                    </a:lnTo>
                    <a:lnTo>
                      <a:pt x="618" y="459"/>
                    </a:lnTo>
                    <a:lnTo>
                      <a:pt x="581" y="459"/>
                    </a:lnTo>
                    <a:lnTo>
                      <a:pt x="516" y="476"/>
                    </a:lnTo>
                    <a:lnTo>
                      <a:pt x="377" y="479"/>
                    </a:lnTo>
                    <a:lnTo>
                      <a:pt x="262" y="466"/>
                    </a:lnTo>
                    <a:lnTo>
                      <a:pt x="186" y="445"/>
                    </a:lnTo>
                    <a:lnTo>
                      <a:pt x="8" y="445"/>
                    </a:lnTo>
                    <a:lnTo>
                      <a:pt x="0" y="459"/>
                    </a:lnTo>
                    <a:lnTo>
                      <a:pt x="0" y="491"/>
                    </a:lnTo>
                    <a:lnTo>
                      <a:pt x="42" y="550"/>
                    </a:lnTo>
                    <a:lnTo>
                      <a:pt x="131" y="589"/>
                    </a:lnTo>
                    <a:lnTo>
                      <a:pt x="164" y="623"/>
                    </a:lnTo>
                    <a:lnTo>
                      <a:pt x="186" y="614"/>
                    </a:lnTo>
                    <a:lnTo>
                      <a:pt x="181" y="584"/>
                    </a:lnTo>
                    <a:lnTo>
                      <a:pt x="198" y="567"/>
                    </a:lnTo>
                    <a:lnTo>
                      <a:pt x="224" y="555"/>
                    </a:lnTo>
                    <a:lnTo>
                      <a:pt x="249" y="555"/>
                    </a:lnTo>
                    <a:lnTo>
                      <a:pt x="339" y="559"/>
                    </a:lnTo>
                    <a:lnTo>
                      <a:pt x="504" y="601"/>
                    </a:lnTo>
                    <a:lnTo>
                      <a:pt x="547" y="597"/>
                    </a:lnTo>
                    <a:lnTo>
                      <a:pt x="648" y="567"/>
                    </a:lnTo>
                    <a:lnTo>
                      <a:pt x="690" y="567"/>
                    </a:lnTo>
                    <a:lnTo>
                      <a:pt x="729" y="575"/>
                    </a:lnTo>
                    <a:lnTo>
                      <a:pt x="758" y="592"/>
                    </a:lnTo>
                    <a:lnTo>
                      <a:pt x="787" y="601"/>
                    </a:lnTo>
                    <a:lnTo>
                      <a:pt x="821" y="617"/>
                    </a:lnTo>
                    <a:lnTo>
                      <a:pt x="826" y="6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uk-UA" sz="1693" dirty="0"/>
              </a:p>
            </p:txBody>
          </p:sp>
        </p:grpSp>
        <p:sp>
          <p:nvSpPr>
            <p:cNvPr id="166" name="Freeform 340"/>
            <p:cNvSpPr>
              <a:spLocks noChangeAspect="1"/>
            </p:cNvSpPr>
            <p:nvPr/>
          </p:nvSpPr>
          <p:spPr bwMode="gray">
            <a:xfrm rot="20552049">
              <a:off x="2235955" y="3908079"/>
              <a:ext cx="13208" cy="10566"/>
            </a:xfrm>
            <a:custGeom>
              <a:avLst/>
              <a:gdLst/>
              <a:ahLst/>
              <a:cxnLst>
                <a:cxn ang="0">
                  <a:pos x="442" y="20"/>
                </a:cxn>
                <a:cxn ang="0">
                  <a:pos x="462" y="54"/>
                </a:cxn>
                <a:cxn ang="0">
                  <a:pos x="471" y="99"/>
                </a:cxn>
                <a:cxn ang="0">
                  <a:pos x="425" y="141"/>
                </a:cxn>
                <a:cxn ang="0">
                  <a:pos x="393" y="159"/>
                </a:cxn>
                <a:cxn ang="0">
                  <a:pos x="292" y="180"/>
                </a:cxn>
                <a:cxn ang="0">
                  <a:pos x="224" y="180"/>
                </a:cxn>
                <a:cxn ang="0">
                  <a:pos x="156" y="172"/>
                </a:cxn>
                <a:cxn ang="0">
                  <a:pos x="51" y="176"/>
                </a:cxn>
                <a:cxn ang="0">
                  <a:pos x="42" y="172"/>
                </a:cxn>
                <a:cxn ang="0">
                  <a:pos x="30" y="113"/>
                </a:cxn>
                <a:cxn ang="0">
                  <a:pos x="0" y="66"/>
                </a:cxn>
                <a:cxn ang="0">
                  <a:pos x="0" y="23"/>
                </a:cxn>
                <a:cxn ang="0">
                  <a:pos x="30" y="0"/>
                </a:cxn>
                <a:cxn ang="0">
                  <a:pos x="385" y="0"/>
                </a:cxn>
                <a:cxn ang="0">
                  <a:pos x="416" y="3"/>
                </a:cxn>
                <a:cxn ang="0">
                  <a:pos x="437" y="11"/>
                </a:cxn>
                <a:cxn ang="0">
                  <a:pos x="442" y="20"/>
                </a:cxn>
              </a:cxnLst>
              <a:rect l="0" t="0" r="r" b="b"/>
              <a:pathLst>
                <a:path w="471" h="180">
                  <a:moveTo>
                    <a:pt x="442" y="20"/>
                  </a:moveTo>
                  <a:lnTo>
                    <a:pt x="462" y="54"/>
                  </a:lnTo>
                  <a:lnTo>
                    <a:pt x="471" y="99"/>
                  </a:lnTo>
                  <a:lnTo>
                    <a:pt x="425" y="141"/>
                  </a:lnTo>
                  <a:lnTo>
                    <a:pt x="393" y="159"/>
                  </a:lnTo>
                  <a:lnTo>
                    <a:pt x="292" y="180"/>
                  </a:lnTo>
                  <a:lnTo>
                    <a:pt x="224" y="180"/>
                  </a:lnTo>
                  <a:lnTo>
                    <a:pt x="156" y="172"/>
                  </a:lnTo>
                  <a:lnTo>
                    <a:pt x="51" y="176"/>
                  </a:lnTo>
                  <a:lnTo>
                    <a:pt x="42" y="172"/>
                  </a:lnTo>
                  <a:lnTo>
                    <a:pt x="30" y="113"/>
                  </a:lnTo>
                  <a:lnTo>
                    <a:pt x="0" y="66"/>
                  </a:lnTo>
                  <a:lnTo>
                    <a:pt x="0" y="23"/>
                  </a:lnTo>
                  <a:lnTo>
                    <a:pt x="30" y="0"/>
                  </a:lnTo>
                  <a:lnTo>
                    <a:pt x="385" y="0"/>
                  </a:lnTo>
                  <a:lnTo>
                    <a:pt x="416" y="3"/>
                  </a:lnTo>
                  <a:lnTo>
                    <a:pt x="437" y="11"/>
                  </a:lnTo>
                  <a:lnTo>
                    <a:pt x="442" y="2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7" name="Freeform 341"/>
            <p:cNvSpPr>
              <a:spLocks noChangeAspect="1"/>
            </p:cNvSpPr>
            <p:nvPr/>
          </p:nvSpPr>
          <p:spPr bwMode="gray">
            <a:xfrm rot="20552049">
              <a:off x="2316521" y="3984682"/>
              <a:ext cx="0" cy="396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7"/>
                </a:cxn>
                <a:cxn ang="0">
                  <a:pos x="0" y="76"/>
                </a:cxn>
                <a:cxn ang="0">
                  <a:pos x="14" y="59"/>
                </a:cxn>
                <a:cxn ang="0">
                  <a:pos x="14" y="0"/>
                </a:cxn>
              </a:cxnLst>
              <a:rect l="0" t="0" r="r" b="b"/>
              <a:pathLst>
                <a:path w="14" h="76">
                  <a:moveTo>
                    <a:pt x="14" y="0"/>
                  </a:moveTo>
                  <a:lnTo>
                    <a:pt x="0" y="7"/>
                  </a:lnTo>
                  <a:lnTo>
                    <a:pt x="0" y="76"/>
                  </a:lnTo>
                  <a:lnTo>
                    <a:pt x="14" y="59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8" name="Freeform 342"/>
            <p:cNvSpPr>
              <a:spLocks noChangeAspect="1"/>
            </p:cNvSpPr>
            <p:nvPr/>
          </p:nvSpPr>
          <p:spPr bwMode="gray">
            <a:xfrm rot="20552049">
              <a:off x="2294068" y="3929211"/>
              <a:ext cx="3962" cy="9245"/>
            </a:xfrm>
            <a:custGeom>
              <a:avLst/>
              <a:gdLst/>
              <a:ahLst/>
              <a:cxnLst>
                <a:cxn ang="0">
                  <a:pos x="122" y="0"/>
                </a:cxn>
                <a:cxn ang="0">
                  <a:pos x="98" y="4"/>
                </a:cxn>
                <a:cxn ang="0">
                  <a:pos x="81" y="52"/>
                </a:cxn>
                <a:cxn ang="0">
                  <a:pos x="17" y="45"/>
                </a:cxn>
                <a:cxn ang="0">
                  <a:pos x="0" y="104"/>
                </a:cxn>
                <a:cxn ang="0">
                  <a:pos x="8" y="160"/>
                </a:cxn>
                <a:cxn ang="0">
                  <a:pos x="53" y="163"/>
                </a:cxn>
                <a:cxn ang="0">
                  <a:pos x="70" y="104"/>
                </a:cxn>
                <a:cxn ang="0">
                  <a:pos x="83" y="93"/>
                </a:cxn>
                <a:cxn ang="0">
                  <a:pos x="132" y="91"/>
                </a:cxn>
                <a:cxn ang="0">
                  <a:pos x="173" y="74"/>
                </a:cxn>
                <a:cxn ang="0">
                  <a:pos x="166" y="52"/>
                </a:cxn>
                <a:cxn ang="0">
                  <a:pos x="135" y="38"/>
                </a:cxn>
                <a:cxn ang="0">
                  <a:pos x="122" y="0"/>
                </a:cxn>
              </a:cxnLst>
              <a:rect l="0" t="0" r="r" b="b"/>
              <a:pathLst>
                <a:path w="173" h="163">
                  <a:moveTo>
                    <a:pt x="122" y="0"/>
                  </a:moveTo>
                  <a:lnTo>
                    <a:pt x="98" y="4"/>
                  </a:lnTo>
                  <a:lnTo>
                    <a:pt x="81" y="52"/>
                  </a:lnTo>
                  <a:lnTo>
                    <a:pt x="17" y="45"/>
                  </a:lnTo>
                  <a:lnTo>
                    <a:pt x="0" y="104"/>
                  </a:lnTo>
                  <a:lnTo>
                    <a:pt x="8" y="160"/>
                  </a:lnTo>
                  <a:lnTo>
                    <a:pt x="53" y="163"/>
                  </a:lnTo>
                  <a:lnTo>
                    <a:pt x="70" y="104"/>
                  </a:lnTo>
                  <a:lnTo>
                    <a:pt x="83" y="93"/>
                  </a:lnTo>
                  <a:lnTo>
                    <a:pt x="132" y="91"/>
                  </a:lnTo>
                  <a:lnTo>
                    <a:pt x="173" y="74"/>
                  </a:lnTo>
                  <a:lnTo>
                    <a:pt x="166" y="52"/>
                  </a:lnTo>
                  <a:lnTo>
                    <a:pt x="135" y="3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69" name="Freeform 343"/>
            <p:cNvSpPr>
              <a:spLocks noChangeAspect="1"/>
            </p:cNvSpPr>
            <p:nvPr/>
          </p:nvSpPr>
          <p:spPr bwMode="gray">
            <a:xfrm rot="20552049">
              <a:off x="2255766" y="3905437"/>
              <a:ext cx="0" cy="1321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0" y="21"/>
                </a:cxn>
                <a:cxn ang="0">
                  <a:pos x="3" y="39"/>
                </a:cxn>
                <a:cxn ang="0">
                  <a:pos x="28" y="32"/>
                </a:cxn>
                <a:cxn ang="0">
                  <a:pos x="28" y="0"/>
                </a:cxn>
              </a:cxnLst>
              <a:rect l="0" t="0" r="r" b="b"/>
              <a:pathLst>
                <a:path w="28" h="39">
                  <a:moveTo>
                    <a:pt x="28" y="0"/>
                  </a:moveTo>
                  <a:lnTo>
                    <a:pt x="0" y="21"/>
                  </a:lnTo>
                  <a:lnTo>
                    <a:pt x="3" y="39"/>
                  </a:lnTo>
                  <a:lnTo>
                    <a:pt x="28" y="3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0" name="Freeform 344"/>
            <p:cNvSpPr>
              <a:spLocks noChangeAspect="1"/>
            </p:cNvSpPr>
            <p:nvPr/>
          </p:nvSpPr>
          <p:spPr bwMode="gray">
            <a:xfrm rot="20552049">
              <a:off x="2258408" y="3916003"/>
              <a:ext cx="1321" cy="2642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17"/>
                </a:cxn>
                <a:cxn ang="0">
                  <a:pos x="6" y="34"/>
                </a:cxn>
                <a:cxn ang="0">
                  <a:pos x="42" y="0"/>
                </a:cxn>
                <a:cxn ang="0">
                  <a:pos x="6" y="8"/>
                </a:cxn>
              </a:cxnLst>
              <a:rect l="0" t="0" r="r" b="b"/>
              <a:pathLst>
                <a:path w="42" h="34">
                  <a:moveTo>
                    <a:pt x="6" y="8"/>
                  </a:moveTo>
                  <a:lnTo>
                    <a:pt x="0" y="17"/>
                  </a:lnTo>
                  <a:lnTo>
                    <a:pt x="6" y="34"/>
                  </a:lnTo>
                  <a:lnTo>
                    <a:pt x="4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1" name="Freeform 345"/>
            <p:cNvSpPr>
              <a:spLocks noChangeAspect="1"/>
            </p:cNvSpPr>
            <p:nvPr/>
          </p:nvSpPr>
          <p:spPr bwMode="gray">
            <a:xfrm rot="20552049">
              <a:off x="2300671" y="3943739"/>
              <a:ext cx="2642" cy="6603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0"/>
                </a:cxn>
                <a:cxn ang="0">
                  <a:pos x="0" y="86"/>
                </a:cxn>
                <a:cxn ang="0">
                  <a:pos x="14" y="124"/>
                </a:cxn>
                <a:cxn ang="0">
                  <a:pos x="42" y="124"/>
                </a:cxn>
                <a:cxn ang="0">
                  <a:pos x="52" y="90"/>
                </a:cxn>
                <a:cxn ang="0">
                  <a:pos x="49" y="20"/>
                </a:cxn>
                <a:cxn ang="0">
                  <a:pos x="18" y="0"/>
                </a:cxn>
              </a:cxnLst>
              <a:rect l="0" t="0" r="r" b="b"/>
              <a:pathLst>
                <a:path w="52" h="124">
                  <a:moveTo>
                    <a:pt x="18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14" y="124"/>
                  </a:lnTo>
                  <a:lnTo>
                    <a:pt x="42" y="124"/>
                  </a:lnTo>
                  <a:lnTo>
                    <a:pt x="52" y="90"/>
                  </a:lnTo>
                  <a:lnTo>
                    <a:pt x="49" y="2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2" name="Freeform 346"/>
            <p:cNvSpPr>
              <a:spLocks noChangeAspect="1"/>
            </p:cNvSpPr>
            <p:nvPr/>
          </p:nvSpPr>
          <p:spPr bwMode="gray">
            <a:xfrm rot="20552049">
              <a:off x="2316521" y="4005814"/>
              <a:ext cx="1321" cy="3962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17" y="14"/>
                </a:cxn>
                <a:cxn ang="0">
                  <a:pos x="0" y="62"/>
                </a:cxn>
                <a:cxn ang="0">
                  <a:pos x="38" y="41"/>
                </a:cxn>
                <a:cxn ang="0">
                  <a:pos x="49" y="0"/>
                </a:cxn>
              </a:cxnLst>
              <a:rect l="0" t="0" r="r" b="b"/>
              <a:pathLst>
                <a:path w="49" h="62">
                  <a:moveTo>
                    <a:pt x="49" y="0"/>
                  </a:moveTo>
                  <a:lnTo>
                    <a:pt x="17" y="14"/>
                  </a:lnTo>
                  <a:lnTo>
                    <a:pt x="0" y="62"/>
                  </a:lnTo>
                  <a:lnTo>
                    <a:pt x="38" y="4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3" name="Freeform 347"/>
            <p:cNvSpPr>
              <a:spLocks noChangeAspect="1"/>
            </p:cNvSpPr>
            <p:nvPr/>
          </p:nvSpPr>
          <p:spPr bwMode="gray">
            <a:xfrm rot="20552049">
              <a:off x="2062938" y="3860532"/>
              <a:ext cx="97735" cy="64716"/>
            </a:xfrm>
            <a:custGeom>
              <a:avLst/>
              <a:gdLst/>
              <a:ahLst/>
              <a:cxnLst>
                <a:cxn ang="0">
                  <a:pos x="2488" y="571"/>
                </a:cxn>
                <a:cxn ang="0">
                  <a:pos x="2639" y="644"/>
                </a:cxn>
                <a:cxn ang="0">
                  <a:pos x="2750" y="689"/>
                </a:cxn>
                <a:cxn ang="0">
                  <a:pos x="2869" y="689"/>
                </a:cxn>
                <a:cxn ang="0">
                  <a:pos x="2865" y="787"/>
                </a:cxn>
                <a:cxn ang="0">
                  <a:pos x="2916" y="820"/>
                </a:cxn>
                <a:cxn ang="0">
                  <a:pos x="3170" y="871"/>
                </a:cxn>
                <a:cxn ang="0">
                  <a:pos x="3309" y="951"/>
                </a:cxn>
                <a:cxn ang="0">
                  <a:pos x="3137" y="1073"/>
                </a:cxn>
                <a:cxn ang="0">
                  <a:pos x="2908" y="1111"/>
                </a:cxn>
                <a:cxn ang="0">
                  <a:pos x="2531" y="1086"/>
                </a:cxn>
                <a:cxn ang="0">
                  <a:pos x="2269" y="1123"/>
                </a:cxn>
                <a:cxn ang="0">
                  <a:pos x="2255" y="1069"/>
                </a:cxn>
                <a:cxn ang="0">
                  <a:pos x="2449" y="951"/>
                </a:cxn>
                <a:cxn ang="0">
                  <a:pos x="2416" y="880"/>
                </a:cxn>
                <a:cxn ang="0">
                  <a:pos x="2107" y="803"/>
                </a:cxn>
                <a:cxn ang="0">
                  <a:pos x="1989" y="660"/>
                </a:cxn>
                <a:cxn ang="0">
                  <a:pos x="1832" y="547"/>
                </a:cxn>
                <a:cxn ang="0">
                  <a:pos x="1675" y="534"/>
                </a:cxn>
                <a:cxn ang="0">
                  <a:pos x="1405" y="412"/>
                </a:cxn>
                <a:cxn ang="0">
                  <a:pos x="1184" y="366"/>
                </a:cxn>
                <a:cxn ang="0">
                  <a:pos x="1091" y="383"/>
                </a:cxn>
                <a:cxn ang="0">
                  <a:pos x="955" y="353"/>
                </a:cxn>
                <a:cxn ang="0">
                  <a:pos x="870" y="293"/>
                </a:cxn>
                <a:cxn ang="0">
                  <a:pos x="990" y="231"/>
                </a:cxn>
                <a:cxn ang="0">
                  <a:pos x="929" y="189"/>
                </a:cxn>
                <a:cxn ang="0">
                  <a:pos x="604" y="205"/>
                </a:cxn>
                <a:cxn ang="0">
                  <a:pos x="451" y="325"/>
                </a:cxn>
                <a:cxn ang="0">
                  <a:pos x="281" y="403"/>
                </a:cxn>
                <a:cxn ang="0">
                  <a:pos x="129" y="482"/>
                </a:cxn>
                <a:cxn ang="0">
                  <a:pos x="99" y="449"/>
                </a:cxn>
                <a:cxn ang="0">
                  <a:pos x="78" y="396"/>
                </a:cxn>
                <a:cxn ang="0">
                  <a:pos x="147" y="366"/>
                </a:cxn>
                <a:cxn ang="0">
                  <a:pos x="238" y="176"/>
                </a:cxn>
                <a:cxn ang="0">
                  <a:pos x="454" y="79"/>
                </a:cxn>
                <a:cxn ang="0">
                  <a:pos x="1003" y="0"/>
                </a:cxn>
                <a:cxn ang="0">
                  <a:pos x="1295" y="20"/>
                </a:cxn>
                <a:cxn ang="0">
                  <a:pos x="1490" y="62"/>
                </a:cxn>
                <a:cxn ang="0">
                  <a:pos x="1637" y="189"/>
                </a:cxn>
                <a:cxn ang="0">
                  <a:pos x="1879" y="251"/>
                </a:cxn>
                <a:cxn ang="0">
                  <a:pos x="1985" y="293"/>
                </a:cxn>
                <a:cxn ang="0">
                  <a:pos x="1989" y="325"/>
                </a:cxn>
                <a:cxn ang="0">
                  <a:pos x="2167" y="429"/>
                </a:cxn>
                <a:cxn ang="0">
                  <a:pos x="2394" y="508"/>
                </a:cxn>
              </a:cxnLst>
              <a:rect l="0" t="0" r="r" b="b"/>
              <a:pathLst>
                <a:path w="3347" h="1123">
                  <a:moveTo>
                    <a:pt x="2394" y="508"/>
                  </a:moveTo>
                  <a:lnTo>
                    <a:pt x="2399" y="517"/>
                  </a:lnTo>
                  <a:lnTo>
                    <a:pt x="2488" y="571"/>
                  </a:lnTo>
                  <a:lnTo>
                    <a:pt x="2559" y="627"/>
                  </a:lnTo>
                  <a:lnTo>
                    <a:pt x="2605" y="644"/>
                  </a:lnTo>
                  <a:lnTo>
                    <a:pt x="2639" y="644"/>
                  </a:lnTo>
                  <a:lnTo>
                    <a:pt x="2665" y="652"/>
                  </a:lnTo>
                  <a:lnTo>
                    <a:pt x="2687" y="669"/>
                  </a:lnTo>
                  <a:lnTo>
                    <a:pt x="2750" y="689"/>
                  </a:lnTo>
                  <a:lnTo>
                    <a:pt x="2793" y="689"/>
                  </a:lnTo>
                  <a:lnTo>
                    <a:pt x="2835" y="680"/>
                  </a:lnTo>
                  <a:lnTo>
                    <a:pt x="2869" y="689"/>
                  </a:lnTo>
                  <a:lnTo>
                    <a:pt x="2886" y="719"/>
                  </a:lnTo>
                  <a:lnTo>
                    <a:pt x="2886" y="744"/>
                  </a:lnTo>
                  <a:lnTo>
                    <a:pt x="2865" y="787"/>
                  </a:lnTo>
                  <a:lnTo>
                    <a:pt x="2865" y="803"/>
                  </a:lnTo>
                  <a:lnTo>
                    <a:pt x="2874" y="811"/>
                  </a:lnTo>
                  <a:lnTo>
                    <a:pt x="2916" y="820"/>
                  </a:lnTo>
                  <a:lnTo>
                    <a:pt x="3094" y="816"/>
                  </a:lnTo>
                  <a:lnTo>
                    <a:pt x="3128" y="828"/>
                  </a:lnTo>
                  <a:lnTo>
                    <a:pt x="3170" y="871"/>
                  </a:lnTo>
                  <a:lnTo>
                    <a:pt x="3182" y="891"/>
                  </a:lnTo>
                  <a:lnTo>
                    <a:pt x="3259" y="947"/>
                  </a:lnTo>
                  <a:lnTo>
                    <a:pt x="3309" y="951"/>
                  </a:lnTo>
                  <a:lnTo>
                    <a:pt x="3343" y="964"/>
                  </a:lnTo>
                  <a:lnTo>
                    <a:pt x="3347" y="1002"/>
                  </a:lnTo>
                  <a:lnTo>
                    <a:pt x="3137" y="1073"/>
                  </a:lnTo>
                  <a:lnTo>
                    <a:pt x="3072" y="1103"/>
                  </a:lnTo>
                  <a:lnTo>
                    <a:pt x="2996" y="1115"/>
                  </a:lnTo>
                  <a:lnTo>
                    <a:pt x="2908" y="1111"/>
                  </a:lnTo>
                  <a:lnTo>
                    <a:pt x="2852" y="1094"/>
                  </a:lnTo>
                  <a:lnTo>
                    <a:pt x="2793" y="1090"/>
                  </a:lnTo>
                  <a:lnTo>
                    <a:pt x="2531" y="1086"/>
                  </a:lnTo>
                  <a:lnTo>
                    <a:pt x="2394" y="1103"/>
                  </a:lnTo>
                  <a:lnTo>
                    <a:pt x="2314" y="1123"/>
                  </a:lnTo>
                  <a:lnTo>
                    <a:pt x="2269" y="1123"/>
                  </a:lnTo>
                  <a:lnTo>
                    <a:pt x="2243" y="1115"/>
                  </a:lnTo>
                  <a:lnTo>
                    <a:pt x="2235" y="1094"/>
                  </a:lnTo>
                  <a:lnTo>
                    <a:pt x="2255" y="1069"/>
                  </a:lnTo>
                  <a:lnTo>
                    <a:pt x="2314" y="1019"/>
                  </a:lnTo>
                  <a:lnTo>
                    <a:pt x="2373" y="985"/>
                  </a:lnTo>
                  <a:lnTo>
                    <a:pt x="2449" y="951"/>
                  </a:lnTo>
                  <a:lnTo>
                    <a:pt x="2457" y="917"/>
                  </a:lnTo>
                  <a:lnTo>
                    <a:pt x="2454" y="900"/>
                  </a:lnTo>
                  <a:lnTo>
                    <a:pt x="2416" y="880"/>
                  </a:lnTo>
                  <a:lnTo>
                    <a:pt x="2319" y="849"/>
                  </a:lnTo>
                  <a:lnTo>
                    <a:pt x="2141" y="837"/>
                  </a:lnTo>
                  <a:lnTo>
                    <a:pt x="2107" y="803"/>
                  </a:lnTo>
                  <a:lnTo>
                    <a:pt x="2056" y="770"/>
                  </a:lnTo>
                  <a:lnTo>
                    <a:pt x="2019" y="727"/>
                  </a:lnTo>
                  <a:lnTo>
                    <a:pt x="1989" y="660"/>
                  </a:lnTo>
                  <a:lnTo>
                    <a:pt x="1977" y="606"/>
                  </a:lnTo>
                  <a:lnTo>
                    <a:pt x="1938" y="560"/>
                  </a:lnTo>
                  <a:lnTo>
                    <a:pt x="1832" y="547"/>
                  </a:lnTo>
                  <a:lnTo>
                    <a:pt x="1734" y="551"/>
                  </a:lnTo>
                  <a:lnTo>
                    <a:pt x="1700" y="547"/>
                  </a:lnTo>
                  <a:lnTo>
                    <a:pt x="1675" y="534"/>
                  </a:lnTo>
                  <a:lnTo>
                    <a:pt x="1564" y="513"/>
                  </a:lnTo>
                  <a:lnTo>
                    <a:pt x="1473" y="472"/>
                  </a:lnTo>
                  <a:lnTo>
                    <a:pt x="1405" y="412"/>
                  </a:lnTo>
                  <a:lnTo>
                    <a:pt x="1354" y="387"/>
                  </a:lnTo>
                  <a:lnTo>
                    <a:pt x="1222" y="383"/>
                  </a:lnTo>
                  <a:lnTo>
                    <a:pt x="1184" y="366"/>
                  </a:lnTo>
                  <a:lnTo>
                    <a:pt x="1159" y="366"/>
                  </a:lnTo>
                  <a:lnTo>
                    <a:pt x="1129" y="378"/>
                  </a:lnTo>
                  <a:lnTo>
                    <a:pt x="1091" y="383"/>
                  </a:lnTo>
                  <a:lnTo>
                    <a:pt x="1049" y="370"/>
                  </a:lnTo>
                  <a:lnTo>
                    <a:pt x="1037" y="358"/>
                  </a:lnTo>
                  <a:lnTo>
                    <a:pt x="955" y="353"/>
                  </a:lnTo>
                  <a:lnTo>
                    <a:pt x="904" y="341"/>
                  </a:lnTo>
                  <a:lnTo>
                    <a:pt x="887" y="327"/>
                  </a:lnTo>
                  <a:lnTo>
                    <a:pt x="870" y="293"/>
                  </a:lnTo>
                  <a:lnTo>
                    <a:pt x="870" y="276"/>
                  </a:lnTo>
                  <a:lnTo>
                    <a:pt x="972" y="251"/>
                  </a:lnTo>
                  <a:lnTo>
                    <a:pt x="990" y="231"/>
                  </a:lnTo>
                  <a:lnTo>
                    <a:pt x="981" y="209"/>
                  </a:lnTo>
                  <a:lnTo>
                    <a:pt x="943" y="201"/>
                  </a:lnTo>
                  <a:lnTo>
                    <a:pt x="929" y="189"/>
                  </a:lnTo>
                  <a:lnTo>
                    <a:pt x="718" y="167"/>
                  </a:lnTo>
                  <a:lnTo>
                    <a:pt x="658" y="172"/>
                  </a:lnTo>
                  <a:lnTo>
                    <a:pt x="604" y="205"/>
                  </a:lnTo>
                  <a:lnTo>
                    <a:pt x="557" y="251"/>
                  </a:lnTo>
                  <a:lnTo>
                    <a:pt x="519" y="302"/>
                  </a:lnTo>
                  <a:lnTo>
                    <a:pt x="451" y="325"/>
                  </a:lnTo>
                  <a:lnTo>
                    <a:pt x="370" y="332"/>
                  </a:lnTo>
                  <a:lnTo>
                    <a:pt x="323" y="349"/>
                  </a:lnTo>
                  <a:lnTo>
                    <a:pt x="281" y="403"/>
                  </a:lnTo>
                  <a:lnTo>
                    <a:pt x="230" y="412"/>
                  </a:lnTo>
                  <a:lnTo>
                    <a:pt x="213" y="420"/>
                  </a:lnTo>
                  <a:lnTo>
                    <a:pt x="129" y="482"/>
                  </a:lnTo>
                  <a:lnTo>
                    <a:pt x="120" y="482"/>
                  </a:lnTo>
                  <a:lnTo>
                    <a:pt x="117" y="466"/>
                  </a:lnTo>
                  <a:lnTo>
                    <a:pt x="99" y="449"/>
                  </a:lnTo>
                  <a:lnTo>
                    <a:pt x="0" y="455"/>
                  </a:lnTo>
                  <a:lnTo>
                    <a:pt x="0" y="441"/>
                  </a:lnTo>
                  <a:lnTo>
                    <a:pt x="78" y="396"/>
                  </a:lnTo>
                  <a:lnTo>
                    <a:pt x="133" y="390"/>
                  </a:lnTo>
                  <a:lnTo>
                    <a:pt x="141" y="383"/>
                  </a:lnTo>
                  <a:lnTo>
                    <a:pt x="147" y="366"/>
                  </a:lnTo>
                  <a:lnTo>
                    <a:pt x="147" y="257"/>
                  </a:lnTo>
                  <a:lnTo>
                    <a:pt x="163" y="226"/>
                  </a:lnTo>
                  <a:lnTo>
                    <a:pt x="238" y="176"/>
                  </a:lnTo>
                  <a:lnTo>
                    <a:pt x="337" y="130"/>
                  </a:lnTo>
                  <a:lnTo>
                    <a:pt x="358" y="125"/>
                  </a:lnTo>
                  <a:lnTo>
                    <a:pt x="454" y="79"/>
                  </a:lnTo>
                  <a:lnTo>
                    <a:pt x="675" y="29"/>
                  </a:lnTo>
                  <a:lnTo>
                    <a:pt x="752" y="3"/>
                  </a:lnTo>
                  <a:lnTo>
                    <a:pt x="1003" y="0"/>
                  </a:lnTo>
                  <a:lnTo>
                    <a:pt x="1112" y="20"/>
                  </a:lnTo>
                  <a:lnTo>
                    <a:pt x="1227" y="25"/>
                  </a:lnTo>
                  <a:lnTo>
                    <a:pt x="1295" y="20"/>
                  </a:lnTo>
                  <a:lnTo>
                    <a:pt x="1336" y="54"/>
                  </a:lnTo>
                  <a:lnTo>
                    <a:pt x="1366" y="67"/>
                  </a:lnTo>
                  <a:lnTo>
                    <a:pt x="1490" y="62"/>
                  </a:lnTo>
                  <a:lnTo>
                    <a:pt x="1524" y="79"/>
                  </a:lnTo>
                  <a:lnTo>
                    <a:pt x="1612" y="150"/>
                  </a:lnTo>
                  <a:lnTo>
                    <a:pt x="1637" y="189"/>
                  </a:lnTo>
                  <a:lnTo>
                    <a:pt x="1700" y="240"/>
                  </a:lnTo>
                  <a:lnTo>
                    <a:pt x="1751" y="257"/>
                  </a:lnTo>
                  <a:lnTo>
                    <a:pt x="1879" y="251"/>
                  </a:lnTo>
                  <a:lnTo>
                    <a:pt x="1913" y="273"/>
                  </a:lnTo>
                  <a:lnTo>
                    <a:pt x="1968" y="273"/>
                  </a:lnTo>
                  <a:lnTo>
                    <a:pt x="1985" y="293"/>
                  </a:lnTo>
                  <a:lnTo>
                    <a:pt x="1968" y="293"/>
                  </a:lnTo>
                  <a:lnTo>
                    <a:pt x="1964" y="311"/>
                  </a:lnTo>
                  <a:lnTo>
                    <a:pt x="1989" y="325"/>
                  </a:lnTo>
                  <a:lnTo>
                    <a:pt x="2056" y="335"/>
                  </a:lnTo>
                  <a:lnTo>
                    <a:pt x="2099" y="358"/>
                  </a:lnTo>
                  <a:lnTo>
                    <a:pt x="2167" y="429"/>
                  </a:lnTo>
                  <a:lnTo>
                    <a:pt x="2269" y="458"/>
                  </a:lnTo>
                  <a:lnTo>
                    <a:pt x="2344" y="496"/>
                  </a:lnTo>
                  <a:lnTo>
                    <a:pt x="2394" y="508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4" name="Freeform 348"/>
            <p:cNvSpPr>
              <a:spLocks noChangeAspect="1"/>
            </p:cNvSpPr>
            <p:nvPr/>
          </p:nvSpPr>
          <p:spPr bwMode="gray">
            <a:xfrm rot="20552049">
              <a:off x="2078787" y="3894871"/>
              <a:ext cx="3962" cy="7924"/>
            </a:xfrm>
            <a:custGeom>
              <a:avLst/>
              <a:gdLst/>
              <a:ahLst/>
              <a:cxnLst>
                <a:cxn ang="0">
                  <a:pos x="128" y="5"/>
                </a:cxn>
                <a:cxn ang="0">
                  <a:pos x="136" y="42"/>
                </a:cxn>
                <a:cxn ang="0">
                  <a:pos x="153" y="64"/>
                </a:cxn>
                <a:cxn ang="0">
                  <a:pos x="165" y="128"/>
                </a:cxn>
                <a:cxn ang="0">
                  <a:pos x="77" y="156"/>
                </a:cxn>
                <a:cxn ang="0">
                  <a:pos x="38" y="156"/>
                </a:cxn>
                <a:cxn ang="0">
                  <a:pos x="22" y="144"/>
                </a:cxn>
                <a:cxn ang="0">
                  <a:pos x="8" y="131"/>
                </a:cxn>
                <a:cxn ang="0">
                  <a:pos x="0" y="98"/>
                </a:cxn>
                <a:cxn ang="0">
                  <a:pos x="51" y="123"/>
                </a:cxn>
                <a:cxn ang="0">
                  <a:pos x="63" y="89"/>
                </a:cxn>
                <a:cxn ang="0">
                  <a:pos x="51" y="68"/>
                </a:cxn>
                <a:cxn ang="0">
                  <a:pos x="47" y="42"/>
                </a:cxn>
                <a:cxn ang="0">
                  <a:pos x="51" y="9"/>
                </a:cxn>
                <a:cxn ang="0">
                  <a:pos x="89" y="0"/>
                </a:cxn>
                <a:cxn ang="0">
                  <a:pos x="114" y="5"/>
                </a:cxn>
                <a:cxn ang="0">
                  <a:pos x="128" y="14"/>
                </a:cxn>
                <a:cxn ang="0">
                  <a:pos x="128" y="5"/>
                </a:cxn>
              </a:cxnLst>
              <a:rect l="0" t="0" r="r" b="b"/>
              <a:pathLst>
                <a:path w="165" h="156">
                  <a:moveTo>
                    <a:pt x="128" y="5"/>
                  </a:moveTo>
                  <a:lnTo>
                    <a:pt x="136" y="42"/>
                  </a:lnTo>
                  <a:lnTo>
                    <a:pt x="153" y="64"/>
                  </a:lnTo>
                  <a:lnTo>
                    <a:pt x="165" y="128"/>
                  </a:lnTo>
                  <a:lnTo>
                    <a:pt x="77" y="156"/>
                  </a:lnTo>
                  <a:lnTo>
                    <a:pt x="38" y="156"/>
                  </a:lnTo>
                  <a:lnTo>
                    <a:pt x="22" y="144"/>
                  </a:lnTo>
                  <a:lnTo>
                    <a:pt x="8" y="131"/>
                  </a:lnTo>
                  <a:lnTo>
                    <a:pt x="0" y="98"/>
                  </a:lnTo>
                  <a:lnTo>
                    <a:pt x="51" y="123"/>
                  </a:lnTo>
                  <a:lnTo>
                    <a:pt x="63" y="89"/>
                  </a:lnTo>
                  <a:lnTo>
                    <a:pt x="51" y="68"/>
                  </a:lnTo>
                  <a:lnTo>
                    <a:pt x="47" y="42"/>
                  </a:lnTo>
                  <a:lnTo>
                    <a:pt x="51" y="9"/>
                  </a:lnTo>
                  <a:lnTo>
                    <a:pt x="89" y="0"/>
                  </a:lnTo>
                  <a:lnTo>
                    <a:pt x="114" y="5"/>
                  </a:lnTo>
                  <a:lnTo>
                    <a:pt x="128" y="14"/>
                  </a:lnTo>
                  <a:lnTo>
                    <a:pt x="128" y="5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5" name="Freeform 349"/>
            <p:cNvSpPr>
              <a:spLocks noChangeAspect="1"/>
            </p:cNvSpPr>
            <p:nvPr/>
          </p:nvSpPr>
          <p:spPr bwMode="gray">
            <a:xfrm rot="20552049">
              <a:off x="2114447" y="3868457"/>
              <a:ext cx="9245" cy="11887"/>
            </a:xfrm>
            <a:custGeom>
              <a:avLst/>
              <a:gdLst/>
              <a:ahLst/>
              <a:cxnLst>
                <a:cxn ang="0">
                  <a:pos x="211" y="85"/>
                </a:cxn>
                <a:cxn ang="0">
                  <a:pos x="283" y="127"/>
                </a:cxn>
                <a:cxn ang="0">
                  <a:pos x="308" y="156"/>
                </a:cxn>
                <a:cxn ang="0">
                  <a:pos x="317" y="201"/>
                </a:cxn>
                <a:cxn ang="0">
                  <a:pos x="266" y="198"/>
                </a:cxn>
                <a:cxn ang="0">
                  <a:pos x="208" y="156"/>
                </a:cxn>
                <a:cxn ang="0">
                  <a:pos x="169" y="97"/>
                </a:cxn>
                <a:cxn ang="0">
                  <a:pos x="135" y="68"/>
                </a:cxn>
                <a:cxn ang="0">
                  <a:pos x="59" y="59"/>
                </a:cxn>
                <a:cxn ang="0">
                  <a:pos x="38" y="50"/>
                </a:cxn>
                <a:cxn ang="0">
                  <a:pos x="8" y="29"/>
                </a:cxn>
                <a:cxn ang="0">
                  <a:pos x="0" y="17"/>
                </a:cxn>
                <a:cxn ang="0">
                  <a:pos x="0" y="0"/>
                </a:cxn>
                <a:cxn ang="0">
                  <a:pos x="85" y="4"/>
                </a:cxn>
                <a:cxn ang="0">
                  <a:pos x="211" y="85"/>
                </a:cxn>
              </a:cxnLst>
              <a:rect l="0" t="0" r="r" b="b"/>
              <a:pathLst>
                <a:path w="317" h="201">
                  <a:moveTo>
                    <a:pt x="211" y="85"/>
                  </a:moveTo>
                  <a:lnTo>
                    <a:pt x="283" y="127"/>
                  </a:lnTo>
                  <a:lnTo>
                    <a:pt x="308" y="156"/>
                  </a:lnTo>
                  <a:lnTo>
                    <a:pt x="317" y="201"/>
                  </a:lnTo>
                  <a:lnTo>
                    <a:pt x="266" y="198"/>
                  </a:lnTo>
                  <a:lnTo>
                    <a:pt x="208" y="156"/>
                  </a:lnTo>
                  <a:lnTo>
                    <a:pt x="169" y="97"/>
                  </a:lnTo>
                  <a:lnTo>
                    <a:pt x="135" y="68"/>
                  </a:lnTo>
                  <a:lnTo>
                    <a:pt x="59" y="59"/>
                  </a:lnTo>
                  <a:lnTo>
                    <a:pt x="38" y="50"/>
                  </a:lnTo>
                  <a:lnTo>
                    <a:pt x="8" y="29"/>
                  </a:lnTo>
                  <a:lnTo>
                    <a:pt x="0" y="17"/>
                  </a:lnTo>
                  <a:lnTo>
                    <a:pt x="0" y="0"/>
                  </a:lnTo>
                  <a:lnTo>
                    <a:pt x="85" y="4"/>
                  </a:lnTo>
                  <a:lnTo>
                    <a:pt x="211" y="85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6" name="Freeform 350"/>
            <p:cNvSpPr>
              <a:spLocks noChangeAspect="1"/>
            </p:cNvSpPr>
            <p:nvPr/>
          </p:nvSpPr>
          <p:spPr bwMode="gray">
            <a:xfrm rot="20552049">
              <a:off x="2279540" y="3916003"/>
              <a:ext cx="0" cy="3962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0" y="0"/>
                </a:cxn>
                <a:cxn ang="0">
                  <a:pos x="11" y="30"/>
                </a:cxn>
                <a:cxn ang="0">
                  <a:pos x="31" y="47"/>
                </a:cxn>
                <a:cxn ang="0">
                  <a:pos x="46" y="42"/>
                </a:cxn>
                <a:cxn ang="0">
                  <a:pos x="46" y="10"/>
                </a:cxn>
                <a:cxn ang="0">
                  <a:pos x="34" y="2"/>
                </a:cxn>
              </a:cxnLst>
              <a:rect l="0" t="0" r="r" b="b"/>
              <a:pathLst>
                <a:path w="46" h="47">
                  <a:moveTo>
                    <a:pt x="34" y="2"/>
                  </a:moveTo>
                  <a:lnTo>
                    <a:pt x="0" y="0"/>
                  </a:lnTo>
                  <a:lnTo>
                    <a:pt x="11" y="30"/>
                  </a:lnTo>
                  <a:lnTo>
                    <a:pt x="31" y="47"/>
                  </a:lnTo>
                  <a:lnTo>
                    <a:pt x="46" y="42"/>
                  </a:lnTo>
                  <a:lnTo>
                    <a:pt x="46" y="10"/>
                  </a:lnTo>
                  <a:lnTo>
                    <a:pt x="34" y="2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7" name="Freeform 351"/>
            <p:cNvSpPr>
              <a:spLocks noChangeAspect="1"/>
            </p:cNvSpPr>
            <p:nvPr/>
          </p:nvSpPr>
          <p:spPr bwMode="gray">
            <a:xfrm rot="20552049">
              <a:off x="2313879" y="3971474"/>
              <a:ext cx="1321" cy="5283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97"/>
                </a:cxn>
                <a:cxn ang="0">
                  <a:pos x="25" y="103"/>
                </a:cxn>
                <a:cxn ang="0">
                  <a:pos x="45" y="94"/>
                </a:cxn>
                <a:cxn ang="0">
                  <a:pos x="45" y="62"/>
                </a:cxn>
                <a:cxn ang="0">
                  <a:pos x="39" y="20"/>
                </a:cxn>
                <a:cxn ang="0">
                  <a:pos x="25" y="0"/>
                </a:cxn>
              </a:cxnLst>
              <a:rect l="0" t="0" r="r" b="b"/>
              <a:pathLst>
                <a:path w="45" h="103">
                  <a:moveTo>
                    <a:pt x="25" y="0"/>
                  </a:moveTo>
                  <a:lnTo>
                    <a:pt x="0" y="97"/>
                  </a:lnTo>
                  <a:lnTo>
                    <a:pt x="25" y="103"/>
                  </a:lnTo>
                  <a:lnTo>
                    <a:pt x="45" y="94"/>
                  </a:lnTo>
                  <a:lnTo>
                    <a:pt x="45" y="62"/>
                  </a:lnTo>
                  <a:lnTo>
                    <a:pt x="39" y="2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693" dirty="0"/>
            </a:p>
          </p:txBody>
        </p:sp>
        <p:sp>
          <p:nvSpPr>
            <p:cNvPr id="178" name="Freeform 67"/>
            <p:cNvSpPr>
              <a:spLocks noChangeAspect="1"/>
            </p:cNvSpPr>
            <p:nvPr/>
          </p:nvSpPr>
          <p:spPr bwMode="gray">
            <a:xfrm>
              <a:off x="5310233" y="3168430"/>
              <a:ext cx="58113" cy="31698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5" y="69"/>
                </a:cxn>
                <a:cxn ang="0">
                  <a:pos x="11" y="72"/>
                </a:cxn>
                <a:cxn ang="0">
                  <a:pos x="50" y="75"/>
                </a:cxn>
                <a:cxn ang="0">
                  <a:pos x="81" y="73"/>
                </a:cxn>
                <a:cxn ang="0">
                  <a:pos x="88" y="69"/>
                </a:cxn>
                <a:cxn ang="0">
                  <a:pos x="88" y="62"/>
                </a:cxn>
                <a:cxn ang="0">
                  <a:pos x="89" y="58"/>
                </a:cxn>
                <a:cxn ang="0">
                  <a:pos x="93" y="51"/>
                </a:cxn>
                <a:cxn ang="0">
                  <a:pos x="98" y="47"/>
                </a:cxn>
                <a:cxn ang="0">
                  <a:pos x="102" y="49"/>
                </a:cxn>
                <a:cxn ang="0">
                  <a:pos x="97" y="58"/>
                </a:cxn>
                <a:cxn ang="0">
                  <a:pos x="96" y="68"/>
                </a:cxn>
                <a:cxn ang="0">
                  <a:pos x="102" y="72"/>
                </a:cxn>
                <a:cxn ang="0">
                  <a:pos x="110" y="69"/>
                </a:cxn>
                <a:cxn ang="0">
                  <a:pos x="119" y="69"/>
                </a:cxn>
                <a:cxn ang="0">
                  <a:pos x="126" y="73"/>
                </a:cxn>
                <a:cxn ang="0">
                  <a:pos x="135" y="72"/>
                </a:cxn>
                <a:cxn ang="0">
                  <a:pos x="142" y="69"/>
                </a:cxn>
                <a:cxn ang="0">
                  <a:pos x="160" y="47"/>
                </a:cxn>
                <a:cxn ang="0">
                  <a:pos x="169" y="41"/>
                </a:cxn>
                <a:cxn ang="0">
                  <a:pos x="175" y="42"/>
                </a:cxn>
                <a:cxn ang="0">
                  <a:pos x="184" y="37"/>
                </a:cxn>
                <a:cxn ang="0">
                  <a:pos x="185" y="27"/>
                </a:cxn>
                <a:cxn ang="0">
                  <a:pos x="183" y="18"/>
                </a:cxn>
                <a:cxn ang="0">
                  <a:pos x="179" y="9"/>
                </a:cxn>
                <a:cxn ang="0">
                  <a:pos x="179" y="4"/>
                </a:cxn>
                <a:cxn ang="0">
                  <a:pos x="188" y="2"/>
                </a:cxn>
                <a:cxn ang="0">
                  <a:pos x="195" y="5"/>
                </a:cxn>
                <a:cxn ang="0">
                  <a:pos x="201" y="5"/>
                </a:cxn>
                <a:cxn ang="0">
                  <a:pos x="204" y="3"/>
                </a:cxn>
                <a:cxn ang="0">
                  <a:pos x="210" y="0"/>
                </a:cxn>
                <a:cxn ang="0">
                  <a:pos x="217" y="4"/>
                </a:cxn>
                <a:cxn ang="0">
                  <a:pos x="222" y="14"/>
                </a:cxn>
                <a:cxn ang="0">
                  <a:pos x="223" y="27"/>
                </a:cxn>
                <a:cxn ang="0">
                  <a:pos x="221" y="36"/>
                </a:cxn>
                <a:cxn ang="0">
                  <a:pos x="216" y="42"/>
                </a:cxn>
                <a:cxn ang="0">
                  <a:pos x="210" y="45"/>
                </a:cxn>
                <a:cxn ang="0">
                  <a:pos x="206" y="52"/>
                </a:cxn>
                <a:cxn ang="0">
                  <a:pos x="210" y="63"/>
                </a:cxn>
                <a:cxn ang="0">
                  <a:pos x="204" y="74"/>
                </a:cxn>
                <a:cxn ang="0">
                  <a:pos x="195" y="77"/>
                </a:cxn>
                <a:cxn ang="0">
                  <a:pos x="183" y="74"/>
                </a:cxn>
                <a:cxn ang="0">
                  <a:pos x="179" y="79"/>
                </a:cxn>
                <a:cxn ang="0">
                  <a:pos x="178" y="86"/>
                </a:cxn>
                <a:cxn ang="0">
                  <a:pos x="167" y="97"/>
                </a:cxn>
                <a:cxn ang="0">
                  <a:pos x="142" y="110"/>
                </a:cxn>
                <a:cxn ang="0">
                  <a:pos x="132" y="112"/>
                </a:cxn>
                <a:cxn ang="0">
                  <a:pos x="121" y="115"/>
                </a:cxn>
                <a:cxn ang="0">
                  <a:pos x="102" y="115"/>
                </a:cxn>
                <a:cxn ang="0">
                  <a:pos x="91" y="117"/>
                </a:cxn>
                <a:cxn ang="0">
                  <a:pos x="77" y="117"/>
                </a:cxn>
                <a:cxn ang="0">
                  <a:pos x="66" y="106"/>
                </a:cxn>
                <a:cxn ang="0">
                  <a:pos x="59" y="106"/>
                </a:cxn>
                <a:cxn ang="0">
                  <a:pos x="48" y="110"/>
                </a:cxn>
                <a:cxn ang="0">
                  <a:pos x="27" y="96"/>
                </a:cxn>
                <a:cxn ang="0">
                  <a:pos x="12" y="92"/>
                </a:cxn>
                <a:cxn ang="0">
                  <a:pos x="4" y="84"/>
                </a:cxn>
                <a:cxn ang="0">
                  <a:pos x="0" y="73"/>
                </a:cxn>
              </a:cxnLst>
              <a:rect l="0" t="0" r="r" b="b"/>
              <a:pathLst>
                <a:path w="223" h="117">
                  <a:moveTo>
                    <a:pt x="0" y="73"/>
                  </a:moveTo>
                  <a:lnTo>
                    <a:pt x="5" y="69"/>
                  </a:lnTo>
                  <a:lnTo>
                    <a:pt x="11" y="72"/>
                  </a:lnTo>
                  <a:lnTo>
                    <a:pt x="50" y="75"/>
                  </a:lnTo>
                  <a:lnTo>
                    <a:pt x="81" y="73"/>
                  </a:lnTo>
                  <a:lnTo>
                    <a:pt x="88" y="69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93" y="51"/>
                  </a:lnTo>
                  <a:lnTo>
                    <a:pt x="98" y="47"/>
                  </a:lnTo>
                  <a:lnTo>
                    <a:pt x="102" y="49"/>
                  </a:lnTo>
                  <a:lnTo>
                    <a:pt x="97" y="58"/>
                  </a:lnTo>
                  <a:lnTo>
                    <a:pt x="96" y="68"/>
                  </a:lnTo>
                  <a:lnTo>
                    <a:pt x="102" y="72"/>
                  </a:lnTo>
                  <a:lnTo>
                    <a:pt x="110" y="69"/>
                  </a:lnTo>
                  <a:lnTo>
                    <a:pt x="119" y="69"/>
                  </a:lnTo>
                  <a:lnTo>
                    <a:pt x="126" y="73"/>
                  </a:lnTo>
                  <a:lnTo>
                    <a:pt x="135" y="72"/>
                  </a:lnTo>
                  <a:lnTo>
                    <a:pt x="142" y="69"/>
                  </a:lnTo>
                  <a:lnTo>
                    <a:pt x="160" y="47"/>
                  </a:lnTo>
                  <a:lnTo>
                    <a:pt x="169" y="41"/>
                  </a:lnTo>
                  <a:lnTo>
                    <a:pt x="175" y="42"/>
                  </a:lnTo>
                  <a:lnTo>
                    <a:pt x="184" y="37"/>
                  </a:lnTo>
                  <a:lnTo>
                    <a:pt x="185" y="27"/>
                  </a:lnTo>
                  <a:lnTo>
                    <a:pt x="183" y="18"/>
                  </a:lnTo>
                  <a:lnTo>
                    <a:pt x="179" y="9"/>
                  </a:lnTo>
                  <a:lnTo>
                    <a:pt x="179" y="4"/>
                  </a:lnTo>
                  <a:lnTo>
                    <a:pt x="188" y="2"/>
                  </a:lnTo>
                  <a:lnTo>
                    <a:pt x="195" y="5"/>
                  </a:lnTo>
                  <a:lnTo>
                    <a:pt x="201" y="5"/>
                  </a:lnTo>
                  <a:lnTo>
                    <a:pt x="204" y="3"/>
                  </a:lnTo>
                  <a:lnTo>
                    <a:pt x="210" y="0"/>
                  </a:lnTo>
                  <a:lnTo>
                    <a:pt x="217" y="4"/>
                  </a:lnTo>
                  <a:lnTo>
                    <a:pt x="222" y="14"/>
                  </a:lnTo>
                  <a:lnTo>
                    <a:pt x="223" y="27"/>
                  </a:lnTo>
                  <a:lnTo>
                    <a:pt x="221" y="36"/>
                  </a:lnTo>
                  <a:lnTo>
                    <a:pt x="216" y="42"/>
                  </a:lnTo>
                  <a:lnTo>
                    <a:pt x="210" y="45"/>
                  </a:lnTo>
                  <a:lnTo>
                    <a:pt x="206" y="52"/>
                  </a:lnTo>
                  <a:lnTo>
                    <a:pt x="210" y="63"/>
                  </a:lnTo>
                  <a:lnTo>
                    <a:pt x="204" y="74"/>
                  </a:lnTo>
                  <a:lnTo>
                    <a:pt x="195" y="77"/>
                  </a:lnTo>
                  <a:lnTo>
                    <a:pt x="183" y="74"/>
                  </a:lnTo>
                  <a:lnTo>
                    <a:pt x="179" y="79"/>
                  </a:lnTo>
                  <a:lnTo>
                    <a:pt x="178" y="86"/>
                  </a:lnTo>
                  <a:lnTo>
                    <a:pt x="167" y="97"/>
                  </a:lnTo>
                  <a:lnTo>
                    <a:pt x="142" y="110"/>
                  </a:lnTo>
                  <a:lnTo>
                    <a:pt x="132" y="112"/>
                  </a:lnTo>
                  <a:lnTo>
                    <a:pt x="121" y="115"/>
                  </a:lnTo>
                  <a:lnTo>
                    <a:pt x="102" y="115"/>
                  </a:lnTo>
                  <a:lnTo>
                    <a:pt x="91" y="117"/>
                  </a:lnTo>
                  <a:lnTo>
                    <a:pt x="77" y="117"/>
                  </a:lnTo>
                  <a:lnTo>
                    <a:pt x="66" y="106"/>
                  </a:lnTo>
                  <a:lnTo>
                    <a:pt x="59" y="106"/>
                  </a:lnTo>
                  <a:lnTo>
                    <a:pt x="48" y="110"/>
                  </a:lnTo>
                  <a:lnTo>
                    <a:pt x="27" y="96"/>
                  </a:lnTo>
                  <a:lnTo>
                    <a:pt x="12" y="92"/>
                  </a:lnTo>
                  <a:lnTo>
                    <a:pt x="4" y="84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217" dirty="0"/>
            </a:p>
          </p:txBody>
        </p:sp>
        <p:sp>
          <p:nvSpPr>
            <p:cNvPr id="179" name="Freeform 89"/>
            <p:cNvSpPr>
              <a:spLocks noChangeAspect="1"/>
            </p:cNvSpPr>
            <p:nvPr/>
          </p:nvSpPr>
          <p:spPr bwMode="gray">
            <a:xfrm>
              <a:off x="5345894" y="3168430"/>
              <a:ext cx="34339" cy="3169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20" y="11"/>
                </a:cxn>
                <a:cxn ang="0">
                  <a:pos x="26" y="16"/>
                </a:cxn>
                <a:cxn ang="0">
                  <a:pos x="34" y="20"/>
                </a:cxn>
                <a:cxn ang="0">
                  <a:pos x="54" y="35"/>
                </a:cxn>
                <a:cxn ang="0">
                  <a:pos x="66" y="36"/>
                </a:cxn>
                <a:cxn ang="0">
                  <a:pos x="75" y="43"/>
                </a:cxn>
                <a:cxn ang="0">
                  <a:pos x="81" y="49"/>
                </a:cxn>
                <a:cxn ang="0">
                  <a:pos x="95" y="58"/>
                </a:cxn>
                <a:cxn ang="0">
                  <a:pos x="100" y="66"/>
                </a:cxn>
                <a:cxn ang="0">
                  <a:pos x="107" y="71"/>
                </a:cxn>
                <a:cxn ang="0">
                  <a:pos x="117" y="74"/>
                </a:cxn>
                <a:cxn ang="0">
                  <a:pos x="121" y="78"/>
                </a:cxn>
                <a:cxn ang="0">
                  <a:pos x="124" y="87"/>
                </a:cxn>
                <a:cxn ang="0">
                  <a:pos x="129" y="93"/>
                </a:cxn>
                <a:cxn ang="0">
                  <a:pos x="129" y="100"/>
                </a:cxn>
                <a:cxn ang="0">
                  <a:pos x="124" y="107"/>
                </a:cxn>
                <a:cxn ang="0">
                  <a:pos x="120" y="119"/>
                </a:cxn>
                <a:cxn ang="0">
                  <a:pos x="111" y="119"/>
                </a:cxn>
                <a:cxn ang="0">
                  <a:pos x="105" y="93"/>
                </a:cxn>
                <a:cxn ang="0">
                  <a:pos x="97" y="71"/>
                </a:cxn>
                <a:cxn ang="0">
                  <a:pos x="86" y="53"/>
                </a:cxn>
                <a:cxn ang="0">
                  <a:pos x="80" y="49"/>
                </a:cxn>
                <a:cxn ang="0">
                  <a:pos x="66" y="47"/>
                </a:cxn>
                <a:cxn ang="0">
                  <a:pos x="54" y="39"/>
                </a:cxn>
                <a:cxn ang="0">
                  <a:pos x="46" y="31"/>
                </a:cxn>
                <a:cxn ang="0">
                  <a:pos x="40" y="30"/>
                </a:cxn>
                <a:cxn ang="0">
                  <a:pos x="31" y="23"/>
                </a:cxn>
                <a:cxn ang="0">
                  <a:pos x="26" y="21"/>
                </a:cxn>
                <a:cxn ang="0">
                  <a:pos x="9" y="10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129" h="119">
                  <a:moveTo>
                    <a:pt x="0" y="3"/>
                  </a:moveTo>
                  <a:lnTo>
                    <a:pt x="2" y="0"/>
                  </a:lnTo>
                  <a:lnTo>
                    <a:pt x="20" y="11"/>
                  </a:lnTo>
                  <a:lnTo>
                    <a:pt x="26" y="16"/>
                  </a:lnTo>
                  <a:lnTo>
                    <a:pt x="34" y="20"/>
                  </a:lnTo>
                  <a:lnTo>
                    <a:pt x="54" y="35"/>
                  </a:lnTo>
                  <a:lnTo>
                    <a:pt x="66" y="36"/>
                  </a:lnTo>
                  <a:lnTo>
                    <a:pt x="75" y="43"/>
                  </a:lnTo>
                  <a:lnTo>
                    <a:pt x="81" y="49"/>
                  </a:lnTo>
                  <a:lnTo>
                    <a:pt x="95" y="58"/>
                  </a:lnTo>
                  <a:lnTo>
                    <a:pt x="100" y="66"/>
                  </a:lnTo>
                  <a:lnTo>
                    <a:pt x="107" y="71"/>
                  </a:lnTo>
                  <a:lnTo>
                    <a:pt x="117" y="74"/>
                  </a:lnTo>
                  <a:lnTo>
                    <a:pt x="121" y="78"/>
                  </a:lnTo>
                  <a:lnTo>
                    <a:pt x="124" y="87"/>
                  </a:lnTo>
                  <a:lnTo>
                    <a:pt x="129" y="93"/>
                  </a:lnTo>
                  <a:lnTo>
                    <a:pt x="129" y="100"/>
                  </a:lnTo>
                  <a:lnTo>
                    <a:pt x="124" y="107"/>
                  </a:lnTo>
                  <a:lnTo>
                    <a:pt x="120" y="119"/>
                  </a:lnTo>
                  <a:lnTo>
                    <a:pt x="111" y="119"/>
                  </a:lnTo>
                  <a:lnTo>
                    <a:pt x="105" y="93"/>
                  </a:lnTo>
                  <a:lnTo>
                    <a:pt x="97" y="71"/>
                  </a:lnTo>
                  <a:lnTo>
                    <a:pt x="86" y="53"/>
                  </a:lnTo>
                  <a:lnTo>
                    <a:pt x="80" y="49"/>
                  </a:lnTo>
                  <a:lnTo>
                    <a:pt x="66" y="47"/>
                  </a:lnTo>
                  <a:lnTo>
                    <a:pt x="54" y="39"/>
                  </a:lnTo>
                  <a:lnTo>
                    <a:pt x="46" y="31"/>
                  </a:lnTo>
                  <a:lnTo>
                    <a:pt x="40" y="30"/>
                  </a:lnTo>
                  <a:lnTo>
                    <a:pt x="31" y="23"/>
                  </a:lnTo>
                  <a:lnTo>
                    <a:pt x="26" y="21"/>
                  </a:lnTo>
                  <a:lnTo>
                    <a:pt x="9" y="10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EEDBF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217" dirty="0"/>
            </a:p>
          </p:txBody>
        </p:sp>
        <p:sp>
          <p:nvSpPr>
            <p:cNvPr id="180" name="Freeform 56"/>
            <p:cNvSpPr>
              <a:spLocks noChangeAspect="1"/>
            </p:cNvSpPr>
            <p:nvPr/>
          </p:nvSpPr>
          <p:spPr bwMode="gray">
            <a:xfrm>
              <a:off x="5757052" y="4732222"/>
              <a:ext cx="83206" cy="130753"/>
            </a:xfrm>
            <a:custGeom>
              <a:avLst/>
              <a:gdLst/>
              <a:ahLst/>
              <a:cxnLst>
                <a:cxn ang="0">
                  <a:pos x="128" y="441"/>
                </a:cxn>
                <a:cxn ang="0">
                  <a:pos x="139" y="398"/>
                </a:cxn>
                <a:cxn ang="0">
                  <a:pos x="97" y="366"/>
                </a:cxn>
                <a:cxn ang="0">
                  <a:pos x="59" y="325"/>
                </a:cxn>
                <a:cxn ang="0">
                  <a:pos x="100" y="296"/>
                </a:cxn>
                <a:cxn ang="0">
                  <a:pos x="115" y="250"/>
                </a:cxn>
                <a:cxn ang="0">
                  <a:pos x="120" y="224"/>
                </a:cxn>
                <a:cxn ang="0">
                  <a:pos x="113" y="198"/>
                </a:cxn>
                <a:cxn ang="0">
                  <a:pos x="112" y="178"/>
                </a:cxn>
                <a:cxn ang="0">
                  <a:pos x="97" y="172"/>
                </a:cxn>
                <a:cxn ang="0">
                  <a:pos x="91" y="145"/>
                </a:cxn>
                <a:cxn ang="0">
                  <a:pos x="86" y="127"/>
                </a:cxn>
                <a:cxn ang="0">
                  <a:pos x="73" y="117"/>
                </a:cxn>
                <a:cxn ang="0">
                  <a:pos x="43" y="85"/>
                </a:cxn>
                <a:cxn ang="0">
                  <a:pos x="45" y="59"/>
                </a:cxn>
                <a:cxn ang="0">
                  <a:pos x="26" y="59"/>
                </a:cxn>
                <a:cxn ang="0">
                  <a:pos x="7" y="14"/>
                </a:cxn>
                <a:cxn ang="0">
                  <a:pos x="10" y="0"/>
                </a:cxn>
                <a:cxn ang="0">
                  <a:pos x="19" y="28"/>
                </a:cxn>
                <a:cxn ang="0">
                  <a:pos x="35" y="30"/>
                </a:cxn>
                <a:cxn ang="0">
                  <a:pos x="59" y="41"/>
                </a:cxn>
                <a:cxn ang="0">
                  <a:pos x="78" y="59"/>
                </a:cxn>
                <a:cxn ang="0">
                  <a:pos x="87" y="70"/>
                </a:cxn>
                <a:cxn ang="0">
                  <a:pos x="100" y="96"/>
                </a:cxn>
                <a:cxn ang="0">
                  <a:pos x="86" y="96"/>
                </a:cxn>
                <a:cxn ang="0">
                  <a:pos x="96" y="107"/>
                </a:cxn>
                <a:cxn ang="0">
                  <a:pos x="110" y="140"/>
                </a:cxn>
                <a:cxn ang="0">
                  <a:pos x="109" y="159"/>
                </a:cxn>
                <a:cxn ang="0">
                  <a:pos x="116" y="170"/>
                </a:cxn>
                <a:cxn ang="0">
                  <a:pos x="136" y="169"/>
                </a:cxn>
                <a:cxn ang="0">
                  <a:pos x="151" y="182"/>
                </a:cxn>
                <a:cxn ang="0">
                  <a:pos x="147" y="141"/>
                </a:cxn>
                <a:cxn ang="0">
                  <a:pos x="167" y="162"/>
                </a:cxn>
                <a:cxn ang="0">
                  <a:pos x="169" y="192"/>
                </a:cxn>
                <a:cxn ang="0">
                  <a:pos x="185" y="219"/>
                </a:cxn>
                <a:cxn ang="0">
                  <a:pos x="239" y="240"/>
                </a:cxn>
                <a:cxn ang="0">
                  <a:pos x="266" y="224"/>
                </a:cxn>
                <a:cxn ang="0">
                  <a:pos x="286" y="210"/>
                </a:cxn>
                <a:cxn ang="0">
                  <a:pos x="313" y="231"/>
                </a:cxn>
                <a:cxn ang="0">
                  <a:pos x="307" y="272"/>
                </a:cxn>
                <a:cxn ang="0">
                  <a:pos x="286" y="304"/>
                </a:cxn>
                <a:cxn ang="0">
                  <a:pos x="287" y="321"/>
                </a:cxn>
                <a:cxn ang="0">
                  <a:pos x="269" y="315"/>
                </a:cxn>
                <a:cxn ang="0">
                  <a:pos x="242" y="323"/>
                </a:cxn>
                <a:cxn ang="0">
                  <a:pos x="232" y="356"/>
                </a:cxn>
                <a:cxn ang="0">
                  <a:pos x="217" y="404"/>
                </a:cxn>
                <a:cxn ang="0">
                  <a:pos x="171" y="479"/>
                </a:cxn>
                <a:cxn ang="0">
                  <a:pos x="132" y="481"/>
                </a:cxn>
              </a:cxnLst>
              <a:rect l="0" t="0" r="r" b="b"/>
              <a:pathLst>
                <a:path w="313" h="495">
                  <a:moveTo>
                    <a:pt x="109" y="469"/>
                  </a:moveTo>
                  <a:lnTo>
                    <a:pt x="118" y="458"/>
                  </a:lnTo>
                  <a:lnTo>
                    <a:pt x="121" y="449"/>
                  </a:lnTo>
                  <a:lnTo>
                    <a:pt x="128" y="441"/>
                  </a:lnTo>
                  <a:lnTo>
                    <a:pt x="134" y="429"/>
                  </a:lnTo>
                  <a:lnTo>
                    <a:pt x="135" y="417"/>
                  </a:lnTo>
                  <a:lnTo>
                    <a:pt x="139" y="407"/>
                  </a:lnTo>
                  <a:lnTo>
                    <a:pt x="139" y="398"/>
                  </a:lnTo>
                  <a:lnTo>
                    <a:pt x="134" y="391"/>
                  </a:lnTo>
                  <a:lnTo>
                    <a:pt x="120" y="375"/>
                  </a:lnTo>
                  <a:lnTo>
                    <a:pt x="108" y="372"/>
                  </a:lnTo>
                  <a:lnTo>
                    <a:pt x="97" y="366"/>
                  </a:lnTo>
                  <a:lnTo>
                    <a:pt x="80" y="350"/>
                  </a:lnTo>
                  <a:lnTo>
                    <a:pt x="67" y="349"/>
                  </a:lnTo>
                  <a:lnTo>
                    <a:pt x="57" y="337"/>
                  </a:lnTo>
                  <a:lnTo>
                    <a:pt x="59" y="325"/>
                  </a:lnTo>
                  <a:lnTo>
                    <a:pt x="69" y="316"/>
                  </a:lnTo>
                  <a:lnTo>
                    <a:pt x="78" y="310"/>
                  </a:lnTo>
                  <a:lnTo>
                    <a:pt x="92" y="306"/>
                  </a:lnTo>
                  <a:lnTo>
                    <a:pt x="100" y="296"/>
                  </a:lnTo>
                  <a:lnTo>
                    <a:pt x="104" y="283"/>
                  </a:lnTo>
                  <a:lnTo>
                    <a:pt x="105" y="261"/>
                  </a:lnTo>
                  <a:lnTo>
                    <a:pt x="109" y="250"/>
                  </a:lnTo>
                  <a:lnTo>
                    <a:pt x="115" y="250"/>
                  </a:lnTo>
                  <a:lnTo>
                    <a:pt x="118" y="247"/>
                  </a:lnTo>
                  <a:lnTo>
                    <a:pt x="118" y="237"/>
                  </a:lnTo>
                  <a:lnTo>
                    <a:pt x="115" y="229"/>
                  </a:lnTo>
                  <a:lnTo>
                    <a:pt x="120" y="224"/>
                  </a:lnTo>
                  <a:lnTo>
                    <a:pt x="118" y="220"/>
                  </a:lnTo>
                  <a:lnTo>
                    <a:pt x="115" y="208"/>
                  </a:lnTo>
                  <a:lnTo>
                    <a:pt x="116" y="196"/>
                  </a:lnTo>
                  <a:lnTo>
                    <a:pt x="113" y="198"/>
                  </a:lnTo>
                  <a:lnTo>
                    <a:pt x="104" y="188"/>
                  </a:lnTo>
                  <a:lnTo>
                    <a:pt x="102" y="182"/>
                  </a:lnTo>
                  <a:lnTo>
                    <a:pt x="108" y="182"/>
                  </a:lnTo>
                  <a:lnTo>
                    <a:pt x="112" y="178"/>
                  </a:lnTo>
                  <a:lnTo>
                    <a:pt x="113" y="175"/>
                  </a:lnTo>
                  <a:lnTo>
                    <a:pt x="112" y="171"/>
                  </a:lnTo>
                  <a:lnTo>
                    <a:pt x="107" y="170"/>
                  </a:lnTo>
                  <a:lnTo>
                    <a:pt x="97" y="172"/>
                  </a:lnTo>
                  <a:lnTo>
                    <a:pt x="86" y="151"/>
                  </a:lnTo>
                  <a:lnTo>
                    <a:pt x="81" y="138"/>
                  </a:lnTo>
                  <a:lnTo>
                    <a:pt x="87" y="148"/>
                  </a:lnTo>
                  <a:lnTo>
                    <a:pt x="91" y="145"/>
                  </a:lnTo>
                  <a:lnTo>
                    <a:pt x="92" y="133"/>
                  </a:lnTo>
                  <a:lnTo>
                    <a:pt x="87" y="133"/>
                  </a:lnTo>
                  <a:lnTo>
                    <a:pt x="83" y="130"/>
                  </a:lnTo>
                  <a:lnTo>
                    <a:pt x="86" y="127"/>
                  </a:lnTo>
                  <a:lnTo>
                    <a:pt x="86" y="117"/>
                  </a:lnTo>
                  <a:lnTo>
                    <a:pt x="82" y="113"/>
                  </a:lnTo>
                  <a:lnTo>
                    <a:pt x="80" y="117"/>
                  </a:lnTo>
                  <a:lnTo>
                    <a:pt x="73" y="117"/>
                  </a:lnTo>
                  <a:lnTo>
                    <a:pt x="72" y="122"/>
                  </a:lnTo>
                  <a:lnTo>
                    <a:pt x="73" y="129"/>
                  </a:lnTo>
                  <a:lnTo>
                    <a:pt x="60" y="107"/>
                  </a:lnTo>
                  <a:lnTo>
                    <a:pt x="43" y="85"/>
                  </a:lnTo>
                  <a:lnTo>
                    <a:pt x="38" y="75"/>
                  </a:lnTo>
                  <a:lnTo>
                    <a:pt x="37" y="71"/>
                  </a:lnTo>
                  <a:lnTo>
                    <a:pt x="42" y="67"/>
                  </a:lnTo>
                  <a:lnTo>
                    <a:pt x="45" y="59"/>
                  </a:lnTo>
                  <a:lnTo>
                    <a:pt x="42" y="57"/>
                  </a:lnTo>
                  <a:lnTo>
                    <a:pt x="40" y="62"/>
                  </a:lnTo>
                  <a:lnTo>
                    <a:pt x="33" y="68"/>
                  </a:lnTo>
                  <a:lnTo>
                    <a:pt x="26" y="59"/>
                  </a:lnTo>
                  <a:lnTo>
                    <a:pt x="22" y="49"/>
                  </a:lnTo>
                  <a:lnTo>
                    <a:pt x="23" y="44"/>
                  </a:lnTo>
                  <a:lnTo>
                    <a:pt x="21" y="35"/>
                  </a:lnTo>
                  <a:lnTo>
                    <a:pt x="7" y="14"/>
                  </a:lnTo>
                  <a:lnTo>
                    <a:pt x="1" y="6"/>
                  </a:lnTo>
                  <a:lnTo>
                    <a:pt x="0" y="3"/>
                  </a:lnTo>
                  <a:lnTo>
                    <a:pt x="8" y="1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11"/>
                  </a:lnTo>
                  <a:lnTo>
                    <a:pt x="19" y="22"/>
                  </a:lnTo>
                  <a:lnTo>
                    <a:pt x="19" y="28"/>
                  </a:lnTo>
                  <a:lnTo>
                    <a:pt x="24" y="36"/>
                  </a:lnTo>
                  <a:lnTo>
                    <a:pt x="29" y="32"/>
                  </a:lnTo>
                  <a:lnTo>
                    <a:pt x="34" y="27"/>
                  </a:lnTo>
                  <a:lnTo>
                    <a:pt x="35" y="30"/>
                  </a:lnTo>
                  <a:lnTo>
                    <a:pt x="35" y="35"/>
                  </a:lnTo>
                  <a:lnTo>
                    <a:pt x="46" y="35"/>
                  </a:lnTo>
                  <a:lnTo>
                    <a:pt x="51" y="38"/>
                  </a:lnTo>
                  <a:lnTo>
                    <a:pt x="59" y="41"/>
                  </a:lnTo>
                  <a:lnTo>
                    <a:pt x="64" y="40"/>
                  </a:lnTo>
                  <a:lnTo>
                    <a:pt x="73" y="48"/>
                  </a:lnTo>
                  <a:lnTo>
                    <a:pt x="66" y="52"/>
                  </a:lnTo>
                  <a:lnTo>
                    <a:pt x="78" y="59"/>
                  </a:lnTo>
                  <a:lnTo>
                    <a:pt x="80" y="56"/>
                  </a:lnTo>
                  <a:lnTo>
                    <a:pt x="83" y="59"/>
                  </a:lnTo>
                  <a:lnTo>
                    <a:pt x="85" y="64"/>
                  </a:lnTo>
                  <a:lnTo>
                    <a:pt x="87" y="70"/>
                  </a:lnTo>
                  <a:lnTo>
                    <a:pt x="96" y="79"/>
                  </a:lnTo>
                  <a:lnTo>
                    <a:pt x="98" y="83"/>
                  </a:lnTo>
                  <a:lnTo>
                    <a:pt x="98" y="87"/>
                  </a:lnTo>
                  <a:lnTo>
                    <a:pt x="100" y="96"/>
                  </a:lnTo>
                  <a:lnTo>
                    <a:pt x="98" y="94"/>
                  </a:lnTo>
                  <a:lnTo>
                    <a:pt x="89" y="89"/>
                  </a:lnTo>
                  <a:lnTo>
                    <a:pt x="85" y="89"/>
                  </a:lnTo>
                  <a:lnTo>
                    <a:pt x="86" y="96"/>
                  </a:lnTo>
                  <a:lnTo>
                    <a:pt x="87" y="97"/>
                  </a:lnTo>
                  <a:lnTo>
                    <a:pt x="89" y="97"/>
                  </a:lnTo>
                  <a:lnTo>
                    <a:pt x="93" y="100"/>
                  </a:lnTo>
                  <a:lnTo>
                    <a:pt x="96" y="107"/>
                  </a:lnTo>
                  <a:lnTo>
                    <a:pt x="103" y="114"/>
                  </a:lnTo>
                  <a:lnTo>
                    <a:pt x="109" y="126"/>
                  </a:lnTo>
                  <a:lnTo>
                    <a:pt x="116" y="134"/>
                  </a:lnTo>
                  <a:lnTo>
                    <a:pt x="110" y="140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9"/>
                  </a:lnTo>
                  <a:lnTo>
                    <a:pt x="109" y="159"/>
                  </a:lnTo>
                  <a:lnTo>
                    <a:pt x="105" y="162"/>
                  </a:lnTo>
                  <a:lnTo>
                    <a:pt x="108" y="165"/>
                  </a:lnTo>
                  <a:lnTo>
                    <a:pt x="112" y="165"/>
                  </a:lnTo>
                  <a:lnTo>
                    <a:pt x="116" y="170"/>
                  </a:lnTo>
                  <a:lnTo>
                    <a:pt x="123" y="170"/>
                  </a:lnTo>
                  <a:lnTo>
                    <a:pt x="125" y="167"/>
                  </a:lnTo>
                  <a:lnTo>
                    <a:pt x="132" y="167"/>
                  </a:lnTo>
                  <a:lnTo>
                    <a:pt x="136" y="169"/>
                  </a:lnTo>
                  <a:lnTo>
                    <a:pt x="137" y="177"/>
                  </a:lnTo>
                  <a:lnTo>
                    <a:pt x="140" y="184"/>
                  </a:lnTo>
                  <a:lnTo>
                    <a:pt x="146" y="187"/>
                  </a:lnTo>
                  <a:lnTo>
                    <a:pt x="151" y="182"/>
                  </a:lnTo>
                  <a:lnTo>
                    <a:pt x="150" y="156"/>
                  </a:lnTo>
                  <a:lnTo>
                    <a:pt x="150" y="151"/>
                  </a:lnTo>
                  <a:lnTo>
                    <a:pt x="143" y="141"/>
                  </a:lnTo>
                  <a:lnTo>
                    <a:pt x="147" y="141"/>
                  </a:lnTo>
                  <a:lnTo>
                    <a:pt x="151" y="148"/>
                  </a:lnTo>
                  <a:lnTo>
                    <a:pt x="164" y="151"/>
                  </a:lnTo>
                  <a:lnTo>
                    <a:pt x="164" y="161"/>
                  </a:lnTo>
                  <a:lnTo>
                    <a:pt x="167" y="162"/>
                  </a:lnTo>
                  <a:lnTo>
                    <a:pt x="167" y="171"/>
                  </a:lnTo>
                  <a:lnTo>
                    <a:pt x="169" y="176"/>
                  </a:lnTo>
                  <a:lnTo>
                    <a:pt x="168" y="186"/>
                  </a:lnTo>
                  <a:lnTo>
                    <a:pt x="169" y="192"/>
                  </a:lnTo>
                  <a:lnTo>
                    <a:pt x="173" y="197"/>
                  </a:lnTo>
                  <a:lnTo>
                    <a:pt x="175" y="203"/>
                  </a:lnTo>
                  <a:lnTo>
                    <a:pt x="178" y="213"/>
                  </a:lnTo>
                  <a:lnTo>
                    <a:pt x="185" y="219"/>
                  </a:lnTo>
                  <a:lnTo>
                    <a:pt x="194" y="219"/>
                  </a:lnTo>
                  <a:lnTo>
                    <a:pt x="205" y="227"/>
                  </a:lnTo>
                  <a:lnTo>
                    <a:pt x="232" y="235"/>
                  </a:lnTo>
                  <a:lnTo>
                    <a:pt x="239" y="240"/>
                  </a:lnTo>
                  <a:lnTo>
                    <a:pt x="249" y="241"/>
                  </a:lnTo>
                  <a:lnTo>
                    <a:pt x="254" y="235"/>
                  </a:lnTo>
                  <a:lnTo>
                    <a:pt x="259" y="235"/>
                  </a:lnTo>
                  <a:lnTo>
                    <a:pt x="266" y="224"/>
                  </a:lnTo>
                  <a:lnTo>
                    <a:pt x="271" y="221"/>
                  </a:lnTo>
                  <a:lnTo>
                    <a:pt x="276" y="218"/>
                  </a:lnTo>
                  <a:lnTo>
                    <a:pt x="284" y="213"/>
                  </a:lnTo>
                  <a:lnTo>
                    <a:pt x="286" y="210"/>
                  </a:lnTo>
                  <a:lnTo>
                    <a:pt x="292" y="208"/>
                  </a:lnTo>
                  <a:lnTo>
                    <a:pt x="301" y="210"/>
                  </a:lnTo>
                  <a:lnTo>
                    <a:pt x="313" y="218"/>
                  </a:lnTo>
                  <a:lnTo>
                    <a:pt x="313" y="231"/>
                  </a:lnTo>
                  <a:lnTo>
                    <a:pt x="308" y="246"/>
                  </a:lnTo>
                  <a:lnTo>
                    <a:pt x="308" y="262"/>
                  </a:lnTo>
                  <a:lnTo>
                    <a:pt x="307" y="264"/>
                  </a:lnTo>
                  <a:lnTo>
                    <a:pt x="307" y="272"/>
                  </a:lnTo>
                  <a:lnTo>
                    <a:pt x="304" y="280"/>
                  </a:lnTo>
                  <a:lnTo>
                    <a:pt x="296" y="286"/>
                  </a:lnTo>
                  <a:lnTo>
                    <a:pt x="287" y="290"/>
                  </a:lnTo>
                  <a:lnTo>
                    <a:pt x="286" y="304"/>
                  </a:lnTo>
                  <a:lnTo>
                    <a:pt x="284" y="307"/>
                  </a:lnTo>
                  <a:lnTo>
                    <a:pt x="285" y="316"/>
                  </a:lnTo>
                  <a:lnTo>
                    <a:pt x="287" y="317"/>
                  </a:lnTo>
                  <a:lnTo>
                    <a:pt x="287" y="321"/>
                  </a:lnTo>
                  <a:lnTo>
                    <a:pt x="282" y="328"/>
                  </a:lnTo>
                  <a:lnTo>
                    <a:pt x="280" y="316"/>
                  </a:lnTo>
                  <a:lnTo>
                    <a:pt x="275" y="315"/>
                  </a:lnTo>
                  <a:lnTo>
                    <a:pt x="269" y="315"/>
                  </a:lnTo>
                  <a:lnTo>
                    <a:pt x="261" y="316"/>
                  </a:lnTo>
                  <a:lnTo>
                    <a:pt x="253" y="316"/>
                  </a:lnTo>
                  <a:lnTo>
                    <a:pt x="247" y="318"/>
                  </a:lnTo>
                  <a:lnTo>
                    <a:pt x="242" y="323"/>
                  </a:lnTo>
                  <a:lnTo>
                    <a:pt x="226" y="345"/>
                  </a:lnTo>
                  <a:lnTo>
                    <a:pt x="226" y="349"/>
                  </a:lnTo>
                  <a:lnTo>
                    <a:pt x="228" y="348"/>
                  </a:lnTo>
                  <a:lnTo>
                    <a:pt x="232" y="356"/>
                  </a:lnTo>
                  <a:lnTo>
                    <a:pt x="237" y="360"/>
                  </a:lnTo>
                  <a:lnTo>
                    <a:pt x="236" y="369"/>
                  </a:lnTo>
                  <a:lnTo>
                    <a:pt x="231" y="380"/>
                  </a:lnTo>
                  <a:lnTo>
                    <a:pt x="217" y="404"/>
                  </a:lnTo>
                  <a:lnTo>
                    <a:pt x="215" y="412"/>
                  </a:lnTo>
                  <a:lnTo>
                    <a:pt x="202" y="428"/>
                  </a:lnTo>
                  <a:lnTo>
                    <a:pt x="182" y="463"/>
                  </a:lnTo>
                  <a:lnTo>
                    <a:pt x="171" y="479"/>
                  </a:lnTo>
                  <a:lnTo>
                    <a:pt x="153" y="492"/>
                  </a:lnTo>
                  <a:lnTo>
                    <a:pt x="145" y="495"/>
                  </a:lnTo>
                  <a:lnTo>
                    <a:pt x="137" y="488"/>
                  </a:lnTo>
                  <a:lnTo>
                    <a:pt x="132" y="481"/>
                  </a:lnTo>
                  <a:lnTo>
                    <a:pt x="113" y="482"/>
                  </a:lnTo>
                  <a:lnTo>
                    <a:pt x="109" y="473"/>
                  </a:lnTo>
                  <a:lnTo>
                    <a:pt x="109" y="469"/>
                  </a:lnTo>
                  <a:close/>
                </a:path>
              </a:pathLst>
            </a:custGeom>
            <a:solidFill>
              <a:srgbClr val="C9C7C3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uk-UA" sz="1217" dirty="0"/>
            </a:p>
          </p:txBody>
        </p:sp>
      </p:grpSp>
      <p:cxnSp>
        <p:nvCxnSpPr>
          <p:cNvPr id="374" name="Straight Connector 47"/>
          <p:cNvCxnSpPr/>
          <p:nvPr/>
        </p:nvCxnSpPr>
        <p:spPr>
          <a:xfrm>
            <a:off x="5325739" y="1827260"/>
            <a:ext cx="2865420" cy="0"/>
          </a:xfrm>
          <a:prstGeom prst="line">
            <a:avLst/>
          </a:prstGeom>
          <a:ln w="25400" cap="rnd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5" name="Picture 41" descr="https://cs7050.vk.me/c404422/u120095802/docs/38a94ae34205/calendar.png?extra=UDhPDgvfinLbyHR6S_G7pyjaEsmhsVgZzafOrJgg9FWlHatJu6z9V78R2wr9M7cfGsElkna0IvNjVhuUUKXaJ6afmmg5Bvd2Qo7hlVIFgbLFKm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796" y="1435008"/>
            <a:ext cx="350197" cy="3501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6" name="Picture 11" descr="http://www2.psd100.com/ppp/2013/11/2701/Earth-112723540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310" y="1477273"/>
            <a:ext cx="279071" cy="27907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7" name="Text Box 25"/>
          <p:cNvSpPr txBox="1">
            <a:spLocks noChangeArrowheads="1"/>
          </p:cNvSpPr>
          <p:nvPr/>
        </p:nvSpPr>
        <p:spPr bwMode="auto">
          <a:xfrm rot="5400000">
            <a:off x="7671991" y="2867187"/>
            <a:ext cx="2173221" cy="184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808080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4251" tIns="34251" rIns="34251" bIns="34251" numCol="1" anchor="t" anchorCtr="0" compatLnSpc="1">
            <a:prstTxWarp prst="textNoShape">
              <a:avLst/>
            </a:prstTxWarp>
          </a:bodyPr>
          <a:lstStyle/>
          <a:p>
            <a:pPr algn="ctr" defTabSz="856301" eaLnBrk="0" hangingPunct="0"/>
            <a:r>
              <a:rPr lang="uk-UA" altLang="uk-UA" sz="1217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ішний досвід</a:t>
            </a:r>
          </a:p>
        </p:txBody>
      </p:sp>
      <p:sp>
        <p:nvSpPr>
          <p:cNvPr id="378" name="Левая круглая скобка 377"/>
          <p:cNvSpPr/>
          <p:nvPr/>
        </p:nvSpPr>
        <p:spPr>
          <a:xfrm rot="10800000">
            <a:off x="8482654" y="1934646"/>
            <a:ext cx="94735" cy="2157493"/>
          </a:xfrm>
          <a:prstGeom prst="leftBracket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 sz="103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9" name="Shape 58"/>
          <p:cNvSpPr txBox="1"/>
          <p:nvPr/>
        </p:nvSpPr>
        <p:spPr>
          <a:xfrm>
            <a:off x="203599" y="6187092"/>
            <a:ext cx="2940338" cy="1167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  <a:buSzPct val="25000"/>
            </a:pPr>
            <a:r>
              <a:rPr lang="uk-UA" sz="843" baseline="30000" dirty="0"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Roboto Condensed"/>
              </a:rPr>
              <a:t>**</a:t>
            </a:r>
            <a:r>
              <a:rPr lang="uk-UA" sz="843" dirty="0"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Roboto Condensed"/>
              </a:rPr>
              <a:t>Результати після впровадження швидкої лібералізації</a:t>
            </a:r>
          </a:p>
        </p:txBody>
      </p:sp>
      <p:sp>
        <p:nvSpPr>
          <p:cNvPr id="380" name="Text Box 25"/>
          <p:cNvSpPr txBox="1">
            <a:spLocks noChangeArrowheads="1"/>
          </p:cNvSpPr>
          <p:nvPr/>
        </p:nvSpPr>
        <p:spPr bwMode="auto">
          <a:xfrm rot="5400000">
            <a:off x="7983252" y="4966652"/>
            <a:ext cx="1550698" cy="184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808080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4251" tIns="34251" rIns="34251" bIns="34251" numCol="1" anchor="t" anchorCtr="0" compatLnSpc="1">
            <a:prstTxWarp prst="textNoShape">
              <a:avLst/>
            </a:prstTxWarp>
          </a:bodyPr>
          <a:lstStyle/>
          <a:p>
            <a:pPr algn="ctr" defTabSz="856301" eaLnBrk="0" hangingPunct="0"/>
            <a:r>
              <a:rPr lang="uk-UA" altLang="uk-UA" sz="1217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спішний</a:t>
            </a:r>
            <a:r>
              <a:rPr lang="uk-UA" altLang="uk-UA" sz="1217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altLang="uk-UA" sz="1217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від</a:t>
            </a:r>
          </a:p>
        </p:txBody>
      </p:sp>
      <p:sp>
        <p:nvSpPr>
          <p:cNvPr id="381" name="Левая круглая скобка 380"/>
          <p:cNvSpPr/>
          <p:nvPr/>
        </p:nvSpPr>
        <p:spPr>
          <a:xfrm rot="10800000">
            <a:off x="8482655" y="4289774"/>
            <a:ext cx="102438" cy="1538087"/>
          </a:xfrm>
          <a:prstGeom prst="leftBracket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uk-UA" sz="169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2" name="Rectangle 48"/>
          <p:cNvSpPr/>
          <p:nvPr/>
        </p:nvSpPr>
        <p:spPr>
          <a:xfrm>
            <a:off x="6864502" y="1967911"/>
            <a:ext cx="1783733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2, 1998, 2001 рр.</a:t>
            </a:r>
          </a:p>
        </p:txBody>
      </p:sp>
      <p:sp>
        <p:nvSpPr>
          <p:cNvPr id="383" name="Rectangle 43"/>
          <p:cNvSpPr/>
          <p:nvPr/>
        </p:nvSpPr>
        <p:spPr>
          <a:xfrm>
            <a:off x="5664155" y="1952888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Чилі</a:t>
            </a:r>
          </a:p>
        </p:txBody>
      </p:sp>
      <p:pic>
        <p:nvPicPr>
          <p:cNvPr id="384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5739" y="1962747"/>
            <a:ext cx="233798" cy="138793"/>
          </a:xfrm>
          <a:prstGeom prst="rect">
            <a:avLst/>
          </a:prstGeom>
        </p:spPr>
      </p:pic>
      <p:grpSp>
        <p:nvGrpSpPr>
          <p:cNvPr id="385" name="Группа 384"/>
          <p:cNvGrpSpPr/>
          <p:nvPr/>
        </p:nvGrpSpPr>
        <p:grpSpPr>
          <a:xfrm>
            <a:off x="6417287" y="1958988"/>
            <a:ext cx="256356" cy="146314"/>
            <a:chOff x="7350740" y="2417006"/>
            <a:chExt cx="273764" cy="156249"/>
          </a:xfrm>
          <a:solidFill>
            <a:schemeClr val="accent2"/>
          </a:solidFill>
        </p:grpSpPr>
        <p:sp>
          <p:nvSpPr>
            <p:cNvPr id="386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7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8" name="Chevron 48"/>
            <p:cNvSpPr/>
            <p:nvPr/>
          </p:nvSpPr>
          <p:spPr>
            <a:xfrm>
              <a:off x="7511734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9" name="Rectangle 48"/>
          <p:cNvSpPr/>
          <p:nvPr/>
        </p:nvSpPr>
        <p:spPr>
          <a:xfrm>
            <a:off x="6864502" y="2211933"/>
            <a:ext cx="1783733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2-1993 рр.</a:t>
            </a:r>
          </a:p>
        </p:txBody>
      </p:sp>
      <p:sp>
        <p:nvSpPr>
          <p:cNvPr id="390" name="Rectangle 48"/>
          <p:cNvSpPr/>
          <p:nvPr/>
        </p:nvSpPr>
        <p:spPr>
          <a:xfrm>
            <a:off x="5664155" y="2211933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Мексика</a:t>
            </a:r>
          </a:p>
        </p:txBody>
      </p:sp>
      <p:pic>
        <p:nvPicPr>
          <p:cNvPr id="391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5739" y="2214904"/>
            <a:ext cx="233798" cy="152570"/>
          </a:xfrm>
          <a:prstGeom prst="rect">
            <a:avLst/>
          </a:prstGeom>
        </p:spPr>
      </p:pic>
      <p:grpSp>
        <p:nvGrpSpPr>
          <p:cNvPr id="392" name="Группа 391"/>
          <p:cNvGrpSpPr/>
          <p:nvPr/>
        </p:nvGrpSpPr>
        <p:grpSpPr>
          <a:xfrm>
            <a:off x="6417287" y="2218032"/>
            <a:ext cx="256356" cy="146314"/>
            <a:chOff x="7350740" y="2417006"/>
            <a:chExt cx="273764" cy="156249"/>
          </a:xfrm>
          <a:solidFill>
            <a:schemeClr val="accent2"/>
          </a:solidFill>
        </p:grpSpPr>
        <p:sp>
          <p:nvSpPr>
            <p:cNvPr id="393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4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5" name="Chevron 48"/>
            <p:cNvSpPr/>
            <p:nvPr/>
          </p:nvSpPr>
          <p:spPr>
            <a:xfrm>
              <a:off x="7511734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96" name="Rectangle 48"/>
          <p:cNvSpPr/>
          <p:nvPr/>
        </p:nvSpPr>
        <p:spPr>
          <a:xfrm>
            <a:off x="6864501" y="2485999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0-1996, 2002, 2004 рр.</a:t>
            </a:r>
          </a:p>
        </p:txBody>
      </p:sp>
      <p:sp>
        <p:nvSpPr>
          <p:cNvPr id="397" name="Rectangle 58"/>
          <p:cNvSpPr/>
          <p:nvPr/>
        </p:nvSpPr>
        <p:spPr>
          <a:xfrm>
            <a:off x="5664155" y="2470977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Польща</a:t>
            </a:r>
          </a:p>
        </p:txBody>
      </p:sp>
      <p:pic>
        <p:nvPicPr>
          <p:cNvPr id="398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25739" y="2479078"/>
            <a:ext cx="233798" cy="142311"/>
          </a:xfrm>
          <a:prstGeom prst="rect">
            <a:avLst/>
          </a:prstGeom>
        </p:spPr>
      </p:pic>
      <p:grpSp>
        <p:nvGrpSpPr>
          <p:cNvPr id="399" name="Группа 398"/>
          <p:cNvGrpSpPr/>
          <p:nvPr/>
        </p:nvGrpSpPr>
        <p:grpSpPr>
          <a:xfrm>
            <a:off x="6417287" y="2477076"/>
            <a:ext cx="180977" cy="146314"/>
            <a:chOff x="7350740" y="2417006"/>
            <a:chExt cx="193267" cy="156249"/>
          </a:xfrm>
          <a:solidFill>
            <a:schemeClr val="accent2"/>
          </a:solidFill>
        </p:grpSpPr>
        <p:sp>
          <p:nvSpPr>
            <p:cNvPr id="400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1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2" name="Rectangle 48"/>
          <p:cNvSpPr/>
          <p:nvPr/>
        </p:nvSpPr>
        <p:spPr>
          <a:xfrm>
            <a:off x="6864501" y="2745044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3-2000, 2002 рр.</a:t>
            </a:r>
          </a:p>
        </p:txBody>
      </p:sp>
      <p:sp>
        <p:nvSpPr>
          <p:cNvPr id="403" name="Rectangle 63"/>
          <p:cNvSpPr/>
          <p:nvPr/>
        </p:nvSpPr>
        <p:spPr>
          <a:xfrm>
            <a:off x="5664155" y="2730022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Угорщина</a:t>
            </a:r>
          </a:p>
        </p:txBody>
      </p:sp>
      <p:pic>
        <p:nvPicPr>
          <p:cNvPr id="404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25739" y="2738303"/>
            <a:ext cx="233798" cy="141949"/>
          </a:xfrm>
          <a:prstGeom prst="rect">
            <a:avLst/>
          </a:prstGeom>
        </p:spPr>
      </p:pic>
      <p:grpSp>
        <p:nvGrpSpPr>
          <p:cNvPr id="405" name="Группа 404"/>
          <p:cNvGrpSpPr/>
          <p:nvPr/>
        </p:nvGrpSpPr>
        <p:grpSpPr>
          <a:xfrm>
            <a:off x="6417287" y="2736121"/>
            <a:ext cx="180977" cy="146314"/>
            <a:chOff x="7350740" y="2417006"/>
            <a:chExt cx="193267" cy="156249"/>
          </a:xfrm>
          <a:solidFill>
            <a:schemeClr val="accent2"/>
          </a:solidFill>
        </p:grpSpPr>
        <p:sp>
          <p:nvSpPr>
            <p:cNvPr id="406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7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8" name="Rectangle 73"/>
          <p:cNvSpPr/>
          <p:nvPr/>
        </p:nvSpPr>
        <p:spPr>
          <a:xfrm>
            <a:off x="5664155" y="3249505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Грузія</a:t>
            </a:r>
          </a:p>
        </p:txBody>
      </p:sp>
      <p:pic>
        <p:nvPicPr>
          <p:cNvPr id="409" name="Picture 3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25739" y="3248109"/>
            <a:ext cx="233798" cy="161303"/>
          </a:xfrm>
          <a:prstGeom prst="rect">
            <a:avLst/>
          </a:prstGeom>
        </p:spPr>
      </p:pic>
      <p:sp>
        <p:nvSpPr>
          <p:cNvPr id="410" name="Rectangle 48"/>
          <p:cNvSpPr/>
          <p:nvPr/>
        </p:nvSpPr>
        <p:spPr>
          <a:xfrm>
            <a:off x="6864501" y="3264527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6 р.</a:t>
            </a:r>
          </a:p>
        </p:txBody>
      </p:sp>
      <p:sp>
        <p:nvSpPr>
          <p:cNvPr id="411" name="Chevron 48"/>
          <p:cNvSpPr/>
          <p:nvPr/>
        </p:nvSpPr>
        <p:spPr>
          <a:xfrm>
            <a:off x="6417287" y="3255605"/>
            <a:ext cx="105599" cy="146314"/>
          </a:xfrm>
          <a:prstGeom prst="chevron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21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2" name="Rectangle 63"/>
          <p:cNvSpPr/>
          <p:nvPr/>
        </p:nvSpPr>
        <p:spPr>
          <a:xfrm>
            <a:off x="5671589" y="3509944"/>
            <a:ext cx="1112457" cy="3170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Південна</a:t>
            </a:r>
          </a:p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Корея</a:t>
            </a:r>
          </a:p>
        </p:txBody>
      </p:sp>
      <p:sp>
        <p:nvSpPr>
          <p:cNvPr id="413" name="Rectangle 48"/>
          <p:cNvSpPr/>
          <p:nvPr/>
        </p:nvSpPr>
        <p:spPr>
          <a:xfrm>
            <a:off x="6864501" y="3604223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81-2002 рр.</a:t>
            </a:r>
          </a:p>
        </p:txBody>
      </p:sp>
      <p:pic>
        <p:nvPicPr>
          <p:cNvPr id="414" name="Picture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381" y="3567720"/>
            <a:ext cx="301610" cy="201476"/>
          </a:xfrm>
          <a:prstGeom prst="rect">
            <a:avLst/>
          </a:prstGeom>
        </p:spPr>
      </p:pic>
      <p:sp>
        <p:nvSpPr>
          <p:cNvPr id="415" name="Chevron 48"/>
          <p:cNvSpPr/>
          <p:nvPr/>
        </p:nvSpPr>
        <p:spPr>
          <a:xfrm>
            <a:off x="6417287" y="3595301"/>
            <a:ext cx="105599" cy="146314"/>
          </a:xfrm>
          <a:prstGeom prst="chevron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21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6" name="Picture 49" descr="https://upload.wikimedia.org/wikipedia/commons/thumb/d/d4/Flag_of_Israel.svg/250px-Flag_of_Israel.sv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738" y="3908261"/>
            <a:ext cx="234132" cy="1704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7" name="Rectangle 58"/>
          <p:cNvSpPr/>
          <p:nvPr/>
        </p:nvSpPr>
        <p:spPr>
          <a:xfrm>
            <a:off x="5654233" y="3914230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Ізраїль</a:t>
            </a:r>
          </a:p>
        </p:txBody>
      </p:sp>
      <p:sp>
        <p:nvSpPr>
          <p:cNvPr id="418" name="Rectangle 48"/>
          <p:cNvSpPr/>
          <p:nvPr/>
        </p:nvSpPr>
        <p:spPr>
          <a:xfrm>
            <a:off x="6864501" y="3929251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87-2005 рр.</a:t>
            </a:r>
          </a:p>
        </p:txBody>
      </p:sp>
      <p:sp>
        <p:nvSpPr>
          <p:cNvPr id="419" name="Chevron 48"/>
          <p:cNvSpPr/>
          <p:nvPr/>
        </p:nvSpPr>
        <p:spPr>
          <a:xfrm>
            <a:off x="6417287" y="3920329"/>
            <a:ext cx="105599" cy="146314"/>
          </a:xfrm>
          <a:prstGeom prst="chevron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21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0" name="Rectangle 48"/>
          <p:cNvSpPr/>
          <p:nvPr/>
        </p:nvSpPr>
        <p:spPr>
          <a:xfrm>
            <a:off x="6864501" y="3019110"/>
            <a:ext cx="17853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96-1997, 1999, 2001 рр.</a:t>
            </a:r>
          </a:p>
        </p:txBody>
      </p:sp>
      <p:sp>
        <p:nvSpPr>
          <p:cNvPr id="421" name="Rectangle 68"/>
          <p:cNvSpPr/>
          <p:nvPr/>
        </p:nvSpPr>
        <p:spPr>
          <a:xfrm>
            <a:off x="5664155" y="2989066"/>
            <a:ext cx="1112457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Чехія</a:t>
            </a:r>
          </a:p>
        </p:txBody>
      </p:sp>
      <p:pic>
        <p:nvPicPr>
          <p:cNvPr id="422" name="Picture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25739" y="2990388"/>
            <a:ext cx="233798" cy="155866"/>
          </a:xfrm>
          <a:prstGeom prst="rect">
            <a:avLst/>
          </a:prstGeom>
        </p:spPr>
      </p:pic>
      <p:grpSp>
        <p:nvGrpSpPr>
          <p:cNvPr id="423" name="Группа 422"/>
          <p:cNvGrpSpPr/>
          <p:nvPr/>
        </p:nvGrpSpPr>
        <p:grpSpPr>
          <a:xfrm>
            <a:off x="6417287" y="2995165"/>
            <a:ext cx="180977" cy="146314"/>
            <a:chOff x="7350740" y="2417006"/>
            <a:chExt cx="193267" cy="156249"/>
          </a:xfrm>
          <a:solidFill>
            <a:schemeClr val="accent2"/>
          </a:solidFill>
        </p:grpSpPr>
        <p:sp>
          <p:nvSpPr>
            <p:cNvPr id="424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5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26" name="Picture 94" descr="http://www.icon2s.com/img256/256x256-black-white-android-speed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6848" y="1448097"/>
            <a:ext cx="337109" cy="3371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5325739" y="4360899"/>
            <a:ext cx="3324132" cy="158505"/>
            <a:chOff x="5665052" y="4859801"/>
            <a:chExt cx="3549861" cy="169269"/>
          </a:xfrm>
        </p:grpSpPr>
        <p:sp>
          <p:nvSpPr>
            <p:cNvPr id="427" name="Rectangle 78"/>
            <p:cNvSpPr/>
            <p:nvPr/>
          </p:nvSpPr>
          <p:spPr>
            <a:xfrm>
              <a:off x="6020420" y="4859801"/>
              <a:ext cx="1188000" cy="16926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Казахстан</a:t>
              </a:r>
            </a:p>
          </p:txBody>
        </p:sp>
        <p:pic>
          <p:nvPicPr>
            <p:cNvPr id="428" name="Picture 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665052" y="4863206"/>
              <a:ext cx="249675" cy="162466"/>
            </a:xfrm>
            <a:prstGeom prst="rect">
              <a:avLst/>
            </a:prstGeom>
          </p:spPr>
        </p:pic>
        <p:sp>
          <p:nvSpPr>
            <p:cNvPr id="429" name="Rectangle 48"/>
            <p:cNvSpPr/>
            <p:nvPr/>
          </p:nvSpPr>
          <p:spPr>
            <a:xfrm>
              <a:off x="7308306" y="4859801"/>
              <a:ext cx="1906607" cy="16926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2002-2007, 2012 рр.</a:t>
              </a:r>
            </a:p>
          </p:txBody>
        </p:sp>
        <p:grpSp>
          <p:nvGrpSpPr>
            <p:cNvPr id="430" name="Группа 429"/>
            <p:cNvGrpSpPr/>
            <p:nvPr/>
          </p:nvGrpSpPr>
          <p:grpSpPr>
            <a:xfrm>
              <a:off x="6830724" y="4866315"/>
              <a:ext cx="273764" cy="156249"/>
              <a:chOff x="7350740" y="2417006"/>
              <a:chExt cx="273764" cy="156249"/>
            </a:xfrm>
            <a:solidFill>
              <a:schemeClr val="accent2"/>
            </a:solidFill>
          </p:grpSpPr>
          <p:sp>
            <p:nvSpPr>
              <p:cNvPr id="431" name="Chevron 48"/>
              <p:cNvSpPr/>
              <p:nvPr/>
            </p:nvSpPr>
            <p:spPr>
              <a:xfrm>
                <a:off x="7350740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2" name="Chevron 48"/>
              <p:cNvSpPr/>
              <p:nvPr/>
            </p:nvSpPr>
            <p:spPr>
              <a:xfrm>
                <a:off x="7431237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3" name="Chevron 48"/>
              <p:cNvSpPr/>
              <p:nvPr/>
            </p:nvSpPr>
            <p:spPr>
              <a:xfrm>
                <a:off x="7511734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" name="Группа 4"/>
          <p:cNvGrpSpPr/>
          <p:nvPr/>
        </p:nvGrpSpPr>
        <p:grpSpPr>
          <a:xfrm>
            <a:off x="5325739" y="4753000"/>
            <a:ext cx="3324132" cy="170449"/>
            <a:chOff x="5665052" y="5191667"/>
            <a:chExt cx="3549861" cy="182023"/>
          </a:xfrm>
        </p:grpSpPr>
        <p:pic>
          <p:nvPicPr>
            <p:cNvPr id="434" name="Picture 49" descr="https://upload.wikimedia.org/wikipedia/commons/thumb/d/d4/Flag_of_Israel.svg/250px-Flag_of_Israel.svg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5052" y="5191667"/>
              <a:ext cx="250031" cy="18202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5" name="Rectangle 58"/>
            <p:cNvSpPr/>
            <p:nvPr/>
          </p:nvSpPr>
          <p:spPr>
            <a:xfrm>
              <a:off x="6015854" y="5198040"/>
              <a:ext cx="1188000" cy="16926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Ізраїль**</a:t>
              </a:r>
            </a:p>
          </p:txBody>
        </p:sp>
        <p:sp>
          <p:nvSpPr>
            <p:cNvPr id="436" name="Rectangle 48"/>
            <p:cNvSpPr/>
            <p:nvPr/>
          </p:nvSpPr>
          <p:spPr>
            <a:xfrm>
              <a:off x="7308306" y="5198040"/>
              <a:ext cx="1906607" cy="16926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1977 р.</a:t>
              </a:r>
            </a:p>
          </p:txBody>
        </p:sp>
        <p:grpSp>
          <p:nvGrpSpPr>
            <p:cNvPr id="437" name="Группа 436"/>
            <p:cNvGrpSpPr/>
            <p:nvPr/>
          </p:nvGrpSpPr>
          <p:grpSpPr>
            <a:xfrm>
              <a:off x="6830724" y="5204554"/>
              <a:ext cx="273764" cy="156249"/>
              <a:chOff x="7350740" y="2417006"/>
              <a:chExt cx="273764" cy="156249"/>
            </a:xfrm>
            <a:solidFill>
              <a:schemeClr val="accent2"/>
            </a:solidFill>
          </p:grpSpPr>
          <p:sp>
            <p:nvSpPr>
              <p:cNvPr id="438" name="Chevron 48"/>
              <p:cNvSpPr/>
              <p:nvPr/>
            </p:nvSpPr>
            <p:spPr>
              <a:xfrm>
                <a:off x="7350740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9" name="Chevron 48"/>
              <p:cNvSpPr/>
              <p:nvPr/>
            </p:nvSpPr>
            <p:spPr>
              <a:xfrm>
                <a:off x="7431237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0" name="Chevron 48"/>
              <p:cNvSpPr/>
              <p:nvPr/>
            </p:nvSpPr>
            <p:spPr>
              <a:xfrm>
                <a:off x="7511734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" name="Группа 3"/>
          <p:cNvGrpSpPr/>
          <p:nvPr/>
        </p:nvGrpSpPr>
        <p:grpSpPr>
          <a:xfrm>
            <a:off x="5325739" y="5157040"/>
            <a:ext cx="3324132" cy="163379"/>
            <a:chOff x="5665052" y="5536279"/>
            <a:chExt cx="3549861" cy="174474"/>
          </a:xfrm>
        </p:grpSpPr>
        <p:pic>
          <p:nvPicPr>
            <p:cNvPr id="441" name="Изображение 32" descr="250px-Flag_of_Iceland.svg.png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65052" y="5536279"/>
              <a:ext cx="242326" cy="174474"/>
            </a:xfrm>
            <a:prstGeom prst="rect">
              <a:avLst/>
            </a:prstGeom>
          </p:spPr>
        </p:pic>
        <p:sp>
          <p:nvSpPr>
            <p:cNvPr id="442" name="Rectangle 63"/>
            <p:cNvSpPr/>
            <p:nvPr/>
          </p:nvSpPr>
          <p:spPr>
            <a:xfrm>
              <a:off x="6015854" y="5538878"/>
              <a:ext cx="1188000" cy="16926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Ісландія*</a:t>
              </a:r>
            </a:p>
          </p:txBody>
        </p:sp>
        <p:sp>
          <p:nvSpPr>
            <p:cNvPr id="443" name="Rectangle 48"/>
            <p:cNvSpPr/>
            <p:nvPr/>
          </p:nvSpPr>
          <p:spPr>
            <a:xfrm>
              <a:off x="7308306" y="5538878"/>
              <a:ext cx="1906607" cy="16926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uk-UA" sz="1030" dirty="0">
                  <a:latin typeface="Arial" panose="020B0604020202020204" pitchFamily="34" charset="0"/>
                  <a:cs typeface="Arial" panose="020B0604020202020204" pitchFamily="34" charset="0"/>
                </a:rPr>
                <a:t>1986, 1995-2001, 2015 рр.</a:t>
              </a:r>
            </a:p>
          </p:txBody>
        </p:sp>
        <p:grpSp>
          <p:nvGrpSpPr>
            <p:cNvPr id="444" name="Группа 443"/>
            <p:cNvGrpSpPr/>
            <p:nvPr/>
          </p:nvGrpSpPr>
          <p:grpSpPr>
            <a:xfrm>
              <a:off x="6830724" y="5545392"/>
              <a:ext cx="273764" cy="156249"/>
              <a:chOff x="7350740" y="2417006"/>
              <a:chExt cx="273764" cy="156249"/>
            </a:xfrm>
            <a:solidFill>
              <a:schemeClr val="accent2"/>
            </a:solidFill>
          </p:grpSpPr>
          <p:sp>
            <p:nvSpPr>
              <p:cNvPr id="445" name="Chevron 48"/>
              <p:cNvSpPr/>
              <p:nvPr/>
            </p:nvSpPr>
            <p:spPr>
              <a:xfrm>
                <a:off x="7350740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6" name="Chevron 48"/>
              <p:cNvSpPr/>
              <p:nvPr/>
            </p:nvSpPr>
            <p:spPr>
              <a:xfrm>
                <a:off x="7431237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7" name="Chevron 48"/>
              <p:cNvSpPr/>
              <p:nvPr/>
            </p:nvSpPr>
            <p:spPr>
              <a:xfrm>
                <a:off x="7511734" y="2417006"/>
                <a:ext cx="112770" cy="156249"/>
              </a:xfrm>
              <a:prstGeom prst="chevron">
                <a:avLst/>
              </a:prstGeom>
              <a:grpFill/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67421" tIns="67421" rIns="67421" bIns="101132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74"/>
                  </a:spcBef>
                </a:pPr>
                <a:endParaRPr lang="uk-UA" sz="1217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48" name="Rectangle 48"/>
          <p:cNvSpPr/>
          <p:nvPr/>
        </p:nvSpPr>
        <p:spPr>
          <a:xfrm>
            <a:off x="6864502" y="5569032"/>
            <a:ext cx="1838769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1989-1991, 2002, 2014 рр.</a:t>
            </a:r>
          </a:p>
        </p:txBody>
      </p:sp>
      <p:sp>
        <p:nvSpPr>
          <p:cNvPr id="449" name="Rectangle 38"/>
          <p:cNvSpPr/>
          <p:nvPr/>
        </p:nvSpPr>
        <p:spPr>
          <a:xfrm>
            <a:off x="5656034" y="5554011"/>
            <a:ext cx="982202" cy="1585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030" dirty="0">
                <a:latin typeface="Arial" panose="020B0604020202020204" pitchFamily="34" charset="0"/>
                <a:cs typeface="Arial" panose="020B0604020202020204" pitchFamily="34" charset="0"/>
              </a:rPr>
              <a:t>Аргентина*</a:t>
            </a:r>
          </a:p>
        </p:txBody>
      </p:sp>
      <p:pic>
        <p:nvPicPr>
          <p:cNvPr id="450" name="Picture 96" descr="250px-Flag_of_Argentina.svg.png (250×156)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574" y="5560321"/>
            <a:ext cx="233798" cy="14589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1" name="Группа 450"/>
          <p:cNvGrpSpPr/>
          <p:nvPr/>
        </p:nvGrpSpPr>
        <p:grpSpPr>
          <a:xfrm>
            <a:off x="6417287" y="5560110"/>
            <a:ext cx="180977" cy="146314"/>
            <a:chOff x="7350740" y="2417006"/>
            <a:chExt cx="193267" cy="156249"/>
          </a:xfrm>
          <a:solidFill>
            <a:schemeClr val="accent2"/>
          </a:solidFill>
        </p:grpSpPr>
        <p:sp>
          <p:nvSpPr>
            <p:cNvPr id="452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3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Прямоугольник 10"/>
          <p:cNvSpPr/>
          <p:nvPr/>
        </p:nvSpPr>
        <p:spPr>
          <a:xfrm>
            <a:off x="203599" y="4635305"/>
            <a:ext cx="228140" cy="230129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40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48"/>
          <p:cNvSpPr/>
          <p:nvPr/>
        </p:nvSpPr>
        <p:spPr>
          <a:xfrm>
            <a:off x="517303" y="4656704"/>
            <a:ext cx="1423100" cy="187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Успішний досвід</a:t>
            </a:r>
          </a:p>
        </p:txBody>
      </p:sp>
      <p:sp>
        <p:nvSpPr>
          <p:cNvPr id="454" name="Rectangle 48"/>
          <p:cNvSpPr/>
          <p:nvPr/>
        </p:nvSpPr>
        <p:spPr>
          <a:xfrm>
            <a:off x="512907" y="5238683"/>
            <a:ext cx="1915410" cy="187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Поступова лібералізація</a:t>
            </a:r>
          </a:p>
        </p:txBody>
      </p:sp>
      <p:sp>
        <p:nvSpPr>
          <p:cNvPr id="455" name="Rectangle 48"/>
          <p:cNvSpPr/>
          <p:nvPr/>
        </p:nvSpPr>
        <p:spPr>
          <a:xfrm>
            <a:off x="512907" y="4945903"/>
            <a:ext cx="1885995" cy="187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Швидка лібералізація</a:t>
            </a:r>
          </a:p>
        </p:txBody>
      </p:sp>
      <p:sp>
        <p:nvSpPr>
          <p:cNvPr id="456" name="Rectangle 48"/>
          <p:cNvSpPr/>
          <p:nvPr/>
        </p:nvSpPr>
        <p:spPr>
          <a:xfrm>
            <a:off x="512906" y="5507908"/>
            <a:ext cx="1846417" cy="1872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uk-UA" sz="1217" dirty="0">
                <a:latin typeface="Arial" panose="020B0604020202020204" pitchFamily="34" charset="0"/>
                <a:cs typeface="Arial" panose="020B0604020202020204" pitchFamily="34" charset="0"/>
              </a:rPr>
              <a:t>Довга лібералізація</a:t>
            </a:r>
          </a:p>
        </p:txBody>
      </p:sp>
      <p:grpSp>
        <p:nvGrpSpPr>
          <p:cNvPr id="457" name="Группа 456"/>
          <p:cNvGrpSpPr/>
          <p:nvPr/>
        </p:nvGrpSpPr>
        <p:grpSpPr>
          <a:xfrm>
            <a:off x="203598" y="4966413"/>
            <a:ext cx="254141" cy="146314"/>
            <a:chOff x="7350740" y="2417006"/>
            <a:chExt cx="273764" cy="156249"/>
          </a:xfrm>
          <a:solidFill>
            <a:schemeClr val="accent2"/>
          </a:solidFill>
        </p:grpSpPr>
        <p:sp>
          <p:nvSpPr>
            <p:cNvPr id="458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9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0" name="Chevron 48"/>
            <p:cNvSpPr/>
            <p:nvPr/>
          </p:nvSpPr>
          <p:spPr>
            <a:xfrm>
              <a:off x="7511734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1" name="Группа 460"/>
          <p:cNvGrpSpPr/>
          <p:nvPr/>
        </p:nvGrpSpPr>
        <p:grpSpPr>
          <a:xfrm>
            <a:off x="203598" y="5259193"/>
            <a:ext cx="179413" cy="146314"/>
            <a:chOff x="7350740" y="2417006"/>
            <a:chExt cx="193267" cy="156249"/>
          </a:xfrm>
          <a:solidFill>
            <a:schemeClr val="accent2"/>
          </a:solidFill>
        </p:grpSpPr>
        <p:sp>
          <p:nvSpPr>
            <p:cNvPr id="462" name="Chevron 48"/>
            <p:cNvSpPr/>
            <p:nvPr/>
          </p:nvSpPr>
          <p:spPr>
            <a:xfrm>
              <a:off x="7350740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3" name="Chevron 48"/>
            <p:cNvSpPr/>
            <p:nvPr/>
          </p:nvSpPr>
          <p:spPr>
            <a:xfrm>
              <a:off x="7431237" y="2417006"/>
              <a:ext cx="112770" cy="156249"/>
            </a:xfrm>
            <a:prstGeom prst="chevron">
              <a:avLst/>
            </a:prstGeom>
            <a:grpFill/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7421" tIns="67421" rIns="67421" bIns="101132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74"/>
                </a:spcBef>
              </a:pPr>
              <a:endParaRPr lang="uk-UA" sz="121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4" name="Chevron 48"/>
          <p:cNvSpPr/>
          <p:nvPr/>
        </p:nvSpPr>
        <p:spPr>
          <a:xfrm>
            <a:off x="203599" y="5528417"/>
            <a:ext cx="104686" cy="146314"/>
          </a:xfrm>
          <a:prstGeom prst="chevron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7421" tIns="67421" rIns="67421" bIns="101132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374"/>
              </a:spcBef>
            </a:pPr>
            <a:endParaRPr lang="uk-UA" sz="121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5" name="Shape 58"/>
          <p:cNvSpPr txBox="1"/>
          <p:nvPr/>
        </p:nvSpPr>
        <p:spPr>
          <a:xfrm>
            <a:off x="216573" y="6015047"/>
            <a:ext cx="7789067" cy="1167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b" anchorCtr="0">
            <a:spAutoFit/>
          </a:bodyPr>
          <a:lstStyle/>
          <a:p>
            <a:pPr lvl="0">
              <a:lnSpc>
                <a:spcPct val="90000"/>
              </a:lnSpc>
              <a:buSzPct val="25000"/>
            </a:pPr>
            <a:r>
              <a:rPr lang="uk-UA" sz="843" dirty="0"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Roboto Condensed"/>
              </a:rPr>
              <a:t>*Проведено аналіз 12 країн, що виділено на карті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417287" y="6409030"/>
            <a:ext cx="2160103" cy="222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847" dirty="0"/>
              <a:t>Джерело: </a:t>
            </a:r>
            <a:r>
              <a:rPr lang="en-US" sz="847" dirty="0"/>
              <a:t>Easy Business, USAID, </a:t>
            </a:r>
            <a:r>
              <a:rPr lang="uk-UA" sz="847" dirty="0"/>
              <a:t>ЦЕС</a:t>
            </a:r>
          </a:p>
        </p:txBody>
      </p:sp>
    </p:spTree>
    <p:extLst>
      <p:ext uri="{BB962C8B-B14F-4D97-AF65-F5344CB8AC3E}">
        <p14:creationId xmlns:p14="http://schemas.microsoft.com/office/powerpoint/2010/main" val="1357720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552185" y="4648303"/>
            <a:ext cx="1881859" cy="609651"/>
          </a:xfrm>
          <a:prstGeom prst="rect">
            <a:avLst/>
          </a:prstGeom>
          <a:solidFill>
            <a:srgbClr val="BEE2C0"/>
          </a:solidFill>
          <a:ln>
            <a:solidFill>
              <a:schemeClr val="accent3">
                <a:lumMod val="50000"/>
              </a:schemeClr>
            </a:solidFill>
            <a:prstDash val="sysDot"/>
          </a:ln>
          <a:ex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0079" tIns="150079" rIns="150079" bIns="150079" numCol="1" spcCol="1270" anchor="ctr" anchorCtr="0">
            <a:noAutofit/>
          </a:bodyPr>
          <a:lstStyle/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endParaRPr lang="uk-UA" sz="1129" b="1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r>
              <a:rPr lang="uk-UA" sz="1129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чні платежі та рух капіталу (глава 7)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68354" y="4038651"/>
            <a:ext cx="2070474" cy="745129"/>
          </a:xfrm>
          <a:prstGeom prst="rect">
            <a:avLst/>
          </a:prstGeom>
          <a:solidFill>
            <a:srgbClr val="5DB761"/>
          </a:solidFill>
          <a:ln>
            <a:solidFill>
              <a:schemeClr val="accent3">
                <a:lumMod val="50000"/>
              </a:schemeClr>
            </a:solidFill>
            <a:prstDash val="sysDot"/>
          </a:ln>
          <a:ex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0079" tIns="150079" rIns="150079" bIns="150079" numCol="1" spcCol="1270" anchor="ctr" anchorCtr="0">
            <a:noAutofit/>
          </a:bodyPr>
          <a:lstStyle/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endParaRPr lang="uk-UA" sz="1129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r>
              <a:rPr lang="uk-UA" sz="112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ДІЛ ІV. Торгівля і питання, пов'язані з торгівлею (ЗВТ) </a:t>
            </a: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" y="45736"/>
          <a:ext cx="1493" cy="1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" y="45736"/>
                        <a:ext cx="1493" cy="1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16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029801" y="313982"/>
            <a:ext cx="7404100" cy="600167"/>
          </a:xfrm>
          <a:prstGeom prst="rect">
            <a:avLst/>
          </a:prstGeom>
        </p:spPr>
        <p:txBody>
          <a:bodyPr vert="horz" lIns="88867" tIns="44437" rIns="88867" bIns="44437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buNone/>
              <a:tabLst>
                <a:tab pos="875382" algn="l"/>
              </a:tabLst>
            </a:pPr>
            <a:r>
              <a:rPr lang="ru-RU" altLang="ru-RU" sz="1881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uk-UA" altLang="ru-RU" sz="1881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539829" y="3225783"/>
            <a:ext cx="6366723" cy="30135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019" tIns="43010" rIns="86019" bIns="4301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282"/>
              </a:spcAft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ття 144. </a:t>
            </a:r>
            <a:r>
              <a:rPr lang="uk-UA" sz="1035" dirty="0"/>
              <a:t>Сторони зобов’язуються не обмежувати і дозволяти відповідно до положень статті VIII Статей Угоди Міжнародного валютного фонду 1944 року будь-які платежі та перекази у вільно конвертованій валюті за поточними рахунками платіжного балансу між Сторонами. </a:t>
            </a:r>
          </a:p>
          <a:p>
            <a:pPr>
              <a:spcAft>
                <a:spcPts val="282"/>
              </a:spcAft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ття 145. </a:t>
            </a:r>
            <a:r>
              <a:rPr lang="uk-UA" sz="1035" dirty="0"/>
              <a:t>…  з дати набрання чинності цією Угодою Сторони повинні забезпечувати: </a:t>
            </a:r>
          </a:p>
          <a:p>
            <a:pPr marL="268805" indent="-268805">
              <a:spcAft>
                <a:spcPts val="282"/>
              </a:spcAft>
              <a:buFont typeface="+mj-lt"/>
              <a:buAutoNum type="romanLcPeriod"/>
            </a:pPr>
            <a:r>
              <a:rPr lang="uk-UA" sz="1035" dirty="0"/>
              <a:t>вільний рух капіталу, пов’язаного з надходженням прямих інвестицій …</a:t>
            </a:r>
            <a:endParaRPr lang="uk-UA" sz="1035" b="1" dirty="0">
              <a:latin typeface="Arial" pitchFamily="34" charset="0"/>
            </a:endParaRPr>
          </a:p>
          <a:p>
            <a:pPr marL="268805" indent="-268805">
              <a:spcAft>
                <a:spcPts val="282"/>
              </a:spcAft>
              <a:buFont typeface="+mj-lt"/>
              <a:buAutoNum type="romanLcPeriod"/>
            </a:pPr>
            <a:r>
              <a:rPr lang="uk-UA" sz="1035" dirty="0"/>
              <a:t>вільний рух капіталу, пов’язаний з наданням кредитів, які стосуються торговельних операцій, або з наданням послуг, в яких бере участь резидент однієї зі Сторін</a:t>
            </a:r>
          </a:p>
          <a:p>
            <a:pPr marL="268805" indent="-268805">
              <a:spcAft>
                <a:spcPts val="282"/>
              </a:spcAft>
              <a:buFont typeface="+mj-lt"/>
              <a:buAutoNum type="romanLcPeriod"/>
            </a:pPr>
            <a:r>
              <a:rPr lang="uk-UA" sz="1035" dirty="0"/>
              <a:t>вільний рух капіталу, пов’язаний з портфельними інвестиціями і фінансовими позиками та кредитами інвесторів іншої Сторони. </a:t>
            </a:r>
          </a:p>
          <a:p>
            <a:pPr>
              <a:spcAft>
                <a:spcPts val="282"/>
              </a:spcAft>
            </a:pPr>
            <a:r>
              <a:rPr lang="uk-UA" sz="1035" dirty="0"/>
              <a:t>Україна зобов’язується завершити лібералізацію операцій на рахунку операцій з капіталом і фінансовому рахунку платіжного балансу відповідно до рівня лібералізації в Стороні ЄС до дати надання режиму внутрішнього ринку у сфері фінансових послуг відповідно до статті 4(3) Додатка XVII до цієї Угоди. </a:t>
            </a:r>
          </a:p>
          <a:p>
            <a:pPr>
              <a:spcAft>
                <a:spcPts val="282"/>
              </a:spcAft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ття 147. </a:t>
            </a:r>
            <a:r>
              <a:rPr lang="uk-UA" sz="1035" dirty="0"/>
              <a:t>Протягом перших чотирьох років з дати набрання чинності цією Угодою* Сторони вживають заходів для створення необхідних умов для подальшого поступового застосування правил Сторони ЄС про вільний рух капіталу. До кінця п’ятого року з дати набрання чинності цією Угодою Комітет з питань торгівлі розглядає вжиті заходи та визначає умови подальшої лібералізації. 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372180" y="1397249"/>
            <a:ext cx="270956" cy="2709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019" tIns="43010" rIns="86019" bIns="43010" numCol="1" rtlCol="0" anchor="t" anchorCtr="0" compatLnSpc="1">
            <a:prstTxWarp prst="textNoShape">
              <a:avLst/>
            </a:prstTxWarp>
          </a:bodyPr>
          <a:lstStyle/>
          <a:p>
            <a:pPr defTabSz="8601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941" u="sng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235955" y="3225783"/>
            <a:ext cx="2198089" cy="954133"/>
          </a:xfrm>
          <a:prstGeom prst="rect">
            <a:avLst/>
          </a:prstGeom>
          <a:solidFill>
            <a:srgbClr val="1C7935"/>
          </a:solidFill>
          <a:ln>
            <a:solidFill>
              <a:schemeClr val="accent3">
                <a:lumMod val="50000"/>
              </a:schemeClr>
            </a:solidFill>
            <a:prstDash val="sysDot"/>
          </a:ln>
          <a:ex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0079" tIns="150079" rIns="150079" bIns="150079" numCol="1" spcCol="1270" anchor="ctr" anchorCtr="0">
            <a:noAutofit/>
          </a:bodyPr>
          <a:lstStyle/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r>
              <a:rPr lang="uk-UA" sz="1317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ода про Асоціацію між Україною та ЄС від 27.06 2014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240739" y="1261351"/>
            <a:ext cx="2198089" cy="880607"/>
          </a:xfrm>
          <a:prstGeom prst="rect">
            <a:avLst/>
          </a:prstGeom>
          <a:solidFill>
            <a:srgbClr val="1C7935"/>
          </a:solidFill>
          <a:ln>
            <a:solidFill>
              <a:schemeClr val="accent3">
                <a:lumMod val="50000"/>
              </a:schemeClr>
            </a:solidFill>
            <a:prstDash val="sysDot"/>
          </a:ln>
          <a:ex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0079" tIns="150079" rIns="150079" bIns="150079" numCol="1" spcCol="1270" anchor="ctr" anchorCtr="0">
            <a:noAutofit/>
          </a:bodyPr>
          <a:lstStyle/>
          <a:p>
            <a:pPr algn="ctr" defTabSz="752654">
              <a:lnSpc>
                <a:spcPct val="90000"/>
              </a:lnSpc>
              <a:spcAft>
                <a:spcPct val="35000"/>
              </a:spcAft>
            </a:pPr>
            <a:r>
              <a:rPr lang="uk-UA" sz="1317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ива Ради (88/361/ЄЕС) від 24.06.1988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539829" y="1261351"/>
            <a:ext cx="6366372" cy="1817687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6019" tIns="43010" rIns="86019" bIns="43010" numCol="1" rtlCol="0" anchor="ctr" anchorCtr="0" compatLnSpc="1">
            <a:prstTxWarp prst="textNoShape">
              <a:avLst/>
            </a:prstTxWarp>
          </a:bodyPr>
          <a:lstStyle/>
          <a:p>
            <a:pPr marL="161283" indent="-161283" algn="just">
              <a:spcAft>
                <a:spcPts val="564"/>
              </a:spcAft>
              <a:buFont typeface="Arial" pitchFamily="34" charset="0"/>
              <a:buChar char="•"/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Стаття 1.</a:t>
            </a:r>
            <a:r>
              <a:rPr lang="uk-UA" sz="1035" dirty="0">
                <a:latin typeface="Arial" pitchFamily="34" charset="0"/>
              </a:rPr>
              <a:t> … держави-члени забороняють обмеження руху капіталу, що здійснюється між громадянами, які постійно проживають в державах-членах.</a:t>
            </a:r>
          </a:p>
          <a:p>
            <a:pPr marL="161283" indent="-161283" algn="just">
              <a:spcAft>
                <a:spcPts val="564"/>
              </a:spcAft>
              <a:buFont typeface="Arial" pitchFamily="34" charset="0"/>
              <a:buChar char="•"/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Стаття 4. </a:t>
            </a:r>
            <a:r>
              <a:rPr lang="uk-UA" sz="1035" dirty="0">
                <a:latin typeface="Arial" pitchFamily="34" charset="0"/>
              </a:rPr>
              <a:t>Ця Директива не порушує право держав-членів вживати належних заходів, щоб уникнути порушення їхніх законів та постанов, між іншим у сфері  оподаткування та належного нагляду за фінансовими установами, або встановлювати процедури декларації руху капіталу для цілей адміністративної чи   статистичної інформації. </a:t>
            </a:r>
          </a:p>
          <a:p>
            <a:pPr marL="161283" indent="-161283" algn="just">
              <a:spcAft>
                <a:spcPts val="564"/>
              </a:spcAft>
              <a:buFont typeface="Arial" pitchFamily="34" charset="0"/>
              <a:buChar char="•"/>
            </a:pPr>
            <a:r>
              <a:rPr lang="uk-UA" sz="103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Стаття 7.</a:t>
            </a:r>
            <a:r>
              <a:rPr lang="uk-UA" sz="1035" dirty="0">
                <a:latin typeface="Arial" pitchFamily="34" charset="0"/>
              </a:rPr>
              <a:t> Стосовно трансферів щодо руху капіталу в або з третіх країн, держави-члени намагаються досягти такого ступеня лібералізації, як і той, що застосовується до операцій з резидентами інших держав-членів.</a:t>
            </a:r>
          </a:p>
        </p:txBody>
      </p:sp>
      <p:sp>
        <p:nvSpPr>
          <p:cNvPr id="3" name="AutoShape 4" descr="Результат пошуку зображень за запитом &quot;eu directive&quot;"/>
          <p:cNvSpPr>
            <a:spLocks noChangeAspect="1" noChangeArrowheads="1"/>
          </p:cNvSpPr>
          <p:nvPr/>
        </p:nvSpPr>
        <p:spPr bwMode="auto">
          <a:xfrm>
            <a:off x="0" y="-91657"/>
            <a:ext cx="286730" cy="28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6019" tIns="43010" rIns="86019" bIns="43010" numCol="1" anchor="t" anchorCtr="0" compatLnSpc="1">
            <a:prstTxWarp prst="textNoShape">
              <a:avLst/>
            </a:prstTxWarp>
          </a:bodyPr>
          <a:lstStyle/>
          <a:p>
            <a:endParaRPr lang="en-US" sz="1693"/>
          </a:p>
        </p:txBody>
      </p:sp>
      <p:pic>
        <p:nvPicPr>
          <p:cNvPr id="71686" name="Picture 6" descr="http://www.thembj.org/wp/wp-content/uploads/2013/12/EU-law-p.-10-280x200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33" y="2261943"/>
            <a:ext cx="1143933" cy="817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3"/>
          <p:cNvSpPr txBox="1">
            <a:spLocks noChangeArrowheads="1"/>
          </p:cNvSpPr>
          <p:nvPr/>
        </p:nvSpPr>
        <p:spPr>
          <a:xfrm>
            <a:off x="1117310" y="380744"/>
            <a:ext cx="7404100" cy="600167"/>
          </a:xfrm>
          <a:prstGeom prst="rect">
            <a:avLst/>
          </a:prstGeom>
        </p:spPr>
        <p:txBody>
          <a:bodyPr vert="horz" lIns="88867" tIns="44437" rIns="88867" bIns="44437" rtlCol="0" anchor="ctr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buNone/>
              <a:tabLst>
                <a:tab pos="875382" algn="l"/>
              </a:tabLst>
            </a:pPr>
            <a:r>
              <a:rPr lang="uk-UA" altLang="ru-RU" sz="1881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алютна лібералізація в контексті інтеграції до ЄС</a:t>
            </a:r>
          </a:p>
        </p:txBody>
      </p:sp>
      <p:pic>
        <p:nvPicPr>
          <p:cNvPr id="71692" name="Picture 12" descr="http://kor.ill.in.ua/m/610x385/1334376.jpg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829" y="5461404"/>
            <a:ext cx="1232569" cy="777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008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>
          <a:xfrm>
            <a:off x="1161000" y="1532196"/>
            <a:ext cx="7180687" cy="4108671"/>
            <a:chOff x="806250" y="1980431"/>
            <a:chExt cx="8860930" cy="5243748"/>
          </a:xfrm>
          <a:solidFill>
            <a:schemeClr val="bg1">
              <a:lumMod val="95000"/>
            </a:schemeClr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3118925" y="3808215"/>
              <a:ext cx="55861" cy="27522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1" y="6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7" y="2"/>
                </a:cxn>
                <a:cxn ang="0">
                  <a:pos x="17" y="2"/>
                </a:cxn>
                <a:cxn ang="0">
                  <a:pos x="11" y="6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1" y="9"/>
                </a:cxn>
                <a:cxn ang="0">
                  <a:pos x="1" y="7"/>
                </a:cxn>
              </a:cxnLst>
              <a:rect l="0" t="0" r="r" b="b"/>
              <a:pathLst>
                <a:path w="18" h="9">
                  <a:moveTo>
                    <a:pt x="1" y="7"/>
                  </a:moveTo>
                  <a:cubicBezTo>
                    <a:pt x="0" y="7"/>
                    <a:pt x="0" y="7"/>
                    <a:pt x="1" y="6"/>
                  </a:cubicBezTo>
                  <a:cubicBezTo>
                    <a:pt x="4" y="4"/>
                    <a:pt x="3" y="4"/>
                    <a:pt x="4" y="4"/>
                  </a:cubicBezTo>
                  <a:cubicBezTo>
                    <a:pt x="6" y="4"/>
                    <a:pt x="6" y="4"/>
                    <a:pt x="8" y="4"/>
                  </a:cubicBezTo>
                  <a:cubicBezTo>
                    <a:pt x="9" y="2"/>
                    <a:pt x="11" y="4"/>
                    <a:pt x="12" y="2"/>
                  </a:cubicBezTo>
                  <a:cubicBezTo>
                    <a:pt x="15" y="0"/>
                    <a:pt x="17" y="0"/>
                    <a:pt x="14" y="2"/>
                  </a:cubicBezTo>
                  <a:cubicBezTo>
                    <a:pt x="12" y="4"/>
                    <a:pt x="12" y="4"/>
                    <a:pt x="14" y="4"/>
                  </a:cubicBezTo>
                  <a:cubicBezTo>
                    <a:pt x="15" y="2"/>
                    <a:pt x="15" y="4"/>
                    <a:pt x="17" y="2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5" y="4"/>
                    <a:pt x="12" y="6"/>
                    <a:pt x="11" y="6"/>
                  </a:cubicBezTo>
                  <a:cubicBezTo>
                    <a:pt x="9" y="6"/>
                    <a:pt x="9" y="7"/>
                    <a:pt x="8" y="7"/>
                  </a:cubicBezTo>
                  <a:cubicBezTo>
                    <a:pt x="6" y="7"/>
                    <a:pt x="4" y="7"/>
                    <a:pt x="4" y="7"/>
                  </a:cubicBezTo>
                  <a:cubicBezTo>
                    <a:pt x="4" y="9"/>
                    <a:pt x="1" y="9"/>
                    <a:pt x="1" y="9"/>
                  </a:cubicBezTo>
                  <a:cubicBezTo>
                    <a:pt x="3" y="7"/>
                    <a:pt x="3" y="7"/>
                    <a:pt x="1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 7"/>
            <p:cNvSpPr>
              <a:spLocks/>
            </p:cNvSpPr>
            <p:nvPr/>
          </p:nvSpPr>
          <p:spPr bwMode="auto">
            <a:xfrm>
              <a:off x="4328730" y="2819042"/>
              <a:ext cx="279309" cy="147324"/>
            </a:xfrm>
            <a:custGeom>
              <a:avLst/>
              <a:gdLst/>
              <a:ahLst/>
              <a:cxnLst>
                <a:cxn ang="0">
                  <a:pos x="81" y="13"/>
                </a:cxn>
                <a:cxn ang="0">
                  <a:pos x="86" y="16"/>
                </a:cxn>
                <a:cxn ang="0">
                  <a:pos x="89" y="25"/>
                </a:cxn>
                <a:cxn ang="0">
                  <a:pos x="83" y="30"/>
                </a:cxn>
                <a:cxn ang="0">
                  <a:pos x="72" y="34"/>
                </a:cxn>
                <a:cxn ang="0">
                  <a:pos x="60" y="41"/>
                </a:cxn>
                <a:cxn ang="0">
                  <a:pos x="51" y="45"/>
                </a:cxn>
                <a:cxn ang="0">
                  <a:pos x="40" y="44"/>
                </a:cxn>
                <a:cxn ang="0">
                  <a:pos x="26" y="39"/>
                </a:cxn>
                <a:cxn ang="0">
                  <a:pos x="17" y="37"/>
                </a:cxn>
                <a:cxn ang="0">
                  <a:pos x="22" y="36"/>
                </a:cxn>
                <a:cxn ang="0">
                  <a:pos x="20" y="30"/>
                </a:cxn>
                <a:cxn ang="0">
                  <a:pos x="17" y="27"/>
                </a:cxn>
                <a:cxn ang="0">
                  <a:pos x="7" y="25"/>
                </a:cxn>
                <a:cxn ang="0">
                  <a:pos x="14" y="24"/>
                </a:cxn>
                <a:cxn ang="0">
                  <a:pos x="22" y="24"/>
                </a:cxn>
                <a:cxn ang="0">
                  <a:pos x="19" y="20"/>
                </a:cxn>
                <a:cxn ang="0">
                  <a:pos x="20" y="17"/>
                </a:cxn>
                <a:cxn ang="0">
                  <a:pos x="10" y="17"/>
                </a:cxn>
                <a:cxn ang="0">
                  <a:pos x="2" y="16"/>
                </a:cxn>
                <a:cxn ang="0">
                  <a:pos x="5" y="14"/>
                </a:cxn>
                <a:cxn ang="0">
                  <a:pos x="8" y="11"/>
                </a:cxn>
                <a:cxn ang="0">
                  <a:pos x="13" y="8"/>
                </a:cxn>
                <a:cxn ang="0">
                  <a:pos x="20" y="10"/>
                </a:cxn>
                <a:cxn ang="0">
                  <a:pos x="13" y="6"/>
                </a:cxn>
                <a:cxn ang="0">
                  <a:pos x="19" y="3"/>
                </a:cxn>
                <a:cxn ang="0">
                  <a:pos x="26" y="8"/>
                </a:cxn>
                <a:cxn ang="0">
                  <a:pos x="28" y="16"/>
                </a:cxn>
                <a:cxn ang="0">
                  <a:pos x="34" y="14"/>
                </a:cxn>
                <a:cxn ang="0">
                  <a:pos x="36" y="11"/>
                </a:cxn>
                <a:cxn ang="0">
                  <a:pos x="39" y="10"/>
                </a:cxn>
                <a:cxn ang="0">
                  <a:pos x="43" y="11"/>
                </a:cxn>
                <a:cxn ang="0">
                  <a:pos x="49" y="8"/>
                </a:cxn>
                <a:cxn ang="0">
                  <a:pos x="52" y="10"/>
                </a:cxn>
                <a:cxn ang="0">
                  <a:pos x="57" y="10"/>
                </a:cxn>
                <a:cxn ang="0">
                  <a:pos x="63" y="6"/>
                </a:cxn>
                <a:cxn ang="0">
                  <a:pos x="66" y="5"/>
                </a:cxn>
                <a:cxn ang="0">
                  <a:pos x="72" y="3"/>
                </a:cxn>
                <a:cxn ang="0">
                  <a:pos x="78" y="5"/>
                </a:cxn>
                <a:cxn ang="0">
                  <a:pos x="80" y="6"/>
                </a:cxn>
                <a:cxn ang="0">
                  <a:pos x="81" y="11"/>
                </a:cxn>
                <a:cxn ang="0">
                  <a:pos x="81" y="13"/>
                </a:cxn>
              </a:cxnLst>
              <a:rect l="0" t="0" r="r" b="b"/>
              <a:pathLst>
                <a:path w="90" h="47">
                  <a:moveTo>
                    <a:pt x="81" y="13"/>
                  </a:moveTo>
                  <a:cubicBezTo>
                    <a:pt x="84" y="13"/>
                    <a:pt x="83" y="14"/>
                    <a:pt x="86" y="16"/>
                  </a:cubicBezTo>
                  <a:cubicBezTo>
                    <a:pt x="90" y="16"/>
                    <a:pt x="90" y="22"/>
                    <a:pt x="89" y="25"/>
                  </a:cubicBezTo>
                  <a:cubicBezTo>
                    <a:pt x="86" y="28"/>
                    <a:pt x="86" y="25"/>
                    <a:pt x="83" y="30"/>
                  </a:cubicBezTo>
                  <a:cubicBezTo>
                    <a:pt x="80" y="34"/>
                    <a:pt x="77" y="31"/>
                    <a:pt x="72" y="34"/>
                  </a:cubicBezTo>
                  <a:cubicBezTo>
                    <a:pt x="66" y="37"/>
                    <a:pt x="64" y="41"/>
                    <a:pt x="60" y="41"/>
                  </a:cubicBezTo>
                  <a:cubicBezTo>
                    <a:pt x="54" y="41"/>
                    <a:pt x="57" y="44"/>
                    <a:pt x="51" y="45"/>
                  </a:cubicBezTo>
                  <a:cubicBezTo>
                    <a:pt x="45" y="47"/>
                    <a:pt x="46" y="44"/>
                    <a:pt x="40" y="44"/>
                  </a:cubicBezTo>
                  <a:cubicBezTo>
                    <a:pt x="34" y="44"/>
                    <a:pt x="34" y="39"/>
                    <a:pt x="26" y="39"/>
                  </a:cubicBezTo>
                  <a:cubicBezTo>
                    <a:pt x="19" y="39"/>
                    <a:pt x="17" y="41"/>
                    <a:pt x="17" y="37"/>
                  </a:cubicBezTo>
                  <a:cubicBezTo>
                    <a:pt x="16" y="34"/>
                    <a:pt x="20" y="39"/>
                    <a:pt x="22" y="36"/>
                  </a:cubicBezTo>
                  <a:cubicBezTo>
                    <a:pt x="23" y="34"/>
                    <a:pt x="23" y="31"/>
                    <a:pt x="20" y="30"/>
                  </a:cubicBezTo>
                  <a:cubicBezTo>
                    <a:pt x="19" y="30"/>
                    <a:pt x="22" y="27"/>
                    <a:pt x="17" y="27"/>
                  </a:cubicBezTo>
                  <a:cubicBezTo>
                    <a:pt x="10" y="25"/>
                    <a:pt x="7" y="28"/>
                    <a:pt x="7" y="25"/>
                  </a:cubicBezTo>
                  <a:cubicBezTo>
                    <a:pt x="7" y="24"/>
                    <a:pt x="11" y="25"/>
                    <a:pt x="14" y="24"/>
                  </a:cubicBezTo>
                  <a:cubicBezTo>
                    <a:pt x="16" y="22"/>
                    <a:pt x="17" y="25"/>
                    <a:pt x="22" y="24"/>
                  </a:cubicBezTo>
                  <a:cubicBezTo>
                    <a:pt x="26" y="20"/>
                    <a:pt x="19" y="24"/>
                    <a:pt x="19" y="20"/>
                  </a:cubicBezTo>
                  <a:cubicBezTo>
                    <a:pt x="19" y="19"/>
                    <a:pt x="26" y="17"/>
                    <a:pt x="20" y="17"/>
                  </a:cubicBezTo>
                  <a:cubicBezTo>
                    <a:pt x="14" y="16"/>
                    <a:pt x="14" y="16"/>
                    <a:pt x="10" y="17"/>
                  </a:cubicBezTo>
                  <a:cubicBezTo>
                    <a:pt x="5" y="19"/>
                    <a:pt x="0" y="16"/>
                    <a:pt x="2" y="16"/>
                  </a:cubicBezTo>
                  <a:cubicBezTo>
                    <a:pt x="4" y="14"/>
                    <a:pt x="7" y="16"/>
                    <a:pt x="5" y="14"/>
                  </a:cubicBezTo>
                  <a:cubicBezTo>
                    <a:pt x="5" y="11"/>
                    <a:pt x="8" y="14"/>
                    <a:pt x="8" y="11"/>
                  </a:cubicBezTo>
                  <a:cubicBezTo>
                    <a:pt x="8" y="8"/>
                    <a:pt x="10" y="5"/>
                    <a:pt x="13" y="8"/>
                  </a:cubicBezTo>
                  <a:cubicBezTo>
                    <a:pt x="16" y="10"/>
                    <a:pt x="22" y="13"/>
                    <a:pt x="20" y="10"/>
                  </a:cubicBezTo>
                  <a:cubicBezTo>
                    <a:pt x="19" y="8"/>
                    <a:pt x="14" y="8"/>
                    <a:pt x="13" y="6"/>
                  </a:cubicBezTo>
                  <a:cubicBezTo>
                    <a:pt x="11" y="5"/>
                    <a:pt x="14" y="2"/>
                    <a:pt x="19" y="3"/>
                  </a:cubicBezTo>
                  <a:cubicBezTo>
                    <a:pt x="23" y="5"/>
                    <a:pt x="20" y="5"/>
                    <a:pt x="26" y="8"/>
                  </a:cubicBezTo>
                  <a:cubicBezTo>
                    <a:pt x="31" y="11"/>
                    <a:pt x="26" y="11"/>
                    <a:pt x="28" y="16"/>
                  </a:cubicBezTo>
                  <a:cubicBezTo>
                    <a:pt x="31" y="22"/>
                    <a:pt x="31" y="11"/>
                    <a:pt x="34" y="14"/>
                  </a:cubicBezTo>
                  <a:cubicBezTo>
                    <a:pt x="36" y="17"/>
                    <a:pt x="37" y="14"/>
                    <a:pt x="36" y="11"/>
                  </a:cubicBezTo>
                  <a:cubicBezTo>
                    <a:pt x="34" y="10"/>
                    <a:pt x="37" y="5"/>
                    <a:pt x="39" y="10"/>
                  </a:cubicBezTo>
                  <a:cubicBezTo>
                    <a:pt x="42" y="14"/>
                    <a:pt x="43" y="14"/>
                    <a:pt x="43" y="11"/>
                  </a:cubicBezTo>
                  <a:cubicBezTo>
                    <a:pt x="43" y="8"/>
                    <a:pt x="49" y="5"/>
                    <a:pt x="49" y="8"/>
                  </a:cubicBezTo>
                  <a:cubicBezTo>
                    <a:pt x="51" y="11"/>
                    <a:pt x="52" y="13"/>
                    <a:pt x="52" y="10"/>
                  </a:cubicBezTo>
                  <a:cubicBezTo>
                    <a:pt x="52" y="6"/>
                    <a:pt x="54" y="5"/>
                    <a:pt x="57" y="10"/>
                  </a:cubicBezTo>
                  <a:cubicBezTo>
                    <a:pt x="60" y="13"/>
                    <a:pt x="60" y="5"/>
                    <a:pt x="63" y="6"/>
                  </a:cubicBezTo>
                  <a:cubicBezTo>
                    <a:pt x="66" y="8"/>
                    <a:pt x="68" y="6"/>
                    <a:pt x="66" y="5"/>
                  </a:cubicBezTo>
                  <a:cubicBezTo>
                    <a:pt x="64" y="2"/>
                    <a:pt x="71" y="0"/>
                    <a:pt x="72" y="3"/>
                  </a:cubicBezTo>
                  <a:cubicBezTo>
                    <a:pt x="75" y="10"/>
                    <a:pt x="75" y="5"/>
                    <a:pt x="78" y="5"/>
                  </a:cubicBezTo>
                  <a:cubicBezTo>
                    <a:pt x="81" y="3"/>
                    <a:pt x="83" y="3"/>
                    <a:pt x="80" y="6"/>
                  </a:cubicBezTo>
                  <a:cubicBezTo>
                    <a:pt x="75" y="10"/>
                    <a:pt x="84" y="6"/>
                    <a:pt x="81" y="11"/>
                  </a:cubicBezTo>
                  <a:cubicBezTo>
                    <a:pt x="80" y="11"/>
                    <a:pt x="80" y="13"/>
                    <a:pt x="81" y="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12"/>
            <p:cNvSpPr>
              <a:spLocks/>
            </p:cNvSpPr>
            <p:nvPr/>
          </p:nvSpPr>
          <p:spPr bwMode="auto">
            <a:xfrm>
              <a:off x="3142865" y="1980431"/>
              <a:ext cx="1514651" cy="1126782"/>
            </a:xfrm>
            <a:custGeom>
              <a:avLst/>
              <a:gdLst/>
              <a:ahLst/>
              <a:cxnLst>
                <a:cxn ang="0">
                  <a:pos x="394" y="224"/>
                </a:cxn>
                <a:cxn ang="0">
                  <a:pos x="343" y="245"/>
                </a:cxn>
                <a:cxn ang="0">
                  <a:pos x="315" y="259"/>
                </a:cxn>
                <a:cxn ang="0">
                  <a:pos x="291" y="276"/>
                </a:cxn>
                <a:cxn ang="0">
                  <a:pos x="280" y="283"/>
                </a:cxn>
                <a:cxn ang="0">
                  <a:pos x="279" y="272"/>
                </a:cxn>
                <a:cxn ang="0">
                  <a:pos x="273" y="283"/>
                </a:cxn>
                <a:cxn ang="0">
                  <a:pos x="260" y="290"/>
                </a:cxn>
                <a:cxn ang="0">
                  <a:pos x="256" y="303"/>
                </a:cxn>
                <a:cxn ang="0">
                  <a:pos x="244" y="321"/>
                </a:cxn>
                <a:cxn ang="0">
                  <a:pos x="241" y="346"/>
                </a:cxn>
                <a:cxn ang="0">
                  <a:pos x="227" y="356"/>
                </a:cxn>
                <a:cxn ang="0">
                  <a:pos x="215" y="342"/>
                </a:cxn>
                <a:cxn ang="0">
                  <a:pos x="198" y="343"/>
                </a:cxn>
                <a:cxn ang="0">
                  <a:pos x="187" y="331"/>
                </a:cxn>
                <a:cxn ang="0">
                  <a:pos x="175" y="314"/>
                </a:cxn>
                <a:cxn ang="0">
                  <a:pos x="178" y="298"/>
                </a:cxn>
                <a:cxn ang="0">
                  <a:pos x="172" y="297"/>
                </a:cxn>
                <a:cxn ang="0">
                  <a:pos x="160" y="281"/>
                </a:cxn>
                <a:cxn ang="0">
                  <a:pos x="155" y="252"/>
                </a:cxn>
                <a:cxn ang="0">
                  <a:pos x="174" y="241"/>
                </a:cxn>
                <a:cxn ang="0">
                  <a:pos x="169" y="220"/>
                </a:cxn>
                <a:cxn ang="0">
                  <a:pos x="175" y="213"/>
                </a:cxn>
                <a:cxn ang="0">
                  <a:pos x="152" y="197"/>
                </a:cxn>
                <a:cxn ang="0">
                  <a:pos x="142" y="183"/>
                </a:cxn>
                <a:cxn ang="0">
                  <a:pos x="129" y="158"/>
                </a:cxn>
                <a:cxn ang="0">
                  <a:pos x="97" y="127"/>
                </a:cxn>
                <a:cxn ang="0">
                  <a:pos x="56" y="126"/>
                </a:cxn>
                <a:cxn ang="0">
                  <a:pos x="17" y="115"/>
                </a:cxn>
                <a:cxn ang="0">
                  <a:pos x="21" y="102"/>
                </a:cxn>
                <a:cxn ang="0">
                  <a:pos x="39" y="79"/>
                </a:cxn>
                <a:cxn ang="0">
                  <a:pos x="62" y="49"/>
                </a:cxn>
                <a:cxn ang="0">
                  <a:pos x="154" y="26"/>
                </a:cxn>
                <a:cxn ang="0">
                  <a:pos x="183" y="21"/>
                </a:cxn>
                <a:cxn ang="0">
                  <a:pos x="221" y="17"/>
                </a:cxn>
                <a:cxn ang="0">
                  <a:pos x="209" y="14"/>
                </a:cxn>
                <a:cxn ang="0">
                  <a:pos x="279" y="10"/>
                </a:cxn>
                <a:cxn ang="0">
                  <a:pos x="343" y="3"/>
                </a:cxn>
                <a:cxn ang="0">
                  <a:pos x="355" y="10"/>
                </a:cxn>
                <a:cxn ang="0">
                  <a:pos x="393" y="26"/>
                </a:cxn>
                <a:cxn ang="0">
                  <a:pos x="375" y="35"/>
                </a:cxn>
                <a:cxn ang="0">
                  <a:pos x="407" y="43"/>
                </a:cxn>
                <a:cxn ang="0">
                  <a:pos x="483" y="38"/>
                </a:cxn>
                <a:cxn ang="0">
                  <a:pos x="426" y="54"/>
                </a:cxn>
                <a:cxn ang="0">
                  <a:pos x="420" y="65"/>
                </a:cxn>
                <a:cxn ang="0">
                  <a:pos x="422" y="82"/>
                </a:cxn>
                <a:cxn ang="0">
                  <a:pos x="425" y="102"/>
                </a:cxn>
                <a:cxn ang="0">
                  <a:pos x="413" y="116"/>
                </a:cxn>
                <a:cxn ang="0">
                  <a:pos x="425" y="132"/>
                </a:cxn>
                <a:cxn ang="0">
                  <a:pos x="426" y="155"/>
                </a:cxn>
                <a:cxn ang="0">
                  <a:pos x="408" y="169"/>
                </a:cxn>
                <a:cxn ang="0">
                  <a:pos x="391" y="188"/>
                </a:cxn>
                <a:cxn ang="0">
                  <a:pos x="408" y="199"/>
                </a:cxn>
                <a:cxn ang="0">
                  <a:pos x="382" y="199"/>
                </a:cxn>
                <a:cxn ang="0">
                  <a:pos x="362" y="205"/>
                </a:cxn>
                <a:cxn ang="0">
                  <a:pos x="362" y="216"/>
                </a:cxn>
              </a:cxnLst>
              <a:rect l="0" t="0" r="r" b="b"/>
              <a:pathLst>
                <a:path w="489" h="359">
                  <a:moveTo>
                    <a:pt x="375" y="216"/>
                  </a:moveTo>
                  <a:cubicBezTo>
                    <a:pt x="382" y="210"/>
                    <a:pt x="387" y="219"/>
                    <a:pt x="396" y="219"/>
                  </a:cubicBezTo>
                  <a:cubicBezTo>
                    <a:pt x="405" y="217"/>
                    <a:pt x="408" y="217"/>
                    <a:pt x="402" y="220"/>
                  </a:cubicBezTo>
                  <a:cubicBezTo>
                    <a:pt x="396" y="222"/>
                    <a:pt x="401" y="224"/>
                    <a:pt x="394" y="224"/>
                  </a:cubicBezTo>
                  <a:cubicBezTo>
                    <a:pt x="390" y="224"/>
                    <a:pt x="396" y="227"/>
                    <a:pt x="390" y="228"/>
                  </a:cubicBezTo>
                  <a:cubicBezTo>
                    <a:pt x="384" y="228"/>
                    <a:pt x="381" y="231"/>
                    <a:pt x="378" y="236"/>
                  </a:cubicBezTo>
                  <a:cubicBezTo>
                    <a:pt x="375" y="239"/>
                    <a:pt x="362" y="239"/>
                    <a:pt x="353" y="242"/>
                  </a:cubicBezTo>
                  <a:cubicBezTo>
                    <a:pt x="344" y="247"/>
                    <a:pt x="344" y="241"/>
                    <a:pt x="343" y="245"/>
                  </a:cubicBezTo>
                  <a:cubicBezTo>
                    <a:pt x="341" y="248"/>
                    <a:pt x="335" y="248"/>
                    <a:pt x="332" y="247"/>
                  </a:cubicBezTo>
                  <a:cubicBezTo>
                    <a:pt x="327" y="245"/>
                    <a:pt x="318" y="238"/>
                    <a:pt x="324" y="244"/>
                  </a:cubicBezTo>
                  <a:cubicBezTo>
                    <a:pt x="329" y="248"/>
                    <a:pt x="327" y="250"/>
                    <a:pt x="324" y="250"/>
                  </a:cubicBezTo>
                  <a:cubicBezTo>
                    <a:pt x="321" y="250"/>
                    <a:pt x="317" y="253"/>
                    <a:pt x="315" y="259"/>
                  </a:cubicBezTo>
                  <a:cubicBezTo>
                    <a:pt x="315" y="264"/>
                    <a:pt x="305" y="273"/>
                    <a:pt x="300" y="273"/>
                  </a:cubicBezTo>
                  <a:cubicBezTo>
                    <a:pt x="300" y="273"/>
                    <a:pt x="300" y="272"/>
                    <a:pt x="298" y="272"/>
                  </a:cubicBezTo>
                  <a:cubicBezTo>
                    <a:pt x="297" y="272"/>
                    <a:pt x="298" y="275"/>
                    <a:pt x="297" y="275"/>
                  </a:cubicBezTo>
                  <a:cubicBezTo>
                    <a:pt x="295" y="275"/>
                    <a:pt x="292" y="278"/>
                    <a:pt x="291" y="276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9" y="280"/>
                    <a:pt x="289" y="281"/>
                    <a:pt x="288" y="280"/>
                  </a:cubicBezTo>
                  <a:cubicBezTo>
                    <a:pt x="286" y="278"/>
                    <a:pt x="286" y="280"/>
                    <a:pt x="285" y="281"/>
                  </a:cubicBezTo>
                  <a:cubicBezTo>
                    <a:pt x="283" y="283"/>
                    <a:pt x="282" y="283"/>
                    <a:pt x="280" y="283"/>
                  </a:cubicBezTo>
                  <a:cubicBezTo>
                    <a:pt x="279" y="281"/>
                    <a:pt x="280" y="278"/>
                    <a:pt x="280" y="276"/>
                  </a:cubicBezTo>
                  <a:cubicBezTo>
                    <a:pt x="280" y="275"/>
                    <a:pt x="283" y="275"/>
                    <a:pt x="283" y="273"/>
                  </a:cubicBezTo>
                  <a:cubicBezTo>
                    <a:pt x="283" y="272"/>
                    <a:pt x="286" y="272"/>
                    <a:pt x="283" y="272"/>
                  </a:cubicBezTo>
                  <a:cubicBezTo>
                    <a:pt x="280" y="272"/>
                    <a:pt x="280" y="270"/>
                    <a:pt x="279" y="272"/>
                  </a:cubicBezTo>
                  <a:cubicBezTo>
                    <a:pt x="279" y="272"/>
                    <a:pt x="283" y="273"/>
                    <a:pt x="280" y="275"/>
                  </a:cubicBezTo>
                  <a:cubicBezTo>
                    <a:pt x="277" y="276"/>
                    <a:pt x="280" y="276"/>
                    <a:pt x="279" y="278"/>
                  </a:cubicBezTo>
                  <a:cubicBezTo>
                    <a:pt x="276" y="280"/>
                    <a:pt x="279" y="280"/>
                    <a:pt x="277" y="281"/>
                  </a:cubicBezTo>
                  <a:cubicBezTo>
                    <a:pt x="277" y="283"/>
                    <a:pt x="276" y="281"/>
                    <a:pt x="273" y="283"/>
                  </a:cubicBezTo>
                  <a:cubicBezTo>
                    <a:pt x="270" y="283"/>
                    <a:pt x="268" y="281"/>
                    <a:pt x="266" y="283"/>
                  </a:cubicBezTo>
                  <a:cubicBezTo>
                    <a:pt x="263" y="284"/>
                    <a:pt x="262" y="283"/>
                    <a:pt x="265" y="284"/>
                  </a:cubicBezTo>
                  <a:cubicBezTo>
                    <a:pt x="268" y="286"/>
                    <a:pt x="268" y="287"/>
                    <a:pt x="266" y="286"/>
                  </a:cubicBezTo>
                  <a:cubicBezTo>
                    <a:pt x="263" y="286"/>
                    <a:pt x="263" y="292"/>
                    <a:pt x="260" y="290"/>
                  </a:cubicBezTo>
                  <a:cubicBezTo>
                    <a:pt x="257" y="289"/>
                    <a:pt x="251" y="289"/>
                    <a:pt x="256" y="293"/>
                  </a:cubicBezTo>
                  <a:cubicBezTo>
                    <a:pt x="260" y="298"/>
                    <a:pt x="260" y="300"/>
                    <a:pt x="259" y="300"/>
                  </a:cubicBezTo>
                  <a:cubicBezTo>
                    <a:pt x="256" y="298"/>
                    <a:pt x="256" y="301"/>
                    <a:pt x="253" y="300"/>
                  </a:cubicBezTo>
                  <a:cubicBezTo>
                    <a:pt x="250" y="298"/>
                    <a:pt x="251" y="303"/>
                    <a:pt x="256" y="303"/>
                  </a:cubicBezTo>
                  <a:cubicBezTo>
                    <a:pt x="260" y="303"/>
                    <a:pt x="257" y="303"/>
                    <a:pt x="259" y="306"/>
                  </a:cubicBezTo>
                  <a:cubicBezTo>
                    <a:pt x="259" y="311"/>
                    <a:pt x="254" y="311"/>
                    <a:pt x="254" y="314"/>
                  </a:cubicBezTo>
                  <a:cubicBezTo>
                    <a:pt x="254" y="318"/>
                    <a:pt x="251" y="311"/>
                    <a:pt x="251" y="315"/>
                  </a:cubicBezTo>
                  <a:cubicBezTo>
                    <a:pt x="250" y="321"/>
                    <a:pt x="244" y="318"/>
                    <a:pt x="244" y="321"/>
                  </a:cubicBezTo>
                  <a:cubicBezTo>
                    <a:pt x="242" y="323"/>
                    <a:pt x="245" y="321"/>
                    <a:pt x="245" y="325"/>
                  </a:cubicBezTo>
                  <a:cubicBezTo>
                    <a:pt x="247" y="328"/>
                    <a:pt x="239" y="321"/>
                    <a:pt x="242" y="326"/>
                  </a:cubicBezTo>
                  <a:cubicBezTo>
                    <a:pt x="244" y="329"/>
                    <a:pt x="245" y="325"/>
                    <a:pt x="245" y="329"/>
                  </a:cubicBezTo>
                  <a:cubicBezTo>
                    <a:pt x="247" y="334"/>
                    <a:pt x="239" y="343"/>
                    <a:pt x="241" y="346"/>
                  </a:cubicBezTo>
                  <a:cubicBezTo>
                    <a:pt x="242" y="350"/>
                    <a:pt x="237" y="350"/>
                    <a:pt x="236" y="351"/>
                  </a:cubicBezTo>
                  <a:cubicBezTo>
                    <a:pt x="234" y="354"/>
                    <a:pt x="239" y="350"/>
                    <a:pt x="239" y="354"/>
                  </a:cubicBezTo>
                  <a:cubicBezTo>
                    <a:pt x="239" y="359"/>
                    <a:pt x="236" y="359"/>
                    <a:pt x="233" y="357"/>
                  </a:cubicBezTo>
                  <a:cubicBezTo>
                    <a:pt x="230" y="354"/>
                    <a:pt x="230" y="353"/>
                    <a:pt x="227" y="356"/>
                  </a:cubicBezTo>
                  <a:cubicBezTo>
                    <a:pt x="225" y="357"/>
                    <a:pt x="221" y="357"/>
                    <a:pt x="222" y="353"/>
                  </a:cubicBezTo>
                  <a:cubicBezTo>
                    <a:pt x="227" y="348"/>
                    <a:pt x="221" y="353"/>
                    <a:pt x="218" y="351"/>
                  </a:cubicBezTo>
                  <a:cubicBezTo>
                    <a:pt x="213" y="348"/>
                    <a:pt x="213" y="348"/>
                    <a:pt x="216" y="345"/>
                  </a:cubicBezTo>
                  <a:cubicBezTo>
                    <a:pt x="219" y="342"/>
                    <a:pt x="215" y="339"/>
                    <a:pt x="215" y="342"/>
                  </a:cubicBezTo>
                  <a:cubicBezTo>
                    <a:pt x="216" y="343"/>
                    <a:pt x="212" y="343"/>
                    <a:pt x="210" y="346"/>
                  </a:cubicBezTo>
                  <a:cubicBezTo>
                    <a:pt x="207" y="348"/>
                    <a:pt x="209" y="343"/>
                    <a:pt x="204" y="346"/>
                  </a:cubicBezTo>
                  <a:cubicBezTo>
                    <a:pt x="199" y="350"/>
                    <a:pt x="198" y="348"/>
                    <a:pt x="198" y="345"/>
                  </a:cubicBezTo>
                  <a:cubicBezTo>
                    <a:pt x="196" y="343"/>
                    <a:pt x="199" y="345"/>
                    <a:pt x="198" y="343"/>
                  </a:cubicBezTo>
                  <a:cubicBezTo>
                    <a:pt x="198" y="340"/>
                    <a:pt x="193" y="343"/>
                    <a:pt x="195" y="340"/>
                  </a:cubicBezTo>
                  <a:cubicBezTo>
                    <a:pt x="196" y="337"/>
                    <a:pt x="189" y="340"/>
                    <a:pt x="190" y="337"/>
                  </a:cubicBezTo>
                  <a:cubicBezTo>
                    <a:pt x="192" y="334"/>
                    <a:pt x="192" y="334"/>
                    <a:pt x="189" y="334"/>
                  </a:cubicBezTo>
                  <a:cubicBezTo>
                    <a:pt x="187" y="336"/>
                    <a:pt x="190" y="329"/>
                    <a:pt x="187" y="331"/>
                  </a:cubicBezTo>
                  <a:cubicBezTo>
                    <a:pt x="184" y="332"/>
                    <a:pt x="189" y="328"/>
                    <a:pt x="184" y="326"/>
                  </a:cubicBezTo>
                  <a:cubicBezTo>
                    <a:pt x="181" y="325"/>
                    <a:pt x="181" y="325"/>
                    <a:pt x="181" y="323"/>
                  </a:cubicBezTo>
                  <a:cubicBezTo>
                    <a:pt x="181" y="320"/>
                    <a:pt x="178" y="318"/>
                    <a:pt x="180" y="317"/>
                  </a:cubicBezTo>
                  <a:cubicBezTo>
                    <a:pt x="180" y="314"/>
                    <a:pt x="177" y="317"/>
                    <a:pt x="175" y="314"/>
                  </a:cubicBezTo>
                  <a:cubicBezTo>
                    <a:pt x="174" y="311"/>
                    <a:pt x="170" y="307"/>
                    <a:pt x="172" y="306"/>
                  </a:cubicBezTo>
                  <a:cubicBezTo>
                    <a:pt x="174" y="304"/>
                    <a:pt x="169" y="304"/>
                    <a:pt x="172" y="303"/>
                  </a:cubicBezTo>
                  <a:cubicBezTo>
                    <a:pt x="174" y="303"/>
                    <a:pt x="167" y="301"/>
                    <a:pt x="174" y="301"/>
                  </a:cubicBezTo>
                  <a:cubicBezTo>
                    <a:pt x="178" y="301"/>
                    <a:pt x="172" y="298"/>
                    <a:pt x="178" y="298"/>
                  </a:cubicBezTo>
                  <a:cubicBezTo>
                    <a:pt x="183" y="298"/>
                    <a:pt x="175" y="297"/>
                    <a:pt x="178" y="295"/>
                  </a:cubicBezTo>
                  <a:cubicBezTo>
                    <a:pt x="181" y="293"/>
                    <a:pt x="184" y="300"/>
                    <a:pt x="184" y="297"/>
                  </a:cubicBezTo>
                  <a:cubicBezTo>
                    <a:pt x="183" y="293"/>
                    <a:pt x="180" y="292"/>
                    <a:pt x="177" y="295"/>
                  </a:cubicBezTo>
                  <a:cubicBezTo>
                    <a:pt x="174" y="297"/>
                    <a:pt x="177" y="289"/>
                    <a:pt x="172" y="297"/>
                  </a:cubicBezTo>
                  <a:cubicBezTo>
                    <a:pt x="167" y="304"/>
                    <a:pt x="166" y="298"/>
                    <a:pt x="167" y="295"/>
                  </a:cubicBezTo>
                  <a:cubicBezTo>
                    <a:pt x="167" y="292"/>
                    <a:pt x="166" y="295"/>
                    <a:pt x="166" y="290"/>
                  </a:cubicBezTo>
                  <a:cubicBezTo>
                    <a:pt x="166" y="287"/>
                    <a:pt x="163" y="289"/>
                    <a:pt x="163" y="286"/>
                  </a:cubicBezTo>
                  <a:cubicBezTo>
                    <a:pt x="164" y="283"/>
                    <a:pt x="161" y="281"/>
                    <a:pt x="160" y="281"/>
                  </a:cubicBezTo>
                  <a:cubicBezTo>
                    <a:pt x="157" y="281"/>
                    <a:pt x="160" y="280"/>
                    <a:pt x="155" y="276"/>
                  </a:cubicBezTo>
                  <a:cubicBezTo>
                    <a:pt x="152" y="273"/>
                    <a:pt x="155" y="267"/>
                    <a:pt x="161" y="264"/>
                  </a:cubicBezTo>
                  <a:cubicBezTo>
                    <a:pt x="155" y="264"/>
                    <a:pt x="151" y="264"/>
                    <a:pt x="152" y="259"/>
                  </a:cubicBezTo>
                  <a:cubicBezTo>
                    <a:pt x="154" y="255"/>
                    <a:pt x="155" y="253"/>
                    <a:pt x="155" y="252"/>
                  </a:cubicBezTo>
                  <a:cubicBezTo>
                    <a:pt x="154" y="250"/>
                    <a:pt x="161" y="248"/>
                    <a:pt x="158" y="247"/>
                  </a:cubicBezTo>
                  <a:cubicBezTo>
                    <a:pt x="155" y="244"/>
                    <a:pt x="158" y="245"/>
                    <a:pt x="157" y="244"/>
                  </a:cubicBezTo>
                  <a:cubicBezTo>
                    <a:pt x="157" y="242"/>
                    <a:pt x="161" y="244"/>
                    <a:pt x="163" y="241"/>
                  </a:cubicBezTo>
                  <a:cubicBezTo>
                    <a:pt x="166" y="239"/>
                    <a:pt x="169" y="242"/>
                    <a:pt x="174" y="241"/>
                  </a:cubicBezTo>
                  <a:cubicBezTo>
                    <a:pt x="178" y="239"/>
                    <a:pt x="174" y="239"/>
                    <a:pt x="174" y="234"/>
                  </a:cubicBezTo>
                  <a:cubicBezTo>
                    <a:pt x="175" y="231"/>
                    <a:pt x="178" y="227"/>
                    <a:pt x="178" y="224"/>
                  </a:cubicBezTo>
                  <a:cubicBezTo>
                    <a:pt x="177" y="220"/>
                    <a:pt x="175" y="228"/>
                    <a:pt x="174" y="225"/>
                  </a:cubicBezTo>
                  <a:cubicBezTo>
                    <a:pt x="172" y="224"/>
                    <a:pt x="178" y="220"/>
                    <a:pt x="169" y="220"/>
                  </a:cubicBezTo>
                  <a:cubicBezTo>
                    <a:pt x="161" y="219"/>
                    <a:pt x="164" y="214"/>
                    <a:pt x="157" y="214"/>
                  </a:cubicBezTo>
                  <a:cubicBezTo>
                    <a:pt x="152" y="214"/>
                    <a:pt x="146" y="211"/>
                    <a:pt x="148" y="210"/>
                  </a:cubicBezTo>
                  <a:cubicBezTo>
                    <a:pt x="151" y="206"/>
                    <a:pt x="163" y="208"/>
                    <a:pt x="166" y="210"/>
                  </a:cubicBezTo>
                  <a:cubicBezTo>
                    <a:pt x="170" y="213"/>
                    <a:pt x="177" y="214"/>
                    <a:pt x="175" y="213"/>
                  </a:cubicBezTo>
                  <a:cubicBezTo>
                    <a:pt x="174" y="211"/>
                    <a:pt x="172" y="210"/>
                    <a:pt x="175" y="206"/>
                  </a:cubicBezTo>
                  <a:cubicBezTo>
                    <a:pt x="175" y="206"/>
                    <a:pt x="163" y="205"/>
                    <a:pt x="164" y="202"/>
                  </a:cubicBezTo>
                  <a:cubicBezTo>
                    <a:pt x="167" y="197"/>
                    <a:pt x="158" y="200"/>
                    <a:pt x="163" y="197"/>
                  </a:cubicBezTo>
                  <a:cubicBezTo>
                    <a:pt x="166" y="196"/>
                    <a:pt x="155" y="191"/>
                    <a:pt x="152" y="197"/>
                  </a:cubicBezTo>
                  <a:cubicBezTo>
                    <a:pt x="151" y="203"/>
                    <a:pt x="145" y="197"/>
                    <a:pt x="142" y="199"/>
                  </a:cubicBezTo>
                  <a:cubicBezTo>
                    <a:pt x="140" y="200"/>
                    <a:pt x="138" y="197"/>
                    <a:pt x="137" y="196"/>
                  </a:cubicBezTo>
                  <a:cubicBezTo>
                    <a:pt x="135" y="192"/>
                    <a:pt x="145" y="194"/>
                    <a:pt x="142" y="191"/>
                  </a:cubicBezTo>
                  <a:cubicBezTo>
                    <a:pt x="137" y="186"/>
                    <a:pt x="137" y="183"/>
                    <a:pt x="142" y="183"/>
                  </a:cubicBezTo>
                  <a:cubicBezTo>
                    <a:pt x="146" y="182"/>
                    <a:pt x="149" y="175"/>
                    <a:pt x="142" y="174"/>
                  </a:cubicBezTo>
                  <a:cubicBezTo>
                    <a:pt x="135" y="172"/>
                    <a:pt x="146" y="169"/>
                    <a:pt x="140" y="166"/>
                  </a:cubicBezTo>
                  <a:cubicBezTo>
                    <a:pt x="131" y="163"/>
                    <a:pt x="142" y="163"/>
                    <a:pt x="135" y="160"/>
                  </a:cubicBezTo>
                  <a:cubicBezTo>
                    <a:pt x="132" y="158"/>
                    <a:pt x="135" y="155"/>
                    <a:pt x="129" y="158"/>
                  </a:cubicBezTo>
                  <a:cubicBezTo>
                    <a:pt x="122" y="160"/>
                    <a:pt x="129" y="155"/>
                    <a:pt x="131" y="152"/>
                  </a:cubicBezTo>
                  <a:cubicBezTo>
                    <a:pt x="132" y="149"/>
                    <a:pt x="113" y="141"/>
                    <a:pt x="116" y="138"/>
                  </a:cubicBezTo>
                  <a:cubicBezTo>
                    <a:pt x="120" y="135"/>
                    <a:pt x="116" y="135"/>
                    <a:pt x="108" y="130"/>
                  </a:cubicBezTo>
                  <a:cubicBezTo>
                    <a:pt x="100" y="127"/>
                    <a:pt x="100" y="130"/>
                    <a:pt x="97" y="127"/>
                  </a:cubicBezTo>
                  <a:cubicBezTo>
                    <a:pt x="94" y="124"/>
                    <a:pt x="87" y="127"/>
                    <a:pt x="81" y="124"/>
                  </a:cubicBezTo>
                  <a:cubicBezTo>
                    <a:pt x="75" y="122"/>
                    <a:pt x="76" y="130"/>
                    <a:pt x="71" y="126"/>
                  </a:cubicBezTo>
                  <a:cubicBezTo>
                    <a:pt x="67" y="122"/>
                    <a:pt x="68" y="129"/>
                    <a:pt x="61" y="129"/>
                  </a:cubicBezTo>
                  <a:cubicBezTo>
                    <a:pt x="55" y="127"/>
                    <a:pt x="62" y="122"/>
                    <a:pt x="56" y="126"/>
                  </a:cubicBezTo>
                  <a:cubicBezTo>
                    <a:pt x="49" y="129"/>
                    <a:pt x="52" y="122"/>
                    <a:pt x="49" y="124"/>
                  </a:cubicBezTo>
                  <a:cubicBezTo>
                    <a:pt x="44" y="126"/>
                    <a:pt x="58" y="133"/>
                    <a:pt x="47" y="129"/>
                  </a:cubicBezTo>
                  <a:cubicBezTo>
                    <a:pt x="35" y="126"/>
                    <a:pt x="23" y="124"/>
                    <a:pt x="32" y="121"/>
                  </a:cubicBezTo>
                  <a:cubicBezTo>
                    <a:pt x="41" y="118"/>
                    <a:pt x="23" y="118"/>
                    <a:pt x="17" y="115"/>
                  </a:cubicBezTo>
                  <a:cubicBezTo>
                    <a:pt x="9" y="112"/>
                    <a:pt x="24" y="108"/>
                    <a:pt x="36" y="107"/>
                  </a:cubicBezTo>
                  <a:cubicBezTo>
                    <a:pt x="49" y="107"/>
                    <a:pt x="58" y="107"/>
                    <a:pt x="56" y="104"/>
                  </a:cubicBezTo>
                  <a:cubicBezTo>
                    <a:pt x="55" y="101"/>
                    <a:pt x="46" y="105"/>
                    <a:pt x="36" y="105"/>
                  </a:cubicBezTo>
                  <a:cubicBezTo>
                    <a:pt x="27" y="105"/>
                    <a:pt x="24" y="105"/>
                    <a:pt x="21" y="102"/>
                  </a:cubicBezTo>
                  <a:cubicBezTo>
                    <a:pt x="18" y="99"/>
                    <a:pt x="17" y="102"/>
                    <a:pt x="14" y="99"/>
                  </a:cubicBezTo>
                  <a:cubicBezTo>
                    <a:pt x="10" y="98"/>
                    <a:pt x="9" y="101"/>
                    <a:pt x="4" y="96"/>
                  </a:cubicBezTo>
                  <a:cubicBezTo>
                    <a:pt x="0" y="91"/>
                    <a:pt x="1" y="88"/>
                    <a:pt x="20" y="85"/>
                  </a:cubicBezTo>
                  <a:cubicBezTo>
                    <a:pt x="36" y="82"/>
                    <a:pt x="29" y="80"/>
                    <a:pt x="39" y="79"/>
                  </a:cubicBezTo>
                  <a:cubicBezTo>
                    <a:pt x="50" y="77"/>
                    <a:pt x="56" y="82"/>
                    <a:pt x="61" y="76"/>
                  </a:cubicBezTo>
                  <a:cubicBezTo>
                    <a:pt x="67" y="70"/>
                    <a:pt x="67" y="62"/>
                    <a:pt x="62" y="63"/>
                  </a:cubicBezTo>
                  <a:cubicBezTo>
                    <a:pt x="58" y="63"/>
                    <a:pt x="49" y="63"/>
                    <a:pt x="46" y="60"/>
                  </a:cubicBezTo>
                  <a:cubicBezTo>
                    <a:pt x="44" y="57"/>
                    <a:pt x="55" y="54"/>
                    <a:pt x="62" y="49"/>
                  </a:cubicBezTo>
                  <a:cubicBezTo>
                    <a:pt x="70" y="45"/>
                    <a:pt x="79" y="42"/>
                    <a:pt x="90" y="45"/>
                  </a:cubicBezTo>
                  <a:cubicBezTo>
                    <a:pt x="97" y="46"/>
                    <a:pt x="99" y="42"/>
                    <a:pt x="94" y="37"/>
                  </a:cubicBezTo>
                  <a:cubicBezTo>
                    <a:pt x="91" y="32"/>
                    <a:pt x="97" y="29"/>
                    <a:pt x="120" y="28"/>
                  </a:cubicBezTo>
                  <a:cubicBezTo>
                    <a:pt x="145" y="24"/>
                    <a:pt x="148" y="20"/>
                    <a:pt x="154" y="26"/>
                  </a:cubicBezTo>
                  <a:cubicBezTo>
                    <a:pt x="160" y="34"/>
                    <a:pt x="149" y="46"/>
                    <a:pt x="157" y="35"/>
                  </a:cubicBezTo>
                  <a:cubicBezTo>
                    <a:pt x="163" y="24"/>
                    <a:pt x="178" y="37"/>
                    <a:pt x="177" y="34"/>
                  </a:cubicBezTo>
                  <a:cubicBezTo>
                    <a:pt x="174" y="28"/>
                    <a:pt x="192" y="35"/>
                    <a:pt x="183" y="29"/>
                  </a:cubicBezTo>
                  <a:cubicBezTo>
                    <a:pt x="172" y="23"/>
                    <a:pt x="170" y="20"/>
                    <a:pt x="183" y="21"/>
                  </a:cubicBezTo>
                  <a:cubicBezTo>
                    <a:pt x="195" y="21"/>
                    <a:pt x="199" y="26"/>
                    <a:pt x="210" y="28"/>
                  </a:cubicBezTo>
                  <a:cubicBezTo>
                    <a:pt x="221" y="29"/>
                    <a:pt x="219" y="35"/>
                    <a:pt x="225" y="34"/>
                  </a:cubicBezTo>
                  <a:cubicBezTo>
                    <a:pt x="231" y="34"/>
                    <a:pt x="221" y="26"/>
                    <a:pt x="230" y="24"/>
                  </a:cubicBezTo>
                  <a:cubicBezTo>
                    <a:pt x="244" y="23"/>
                    <a:pt x="206" y="15"/>
                    <a:pt x="221" y="17"/>
                  </a:cubicBezTo>
                  <a:cubicBezTo>
                    <a:pt x="237" y="17"/>
                    <a:pt x="248" y="17"/>
                    <a:pt x="254" y="18"/>
                  </a:cubicBezTo>
                  <a:cubicBezTo>
                    <a:pt x="262" y="21"/>
                    <a:pt x="270" y="20"/>
                    <a:pt x="260" y="18"/>
                  </a:cubicBezTo>
                  <a:cubicBezTo>
                    <a:pt x="253" y="17"/>
                    <a:pt x="244" y="15"/>
                    <a:pt x="233" y="15"/>
                  </a:cubicBezTo>
                  <a:cubicBezTo>
                    <a:pt x="222" y="14"/>
                    <a:pt x="210" y="15"/>
                    <a:pt x="209" y="14"/>
                  </a:cubicBezTo>
                  <a:cubicBezTo>
                    <a:pt x="207" y="10"/>
                    <a:pt x="219" y="10"/>
                    <a:pt x="230" y="9"/>
                  </a:cubicBezTo>
                  <a:cubicBezTo>
                    <a:pt x="241" y="7"/>
                    <a:pt x="248" y="9"/>
                    <a:pt x="254" y="12"/>
                  </a:cubicBezTo>
                  <a:cubicBezTo>
                    <a:pt x="260" y="15"/>
                    <a:pt x="271" y="14"/>
                    <a:pt x="273" y="12"/>
                  </a:cubicBezTo>
                  <a:cubicBezTo>
                    <a:pt x="274" y="12"/>
                    <a:pt x="286" y="10"/>
                    <a:pt x="279" y="10"/>
                  </a:cubicBezTo>
                  <a:cubicBezTo>
                    <a:pt x="271" y="9"/>
                    <a:pt x="270" y="4"/>
                    <a:pt x="274" y="4"/>
                  </a:cubicBezTo>
                  <a:cubicBezTo>
                    <a:pt x="280" y="4"/>
                    <a:pt x="279" y="3"/>
                    <a:pt x="286" y="4"/>
                  </a:cubicBezTo>
                  <a:cubicBezTo>
                    <a:pt x="294" y="6"/>
                    <a:pt x="283" y="1"/>
                    <a:pt x="298" y="3"/>
                  </a:cubicBezTo>
                  <a:cubicBezTo>
                    <a:pt x="314" y="3"/>
                    <a:pt x="317" y="0"/>
                    <a:pt x="343" y="3"/>
                  </a:cubicBezTo>
                  <a:cubicBezTo>
                    <a:pt x="359" y="4"/>
                    <a:pt x="384" y="7"/>
                    <a:pt x="376" y="7"/>
                  </a:cubicBezTo>
                  <a:cubicBezTo>
                    <a:pt x="369" y="9"/>
                    <a:pt x="343" y="9"/>
                    <a:pt x="335" y="10"/>
                  </a:cubicBezTo>
                  <a:cubicBezTo>
                    <a:pt x="327" y="12"/>
                    <a:pt x="314" y="12"/>
                    <a:pt x="324" y="14"/>
                  </a:cubicBezTo>
                  <a:cubicBezTo>
                    <a:pt x="337" y="15"/>
                    <a:pt x="340" y="9"/>
                    <a:pt x="355" y="10"/>
                  </a:cubicBezTo>
                  <a:cubicBezTo>
                    <a:pt x="372" y="14"/>
                    <a:pt x="378" y="7"/>
                    <a:pt x="382" y="10"/>
                  </a:cubicBezTo>
                  <a:cubicBezTo>
                    <a:pt x="388" y="14"/>
                    <a:pt x="372" y="18"/>
                    <a:pt x="382" y="15"/>
                  </a:cubicBezTo>
                  <a:cubicBezTo>
                    <a:pt x="393" y="14"/>
                    <a:pt x="401" y="17"/>
                    <a:pt x="408" y="18"/>
                  </a:cubicBezTo>
                  <a:cubicBezTo>
                    <a:pt x="416" y="20"/>
                    <a:pt x="402" y="24"/>
                    <a:pt x="393" y="26"/>
                  </a:cubicBezTo>
                  <a:cubicBezTo>
                    <a:pt x="379" y="29"/>
                    <a:pt x="361" y="26"/>
                    <a:pt x="346" y="28"/>
                  </a:cubicBezTo>
                  <a:cubicBezTo>
                    <a:pt x="330" y="31"/>
                    <a:pt x="314" y="32"/>
                    <a:pt x="318" y="37"/>
                  </a:cubicBezTo>
                  <a:cubicBezTo>
                    <a:pt x="321" y="38"/>
                    <a:pt x="346" y="29"/>
                    <a:pt x="367" y="29"/>
                  </a:cubicBezTo>
                  <a:cubicBezTo>
                    <a:pt x="387" y="31"/>
                    <a:pt x="382" y="32"/>
                    <a:pt x="375" y="35"/>
                  </a:cubicBezTo>
                  <a:cubicBezTo>
                    <a:pt x="367" y="38"/>
                    <a:pt x="376" y="38"/>
                    <a:pt x="384" y="35"/>
                  </a:cubicBezTo>
                  <a:cubicBezTo>
                    <a:pt x="393" y="34"/>
                    <a:pt x="384" y="29"/>
                    <a:pt x="397" y="29"/>
                  </a:cubicBezTo>
                  <a:cubicBezTo>
                    <a:pt x="411" y="29"/>
                    <a:pt x="408" y="37"/>
                    <a:pt x="397" y="45"/>
                  </a:cubicBezTo>
                  <a:cubicBezTo>
                    <a:pt x="387" y="52"/>
                    <a:pt x="394" y="52"/>
                    <a:pt x="407" y="43"/>
                  </a:cubicBezTo>
                  <a:cubicBezTo>
                    <a:pt x="419" y="35"/>
                    <a:pt x="425" y="34"/>
                    <a:pt x="422" y="37"/>
                  </a:cubicBezTo>
                  <a:cubicBezTo>
                    <a:pt x="419" y="40"/>
                    <a:pt x="426" y="37"/>
                    <a:pt x="432" y="38"/>
                  </a:cubicBezTo>
                  <a:cubicBezTo>
                    <a:pt x="439" y="40"/>
                    <a:pt x="436" y="32"/>
                    <a:pt x="448" y="31"/>
                  </a:cubicBezTo>
                  <a:cubicBezTo>
                    <a:pt x="460" y="31"/>
                    <a:pt x="489" y="35"/>
                    <a:pt x="483" y="38"/>
                  </a:cubicBezTo>
                  <a:cubicBezTo>
                    <a:pt x="475" y="42"/>
                    <a:pt x="472" y="45"/>
                    <a:pt x="464" y="45"/>
                  </a:cubicBezTo>
                  <a:cubicBezTo>
                    <a:pt x="454" y="45"/>
                    <a:pt x="471" y="49"/>
                    <a:pt x="461" y="49"/>
                  </a:cubicBezTo>
                  <a:cubicBezTo>
                    <a:pt x="452" y="51"/>
                    <a:pt x="448" y="52"/>
                    <a:pt x="442" y="51"/>
                  </a:cubicBezTo>
                  <a:cubicBezTo>
                    <a:pt x="436" y="49"/>
                    <a:pt x="437" y="54"/>
                    <a:pt x="426" y="54"/>
                  </a:cubicBezTo>
                  <a:cubicBezTo>
                    <a:pt x="416" y="52"/>
                    <a:pt x="434" y="56"/>
                    <a:pt x="440" y="54"/>
                  </a:cubicBezTo>
                  <a:cubicBezTo>
                    <a:pt x="445" y="52"/>
                    <a:pt x="457" y="54"/>
                    <a:pt x="451" y="57"/>
                  </a:cubicBezTo>
                  <a:cubicBezTo>
                    <a:pt x="446" y="59"/>
                    <a:pt x="437" y="62"/>
                    <a:pt x="429" y="59"/>
                  </a:cubicBezTo>
                  <a:cubicBezTo>
                    <a:pt x="422" y="57"/>
                    <a:pt x="411" y="68"/>
                    <a:pt x="420" y="65"/>
                  </a:cubicBezTo>
                  <a:cubicBezTo>
                    <a:pt x="429" y="62"/>
                    <a:pt x="445" y="60"/>
                    <a:pt x="442" y="63"/>
                  </a:cubicBezTo>
                  <a:cubicBezTo>
                    <a:pt x="437" y="68"/>
                    <a:pt x="436" y="68"/>
                    <a:pt x="429" y="68"/>
                  </a:cubicBezTo>
                  <a:cubicBezTo>
                    <a:pt x="423" y="68"/>
                    <a:pt x="423" y="74"/>
                    <a:pt x="428" y="74"/>
                  </a:cubicBezTo>
                  <a:cubicBezTo>
                    <a:pt x="432" y="76"/>
                    <a:pt x="425" y="80"/>
                    <a:pt x="422" y="82"/>
                  </a:cubicBezTo>
                  <a:cubicBezTo>
                    <a:pt x="420" y="84"/>
                    <a:pt x="416" y="79"/>
                    <a:pt x="413" y="87"/>
                  </a:cubicBezTo>
                  <a:cubicBezTo>
                    <a:pt x="411" y="94"/>
                    <a:pt x="404" y="102"/>
                    <a:pt x="408" y="102"/>
                  </a:cubicBezTo>
                  <a:cubicBezTo>
                    <a:pt x="413" y="102"/>
                    <a:pt x="407" y="93"/>
                    <a:pt x="420" y="98"/>
                  </a:cubicBezTo>
                  <a:cubicBezTo>
                    <a:pt x="432" y="102"/>
                    <a:pt x="434" y="105"/>
                    <a:pt x="425" y="102"/>
                  </a:cubicBezTo>
                  <a:cubicBezTo>
                    <a:pt x="416" y="101"/>
                    <a:pt x="413" y="101"/>
                    <a:pt x="422" y="107"/>
                  </a:cubicBezTo>
                  <a:cubicBezTo>
                    <a:pt x="431" y="112"/>
                    <a:pt x="429" y="104"/>
                    <a:pt x="434" y="107"/>
                  </a:cubicBezTo>
                  <a:cubicBezTo>
                    <a:pt x="440" y="112"/>
                    <a:pt x="437" y="119"/>
                    <a:pt x="431" y="116"/>
                  </a:cubicBezTo>
                  <a:cubicBezTo>
                    <a:pt x="426" y="115"/>
                    <a:pt x="419" y="112"/>
                    <a:pt x="413" y="116"/>
                  </a:cubicBezTo>
                  <a:cubicBezTo>
                    <a:pt x="405" y="121"/>
                    <a:pt x="407" y="112"/>
                    <a:pt x="402" y="116"/>
                  </a:cubicBezTo>
                  <a:cubicBezTo>
                    <a:pt x="397" y="119"/>
                    <a:pt x="408" y="118"/>
                    <a:pt x="408" y="122"/>
                  </a:cubicBezTo>
                  <a:cubicBezTo>
                    <a:pt x="408" y="127"/>
                    <a:pt x="422" y="122"/>
                    <a:pt x="423" y="126"/>
                  </a:cubicBezTo>
                  <a:cubicBezTo>
                    <a:pt x="426" y="129"/>
                    <a:pt x="416" y="127"/>
                    <a:pt x="425" y="132"/>
                  </a:cubicBezTo>
                  <a:cubicBezTo>
                    <a:pt x="432" y="135"/>
                    <a:pt x="423" y="130"/>
                    <a:pt x="426" y="136"/>
                  </a:cubicBezTo>
                  <a:cubicBezTo>
                    <a:pt x="431" y="141"/>
                    <a:pt x="423" y="144"/>
                    <a:pt x="422" y="141"/>
                  </a:cubicBezTo>
                  <a:cubicBezTo>
                    <a:pt x="419" y="136"/>
                    <a:pt x="411" y="149"/>
                    <a:pt x="420" y="149"/>
                  </a:cubicBezTo>
                  <a:cubicBezTo>
                    <a:pt x="428" y="150"/>
                    <a:pt x="431" y="154"/>
                    <a:pt x="426" y="155"/>
                  </a:cubicBezTo>
                  <a:cubicBezTo>
                    <a:pt x="419" y="158"/>
                    <a:pt x="422" y="154"/>
                    <a:pt x="414" y="152"/>
                  </a:cubicBezTo>
                  <a:cubicBezTo>
                    <a:pt x="407" y="152"/>
                    <a:pt x="399" y="160"/>
                    <a:pt x="407" y="160"/>
                  </a:cubicBezTo>
                  <a:cubicBezTo>
                    <a:pt x="414" y="160"/>
                    <a:pt x="422" y="160"/>
                    <a:pt x="419" y="166"/>
                  </a:cubicBezTo>
                  <a:cubicBezTo>
                    <a:pt x="414" y="171"/>
                    <a:pt x="414" y="164"/>
                    <a:pt x="408" y="169"/>
                  </a:cubicBezTo>
                  <a:cubicBezTo>
                    <a:pt x="401" y="175"/>
                    <a:pt x="393" y="163"/>
                    <a:pt x="385" y="166"/>
                  </a:cubicBezTo>
                  <a:cubicBezTo>
                    <a:pt x="379" y="168"/>
                    <a:pt x="378" y="172"/>
                    <a:pt x="372" y="171"/>
                  </a:cubicBezTo>
                  <a:cubicBezTo>
                    <a:pt x="388" y="175"/>
                    <a:pt x="376" y="175"/>
                    <a:pt x="382" y="178"/>
                  </a:cubicBezTo>
                  <a:cubicBezTo>
                    <a:pt x="390" y="183"/>
                    <a:pt x="379" y="183"/>
                    <a:pt x="391" y="188"/>
                  </a:cubicBezTo>
                  <a:cubicBezTo>
                    <a:pt x="399" y="189"/>
                    <a:pt x="404" y="189"/>
                    <a:pt x="402" y="194"/>
                  </a:cubicBezTo>
                  <a:cubicBezTo>
                    <a:pt x="401" y="197"/>
                    <a:pt x="410" y="191"/>
                    <a:pt x="407" y="194"/>
                  </a:cubicBezTo>
                  <a:cubicBezTo>
                    <a:pt x="402" y="199"/>
                    <a:pt x="401" y="196"/>
                    <a:pt x="402" y="199"/>
                  </a:cubicBezTo>
                  <a:cubicBezTo>
                    <a:pt x="404" y="203"/>
                    <a:pt x="410" y="192"/>
                    <a:pt x="408" y="199"/>
                  </a:cubicBezTo>
                  <a:cubicBezTo>
                    <a:pt x="408" y="205"/>
                    <a:pt x="413" y="214"/>
                    <a:pt x="408" y="213"/>
                  </a:cubicBezTo>
                  <a:cubicBezTo>
                    <a:pt x="404" y="213"/>
                    <a:pt x="404" y="211"/>
                    <a:pt x="401" y="213"/>
                  </a:cubicBezTo>
                  <a:cubicBezTo>
                    <a:pt x="397" y="214"/>
                    <a:pt x="388" y="211"/>
                    <a:pt x="388" y="206"/>
                  </a:cubicBezTo>
                  <a:cubicBezTo>
                    <a:pt x="388" y="202"/>
                    <a:pt x="387" y="200"/>
                    <a:pt x="382" y="199"/>
                  </a:cubicBezTo>
                  <a:cubicBezTo>
                    <a:pt x="379" y="199"/>
                    <a:pt x="378" y="196"/>
                    <a:pt x="370" y="196"/>
                  </a:cubicBezTo>
                  <a:cubicBezTo>
                    <a:pt x="364" y="196"/>
                    <a:pt x="364" y="197"/>
                    <a:pt x="372" y="197"/>
                  </a:cubicBezTo>
                  <a:cubicBezTo>
                    <a:pt x="379" y="199"/>
                    <a:pt x="381" y="202"/>
                    <a:pt x="373" y="205"/>
                  </a:cubicBezTo>
                  <a:cubicBezTo>
                    <a:pt x="365" y="206"/>
                    <a:pt x="364" y="208"/>
                    <a:pt x="362" y="205"/>
                  </a:cubicBezTo>
                  <a:cubicBezTo>
                    <a:pt x="361" y="203"/>
                    <a:pt x="361" y="205"/>
                    <a:pt x="358" y="210"/>
                  </a:cubicBezTo>
                  <a:cubicBezTo>
                    <a:pt x="353" y="216"/>
                    <a:pt x="356" y="214"/>
                    <a:pt x="365" y="213"/>
                  </a:cubicBezTo>
                  <a:cubicBezTo>
                    <a:pt x="373" y="211"/>
                    <a:pt x="373" y="213"/>
                    <a:pt x="370" y="214"/>
                  </a:cubicBezTo>
                  <a:cubicBezTo>
                    <a:pt x="369" y="216"/>
                    <a:pt x="369" y="213"/>
                    <a:pt x="362" y="216"/>
                  </a:cubicBezTo>
                  <a:cubicBezTo>
                    <a:pt x="358" y="220"/>
                    <a:pt x="361" y="222"/>
                    <a:pt x="364" y="219"/>
                  </a:cubicBezTo>
                  <a:cubicBezTo>
                    <a:pt x="369" y="214"/>
                    <a:pt x="370" y="217"/>
                    <a:pt x="375" y="2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14"/>
            <p:cNvSpPr>
              <a:spLocks/>
            </p:cNvSpPr>
            <p:nvPr/>
          </p:nvSpPr>
          <p:spPr bwMode="auto">
            <a:xfrm>
              <a:off x="2062340" y="4096386"/>
              <a:ext cx="750143" cy="587675"/>
            </a:xfrm>
            <a:custGeom>
              <a:avLst/>
              <a:gdLst/>
              <a:ahLst/>
              <a:cxnLst>
                <a:cxn ang="0">
                  <a:pos x="207" y="154"/>
                </a:cxn>
                <a:cxn ang="0">
                  <a:pos x="204" y="161"/>
                </a:cxn>
                <a:cxn ang="0">
                  <a:pos x="210" y="167"/>
                </a:cxn>
                <a:cxn ang="0">
                  <a:pos x="201" y="172"/>
                </a:cxn>
                <a:cxn ang="0">
                  <a:pos x="199" y="181"/>
                </a:cxn>
                <a:cxn ang="0">
                  <a:pos x="198" y="187"/>
                </a:cxn>
                <a:cxn ang="0">
                  <a:pos x="160" y="175"/>
                </a:cxn>
                <a:cxn ang="0">
                  <a:pos x="106" y="147"/>
                </a:cxn>
                <a:cxn ang="0">
                  <a:pos x="93" y="117"/>
                </a:cxn>
                <a:cxn ang="0">
                  <a:pos x="64" y="77"/>
                </a:cxn>
                <a:cxn ang="0">
                  <a:pos x="48" y="52"/>
                </a:cxn>
                <a:cxn ang="0">
                  <a:pos x="27" y="15"/>
                </a:cxn>
                <a:cxn ang="0">
                  <a:pos x="23" y="32"/>
                </a:cxn>
                <a:cxn ang="0">
                  <a:pos x="44" y="64"/>
                </a:cxn>
                <a:cxn ang="0">
                  <a:pos x="52" y="89"/>
                </a:cxn>
                <a:cxn ang="0">
                  <a:pos x="59" y="102"/>
                </a:cxn>
                <a:cxn ang="0">
                  <a:pos x="36" y="69"/>
                </a:cxn>
                <a:cxn ang="0">
                  <a:pos x="23" y="49"/>
                </a:cxn>
                <a:cxn ang="0">
                  <a:pos x="0" y="4"/>
                </a:cxn>
                <a:cxn ang="0">
                  <a:pos x="18" y="4"/>
                </a:cxn>
                <a:cxn ang="0">
                  <a:pos x="71" y="16"/>
                </a:cxn>
                <a:cxn ang="0">
                  <a:pos x="84" y="11"/>
                </a:cxn>
                <a:cxn ang="0">
                  <a:pos x="106" y="39"/>
                </a:cxn>
                <a:cxn ang="0">
                  <a:pos x="137" y="52"/>
                </a:cxn>
                <a:cxn ang="0">
                  <a:pos x="157" y="72"/>
                </a:cxn>
                <a:cxn ang="0">
                  <a:pos x="154" y="89"/>
                </a:cxn>
                <a:cxn ang="0">
                  <a:pos x="154" y="108"/>
                </a:cxn>
                <a:cxn ang="0">
                  <a:pos x="160" y="128"/>
                </a:cxn>
                <a:cxn ang="0">
                  <a:pos x="181" y="151"/>
                </a:cxn>
                <a:cxn ang="0">
                  <a:pos x="196" y="145"/>
                </a:cxn>
                <a:cxn ang="0">
                  <a:pos x="204" y="147"/>
                </a:cxn>
                <a:cxn ang="0">
                  <a:pos x="210" y="137"/>
                </a:cxn>
                <a:cxn ang="0">
                  <a:pos x="212" y="123"/>
                </a:cxn>
                <a:cxn ang="0">
                  <a:pos x="228" y="117"/>
                </a:cxn>
                <a:cxn ang="0">
                  <a:pos x="236" y="117"/>
                </a:cxn>
                <a:cxn ang="0">
                  <a:pos x="240" y="119"/>
                </a:cxn>
                <a:cxn ang="0">
                  <a:pos x="234" y="134"/>
                </a:cxn>
                <a:cxn ang="0">
                  <a:pos x="234" y="139"/>
                </a:cxn>
                <a:cxn ang="0">
                  <a:pos x="231" y="150"/>
                </a:cxn>
                <a:cxn ang="0">
                  <a:pos x="230" y="145"/>
                </a:cxn>
                <a:cxn ang="0">
                  <a:pos x="224" y="153"/>
                </a:cxn>
              </a:cxnLst>
              <a:rect l="0" t="0" r="r" b="b"/>
              <a:pathLst>
                <a:path w="242" h="187">
                  <a:moveTo>
                    <a:pt x="222" y="154"/>
                  </a:moveTo>
                  <a:cubicBezTo>
                    <a:pt x="207" y="154"/>
                    <a:pt x="207" y="154"/>
                    <a:pt x="207" y="154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04" y="161"/>
                    <a:pt x="204" y="161"/>
                    <a:pt x="204" y="161"/>
                  </a:cubicBezTo>
                  <a:cubicBezTo>
                    <a:pt x="204" y="161"/>
                    <a:pt x="205" y="161"/>
                    <a:pt x="205" y="162"/>
                  </a:cubicBezTo>
                  <a:cubicBezTo>
                    <a:pt x="207" y="164"/>
                    <a:pt x="208" y="164"/>
                    <a:pt x="210" y="167"/>
                  </a:cubicBezTo>
                  <a:cubicBezTo>
                    <a:pt x="210" y="170"/>
                    <a:pt x="213" y="165"/>
                    <a:pt x="212" y="172"/>
                  </a:cubicBezTo>
                  <a:cubicBezTo>
                    <a:pt x="201" y="172"/>
                    <a:pt x="201" y="172"/>
                    <a:pt x="201" y="172"/>
                  </a:cubicBezTo>
                  <a:cubicBezTo>
                    <a:pt x="198" y="179"/>
                    <a:pt x="198" y="179"/>
                    <a:pt x="198" y="179"/>
                  </a:cubicBezTo>
                  <a:cubicBezTo>
                    <a:pt x="199" y="181"/>
                    <a:pt x="199" y="181"/>
                    <a:pt x="199" y="181"/>
                  </a:cubicBezTo>
                  <a:cubicBezTo>
                    <a:pt x="199" y="181"/>
                    <a:pt x="198" y="182"/>
                    <a:pt x="198" y="184"/>
                  </a:cubicBezTo>
                  <a:cubicBezTo>
                    <a:pt x="198" y="186"/>
                    <a:pt x="198" y="187"/>
                    <a:pt x="198" y="187"/>
                  </a:cubicBezTo>
                  <a:cubicBezTo>
                    <a:pt x="190" y="181"/>
                    <a:pt x="190" y="173"/>
                    <a:pt x="179" y="172"/>
                  </a:cubicBezTo>
                  <a:cubicBezTo>
                    <a:pt x="170" y="168"/>
                    <a:pt x="170" y="179"/>
                    <a:pt x="160" y="175"/>
                  </a:cubicBezTo>
                  <a:cubicBezTo>
                    <a:pt x="149" y="172"/>
                    <a:pt x="129" y="162"/>
                    <a:pt x="123" y="156"/>
                  </a:cubicBezTo>
                  <a:cubicBezTo>
                    <a:pt x="117" y="150"/>
                    <a:pt x="114" y="154"/>
                    <a:pt x="106" y="147"/>
                  </a:cubicBezTo>
                  <a:cubicBezTo>
                    <a:pt x="100" y="140"/>
                    <a:pt x="96" y="140"/>
                    <a:pt x="93" y="134"/>
                  </a:cubicBezTo>
                  <a:cubicBezTo>
                    <a:pt x="88" y="127"/>
                    <a:pt x="97" y="123"/>
                    <a:pt x="93" y="117"/>
                  </a:cubicBezTo>
                  <a:cubicBezTo>
                    <a:pt x="90" y="109"/>
                    <a:pt x="94" y="108"/>
                    <a:pt x="79" y="92"/>
                  </a:cubicBezTo>
                  <a:cubicBezTo>
                    <a:pt x="67" y="81"/>
                    <a:pt x="73" y="81"/>
                    <a:pt x="64" y="77"/>
                  </a:cubicBezTo>
                  <a:cubicBezTo>
                    <a:pt x="56" y="72"/>
                    <a:pt x="68" y="67"/>
                    <a:pt x="59" y="63"/>
                  </a:cubicBezTo>
                  <a:cubicBezTo>
                    <a:pt x="50" y="60"/>
                    <a:pt x="55" y="55"/>
                    <a:pt x="48" y="52"/>
                  </a:cubicBezTo>
                  <a:cubicBezTo>
                    <a:pt x="42" y="47"/>
                    <a:pt x="36" y="36"/>
                    <a:pt x="33" y="25"/>
                  </a:cubicBezTo>
                  <a:cubicBezTo>
                    <a:pt x="30" y="16"/>
                    <a:pt x="30" y="16"/>
                    <a:pt x="27" y="15"/>
                  </a:cubicBezTo>
                  <a:cubicBezTo>
                    <a:pt x="23" y="13"/>
                    <a:pt x="26" y="15"/>
                    <a:pt x="20" y="11"/>
                  </a:cubicBezTo>
                  <a:cubicBezTo>
                    <a:pt x="15" y="8"/>
                    <a:pt x="20" y="25"/>
                    <a:pt x="23" y="32"/>
                  </a:cubicBezTo>
                  <a:cubicBezTo>
                    <a:pt x="26" y="38"/>
                    <a:pt x="32" y="41"/>
                    <a:pt x="33" y="49"/>
                  </a:cubicBezTo>
                  <a:cubicBezTo>
                    <a:pt x="36" y="57"/>
                    <a:pt x="41" y="58"/>
                    <a:pt x="44" y="64"/>
                  </a:cubicBezTo>
                  <a:cubicBezTo>
                    <a:pt x="47" y="72"/>
                    <a:pt x="45" y="70"/>
                    <a:pt x="48" y="78"/>
                  </a:cubicBezTo>
                  <a:cubicBezTo>
                    <a:pt x="53" y="86"/>
                    <a:pt x="50" y="86"/>
                    <a:pt x="52" y="89"/>
                  </a:cubicBezTo>
                  <a:cubicBezTo>
                    <a:pt x="55" y="92"/>
                    <a:pt x="55" y="86"/>
                    <a:pt x="58" y="92"/>
                  </a:cubicBezTo>
                  <a:cubicBezTo>
                    <a:pt x="61" y="98"/>
                    <a:pt x="64" y="98"/>
                    <a:pt x="59" y="102"/>
                  </a:cubicBezTo>
                  <a:cubicBezTo>
                    <a:pt x="55" y="105"/>
                    <a:pt x="58" y="98"/>
                    <a:pt x="45" y="89"/>
                  </a:cubicBezTo>
                  <a:cubicBezTo>
                    <a:pt x="32" y="81"/>
                    <a:pt x="44" y="74"/>
                    <a:pt x="36" y="69"/>
                  </a:cubicBezTo>
                  <a:cubicBezTo>
                    <a:pt x="30" y="63"/>
                    <a:pt x="24" y="61"/>
                    <a:pt x="18" y="55"/>
                  </a:cubicBezTo>
                  <a:cubicBezTo>
                    <a:pt x="13" y="49"/>
                    <a:pt x="23" y="57"/>
                    <a:pt x="23" y="49"/>
                  </a:cubicBezTo>
                  <a:cubicBezTo>
                    <a:pt x="24" y="41"/>
                    <a:pt x="15" y="38"/>
                    <a:pt x="12" y="32"/>
                  </a:cubicBezTo>
                  <a:cubicBezTo>
                    <a:pt x="7" y="27"/>
                    <a:pt x="9" y="21"/>
                    <a:pt x="0" y="4"/>
                  </a:cubicBezTo>
                  <a:cubicBezTo>
                    <a:pt x="4" y="2"/>
                    <a:pt x="15" y="2"/>
                    <a:pt x="18" y="0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23" y="5"/>
                    <a:pt x="45" y="15"/>
                    <a:pt x="48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93" y="21"/>
                    <a:pt x="96" y="24"/>
                  </a:cubicBezTo>
                  <a:cubicBezTo>
                    <a:pt x="100" y="27"/>
                    <a:pt x="99" y="35"/>
                    <a:pt x="106" y="39"/>
                  </a:cubicBezTo>
                  <a:cubicBezTo>
                    <a:pt x="115" y="43"/>
                    <a:pt x="109" y="29"/>
                    <a:pt x="120" y="30"/>
                  </a:cubicBezTo>
                  <a:cubicBezTo>
                    <a:pt x="129" y="32"/>
                    <a:pt x="131" y="44"/>
                    <a:pt x="137" y="52"/>
                  </a:cubicBezTo>
                  <a:cubicBezTo>
                    <a:pt x="143" y="60"/>
                    <a:pt x="138" y="69"/>
                    <a:pt x="152" y="70"/>
                  </a:cubicBezTo>
                  <a:cubicBezTo>
                    <a:pt x="154" y="70"/>
                    <a:pt x="157" y="74"/>
                    <a:pt x="157" y="72"/>
                  </a:cubicBezTo>
                  <a:cubicBezTo>
                    <a:pt x="157" y="72"/>
                    <a:pt x="157" y="72"/>
                    <a:pt x="158" y="72"/>
                  </a:cubicBezTo>
                  <a:cubicBezTo>
                    <a:pt x="158" y="78"/>
                    <a:pt x="155" y="78"/>
                    <a:pt x="154" y="89"/>
                  </a:cubicBezTo>
                  <a:cubicBezTo>
                    <a:pt x="152" y="102"/>
                    <a:pt x="154" y="102"/>
                    <a:pt x="154" y="105"/>
                  </a:cubicBezTo>
                  <a:cubicBezTo>
                    <a:pt x="152" y="106"/>
                    <a:pt x="152" y="105"/>
                    <a:pt x="154" y="108"/>
                  </a:cubicBezTo>
                  <a:cubicBezTo>
                    <a:pt x="154" y="112"/>
                    <a:pt x="154" y="117"/>
                    <a:pt x="155" y="117"/>
                  </a:cubicBezTo>
                  <a:cubicBezTo>
                    <a:pt x="157" y="117"/>
                    <a:pt x="155" y="123"/>
                    <a:pt x="160" y="128"/>
                  </a:cubicBezTo>
                  <a:cubicBezTo>
                    <a:pt x="167" y="136"/>
                    <a:pt x="164" y="144"/>
                    <a:pt x="172" y="145"/>
                  </a:cubicBezTo>
                  <a:cubicBezTo>
                    <a:pt x="179" y="147"/>
                    <a:pt x="178" y="151"/>
                    <a:pt x="181" y="151"/>
                  </a:cubicBezTo>
                  <a:cubicBezTo>
                    <a:pt x="184" y="150"/>
                    <a:pt x="184" y="148"/>
                    <a:pt x="189" y="148"/>
                  </a:cubicBezTo>
                  <a:cubicBezTo>
                    <a:pt x="196" y="147"/>
                    <a:pt x="192" y="147"/>
                    <a:pt x="196" y="145"/>
                  </a:cubicBezTo>
                  <a:cubicBezTo>
                    <a:pt x="199" y="145"/>
                    <a:pt x="201" y="145"/>
                    <a:pt x="201" y="147"/>
                  </a:cubicBezTo>
                  <a:cubicBezTo>
                    <a:pt x="201" y="150"/>
                    <a:pt x="204" y="148"/>
                    <a:pt x="204" y="147"/>
                  </a:cubicBezTo>
                  <a:cubicBezTo>
                    <a:pt x="205" y="144"/>
                    <a:pt x="202" y="145"/>
                    <a:pt x="204" y="144"/>
                  </a:cubicBezTo>
                  <a:cubicBezTo>
                    <a:pt x="205" y="142"/>
                    <a:pt x="208" y="142"/>
                    <a:pt x="210" y="137"/>
                  </a:cubicBezTo>
                  <a:cubicBezTo>
                    <a:pt x="210" y="131"/>
                    <a:pt x="212" y="136"/>
                    <a:pt x="212" y="130"/>
                  </a:cubicBezTo>
                  <a:cubicBezTo>
                    <a:pt x="210" y="125"/>
                    <a:pt x="212" y="127"/>
                    <a:pt x="212" y="123"/>
                  </a:cubicBezTo>
                  <a:cubicBezTo>
                    <a:pt x="212" y="120"/>
                    <a:pt x="218" y="119"/>
                    <a:pt x="222" y="119"/>
                  </a:cubicBezTo>
                  <a:cubicBezTo>
                    <a:pt x="227" y="119"/>
                    <a:pt x="224" y="117"/>
                    <a:pt x="228" y="117"/>
                  </a:cubicBezTo>
                  <a:cubicBezTo>
                    <a:pt x="233" y="116"/>
                    <a:pt x="236" y="119"/>
                    <a:pt x="237" y="117"/>
                  </a:cubicBezTo>
                  <a:cubicBezTo>
                    <a:pt x="239" y="117"/>
                    <a:pt x="237" y="117"/>
                    <a:pt x="236" y="117"/>
                  </a:cubicBezTo>
                  <a:cubicBezTo>
                    <a:pt x="236" y="117"/>
                    <a:pt x="237" y="116"/>
                    <a:pt x="239" y="117"/>
                  </a:cubicBezTo>
                  <a:cubicBezTo>
                    <a:pt x="240" y="119"/>
                    <a:pt x="240" y="117"/>
                    <a:pt x="240" y="119"/>
                  </a:cubicBezTo>
                  <a:cubicBezTo>
                    <a:pt x="240" y="122"/>
                    <a:pt x="242" y="120"/>
                    <a:pt x="239" y="125"/>
                  </a:cubicBezTo>
                  <a:cubicBezTo>
                    <a:pt x="234" y="131"/>
                    <a:pt x="236" y="134"/>
                    <a:pt x="234" y="134"/>
                  </a:cubicBezTo>
                  <a:cubicBezTo>
                    <a:pt x="231" y="136"/>
                    <a:pt x="233" y="137"/>
                    <a:pt x="234" y="137"/>
                  </a:cubicBezTo>
                  <a:cubicBezTo>
                    <a:pt x="236" y="136"/>
                    <a:pt x="236" y="137"/>
                    <a:pt x="234" y="139"/>
                  </a:cubicBezTo>
                  <a:cubicBezTo>
                    <a:pt x="231" y="140"/>
                    <a:pt x="236" y="139"/>
                    <a:pt x="234" y="140"/>
                  </a:cubicBezTo>
                  <a:cubicBezTo>
                    <a:pt x="234" y="142"/>
                    <a:pt x="233" y="153"/>
                    <a:pt x="231" y="150"/>
                  </a:cubicBezTo>
                  <a:cubicBezTo>
                    <a:pt x="231" y="148"/>
                    <a:pt x="230" y="148"/>
                    <a:pt x="230" y="147"/>
                  </a:cubicBezTo>
                  <a:cubicBezTo>
                    <a:pt x="231" y="144"/>
                    <a:pt x="231" y="144"/>
                    <a:pt x="230" y="145"/>
                  </a:cubicBezTo>
                  <a:cubicBezTo>
                    <a:pt x="230" y="147"/>
                    <a:pt x="228" y="147"/>
                    <a:pt x="228" y="148"/>
                  </a:cubicBezTo>
                  <a:cubicBezTo>
                    <a:pt x="225" y="147"/>
                    <a:pt x="225" y="153"/>
                    <a:pt x="224" y="153"/>
                  </a:cubicBezTo>
                  <a:cubicBezTo>
                    <a:pt x="224" y="154"/>
                    <a:pt x="222" y="151"/>
                    <a:pt x="222" y="15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15"/>
            <p:cNvSpPr>
              <a:spLocks/>
            </p:cNvSpPr>
            <p:nvPr/>
          </p:nvSpPr>
          <p:spPr bwMode="auto">
            <a:xfrm>
              <a:off x="2750238" y="4557784"/>
              <a:ext cx="27132" cy="82566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2" y="6"/>
                </a:cxn>
                <a:cxn ang="0">
                  <a:pos x="0" y="7"/>
                </a:cxn>
                <a:cxn ang="0">
                  <a:pos x="0" y="26"/>
                </a:cxn>
                <a:cxn ang="0">
                  <a:pos x="2" y="26"/>
                </a:cxn>
                <a:cxn ang="0">
                  <a:pos x="6" y="20"/>
                </a:cxn>
                <a:cxn ang="0">
                  <a:pos x="8" y="4"/>
                </a:cxn>
                <a:cxn ang="0">
                  <a:pos x="8" y="1"/>
                </a:cxn>
                <a:cxn ang="0">
                  <a:pos x="6" y="1"/>
                </a:cxn>
              </a:cxnLst>
              <a:rect l="0" t="0" r="r" b="b"/>
              <a:pathLst>
                <a:path w="9" h="26">
                  <a:moveTo>
                    <a:pt x="6" y="1"/>
                  </a:moveTo>
                  <a:cubicBezTo>
                    <a:pt x="3" y="0"/>
                    <a:pt x="3" y="6"/>
                    <a:pt x="2" y="6"/>
                  </a:cubicBezTo>
                  <a:cubicBezTo>
                    <a:pt x="2" y="7"/>
                    <a:pt x="0" y="4"/>
                    <a:pt x="0" y="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5" y="23"/>
                    <a:pt x="6" y="20"/>
                  </a:cubicBezTo>
                  <a:cubicBezTo>
                    <a:pt x="8" y="18"/>
                    <a:pt x="6" y="9"/>
                    <a:pt x="8" y="4"/>
                  </a:cubicBezTo>
                  <a:cubicBezTo>
                    <a:pt x="9" y="3"/>
                    <a:pt x="8" y="1"/>
                    <a:pt x="8" y="1"/>
                  </a:cubicBezTo>
                  <a:cubicBezTo>
                    <a:pt x="6" y="3"/>
                    <a:pt x="6" y="3"/>
                    <a:pt x="6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16"/>
            <p:cNvSpPr>
              <a:spLocks/>
            </p:cNvSpPr>
            <p:nvPr/>
          </p:nvSpPr>
          <p:spPr bwMode="auto">
            <a:xfrm>
              <a:off x="3224264" y="5422298"/>
              <a:ext cx="316018" cy="424163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0" y="10"/>
                </a:cxn>
                <a:cxn ang="0">
                  <a:pos x="36" y="6"/>
                </a:cxn>
                <a:cxn ang="0">
                  <a:pos x="41" y="27"/>
                </a:cxn>
                <a:cxn ang="0">
                  <a:pos x="56" y="34"/>
                </a:cxn>
                <a:cxn ang="0">
                  <a:pos x="62" y="39"/>
                </a:cxn>
                <a:cxn ang="0">
                  <a:pos x="73" y="42"/>
                </a:cxn>
                <a:cxn ang="0">
                  <a:pos x="79" y="69"/>
                </a:cxn>
                <a:cxn ang="0">
                  <a:pos x="91" y="70"/>
                </a:cxn>
                <a:cxn ang="0">
                  <a:pos x="94" y="79"/>
                </a:cxn>
                <a:cxn ang="0">
                  <a:pos x="96" y="95"/>
                </a:cxn>
                <a:cxn ang="0">
                  <a:pos x="94" y="103"/>
                </a:cxn>
                <a:cxn ang="0">
                  <a:pos x="93" y="107"/>
                </a:cxn>
                <a:cxn ang="0">
                  <a:pos x="90" y="103"/>
                </a:cxn>
                <a:cxn ang="0">
                  <a:pos x="76" y="100"/>
                </a:cxn>
                <a:cxn ang="0">
                  <a:pos x="64" y="104"/>
                </a:cxn>
                <a:cxn ang="0">
                  <a:pos x="61" y="115"/>
                </a:cxn>
                <a:cxn ang="0">
                  <a:pos x="58" y="129"/>
                </a:cxn>
                <a:cxn ang="0">
                  <a:pos x="55" y="126"/>
                </a:cxn>
                <a:cxn ang="0">
                  <a:pos x="49" y="126"/>
                </a:cxn>
                <a:cxn ang="0">
                  <a:pos x="44" y="134"/>
                </a:cxn>
                <a:cxn ang="0">
                  <a:pos x="35" y="128"/>
                </a:cxn>
                <a:cxn ang="0">
                  <a:pos x="29" y="123"/>
                </a:cxn>
                <a:cxn ang="0">
                  <a:pos x="26" y="128"/>
                </a:cxn>
                <a:cxn ang="0">
                  <a:pos x="21" y="134"/>
                </a:cxn>
                <a:cxn ang="0">
                  <a:pos x="15" y="131"/>
                </a:cxn>
                <a:cxn ang="0">
                  <a:pos x="12" y="115"/>
                </a:cxn>
                <a:cxn ang="0">
                  <a:pos x="10" y="111"/>
                </a:cxn>
                <a:cxn ang="0">
                  <a:pos x="10" y="106"/>
                </a:cxn>
                <a:cxn ang="0">
                  <a:pos x="10" y="101"/>
                </a:cxn>
                <a:cxn ang="0">
                  <a:pos x="9" y="97"/>
                </a:cxn>
                <a:cxn ang="0">
                  <a:pos x="6" y="87"/>
                </a:cxn>
                <a:cxn ang="0">
                  <a:pos x="3" y="79"/>
                </a:cxn>
                <a:cxn ang="0">
                  <a:pos x="4" y="67"/>
                </a:cxn>
                <a:cxn ang="0">
                  <a:pos x="4" y="56"/>
                </a:cxn>
                <a:cxn ang="0">
                  <a:pos x="7" y="45"/>
                </a:cxn>
                <a:cxn ang="0">
                  <a:pos x="9" y="31"/>
                </a:cxn>
                <a:cxn ang="0">
                  <a:pos x="3" y="16"/>
                </a:cxn>
              </a:cxnLst>
              <a:rect l="0" t="0" r="r" b="b"/>
              <a:pathLst>
                <a:path w="102" h="135">
                  <a:moveTo>
                    <a:pt x="3" y="16"/>
                  </a:moveTo>
                  <a:cubicBezTo>
                    <a:pt x="12" y="19"/>
                    <a:pt x="10" y="17"/>
                    <a:pt x="20" y="10"/>
                  </a:cubicBezTo>
                  <a:cubicBezTo>
                    <a:pt x="27" y="3"/>
                    <a:pt x="39" y="0"/>
                    <a:pt x="36" y="6"/>
                  </a:cubicBezTo>
                  <a:cubicBezTo>
                    <a:pt x="35" y="14"/>
                    <a:pt x="35" y="20"/>
                    <a:pt x="41" y="27"/>
                  </a:cubicBezTo>
                  <a:cubicBezTo>
                    <a:pt x="47" y="33"/>
                    <a:pt x="50" y="30"/>
                    <a:pt x="56" y="34"/>
                  </a:cubicBezTo>
                  <a:cubicBezTo>
                    <a:pt x="61" y="39"/>
                    <a:pt x="59" y="36"/>
                    <a:pt x="62" y="39"/>
                  </a:cubicBezTo>
                  <a:cubicBezTo>
                    <a:pt x="67" y="44"/>
                    <a:pt x="68" y="38"/>
                    <a:pt x="73" y="42"/>
                  </a:cubicBezTo>
                  <a:cubicBezTo>
                    <a:pt x="77" y="47"/>
                    <a:pt x="74" y="67"/>
                    <a:pt x="79" y="69"/>
                  </a:cubicBezTo>
                  <a:cubicBezTo>
                    <a:pt x="83" y="69"/>
                    <a:pt x="93" y="67"/>
                    <a:pt x="91" y="70"/>
                  </a:cubicBezTo>
                  <a:cubicBezTo>
                    <a:pt x="90" y="73"/>
                    <a:pt x="90" y="78"/>
                    <a:pt x="94" y="79"/>
                  </a:cubicBezTo>
                  <a:cubicBezTo>
                    <a:pt x="102" y="83"/>
                    <a:pt x="96" y="93"/>
                    <a:pt x="96" y="95"/>
                  </a:cubicBezTo>
                  <a:cubicBezTo>
                    <a:pt x="97" y="98"/>
                    <a:pt x="94" y="101"/>
                    <a:pt x="94" y="103"/>
                  </a:cubicBezTo>
                  <a:cubicBezTo>
                    <a:pt x="96" y="106"/>
                    <a:pt x="96" y="106"/>
                    <a:pt x="93" y="107"/>
                  </a:cubicBezTo>
                  <a:cubicBezTo>
                    <a:pt x="93" y="104"/>
                    <a:pt x="94" y="104"/>
                    <a:pt x="90" y="103"/>
                  </a:cubicBezTo>
                  <a:cubicBezTo>
                    <a:pt x="87" y="100"/>
                    <a:pt x="85" y="97"/>
                    <a:pt x="76" y="100"/>
                  </a:cubicBezTo>
                  <a:cubicBezTo>
                    <a:pt x="67" y="101"/>
                    <a:pt x="65" y="100"/>
                    <a:pt x="64" y="104"/>
                  </a:cubicBezTo>
                  <a:cubicBezTo>
                    <a:pt x="62" y="109"/>
                    <a:pt x="61" y="109"/>
                    <a:pt x="61" y="115"/>
                  </a:cubicBezTo>
                  <a:cubicBezTo>
                    <a:pt x="61" y="120"/>
                    <a:pt x="58" y="126"/>
                    <a:pt x="58" y="129"/>
                  </a:cubicBezTo>
                  <a:cubicBezTo>
                    <a:pt x="56" y="128"/>
                    <a:pt x="56" y="126"/>
                    <a:pt x="55" y="126"/>
                  </a:cubicBezTo>
                  <a:cubicBezTo>
                    <a:pt x="53" y="126"/>
                    <a:pt x="52" y="126"/>
                    <a:pt x="49" y="126"/>
                  </a:cubicBezTo>
                  <a:cubicBezTo>
                    <a:pt x="47" y="126"/>
                    <a:pt x="45" y="128"/>
                    <a:pt x="44" y="134"/>
                  </a:cubicBezTo>
                  <a:cubicBezTo>
                    <a:pt x="42" y="126"/>
                    <a:pt x="39" y="126"/>
                    <a:pt x="35" y="128"/>
                  </a:cubicBezTo>
                  <a:cubicBezTo>
                    <a:pt x="30" y="128"/>
                    <a:pt x="30" y="123"/>
                    <a:pt x="29" y="123"/>
                  </a:cubicBezTo>
                  <a:cubicBezTo>
                    <a:pt x="27" y="124"/>
                    <a:pt x="29" y="126"/>
                    <a:pt x="26" y="128"/>
                  </a:cubicBezTo>
                  <a:cubicBezTo>
                    <a:pt x="24" y="129"/>
                    <a:pt x="24" y="132"/>
                    <a:pt x="21" y="134"/>
                  </a:cubicBezTo>
                  <a:cubicBezTo>
                    <a:pt x="18" y="135"/>
                    <a:pt x="17" y="135"/>
                    <a:pt x="15" y="131"/>
                  </a:cubicBezTo>
                  <a:cubicBezTo>
                    <a:pt x="15" y="124"/>
                    <a:pt x="14" y="115"/>
                    <a:pt x="12" y="115"/>
                  </a:cubicBezTo>
                  <a:cubicBezTo>
                    <a:pt x="9" y="115"/>
                    <a:pt x="12" y="112"/>
                    <a:pt x="10" y="111"/>
                  </a:cubicBezTo>
                  <a:cubicBezTo>
                    <a:pt x="9" y="111"/>
                    <a:pt x="9" y="109"/>
                    <a:pt x="10" y="106"/>
                  </a:cubicBezTo>
                  <a:cubicBezTo>
                    <a:pt x="12" y="104"/>
                    <a:pt x="7" y="104"/>
                    <a:pt x="10" y="101"/>
                  </a:cubicBezTo>
                  <a:cubicBezTo>
                    <a:pt x="12" y="100"/>
                    <a:pt x="10" y="100"/>
                    <a:pt x="9" y="97"/>
                  </a:cubicBezTo>
                  <a:cubicBezTo>
                    <a:pt x="7" y="97"/>
                    <a:pt x="6" y="89"/>
                    <a:pt x="6" y="87"/>
                  </a:cubicBezTo>
                  <a:cubicBezTo>
                    <a:pt x="6" y="86"/>
                    <a:pt x="4" y="86"/>
                    <a:pt x="3" y="79"/>
                  </a:cubicBezTo>
                  <a:cubicBezTo>
                    <a:pt x="3" y="76"/>
                    <a:pt x="10" y="70"/>
                    <a:pt x="4" y="67"/>
                  </a:cubicBezTo>
                  <a:cubicBezTo>
                    <a:pt x="0" y="64"/>
                    <a:pt x="7" y="61"/>
                    <a:pt x="4" y="56"/>
                  </a:cubicBezTo>
                  <a:cubicBezTo>
                    <a:pt x="1" y="52"/>
                    <a:pt x="9" y="50"/>
                    <a:pt x="7" y="45"/>
                  </a:cubicBezTo>
                  <a:cubicBezTo>
                    <a:pt x="6" y="39"/>
                    <a:pt x="9" y="31"/>
                    <a:pt x="9" y="31"/>
                  </a:cubicBezTo>
                  <a:cubicBezTo>
                    <a:pt x="3" y="16"/>
                    <a:pt x="3" y="16"/>
                    <a:pt x="3" y="1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17"/>
            <p:cNvSpPr>
              <a:spLocks/>
            </p:cNvSpPr>
            <p:nvPr/>
          </p:nvSpPr>
          <p:spPr bwMode="auto">
            <a:xfrm>
              <a:off x="3403022" y="5723421"/>
              <a:ext cx="207486" cy="280077"/>
            </a:xfrm>
            <a:custGeom>
              <a:avLst/>
              <a:gdLst/>
              <a:ahLst/>
              <a:cxnLst>
                <a:cxn ang="0">
                  <a:pos x="62" y="66"/>
                </a:cxn>
                <a:cxn ang="0">
                  <a:pos x="62" y="75"/>
                </a:cxn>
                <a:cxn ang="0">
                  <a:pos x="56" y="84"/>
                </a:cxn>
                <a:cxn ang="0">
                  <a:pos x="50" y="86"/>
                </a:cxn>
                <a:cxn ang="0">
                  <a:pos x="36" y="84"/>
                </a:cxn>
                <a:cxn ang="0">
                  <a:pos x="32" y="83"/>
                </a:cxn>
                <a:cxn ang="0">
                  <a:pos x="35" y="78"/>
                </a:cxn>
                <a:cxn ang="0">
                  <a:pos x="36" y="72"/>
                </a:cxn>
                <a:cxn ang="0">
                  <a:pos x="39" y="66"/>
                </a:cxn>
                <a:cxn ang="0">
                  <a:pos x="35" y="59"/>
                </a:cxn>
                <a:cxn ang="0">
                  <a:pos x="23" y="53"/>
                </a:cxn>
                <a:cxn ang="0">
                  <a:pos x="12" y="47"/>
                </a:cxn>
                <a:cxn ang="0">
                  <a:pos x="3" y="38"/>
                </a:cxn>
                <a:cxn ang="0">
                  <a:pos x="0" y="33"/>
                </a:cxn>
                <a:cxn ang="0">
                  <a:pos x="3" y="19"/>
                </a:cxn>
                <a:cxn ang="0">
                  <a:pos x="6" y="8"/>
                </a:cxn>
                <a:cxn ang="0">
                  <a:pos x="18" y="3"/>
                </a:cxn>
                <a:cxn ang="0">
                  <a:pos x="32" y="7"/>
                </a:cxn>
                <a:cxn ang="0">
                  <a:pos x="35" y="11"/>
                </a:cxn>
                <a:cxn ang="0">
                  <a:pos x="38" y="22"/>
                </a:cxn>
                <a:cxn ang="0">
                  <a:pos x="36" y="30"/>
                </a:cxn>
                <a:cxn ang="0">
                  <a:pos x="47" y="31"/>
                </a:cxn>
                <a:cxn ang="0">
                  <a:pos x="55" y="35"/>
                </a:cxn>
                <a:cxn ang="0">
                  <a:pos x="58" y="50"/>
                </a:cxn>
                <a:cxn ang="0">
                  <a:pos x="64" y="49"/>
                </a:cxn>
                <a:cxn ang="0">
                  <a:pos x="62" y="66"/>
                </a:cxn>
              </a:cxnLst>
              <a:rect l="0" t="0" r="r" b="b"/>
              <a:pathLst>
                <a:path w="67" h="89">
                  <a:moveTo>
                    <a:pt x="62" y="66"/>
                  </a:moveTo>
                  <a:cubicBezTo>
                    <a:pt x="64" y="72"/>
                    <a:pt x="62" y="70"/>
                    <a:pt x="62" y="75"/>
                  </a:cubicBezTo>
                  <a:cubicBezTo>
                    <a:pt x="61" y="80"/>
                    <a:pt x="56" y="80"/>
                    <a:pt x="56" y="84"/>
                  </a:cubicBezTo>
                  <a:cubicBezTo>
                    <a:pt x="55" y="89"/>
                    <a:pt x="53" y="81"/>
                    <a:pt x="50" y="86"/>
                  </a:cubicBezTo>
                  <a:cubicBezTo>
                    <a:pt x="45" y="89"/>
                    <a:pt x="42" y="84"/>
                    <a:pt x="36" y="84"/>
                  </a:cubicBezTo>
                  <a:cubicBezTo>
                    <a:pt x="32" y="84"/>
                    <a:pt x="32" y="86"/>
                    <a:pt x="32" y="83"/>
                  </a:cubicBezTo>
                  <a:cubicBezTo>
                    <a:pt x="30" y="81"/>
                    <a:pt x="33" y="81"/>
                    <a:pt x="35" y="78"/>
                  </a:cubicBezTo>
                  <a:cubicBezTo>
                    <a:pt x="36" y="75"/>
                    <a:pt x="33" y="73"/>
                    <a:pt x="36" y="72"/>
                  </a:cubicBezTo>
                  <a:cubicBezTo>
                    <a:pt x="39" y="70"/>
                    <a:pt x="36" y="70"/>
                    <a:pt x="39" y="66"/>
                  </a:cubicBezTo>
                  <a:cubicBezTo>
                    <a:pt x="41" y="64"/>
                    <a:pt x="36" y="59"/>
                    <a:pt x="35" y="59"/>
                  </a:cubicBezTo>
                  <a:cubicBezTo>
                    <a:pt x="32" y="59"/>
                    <a:pt x="29" y="58"/>
                    <a:pt x="23" y="53"/>
                  </a:cubicBezTo>
                  <a:cubicBezTo>
                    <a:pt x="18" y="49"/>
                    <a:pt x="13" y="50"/>
                    <a:pt x="12" y="47"/>
                  </a:cubicBezTo>
                  <a:cubicBezTo>
                    <a:pt x="10" y="44"/>
                    <a:pt x="6" y="44"/>
                    <a:pt x="3" y="38"/>
                  </a:cubicBezTo>
                  <a:cubicBezTo>
                    <a:pt x="1" y="33"/>
                    <a:pt x="1" y="35"/>
                    <a:pt x="0" y="33"/>
                  </a:cubicBezTo>
                  <a:cubicBezTo>
                    <a:pt x="0" y="30"/>
                    <a:pt x="3" y="24"/>
                    <a:pt x="3" y="19"/>
                  </a:cubicBezTo>
                  <a:cubicBezTo>
                    <a:pt x="3" y="13"/>
                    <a:pt x="4" y="13"/>
                    <a:pt x="6" y="8"/>
                  </a:cubicBezTo>
                  <a:cubicBezTo>
                    <a:pt x="7" y="3"/>
                    <a:pt x="9" y="5"/>
                    <a:pt x="18" y="3"/>
                  </a:cubicBezTo>
                  <a:cubicBezTo>
                    <a:pt x="27" y="0"/>
                    <a:pt x="29" y="3"/>
                    <a:pt x="32" y="7"/>
                  </a:cubicBezTo>
                  <a:cubicBezTo>
                    <a:pt x="36" y="8"/>
                    <a:pt x="35" y="8"/>
                    <a:pt x="35" y="11"/>
                  </a:cubicBezTo>
                  <a:cubicBezTo>
                    <a:pt x="35" y="14"/>
                    <a:pt x="39" y="19"/>
                    <a:pt x="38" y="22"/>
                  </a:cubicBezTo>
                  <a:cubicBezTo>
                    <a:pt x="36" y="27"/>
                    <a:pt x="38" y="27"/>
                    <a:pt x="36" y="30"/>
                  </a:cubicBezTo>
                  <a:cubicBezTo>
                    <a:pt x="36" y="31"/>
                    <a:pt x="47" y="33"/>
                    <a:pt x="47" y="31"/>
                  </a:cubicBezTo>
                  <a:cubicBezTo>
                    <a:pt x="48" y="30"/>
                    <a:pt x="53" y="31"/>
                    <a:pt x="55" y="35"/>
                  </a:cubicBezTo>
                  <a:cubicBezTo>
                    <a:pt x="58" y="47"/>
                    <a:pt x="55" y="50"/>
                    <a:pt x="58" y="50"/>
                  </a:cubicBezTo>
                  <a:cubicBezTo>
                    <a:pt x="61" y="50"/>
                    <a:pt x="62" y="47"/>
                    <a:pt x="64" y="49"/>
                  </a:cubicBezTo>
                  <a:cubicBezTo>
                    <a:pt x="67" y="52"/>
                    <a:pt x="65" y="64"/>
                    <a:pt x="62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auto">
            <a:xfrm>
              <a:off x="3498784" y="6071493"/>
              <a:ext cx="143645" cy="173226"/>
            </a:xfrm>
            <a:custGeom>
              <a:avLst/>
              <a:gdLst/>
              <a:ahLst/>
              <a:cxnLst>
                <a:cxn ang="0">
                  <a:pos x="42" y="42"/>
                </a:cxn>
                <a:cxn ang="0">
                  <a:pos x="32" y="52"/>
                </a:cxn>
                <a:cxn ang="0">
                  <a:pos x="22" y="52"/>
                </a:cxn>
                <a:cxn ang="0">
                  <a:pos x="9" y="48"/>
                </a:cxn>
                <a:cxn ang="0">
                  <a:pos x="2" y="45"/>
                </a:cxn>
                <a:cxn ang="0">
                  <a:pos x="3" y="34"/>
                </a:cxn>
                <a:cxn ang="0">
                  <a:pos x="3" y="20"/>
                </a:cxn>
                <a:cxn ang="0">
                  <a:pos x="5" y="14"/>
                </a:cxn>
                <a:cxn ang="0">
                  <a:pos x="8" y="3"/>
                </a:cxn>
                <a:cxn ang="0">
                  <a:pos x="17" y="5"/>
                </a:cxn>
                <a:cxn ang="0">
                  <a:pos x="23" y="12"/>
                </a:cxn>
                <a:cxn ang="0">
                  <a:pos x="29" y="15"/>
                </a:cxn>
                <a:cxn ang="0">
                  <a:pos x="35" y="22"/>
                </a:cxn>
                <a:cxn ang="0">
                  <a:pos x="42" y="28"/>
                </a:cxn>
                <a:cxn ang="0">
                  <a:pos x="42" y="42"/>
                </a:cxn>
              </a:cxnLst>
              <a:rect l="0" t="0" r="r" b="b"/>
              <a:pathLst>
                <a:path w="46" h="55">
                  <a:moveTo>
                    <a:pt x="42" y="42"/>
                  </a:moveTo>
                  <a:cubicBezTo>
                    <a:pt x="39" y="48"/>
                    <a:pt x="35" y="49"/>
                    <a:pt x="32" y="52"/>
                  </a:cubicBezTo>
                  <a:cubicBezTo>
                    <a:pt x="28" y="55"/>
                    <a:pt x="26" y="51"/>
                    <a:pt x="22" y="52"/>
                  </a:cubicBezTo>
                  <a:cubicBezTo>
                    <a:pt x="19" y="54"/>
                    <a:pt x="13" y="48"/>
                    <a:pt x="9" y="48"/>
                  </a:cubicBezTo>
                  <a:cubicBezTo>
                    <a:pt x="5" y="48"/>
                    <a:pt x="2" y="45"/>
                    <a:pt x="2" y="45"/>
                  </a:cubicBezTo>
                  <a:cubicBezTo>
                    <a:pt x="0" y="42"/>
                    <a:pt x="0" y="35"/>
                    <a:pt x="3" y="34"/>
                  </a:cubicBezTo>
                  <a:cubicBezTo>
                    <a:pt x="6" y="32"/>
                    <a:pt x="2" y="23"/>
                    <a:pt x="3" y="20"/>
                  </a:cubicBezTo>
                  <a:cubicBezTo>
                    <a:pt x="6" y="18"/>
                    <a:pt x="2" y="18"/>
                    <a:pt x="5" y="14"/>
                  </a:cubicBezTo>
                  <a:cubicBezTo>
                    <a:pt x="8" y="9"/>
                    <a:pt x="5" y="8"/>
                    <a:pt x="8" y="3"/>
                  </a:cubicBezTo>
                  <a:cubicBezTo>
                    <a:pt x="11" y="8"/>
                    <a:pt x="11" y="0"/>
                    <a:pt x="17" y="5"/>
                  </a:cubicBezTo>
                  <a:cubicBezTo>
                    <a:pt x="22" y="9"/>
                    <a:pt x="19" y="14"/>
                    <a:pt x="23" y="12"/>
                  </a:cubicBezTo>
                  <a:cubicBezTo>
                    <a:pt x="26" y="9"/>
                    <a:pt x="25" y="14"/>
                    <a:pt x="29" y="15"/>
                  </a:cubicBezTo>
                  <a:cubicBezTo>
                    <a:pt x="34" y="18"/>
                    <a:pt x="32" y="18"/>
                    <a:pt x="35" y="22"/>
                  </a:cubicBezTo>
                  <a:cubicBezTo>
                    <a:pt x="40" y="23"/>
                    <a:pt x="39" y="23"/>
                    <a:pt x="42" y="28"/>
                  </a:cubicBezTo>
                  <a:cubicBezTo>
                    <a:pt x="46" y="34"/>
                    <a:pt x="39" y="34"/>
                    <a:pt x="42" y="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9"/>
            <p:cNvSpPr>
              <a:spLocks/>
            </p:cNvSpPr>
            <p:nvPr/>
          </p:nvSpPr>
          <p:spPr bwMode="auto">
            <a:xfrm>
              <a:off x="2935379" y="5129270"/>
              <a:ext cx="319210" cy="568248"/>
            </a:xfrm>
            <a:custGeom>
              <a:avLst/>
              <a:gdLst/>
              <a:ahLst/>
              <a:cxnLst>
                <a:cxn ang="0">
                  <a:pos x="93" y="42"/>
                </a:cxn>
                <a:cxn ang="0">
                  <a:pos x="85" y="42"/>
                </a:cxn>
                <a:cxn ang="0">
                  <a:pos x="71" y="49"/>
                </a:cxn>
                <a:cxn ang="0">
                  <a:pos x="64" y="66"/>
                </a:cxn>
                <a:cxn ang="0">
                  <a:pos x="67" y="91"/>
                </a:cxn>
                <a:cxn ang="0">
                  <a:pos x="74" y="96"/>
                </a:cxn>
                <a:cxn ang="0">
                  <a:pos x="85" y="96"/>
                </a:cxn>
                <a:cxn ang="0">
                  <a:pos x="88" y="108"/>
                </a:cxn>
                <a:cxn ang="0">
                  <a:pos x="96" y="108"/>
                </a:cxn>
                <a:cxn ang="0">
                  <a:pos x="102" y="124"/>
                </a:cxn>
                <a:cxn ang="0">
                  <a:pos x="100" y="138"/>
                </a:cxn>
                <a:cxn ang="0">
                  <a:pos x="97" y="149"/>
                </a:cxn>
                <a:cxn ang="0">
                  <a:pos x="97" y="160"/>
                </a:cxn>
                <a:cxn ang="0">
                  <a:pos x="96" y="172"/>
                </a:cxn>
                <a:cxn ang="0">
                  <a:pos x="93" y="175"/>
                </a:cxn>
                <a:cxn ang="0">
                  <a:pos x="88" y="181"/>
                </a:cxn>
                <a:cxn ang="0">
                  <a:pos x="80" y="174"/>
                </a:cxn>
                <a:cxn ang="0">
                  <a:pos x="65" y="161"/>
                </a:cxn>
                <a:cxn ang="0">
                  <a:pos x="50" y="149"/>
                </a:cxn>
                <a:cxn ang="0">
                  <a:pos x="42" y="135"/>
                </a:cxn>
                <a:cxn ang="0">
                  <a:pos x="35" y="119"/>
                </a:cxn>
                <a:cxn ang="0">
                  <a:pos x="30" y="108"/>
                </a:cxn>
                <a:cxn ang="0">
                  <a:pos x="23" y="85"/>
                </a:cxn>
                <a:cxn ang="0">
                  <a:pos x="14" y="70"/>
                </a:cxn>
                <a:cxn ang="0">
                  <a:pos x="4" y="57"/>
                </a:cxn>
                <a:cxn ang="0">
                  <a:pos x="3" y="52"/>
                </a:cxn>
                <a:cxn ang="0">
                  <a:pos x="11" y="34"/>
                </a:cxn>
                <a:cxn ang="0">
                  <a:pos x="9" y="43"/>
                </a:cxn>
                <a:cxn ang="0">
                  <a:pos x="15" y="45"/>
                </a:cxn>
                <a:cxn ang="0">
                  <a:pos x="21" y="48"/>
                </a:cxn>
                <a:cxn ang="0">
                  <a:pos x="26" y="35"/>
                </a:cxn>
                <a:cxn ang="0">
                  <a:pos x="47" y="18"/>
                </a:cxn>
                <a:cxn ang="0">
                  <a:pos x="50" y="1"/>
                </a:cxn>
                <a:cxn ang="0">
                  <a:pos x="55" y="4"/>
                </a:cxn>
                <a:cxn ang="0">
                  <a:pos x="61" y="12"/>
                </a:cxn>
                <a:cxn ang="0">
                  <a:pos x="70" y="25"/>
                </a:cxn>
                <a:cxn ang="0">
                  <a:pos x="85" y="23"/>
                </a:cxn>
                <a:cxn ang="0">
                  <a:pos x="91" y="28"/>
                </a:cxn>
                <a:cxn ang="0">
                  <a:pos x="88" y="39"/>
                </a:cxn>
                <a:cxn ang="0">
                  <a:pos x="93" y="42"/>
                </a:cxn>
              </a:cxnLst>
              <a:rect l="0" t="0" r="r" b="b"/>
              <a:pathLst>
                <a:path w="103" h="181">
                  <a:moveTo>
                    <a:pt x="93" y="42"/>
                  </a:moveTo>
                  <a:cubicBezTo>
                    <a:pt x="88" y="45"/>
                    <a:pt x="91" y="39"/>
                    <a:pt x="85" y="42"/>
                  </a:cubicBezTo>
                  <a:cubicBezTo>
                    <a:pt x="79" y="46"/>
                    <a:pt x="77" y="45"/>
                    <a:pt x="71" y="49"/>
                  </a:cubicBezTo>
                  <a:cubicBezTo>
                    <a:pt x="67" y="56"/>
                    <a:pt x="70" y="63"/>
                    <a:pt x="64" y="66"/>
                  </a:cubicBezTo>
                  <a:cubicBezTo>
                    <a:pt x="55" y="74"/>
                    <a:pt x="68" y="87"/>
                    <a:pt x="67" y="91"/>
                  </a:cubicBezTo>
                  <a:cubicBezTo>
                    <a:pt x="65" y="96"/>
                    <a:pt x="74" y="90"/>
                    <a:pt x="74" y="96"/>
                  </a:cubicBezTo>
                  <a:cubicBezTo>
                    <a:pt x="73" y="104"/>
                    <a:pt x="84" y="99"/>
                    <a:pt x="85" y="96"/>
                  </a:cubicBezTo>
                  <a:cubicBezTo>
                    <a:pt x="88" y="91"/>
                    <a:pt x="85" y="108"/>
                    <a:pt x="88" y="108"/>
                  </a:cubicBezTo>
                  <a:cubicBezTo>
                    <a:pt x="91" y="110"/>
                    <a:pt x="91" y="107"/>
                    <a:pt x="96" y="108"/>
                  </a:cubicBezTo>
                  <a:cubicBezTo>
                    <a:pt x="102" y="124"/>
                    <a:pt x="102" y="124"/>
                    <a:pt x="102" y="124"/>
                  </a:cubicBezTo>
                  <a:cubicBezTo>
                    <a:pt x="102" y="124"/>
                    <a:pt x="99" y="132"/>
                    <a:pt x="100" y="138"/>
                  </a:cubicBezTo>
                  <a:cubicBezTo>
                    <a:pt x="102" y="143"/>
                    <a:pt x="94" y="144"/>
                    <a:pt x="97" y="149"/>
                  </a:cubicBezTo>
                  <a:cubicBezTo>
                    <a:pt x="100" y="153"/>
                    <a:pt x="93" y="156"/>
                    <a:pt x="97" y="160"/>
                  </a:cubicBezTo>
                  <a:cubicBezTo>
                    <a:pt x="103" y="163"/>
                    <a:pt x="96" y="169"/>
                    <a:pt x="96" y="172"/>
                  </a:cubicBezTo>
                  <a:cubicBezTo>
                    <a:pt x="96" y="172"/>
                    <a:pt x="96" y="175"/>
                    <a:pt x="93" y="175"/>
                  </a:cubicBezTo>
                  <a:cubicBezTo>
                    <a:pt x="91" y="175"/>
                    <a:pt x="97" y="178"/>
                    <a:pt x="88" y="181"/>
                  </a:cubicBezTo>
                  <a:cubicBezTo>
                    <a:pt x="87" y="178"/>
                    <a:pt x="82" y="178"/>
                    <a:pt x="80" y="174"/>
                  </a:cubicBezTo>
                  <a:cubicBezTo>
                    <a:pt x="80" y="169"/>
                    <a:pt x="77" y="169"/>
                    <a:pt x="65" y="161"/>
                  </a:cubicBezTo>
                  <a:cubicBezTo>
                    <a:pt x="52" y="155"/>
                    <a:pt x="52" y="152"/>
                    <a:pt x="50" y="149"/>
                  </a:cubicBezTo>
                  <a:cubicBezTo>
                    <a:pt x="47" y="146"/>
                    <a:pt x="41" y="143"/>
                    <a:pt x="42" y="135"/>
                  </a:cubicBezTo>
                  <a:cubicBezTo>
                    <a:pt x="42" y="127"/>
                    <a:pt x="35" y="124"/>
                    <a:pt x="35" y="119"/>
                  </a:cubicBezTo>
                  <a:cubicBezTo>
                    <a:pt x="35" y="115"/>
                    <a:pt x="32" y="115"/>
                    <a:pt x="30" y="108"/>
                  </a:cubicBezTo>
                  <a:cubicBezTo>
                    <a:pt x="30" y="102"/>
                    <a:pt x="24" y="93"/>
                    <a:pt x="23" y="85"/>
                  </a:cubicBezTo>
                  <a:cubicBezTo>
                    <a:pt x="21" y="79"/>
                    <a:pt x="17" y="79"/>
                    <a:pt x="14" y="70"/>
                  </a:cubicBezTo>
                  <a:cubicBezTo>
                    <a:pt x="12" y="63"/>
                    <a:pt x="0" y="62"/>
                    <a:pt x="4" y="57"/>
                  </a:cubicBezTo>
                  <a:cubicBezTo>
                    <a:pt x="9" y="56"/>
                    <a:pt x="4" y="56"/>
                    <a:pt x="3" y="52"/>
                  </a:cubicBezTo>
                  <a:cubicBezTo>
                    <a:pt x="1" y="48"/>
                    <a:pt x="1" y="43"/>
                    <a:pt x="11" y="34"/>
                  </a:cubicBezTo>
                  <a:cubicBezTo>
                    <a:pt x="14" y="40"/>
                    <a:pt x="8" y="40"/>
                    <a:pt x="9" y="43"/>
                  </a:cubicBezTo>
                  <a:cubicBezTo>
                    <a:pt x="9" y="46"/>
                    <a:pt x="11" y="43"/>
                    <a:pt x="15" y="45"/>
                  </a:cubicBezTo>
                  <a:cubicBezTo>
                    <a:pt x="18" y="45"/>
                    <a:pt x="18" y="51"/>
                    <a:pt x="21" y="48"/>
                  </a:cubicBezTo>
                  <a:cubicBezTo>
                    <a:pt x="24" y="45"/>
                    <a:pt x="21" y="45"/>
                    <a:pt x="26" y="35"/>
                  </a:cubicBezTo>
                  <a:cubicBezTo>
                    <a:pt x="30" y="28"/>
                    <a:pt x="42" y="25"/>
                    <a:pt x="47" y="18"/>
                  </a:cubicBezTo>
                  <a:cubicBezTo>
                    <a:pt x="50" y="11"/>
                    <a:pt x="50" y="9"/>
                    <a:pt x="50" y="1"/>
                  </a:cubicBezTo>
                  <a:cubicBezTo>
                    <a:pt x="52" y="0"/>
                    <a:pt x="52" y="3"/>
                    <a:pt x="55" y="4"/>
                  </a:cubicBezTo>
                  <a:cubicBezTo>
                    <a:pt x="59" y="6"/>
                    <a:pt x="56" y="9"/>
                    <a:pt x="61" y="12"/>
                  </a:cubicBezTo>
                  <a:cubicBezTo>
                    <a:pt x="67" y="15"/>
                    <a:pt x="65" y="25"/>
                    <a:pt x="70" y="25"/>
                  </a:cubicBezTo>
                  <a:cubicBezTo>
                    <a:pt x="76" y="25"/>
                    <a:pt x="79" y="21"/>
                    <a:pt x="85" y="23"/>
                  </a:cubicBezTo>
                  <a:cubicBezTo>
                    <a:pt x="93" y="26"/>
                    <a:pt x="93" y="26"/>
                    <a:pt x="91" y="28"/>
                  </a:cubicBezTo>
                  <a:cubicBezTo>
                    <a:pt x="88" y="34"/>
                    <a:pt x="85" y="40"/>
                    <a:pt x="88" y="39"/>
                  </a:cubicBezTo>
                  <a:cubicBezTo>
                    <a:pt x="91" y="39"/>
                    <a:pt x="91" y="40"/>
                    <a:pt x="93" y="4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20"/>
            <p:cNvSpPr>
              <a:spLocks/>
            </p:cNvSpPr>
            <p:nvPr/>
          </p:nvSpPr>
          <p:spPr bwMode="auto">
            <a:xfrm>
              <a:off x="2991240" y="4747201"/>
              <a:ext cx="306442" cy="514823"/>
            </a:xfrm>
            <a:custGeom>
              <a:avLst/>
              <a:gdLst/>
              <a:ahLst/>
              <a:cxnLst>
                <a:cxn ang="0">
                  <a:pos x="64" y="6"/>
                </a:cxn>
                <a:cxn ang="0">
                  <a:pos x="61" y="2"/>
                </a:cxn>
                <a:cxn ang="0">
                  <a:pos x="52" y="8"/>
                </a:cxn>
                <a:cxn ang="0">
                  <a:pos x="40" y="13"/>
                </a:cxn>
                <a:cxn ang="0">
                  <a:pos x="34" y="14"/>
                </a:cxn>
                <a:cxn ang="0">
                  <a:pos x="29" y="25"/>
                </a:cxn>
                <a:cxn ang="0">
                  <a:pos x="25" y="33"/>
                </a:cxn>
                <a:cxn ang="0">
                  <a:pos x="20" y="41"/>
                </a:cxn>
                <a:cxn ang="0">
                  <a:pos x="16" y="38"/>
                </a:cxn>
                <a:cxn ang="0">
                  <a:pos x="17" y="45"/>
                </a:cxn>
                <a:cxn ang="0">
                  <a:pos x="16" y="48"/>
                </a:cxn>
                <a:cxn ang="0">
                  <a:pos x="13" y="47"/>
                </a:cxn>
                <a:cxn ang="0">
                  <a:pos x="11" y="52"/>
                </a:cxn>
                <a:cxn ang="0">
                  <a:pos x="13" y="55"/>
                </a:cxn>
                <a:cxn ang="0">
                  <a:pos x="14" y="58"/>
                </a:cxn>
                <a:cxn ang="0">
                  <a:pos x="16" y="64"/>
                </a:cxn>
                <a:cxn ang="0">
                  <a:pos x="14" y="73"/>
                </a:cxn>
                <a:cxn ang="0">
                  <a:pos x="16" y="87"/>
                </a:cxn>
                <a:cxn ang="0">
                  <a:pos x="11" y="98"/>
                </a:cxn>
                <a:cxn ang="0">
                  <a:pos x="5" y="103"/>
                </a:cxn>
                <a:cxn ang="0">
                  <a:pos x="3" y="109"/>
                </a:cxn>
                <a:cxn ang="0">
                  <a:pos x="13" y="115"/>
                </a:cxn>
                <a:cxn ang="0">
                  <a:pos x="16" y="119"/>
                </a:cxn>
                <a:cxn ang="0">
                  <a:pos x="23" y="120"/>
                </a:cxn>
                <a:cxn ang="0">
                  <a:pos x="26" y="120"/>
                </a:cxn>
                <a:cxn ang="0">
                  <a:pos x="32" y="123"/>
                </a:cxn>
                <a:cxn ang="0">
                  <a:pos x="37" y="126"/>
                </a:cxn>
                <a:cxn ang="0">
                  <a:pos x="43" y="134"/>
                </a:cxn>
                <a:cxn ang="0">
                  <a:pos x="52" y="147"/>
                </a:cxn>
                <a:cxn ang="0">
                  <a:pos x="67" y="145"/>
                </a:cxn>
                <a:cxn ang="0">
                  <a:pos x="73" y="150"/>
                </a:cxn>
                <a:cxn ang="0">
                  <a:pos x="70" y="161"/>
                </a:cxn>
                <a:cxn ang="0">
                  <a:pos x="75" y="164"/>
                </a:cxn>
                <a:cxn ang="0">
                  <a:pos x="78" y="140"/>
                </a:cxn>
                <a:cxn ang="0">
                  <a:pos x="78" y="129"/>
                </a:cxn>
                <a:cxn ang="0">
                  <a:pos x="73" y="119"/>
                </a:cxn>
                <a:cxn ang="0">
                  <a:pos x="78" y="115"/>
                </a:cxn>
                <a:cxn ang="0">
                  <a:pos x="81" y="117"/>
                </a:cxn>
                <a:cxn ang="0">
                  <a:pos x="80" y="112"/>
                </a:cxn>
                <a:cxn ang="0">
                  <a:pos x="75" y="112"/>
                </a:cxn>
                <a:cxn ang="0">
                  <a:pos x="75" y="106"/>
                </a:cxn>
                <a:cxn ang="0">
                  <a:pos x="89" y="106"/>
                </a:cxn>
                <a:cxn ang="0">
                  <a:pos x="90" y="105"/>
                </a:cxn>
                <a:cxn ang="0">
                  <a:pos x="95" y="101"/>
                </a:cxn>
                <a:cxn ang="0">
                  <a:pos x="99" y="111"/>
                </a:cxn>
                <a:cxn ang="0">
                  <a:pos x="95" y="98"/>
                </a:cxn>
                <a:cxn ang="0">
                  <a:pos x="92" y="95"/>
                </a:cxn>
                <a:cxn ang="0">
                  <a:pos x="95" y="90"/>
                </a:cxn>
                <a:cxn ang="0">
                  <a:pos x="92" y="81"/>
                </a:cxn>
                <a:cxn ang="0">
                  <a:pos x="95" y="62"/>
                </a:cxn>
                <a:cxn ang="0">
                  <a:pos x="80" y="62"/>
                </a:cxn>
                <a:cxn ang="0">
                  <a:pos x="72" y="55"/>
                </a:cxn>
                <a:cxn ang="0">
                  <a:pos x="61" y="55"/>
                </a:cxn>
                <a:cxn ang="0">
                  <a:pos x="55" y="50"/>
                </a:cxn>
                <a:cxn ang="0">
                  <a:pos x="55" y="41"/>
                </a:cxn>
                <a:cxn ang="0">
                  <a:pos x="49" y="33"/>
                </a:cxn>
                <a:cxn ang="0">
                  <a:pos x="49" y="30"/>
                </a:cxn>
                <a:cxn ang="0">
                  <a:pos x="55" y="14"/>
                </a:cxn>
                <a:cxn ang="0">
                  <a:pos x="64" y="6"/>
                </a:cxn>
              </a:cxnLst>
              <a:rect l="0" t="0" r="r" b="b"/>
              <a:pathLst>
                <a:path w="99" h="164">
                  <a:moveTo>
                    <a:pt x="64" y="6"/>
                  </a:moveTo>
                  <a:cubicBezTo>
                    <a:pt x="66" y="5"/>
                    <a:pt x="67" y="0"/>
                    <a:pt x="61" y="2"/>
                  </a:cubicBezTo>
                  <a:cubicBezTo>
                    <a:pt x="57" y="2"/>
                    <a:pt x="60" y="3"/>
                    <a:pt x="52" y="8"/>
                  </a:cubicBezTo>
                  <a:cubicBezTo>
                    <a:pt x="43" y="16"/>
                    <a:pt x="42" y="8"/>
                    <a:pt x="40" y="13"/>
                  </a:cubicBezTo>
                  <a:cubicBezTo>
                    <a:pt x="38" y="17"/>
                    <a:pt x="35" y="11"/>
                    <a:pt x="34" y="14"/>
                  </a:cubicBezTo>
                  <a:cubicBezTo>
                    <a:pt x="32" y="17"/>
                    <a:pt x="29" y="17"/>
                    <a:pt x="29" y="25"/>
                  </a:cubicBezTo>
                  <a:cubicBezTo>
                    <a:pt x="31" y="34"/>
                    <a:pt x="26" y="28"/>
                    <a:pt x="25" y="33"/>
                  </a:cubicBezTo>
                  <a:cubicBezTo>
                    <a:pt x="25" y="38"/>
                    <a:pt x="19" y="36"/>
                    <a:pt x="20" y="41"/>
                  </a:cubicBezTo>
                  <a:cubicBezTo>
                    <a:pt x="22" y="48"/>
                    <a:pt x="19" y="42"/>
                    <a:pt x="16" y="38"/>
                  </a:cubicBezTo>
                  <a:cubicBezTo>
                    <a:pt x="14" y="41"/>
                    <a:pt x="19" y="45"/>
                    <a:pt x="17" y="45"/>
                  </a:cubicBezTo>
                  <a:cubicBezTo>
                    <a:pt x="16" y="45"/>
                    <a:pt x="17" y="47"/>
                    <a:pt x="16" y="48"/>
                  </a:cubicBezTo>
                  <a:cubicBezTo>
                    <a:pt x="14" y="50"/>
                    <a:pt x="13" y="47"/>
                    <a:pt x="13" y="47"/>
                  </a:cubicBezTo>
                  <a:cubicBezTo>
                    <a:pt x="11" y="50"/>
                    <a:pt x="13" y="48"/>
                    <a:pt x="11" y="52"/>
                  </a:cubicBezTo>
                  <a:cubicBezTo>
                    <a:pt x="13" y="53"/>
                    <a:pt x="13" y="53"/>
                    <a:pt x="13" y="55"/>
                  </a:cubicBezTo>
                  <a:cubicBezTo>
                    <a:pt x="13" y="56"/>
                    <a:pt x="13" y="56"/>
                    <a:pt x="14" y="58"/>
                  </a:cubicBezTo>
                  <a:cubicBezTo>
                    <a:pt x="19" y="59"/>
                    <a:pt x="14" y="62"/>
                    <a:pt x="16" y="64"/>
                  </a:cubicBezTo>
                  <a:cubicBezTo>
                    <a:pt x="19" y="69"/>
                    <a:pt x="13" y="66"/>
                    <a:pt x="14" y="73"/>
                  </a:cubicBezTo>
                  <a:cubicBezTo>
                    <a:pt x="16" y="81"/>
                    <a:pt x="13" y="86"/>
                    <a:pt x="16" y="87"/>
                  </a:cubicBezTo>
                  <a:cubicBezTo>
                    <a:pt x="17" y="87"/>
                    <a:pt x="14" y="98"/>
                    <a:pt x="11" y="98"/>
                  </a:cubicBezTo>
                  <a:cubicBezTo>
                    <a:pt x="7" y="98"/>
                    <a:pt x="5" y="98"/>
                    <a:pt x="5" y="103"/>
                  </a:cubicBezTo>
                  <a:cubicBezTo>
                    <a:pt x="7" y="106"/>
                    <a:pt x="0" y="103"/>
                    <a:pt x="3" y="109"/>
                  </a:cubicBezTo>
                  <a:cubicBezTo>
                    <a:pt x="10" y="114"/>
                    <a:pt x="11" y="115"/>
                    <a:pt x="13" y="115"/>
                  </a:cubicBezTo>
                  <a:cubicBezTo>
                    <a:pt x="13" y="115"/>
                    <a:pt x="16" y="117"/>
                    <a:pt x="16" y="119"/>
                  </a:cubicBezTo>
                  <a:cubicBezTo>
                    <a:pt x="16" y="120"/>
                    <a:pt x="23" y="122"/>
                    <a:pt x="23" y="120"/>
                  </a:cubicBezTo>
                  <a:cubicBezTo>
                    <a:pt x="23" y="119"/>
                    <a:pt x="25" y="117"/>
                    <a:pt x="26" y="120"/>
                  </a:cubicBezTo>
                  <a:cubicBezTo>
                    <a:pt x="28" y="123"/>
                    <a:pt x="29" y="123"/>
                    <a:pt x="32" y="123"/>
                  </a:cubicBezTo>
                  <a:cubicBezTo>
                    <a:pt x="34" y="122"/>
                    <a:pt x="34" y="125"/>
                    <a:pt x="37" y="126"/>
                  </a:cubicBezTo>
                  <a:cubicBezTo>
                    <a:pt x="42" y="128"/>
                    <a:pt x="38" y="131"/>
                    <a:pt x="43" y="134"/>
                  </a:cubicBezTo>
                  <a:cubicBezTo>
                    <a:pt x="49" y="137"/>
                    <a:pt x="48" y="147"/>
                    <a:pt x="52" y="147"/>
                  </a:cubicBezTo>
                  <a:cubicBezTo>
                    <a:pt x="58" y="147"/>
                    <a:pt x="61" y="144"/>
                    <a:pt x="67" y="145"/>
                  </a:cubicBezTo>
                  <a:cubicBezTo>
                    <a:pt x="75" y="148"/>
                    <a:pt x="75" y="148"/>
                    <a:pt x="73" y="150"/>
                  </a:cubicBezTo>
                  <a:cubicBezTo>
                    <a:pt x="70" y="156"/>
                    <a:pt x="67" y="162"/>
                    <a:pt x="70" y="161"/>
                  </a:cubicBezTo>
                  <a:cubicBezTo>
                    <a:pt x="73" y="161"/>
                    <a:pt x="73" y="162"/>
                    <a:pt x="75" y="164"/>
                  </a:cubicBezTo>
                  <a:cubicBezTo>
                    <a:pt x="75" y="162"/>
                    <a:pt x="76" y="147"/>
                    <a:pt x="78" y="140"/>
                  </a:cubicBezTo>
                  <a:cubicBezTo>
                    <a:pt x="80" y="133"/>
                    <a:pt x="76" y="133"/>
                    <a:pt x="78" y="129"/>
                  </a:cubicBezTo>
                  <a:cubicBezTo>
                    <a:pt x="78" y="126"/>
                    <a:pt x="75" y="131"/>
                    <a:pt x="73" y="119"/>
                  </a:cubicBezTo>
                  <a:cubicBezTo>
                    <a:pt x="73" y="115"/>
                    <a:pt x="76" y="117"/>
                    <a:pt x="78" y="115"/>
                  </a:cubicBezTo>
                  <a:cubicBezTo>
                    <a:pt x="78" y="115"/>
                    <a:pt x="80" y="117"/>
                    <a:pt x="81" y="117"/>
                  </a:cubicBezTo>
                  <a:cubicBezTo>
                    <a:pt x="81" y="119"/>
                    <a:pt x="81" y="112"/>
                    <a:pt x="80" y="112"/>
                  </a:cubicBezTo>
                  <a:cubicBezTo>
                    <a:pt x="76" y="112"/>
                    <a:pt x="75" y="112"/>
                    <a:pt x="75" y="112"/>
                  </a:cubicBezTo>
                  <a:cubicBezTo>
                    <a:pt x="75" y="106"/>
                    <a:pt x="75" y="106"/>
                    <a:pt x="75" y="106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7" y="105"/>
                    <a:pt x="87" y="101"/>
                    <a:pt x="90" y="105"/>
                  </a:cubicBezTo>
                  <a:cubicBezTo>
                    <a:pt x="92" y="108"/>
                    <a:pt x="93" y="101"/>
                    <a:pt x="95" y="101"/>
                  </a:cubicBezTo>
                  <a:cubicBezTo>
                    <a:pt x="99" y="108"/>
                    <a:pt x="95" y="112"/>
                    <a:pt x="99" y="111"/>
                  </a:cubicBezTo>
                  <a:cubicBezTo>
                    <a:pt x="96" y="101"/>
                    <a:pt x="98" y="100"/>
                    <a:pt x="95" y="98"/>
                  </a:cubicBezTo>
                  <a:cubicBezTo>
                    <a:pt x="93" y="97"/>
                    <a:pt x="93" y="95"/>
                    <a:pt x="92" y="95"/>
                  </a:cubicBezTo>
                  <a:cubicBezTo>
                    <a:pt x="90" y="97"/>
                    <a:pt x="90" y="95"/>
                    <a:pt x="95" y="90"/>
                  </a:cubicBezTo>
                  <a:cubicBezTo>
                    <a:pt x="96" y="89"/>
                    <a:pt x="93" y="87"/>
                    <a:pt x="92" y="81"/>
                  </a:cubicBezTo>
                  <a:cubicBezTo>
                    <a:pt x="89" y="72"/>
                    <a:pt x="96" y="62"/>
                    <a:pt x="95" y="62"/>
                  </a:cubicBezTo>
                  <a:cubicBezTo>
                    <a:pt x="87" y="61"/>
                    <a:pt x="87" y="64"/>
                    <a:pt x="80" y="62"/>
                  </a:cubicBezTo>
                  <a:cubicBezTo>
                    <a:pt x="76" y="62"/>
                    <a:pt x="75" y="53"/>
                    <a:pt x="72" y="55"/>
                  </a:cubicBezTo>
                  <a:cubicBezTo>
                    <a:pt x="70" y="56"/>
                    <a:pt x="69" y="53"/>
                    <a:pt x="61" y="55"/>
                  </a:cubicBezTo>
                  <a:cubicBezTo>
                    <a:pt x="55" y="55"/>
                    <a:pt x="60" y="52"/>
                    <a:pt x="55" y="50"/>
                  </a:cubicBezTo>
                  <a:cubicBezTo>
                    <a:pt x="52" y="50"/>
                    <a:pt x="58" y="42"/>
                    <a:pt x="55" y="41"/>
                  </a:cubicBezTo>
                  <a:cubicBezTo>
                    <a:pt x="51" y="38"/>
                    <a:pt x="54" y="31"/>
                    <a:pt x="49" y="33"/>
                  </a:cubicBezTo>
                  <a:cubicBezTo>
                    <a:pt x="46" y="33"/>
                    <a:pt x="48" y="33"/>
                    <a:pt x="49" y="30"/>
                  </a:cubicBezTo>
                  <a:cubicBezTo>
                    <a:pt x="52" y="28"/>
                    <a:pt x="51" y="16"/>
                    <a:pt x="55" y="14"/>
                  </a:cubicBezTo>
                  <a:cubicBezTo>
                    <a:pt x="60" y="11"/>
                    <a:pt x="54" y="8"/>
                    <a:pt x="64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21"/>
            <p:cNvSpPr>
              <a:spLocks/>
            </p:cNvSpPr>
            <p:nvPr/>
          </p:nvSpPr>
          <p:spPr bwMode="auto">
            <a:xfrm>
              <a:off x="3134885" y="4743962"/>
              <a:ext cx="343151" cy="370737"/>
            </a:xfrm>
            <a:custGeom>
              <a:avLst/>
              <a:gdLst/>
              <a:ahLst/>
              <a:cxnLst>
                <a:cxn ang="0">
                  <a:pos x="102" y="73"/>
                </a:cxn>
                <a:cxn ang="0">
                  <a:pos x="88" y="84"/>
                </a:cxn>
                <a:cxn ang="0">
                  <a:pos x="82" y="87"/>
                </a:cxn>
                <a:cxn ang="0">
                  <a:pos x="71" y="85"/>
                </a:cxn>
                <a:cxn ang="0">
                  <a:pos x="77" y="99"/>
                </a:cxn>
                <a:cxn ang="0">
                  <a:pos x="77" y="104"/>
                </a:cxn>
                <a:cxn ang="0">
                  <a:pos x="71" y="110"/>
                </a:cxn>
                <a:cxn ang="0">
                  <a:pos x="62" y="117"/>
                </a:cxn>
                <a:cxn ang="0">
                  <a:pos x="53" y="112"/>
                </a:cxn>
                <a:cxn ang="0">
                  <a:pos x="48" y="99"/>
                </a:cxn>
                <a:cxn ang="0">
                  <a:pos x="45" y="96"/>
                </a:cxn>
                <a:cxn ang="0">
                  <a:pos x="48" y="92"/>
                </a:cxn>
                <a:cxn ang="0">
                  <a:pos x="45" y="82"/>
                </a:cxn>
                <a:cxn ang="0">
                  <a:pos x="48" y="64"/>
                </a:cxn>
                <a:cxn ang="0">
                  <a:pos x="33" y="64"/>
                </a:cxn>
                <a:cxn ang="0">
                  <a:pos x="26" y="56"/>
                </a:cxn>
                <a:cxn ang="0">
                  <a:pos x="15" y="56"/>
                </a:cxn>
                <a:cxn ang="0">
                  <a:pos x="9" y="51"/>
                </a:cxn>
                <a:cxn ang="0">
                  <a:pos x="9" y="42"/>
                </a:cxn>
                <a:cxn ang="0">
                  <a:pos x="3" y="34"/>
                </a:cxn>
                <a:cxn ang="0">
                  <a:pos x="3" y="31"/>
                </a:cxn>
                <a:cxn ang="0">
                  <a:pos x="9" y="15"/>
                </a:cxn>
                <a:cxn ang="0">
                  <a:pos x="18" y="7"/>
                </a:cxn>
                <a:cxn ang="0">
                  <a:pos x="14" y="14"/>
                </a:cxn>
                <a:cxn ang="0">
                  <a:pos x="15" y="17"/>
                </a:cxn>
                <a:cxn ang="0">
                  <a:pos x="23" y="14"/>
                </a:cxn>
                <a:cxn ang="0">
                  <a:pos x="26" y="9"/>
                </a:cxn>
                <a:cxn ang="0">
                  <a:pos x="30" y="6"/>
                </a:cxn>
                <a:cxn ang="0">
                  <a:pos x="41" y="18"/>
                </a:cxn>
                <a:cxn ang="0">
                  <a:pos x="59" y="21"/>
                </a:cxn>
                <a:cxn ang="0">
                  <a:pos x="71" y="23"/>
                </a:cxn>
                <a:cxn ang="0">
                  <a:pos x="77" y="18"/>
                </a:cxn>
                <a:cxn ang="0">
                  <a:pos x="88" y="18"/>
                </a:cxn>
                <a:cxn ang="0">
                  <a:pos x="86" y="20"/>
                </a:cxn>
                <a:cxn ang="0">
                  <a:pos x="91" y="26"/>
                </a:cxn>
                <a:cxn ang="0">
                  <a:pos x="97" y="29"/>
                </a:cxn>
                <a:cxn ang="0">
                  <a:pos x="100" y="34"/>
                </a:cxn>
                <a:cxn ang="0">
                  <a:pos x="97" y="40"/>
                </a:cxn>
                <a:cxn ang="0">
                  <a:pos x="108" y="40"/>
                </a:cxn>
                <a:cxn ang="0">
                  <a:pos x="102" y="50"/>
                </a:cxn>
                <a:cxn ang="0">
                  <a:pos x="105" y="54"/>
                </a:cxn>
                <a:cxn ang="0">
                  <a:pos x="102" y="57"/>
                </a:cxn>
                <a:cxn ang="0">
                  <a:pos x="99" y="62"/>
                </a:cxn>
                <a:cxn ang="0">
                  <a:pos x="102" y="73"/>
                </a:cxn>
              </a:cxnLst>
              <a:rect l="0" t="0" r="r" b="b"/>
              <a:pathLst>
                <a:path w="111" h="118">
                  <a:moveTo>
                    <a:pt x="102" y="73"/>
                  </a:moveTo>
                  <a:cubicBezTo>
                    <a:pt x="103" y="79"/>
                    <a:pt x="92" y="84"/>
                    <a:pt x="88" y="84"/>
                  </a:cubicBezTo>
                  <a:cubicBezTo>
                    <a:pt x="83" y="82"/>
                    <a:pt x="90" y="92"/>
                    <a:pt x="82" y="87"/>
                  </a:cubicBezTo>
                  <a:cubicBezTo>
                    <a:pt x="76" y="84"/>
                    <a:pt x="68" y="81"/>
                    <a:pt x="71" y="85"/>
                  </a:cubicBezTo>
                  <a:cubicBezTo>
                    <a:pt x="74" y="90"/>
                    <a:pt x="74" y="101"/>
                    <a:pt x="77" y="99"/>
                  </a:cubicBezTo>
                  <a:cubicBezTo>
                    <a:pt x="80" y="98"/>
                    <a:pt x="82" y="101"/>
                    <a:pt x="77" y="104"/>
                  </a:cubicBezTo>
                  <a:cubicBezTo>
                    <a:pt x="73" y="106"/>
                    <a:pt x="77" y="110"/>
                    <a:pt x="71" y="110"/>
                  </a:cubicBezTo>
                  <a:cubicBezTo>
                    <a:pt x="65" y="112"/>
                    <a:pt x="67" y="118"/>
                    <a:pt x="62" y="117"/>
                  </a:cubicBezTo>
                  <a:cubicBezTo>
                    <a:pt x="59" y="115"/>
                    <a:pt x="56" y="118"/>
                    <a:pt x="53" y="112"/>
                  </a:cubicBezTo>
                  <a:cubicBezTo>
                    <a:pt x="50" y="103"/>
                    <a:pt x="51" y="101"/>
                    <a:pt x="48" y="99"/>
                  </a:cubicBezTo>
                  <a:cubicBezTo>
                    <a:pt x="47" y="98"/>
                    <a:pt x="47" y="96"/>
                    <a:pt x="45" y="96"/>
                  </a:cubicBezTo>
                  <a:cubicBezTo>
                    <a:pt x="44" y="98"/>
                    <a:pt x="44" y="96"/>
                    <a:pt x="48" y="92"/>
                  </a:cubicBezTo>
                  <a:cubicBezTo>
                    <a:pt x="50" y="90"/>
                    <a:pt x="47" y="89"/>
                    <a:pt x="45" y="82"/>
                  </a:cubicBezTo>
                  <a:cubicBezTo>
                    <a:pt x="42" y="73"/>
                    <a:pt x="50" y="64"/>
                    <a:pt x="48" y="64"/>
                  </a:cubicBezTo>
                  <a:cubicBezTo>
                    <a:pt x="41" y="62"/>
                    <a:pt x="41" y="65"/>
                    <a:pt x="33" y="64"/>
                  </a:cubicBezTo>
                  <a:cubicBezTo>
                    <a:pt x="30" y="64"/>
                    <a:pt x="29" y="54"/>
                    <a:pt x="26" y="56"/>
                  </a:cubicBezTo>
                  <a:cubicBezTo>
                    <a:pt x="24" y="57"/>
                    <a:pt x="23" y="54"/>
                    <a:pt x="15" y="56"/>
                  </a:cubicBezTo>
                  <a:cubicBezTo>
                    <a:pt x="9" y="56"/>
                    <a:pt x="14" y="53"/>
                    <a:pt x="9" y="51"/>
                  </a:cubicBezTo>
                  <a:cubicBezTo>
                    <a:pt x="6" y="51"/>
                    <a:pt x="12" y="43"/>
                    <a:pt x="9" y="42"/>
                  </a:cubicBezTo>
                  <a:cubicBezTo>
                    <a:pt x="4" y="39"/>
                    <a:pt x="7" y="32"/>
                    <a:pt x="3" y="34"/>
                  </a:cubicBezTo>
                  <a:cubicBezTo>
                    <a:pt x="0" y="34"/>
                    <a:pt x="1" y="34"/>
                    <a:pt x="3" y="31"/>
                  </a:cubicBezTo>
                  <a:cubicBezTo>
                    <a:pt x="6" y="29"/>
                    <a:pt x="4" y="17"/>
                    <a:pt x="9" y="15"/>
                  </a:cubicBezTo>
                  <a:cubicBezTo>
                    <a:pt x="14" y="12"/>
                    <a:pt x="7" y="9"/>
                    <a:pt x="18" y="7"/>
                  </a:cubicBezTo>
                  <a:cubicBezTo>
                    <a:pt x="15" y="9"/>
                    <a:pt x="10" y="11"/>
                    <a:pt x="14" y="14"/>
                  </a:cubicBezTo>
                  <a:cubicBezTo>
                    <a:pt x="14" y="14"/>
                    <a:pt x="15" y="15"/>
                    <a:pt x="15" y="17"/>
                  </a:cubicBezTo>
                  <a:cubicBezTo>
                    <a:pt x="15" y="21"/>
                    <a:pt x="17" y="15"/>
                    <a:pt x="23" y="14"/>
                  </a:cubicBezTo>
                  <a:cubicBezTo>
                    <a:pt x="30" y="12"/>
                    <a:pt x="27" y="11"/>
                    <a:pt x="26" y="9"/>
                  </a:cubicBezTo>
                  <a:cubicBezTo>
                    <a:pt x="26" y="6"/>
                    <a:pt x="29" y="0"/>
                    <a:pt x="30" y="6"/>
                  </a:cubicBezTo>
                  <a:cubicBezTo>
                    <a:pt x="33" y="14"/>
                    <a:pt x="41" y="9"/>
                    <a:pt x="41" y="18"/>
                  </a:cubicBezTo>
                  <a:cubicBezTo>
                    <a:pt x="41" y="26"/>
                    <a:pt x="56" y="15"/>
                    <a:pt x="59" y="21"/>
                  </a:cubicBezTo>
                  <a:cubicBezTo>
                    <a:pt x="64" y="26"/>
                    <a:pt x="68" y="25"/>
                    <a:pt x="71" y="23"/>
                  </a:cubicBezTo>
                  <a:cubicBezTo>
                    <a:pt x="74" y="21"/>
                    <a:pt x="70" y="18"/>
                    <a:pt x="77" y="18"/>
                  </a:cubicBezTo>
                  <a:cubicBezTo>
                    <a:pt x="85" y="18"/>
                    <a:pt x="82" y="17"/>
                    <a:pt x="88" y="18"/>
                  </a:cubicBezTo>
                  <a:cubicBezTo>
                    <a:pt x="94" y="18"/>
                    <a:pt x="92" y="20"/>
                    <a:pt x="86" y="20"/>
                  </a:cubicBezTo>
                  <a:cubicBezTo>
                    <a:pt x="80" y="21"/>
                    <a:pt x="90" y="25"/>
                    <a:pt x="91" y="26"/>
                  </a:cubicBezTo>
                  <a:cubicBezTo>
                    <a:pt x="92" y="29"/>
                    <a:pt x="96" y="26"/>
                    <a:pt x="97" y="29"/>
                  </a:cubicBezTo>
                  <a:cubicBezTo>
                    <a:pt x="99" y="32"/>
                    <a:pt x="103" y="31"/>
                    <a:pt x="100" y="34"/>
                  </a:cubicBezTo>
                  <a:cubicBezTo>
                    <a:pt x="97" y="36"/>
                    <a:pt x="99" y="37"/>
                    <a:pt x="97" y="40"/>
                  </a:cubicBezTo>
                  <a:cubicBezTo>
                    <a:pt x="94" y="43"/>
                    <a:pt x="103" y="37"/>
                    <a:pt x="108" y="40"/>
                  </a:cubicBezTo>
                  <a:cubicBezTo>
                    <a:pt x="111" y="45"/>
                    <a:pt x="103" y="46"/>
                    <a:pt x="102" y="50"/>
                  </a:cubicBezTo>
                  <a:cubicBezTo>
                    <a:pt x="100" y="51"/>
                    <a:pt x="103" y="51"/>
                    <a:pt x="105" y="54"/>
                  </a:cubicBezTo>
                  <a:cubicBezTo>
                    <a:pt x="105" y="56"/>
                    <a:pt x="105" y="56"/>
                    <a:pt x="102" y="57"/>
                  </a:cubicBezTo>
                  <a:cubicBezTo>
                    <a:pt x="97" y="59"/>
                    <a:pt x="97" y="57"/>
                    <a:pt x="99" y="62"/>
                  </a:cubicBezTo>
                  <a:cubicBezTo>
                    <a:pt x="100" y="67"/>
                    <a:pt x="91" y="64"/>
                    <a:pt x="102" y="7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22"/>
            <p:cNvSpPr>
              <a:spLocks/>
            </p:cNvSpPr>
            <p:nvPr/>
          </p:nvSpPr>
          <p:spPr bwMode="auto">
            <a:xfrm>
              <a:off x="3415791" y="4868620"/>
              <a:ext cx="135664" cy="233128"/>
            </a:xfrm>
            <a:custGeom>
              <a:avLst/>
              <a:gdLst/>
              <a:ahLst/>
              <a:cxnLst>
                <a:cxn ang="0">
                  <a:pos x="44" y="66"/>
                </a:cxn>
                <a:cxn ang="0">
                  <a:pos x="38" y="64"/>
                </a:cxn>
                <a:cxn ang="0">
                  <a:pos x="30" y="69"/>
                </a:cxn>
                <a:cxn ang="0">
                  <a:pos x="26" y="72"/>
                </a:cxn>
                <a:cxn ang="0">
                  <a:pos x="18" y="64"/>
                </a:cxn>
                <a:cxn ang="0">
                  <a:pos x="17" y="56"/>
                </a:cxn>
                <a:cxn ang="0">
                  <a:pos x="18" y="47"/>
                </a:cxn>
                <a:cxn ang="0">
                  <a:pos x="15" y="38"/>
                </a:cxn>
                <a:cxn ang="0">
                  <a:pos x="14" y="33"/>
                </a:cxn>
                <a:cxn ang="0">
                  <a:pos x="10" y="33"/>
                </a:cxn>
                <a:cxn ang="0">
                  <a:pos x="7" y="22"/>
                </a:cxn>
                <a:cxn ang="0">
                  <a:pos x="10" y="17"/>
                </a:cxn>
                <a:cxn ang="0">
                  <a:pos x="14" y="14"/>
                </a:cxn>
                <a:cxn ang="0">
                  <a:pos x="10" y="10"/>
                </a:cxn>
                <a:cxn ang="0">
                  <a:pos x="17" y="0"/>
                </a:cxn>
                <a:cxn ang="0">
                  <a:pos x="18" y="2"/>
                </a:cxn>
                <a:cxn ang="0">
                  <a:pos x="27" y="13"/>
                </a:cxn>
                <a:cxn ang="0">
                  <a:pos x="32" y="17"/>
                </a:cxn>
                <a:cxn ang="0">
                  <a:pos x="37" y="22"/>
                </a:cxn>
                <a:cxn ang="0">
                  <a:pos x="40" y="27"/>
                </a:cxn>
                <a:cxn ang="0">
                  <a:pos x="38" y="33"/>
                </a:cxn>
                <a:cxn ang="0">
                  <a:pos x="35" y="36"/>
                </a:cxn>
                <a:cxn ang="0">
                  <a:pos x="32" y="38"/>
                </a:cxn>
                <a:cxn ang="0">
                  <a:pos x="32" y="42"/>
                </a:cxn>
                <a:cxn ang="0">
                  <a:pos x="35" y="50"/>
                </a:cxn>
                <a:cxn ang="0">
                  <a:pos x="38" y="52"/>
                </a:cxn>
                <a:cxn ang="0">
                  <a:pos x="40" y="58"/>
                </a:cxn>
                <a:cxn ang="0">
                  <a:pos x="44" y="66"/>
                </a:cxn>
              </a:cxnLst>
              <a:rect l="0" t="0" r="r" b="b"/>
              <a:pathLst>
                <a:path w="44" h="74">
                  <a:moveTo>
                    <a:pt x="44" y="66"/>
                  </a:moveTo>
                  <a:cubicBezTo>
                    <a:pt x="40" y="66"/>
                    <a:pt x="41" y="64"/>
                    <a:pt x="38" y="64"/>
                  </a:cubicBezTo>
                  <a:cubicBezTo>
                    <a:pt x="35" y="66"/>
                    <a:pt x="34" y="71"/>
                    <a:pt x="30" y="69"/>
                  </a:cubicBezTo>
                  <a:cubicBezTo>
                    <a:pt x="27" y="69"/>
                    <a:pt x="29" y="71"/>
                    <a:pt x="26" y="72"/>
                  </a:cubicBezTo>
                  <a:cubicBezTo>
                    <a:pt x="24" y="74"/>
                    <a:pt x="18" y="69"/>
                    <a:pt x="18" y="64"/>
                  </a:cubicBezTo>
                  <a:cubicBezTo>
                    <a:pt x="18" y="60"/>
                    <a:pt x="15" y="63"/>
                    <a:pt x="17" y="56"/>
                  </a:cubicBezTo>
                  <a:cubicBezTo>
                    <a:pt x="18" y="50"/>
                    <a:pt x="18" y="50"/>
                    <a:pt x="18" y="47"/>
                  </a:cubicBezTo>
                  <a:cubicBezTo>
                    <a:pt x="21" y="41"/>
                    <a:pt x="14" y="42"/>
                    <a:pt x="15" y="38"/>
                  </a:cubicBezTo>
                  <a:cubicBezTo>
                    <a:pt x="17" y="35"/>
                    <a:pt x="15" y="31"/>
                    <a:pt x="14" y="33"/>
                  </a:cubicBezTo>
                  <a:cubicBezTo>
                    <a:pt x="12" y="33"/>
                    <a:pt x="10" y="33"/>
                    <a:pt x="10" y="33"/>
                  </a:cubicBezTo>
                  <a:cubicBezTo>
                    <a:pt x="0" y="24"/>
                    <a:pt x="9" y="27"/>
                    <a:pt x="7" y="22"/>
                  </a:cubicBezTo>
                  <a:cubicBezTo>
                    <a:pt x="6" y="17"/>
                    <a:pt x="6" y="19"/>
                    <a:pt x="10" y="17"/>
                  </a:cubicBezTo>
                  <a:cubicBezTo>
                    <a:pt x="14" y="16"/>
                    <a:pt x="14" y="16"/>
                    <a:pt x="14" y="14"/>
                  </a:cubicBezTo>
                  <a:cubicBezTo>
                    <a:pt x="12" y="11"/>
                    <a:pt x="9" y="11"/>
                    <a:pt x="10" y="10"/>
                  </a:cubicBezTo>
                  <a:cubicBezTo>
                    <a:pt x="12" y="6"/>
                    <a:pt x="20" y="5"/>
                    <a:pt x="17" y="0"/>
                  </a:cubicBezTo>
                  <a:cubicBezTo>
                    <a:pt x="17" y="2"/>
                    <a:pt x="18" y="2"/>
                    <a:pt x="18" y="2"/>
                  </a:cubicBezTo>
                  <a:cubicBezTo>
                    <a:pt x="26" y="6"/>
                    <a:pt x="29" y="10"/>
                    <a:pt x="27" y="13"/>
                  </a:cubicBezTo>
                  <a:cubicBezTo>
                    <a:pt x="27" y="17"/>
                    <a:pt x="26" y="16"/>
                    <a:pt x="32" y="17"/>
                  </a:cubicBezTo>
                  <a:cubicBezTo>
                    <a:pt x="37" y="19"/>
                    <a:pt x="34" y="22"/>
                    <a:pt x="37" y="22"/>
                  </a:cubicBezTo>
                  <a:cubicBezTo>
                    <a:pt x="38" y="22"/>
                    <a:pt x="38" y="25"/>
                    <a:pt x="40" y="27"/>
                  </a:cubicBezTo>
                  <a:cubicBezTo>
                    <a:pt x="40" y="30"/>
                    <a:pt x="38" y="31"/>
                    <a:pt x="38" y="33"/>
                  </a:cubicBezTo>
                  <a:cubicBezTo>
                    <a:pt x="38" y="35"/>
                    <a:pt x="38" y="35"/>
                    <a:pt x="35" y="36"/>
                  </a:cubicBezTo>
                  <a:cubicBezTo>
                    <a:pt x="32" y="36"/>
                    <a:pt x="32" y="36"/>
                    <a:pt x="32" y="38"/>
                  </a:cubicBezTo>
                  <a:cubicBezTo>
                    <a:pt x="34" y="39"/>
                    <a:pt x="34" y="39"/>
                    <a:pt x="32" y="42"/>
                  </a:cubicBezTo>
                  <a:cubicBezTo>
                    <a:pt x="30" y="47"/>
                    <a:pt x="34" y="47"/>
                    <a:pt x="35" y="50"/>
                  </a:cubicBezTo>
                  <a:cubicBezTo>
                    <a:pt x="35" y="53"/>
                    <a:pt x="37" y="50"/>
                    <a:pt x="38" y="52"/>
                  </a:cubicBezTo>
                  <a:cubicBezTo>
                    <a:pt x="38" y="53"/>
                    <a:pt x="37" y="55"/>
                    <a:pt x="40" y="58"/>
                  </a:cubicBezTo>
                  <a:cubicBezTo>
                    <a:pt x="41" y="60"/>
                    <a:pt x="41" y="63"/>
                    <a:pt x="44" y="6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23"/>
            <p:cNvSpPr>
              <a:spLocks/>
            </p:cNvSpPr>
            <p:nvPr/>
          </p:nvSpPr>
          <p:spPr bwMode="auto">
            <a:xfrm>
              <a:off x="3511553" y="4944711"/>
              <a:ext cx="102147" cy="137610"/>
            </a:xfrm>
            <a:custGeom>
              <a:avLst/>
              <a:gdLst/>
              <a:ahLst/>
              <a:cxnLst>
                <a:cxn ang="0">
                  <a:pos x="33" y="4"/>
                </a:cxn>
                <a:cxn ang="0">
                  <a:pos x="29" y="15"/>
                </a:cxn>
                <a:cxn ang="0">
                  <a:pos x="32" y="23"/>
                </a:cxn>
                <a:cxn ang="0">
                  <a:pos x="32" y="27"/>
                </a:cxn>
                <a:cxn ang="0">
                  <a:pos x="29" y="37"/>
                </a:cxn>
                <a:cxn ang="0">
                  <a:pos x="26" y="35"/>
                </a:cxn>
                <a:cxn ang="0">
                  <a:pos x="20" y="37"/>
                </a:cxn>
                <a:cxn ang="0">
                  <a:pos x="18" y="40"/>
                </a:cxn>
                <a:cxn ang="0">
                  <a:pos x="13" y="41"/>
                </a:cxn>
                <a:cxn ang="0">
                  <a:pos x="9" y="33"/>
                </a:cxn>
                <a:cxn ang="0">
                  <a:pos x="7" y="27"/>
                </a:cxn>
                <a:cxn ang="0">
                  <a:pos x="4" y="26"/>
                </a:cxn>
                <a:cxn ang="0">
                  <a:pos x="1" y="18"/>
                </a:cxn>
                <a:cxn ang="0">
                  <a:pos x="1" y="14"/>
                </a:cxn>
                <a:cxn ang="0">
                  <a:pos x="4" y="12"/>
                </a:cxn>
                <a:cxn ang="0">
                  <a:pos x="7" y="9"/>
                </a:cxn>
                <a:cxn ang="0">
                  <a:pos x="9" y="3"/>
                </a:cxn>
                <a:cxn ang="0">
                  <a:pos x="18" y="3"/>
                </a:cxn>
                <a:cxn ang="0">
                  <a:pos x="21" y="1"/>
                </a:cxn>
                <a:cxn ang="0">
                  <a:pos x="24" y="1"/>
                </a:cxn>
                <a:cxn ang="0">
                  <a:pos x="33" y="4"/>
                </a:cxn>
              </a:cxnLst>
              <a:rect l="0" t="0" r="r" b="b"/>
              <a:pathLst>
                <a:path w="33" h="44">
                  <a:moveTo>
                    <a:pt x="33" y="4"/>
                  </a:moveTo>
                  <a:cubicBezTo>
                    <a:pt x="30" y="12"/>
                    <a:pt x="29" y="9"/>
                    <a:pt x="29" y="15"/>
                  </a:cubicBezTo>
                  <a:cubicBezTo>
                    <a:pt x="30" y="20"/>
                    <a:pt x="30" y="21"/>
                    <a:pt x="32" y="23"/>
                  </a:cubicBezTo>
                  <a:cubicBezTo>
                    <a:pt x="33" y="24"/>
                    <a:pt x="33" y="26"/>
                    <a:pt x="32" y="27"/>
                  </a:cubicBezTo>
                  <a:cubicBezTo>
                    <a:pt x="30" y="29"/>
                    <a:pt x="33" y="33"/>
                    <a:pt x="29" y="37"/>
                  </a:cubicBezTo>
                  <a:cubicBezTo>
                    <a:pt x="27" y="35"/>
                    <a:pt x="26" y="37"/>
                    <a:pt x="26" y="35"/>
                  </a:cubicBezTo>
                  <a:cubicBezTo>
                    <a:pt x="26" y="32"/>
                    <a:pt x="21" y="38"/>
                    <a:pt x="20" y="37"/>
                  </a:cubicBezTo>
                  <a:cubicBezTo>
                    <a:pt x="16" y="35"/>
                    <a:pt x="16" y="37"/>
                    <a:pt x="18" y="40"/>
                  </a:cubicBezTo>
                  <a:cubicBezTo>
                    <a:pt x="20" y="44"/>
                    <a:pt x="15" y="40"/>
                    <a:pt x="13" y="41"/>
                  </a:cubicBezTo>
                  <a:cubicBezTo>
                    <a:pt x="10" y="38"/>
                    <a:pt x="10" y="35"/>
                    <a:pt x="9" y="33"/>
                  </a:cubicBezTo>
                  <a:cubicBezTo>
                    <a:pt x="6" y="30"/>
                    <a:pt x="7" y="29"/>
                    <a:pt x="7" y="27"/>
                  </a:cubicBezTo>
                  <a:cubicBezTo>
                    <a:pt x="6" y="26"/>
                    <a:pt x="4" y="29"/>
                    <a:pt x="4" y="26"/>
                  </a:cubicBezTo>
                  <a:cubicBezTo>
                    <a:pt x="3" y="23"/>
                    <a:pt x="0" y="23"/>
                    <a:pt x="1" y="18"/>
                  </a:cubicBezTo>
                  <a:cubicBezTo>
                    <a:pt x="3" y="15"/>
                    <a:pt x="3" y="15"/>
                    <a:pt x="1" y="14"/>
                  </a:cubicBezTo>
                  <a:cubicBezTo>
                    <a:pt x="1" y="12"/>
                    <a:pt x="1" y="12"/>
                    <a:pt x="4" y="12"/>
                  </a:cubicBezTo>
                  <a:cubicBezTo>
                    <a:pt x="7" y="10"/>
                    <a:pt x="7" y="10"/>
                    <a:pt x="7" y="9"/>
                  </a:cubicBezTo>
                  <a:cubicBezTo>
                    <a:pt x="7" y="7"/>
                    <a:pt x="9" y="6"/>
                    <a:pt x="9" y="3"/>
                  </a:cubicBezTo>
                  <a:cubicBezTo>
                    <a:pt x="12" y="0"/>
                    <a:pt x="18" y="4"/>
                    <a:pt x="18" y="3"/>
                  </a:cubicBezTo>
                  <a:cubicBezTo>
                    <a:pt x="18" y="1"/>
                    <a:pt x="20" y="1"/>
                    <a:pt x="21" y="1"/>
                  </a:cubicBezTo>
                  <a:cubicBezTo>
                    <a:pt x="23" y="1"/>
                    <a:pt x="24" y="3"/>
                    <a:pt x="24" y="1"/>
                  </a:cubicBezTo>
                  <a:cubicBezTo>
                    <a:pt x="24" y="1"/>
                    <a:pt x="30" y="3"/>
                    <a:pt x="33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24"/>
            <p:cNvSpPr>
              <a:spLocks/>
            </p:cNvSpPr>
            <p:nvPr/>
          </p:nvSpPr>
          <p:spPr bwMode="auto">
            <a:xfrm>
              <a:off x="3600932" y="4957662"/>
              <a:ext cx="71822" cy="11332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7" y="0"/>
                </a:cxn>
                <a:cxn ang="0">
                  <a:pos x="13" y="5"/>
                </a:cxn>
                <a:cxn ang="0">
                  <a:pos x="20" y="9"/>
                </a:cxn>
                <a:cxn ang="0">
                  <a:pos x="23" y="14"/>
                </a:cxn>
                <a:cxn ang="0">
                  <a:pos x="23" y="17"/>
                </a:cxn>
                <a:cxn ang="0">
                  <a:pos x="18" y="23"/>
                </a:cxn>
                <a:cxn ang="0">
                  <a:pos x="12" y="34"/>
                </a:cxn>
                <a:cxn ang="0">
                  <a:pos x="9" y="33"/>
                </a:cxn>
                <a:cxn ang="0">
                  <a:pos x="4" y="34"/>
                </a:cxn>
                <a:cxn ang="0">
                  <a:pos x="0" y="33"/>
                </a:cxn>
                <a:cxn ang="0">
                  <a:pos x="3" y="23"/>
                </a:cxn>
                <a:cxn ang="0">
                  <a:pos x="3" y="19"/>
                </a:cxn>
                <a:cxn ang="0">
                  <a:pos x="0" y="11"/>
                </a:cxn>
                <a:cxn ang="0">
                  <a:pos x="4" y="0"/>
                </a:cxn>
              </a:cxnLst>
              <a:rect l="0" t="0" r="r" b="b"/>
              <a:pathLst>
                <a:path w="23" h="36">
                  <a:moveTo>
                    <a:pt x="4" y="0"/>
                  </a:moveTo>
                  <a:cubicBezTo>
                    <a:pt x="6" y="0"/>
                    <a:pt x="6" y="0"/>
                    <a:pt x="7" y="0"/>
                  </a:cubicBezTo>
                  <a:cubicBezTo>
                    <a:pt x="10" y="2"/>
                    <a:pt x="12" y="2"/>
                    <a:pt x="13" y="5"/>
                  </a:cubicBezTo>
                  <a:cubicBezTo>
                    <a:pt x="15" y="8"/>
                    <a:pt x="18" y="8"/>
                    <a:pt x="20" y="9"/>
                  </a:cubicBezTo>
                  <a:cubicBezTo>
                    <a:pt x="21" y="14"/>
                    <a:pt x="21" y="6"/>
                    <a:pt x="23" y="14"/>
                  </a:cubicBezTo>
                  <a:cubicBezTo>
                    <a:pt x="23" y="14"/>
                    <a:pt x="21" y="16"/>
                    <a:pt x="23" y="17"/>
                  </a:cubicBezTo>
                  <a:cubicBezTo>
                    <a:pt x="21" y="19"/>
                    <a:pt x="21" y="19"/>
                    <a:pt x="18" y="23"/>
                  </a:cubicBezTo>
                  <a:cubicBezTo>
                    <a:pt x="17" y="26"/>
                    <a:pt x="15" y="34"/>
                    <a:pt x="12" y="34"/>
                  </a:cubicBezTo>
                  <a:cubicBezTo>
                    <a:pt x="9" y="34"/>
                    <a:pt x="10" y="31"/>
                    <a:pt x="9" y="33"/>
                  </a:cubicBezTo>
                  <a:cubicBezTo>
                    <a:pt x="6" y="36"/>
                    <a:pt x="6" y="31"/>
                    <a:pt x="4" y="34"/>
                  </a:cubicBezTo>
                  <a:cubicBezTo>
                    <a:pt x="3" y="36"/>
                    <a:pt x="1" y="36"/>
                    <a:pt x="0" y="33"/>
                  </a:cubicBezTo>
                  <a:cubicBezTo>
                    <a:pt x="4" y="30"/>
                    <a:pt x="1" y="25"/>
                    <a:pt x="3" y="23"/>
                  </a:cubicBezTo>
                  <a:cubicBezTo>
                    <a:pt x="4" y="22"/>
                    <a:pt x="4" y="20"/>
                    <a:pt x="3" y="19"/>
                  </a:cubicBezTo>
                  <a:cubicBezTo>
                    <a:pt x="1" y="17"/>
                    <a:pt x="1" y="16"/>
                    <a:pt x="0" y="11"/>
                  </a:cubicBezTo>
                  <a:cubicBezTo>
                    <a:pt x="0" y="5"/>
                    <a:pt x="1" y="8"/>
                    <a:pt x="4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25"/>
            <p:cNvSpPr>
              <a:spLocks/>
            </p:cNvSpPr>
            <p:nvPr/>
          </p:nvSpPr>
          <p:spPr bwMode="auto">
            <a:xfrm>
              <a:off x="2828444" y="4784436"/>
              <a:ext cx="82995" cy="100374"/>
            </a:xfrm>
            <a:custGeom>
              <a:avLst/>
              <a:gdLst/>
              <a:ahLst/>
              <a:cxnLst>
                <a:cxn ang="0">
                  <a:pos x="27" y="18"/>
                </a:cxn>
                <a:cxn ang="0">
                  <a:pos x="26" y="17"/>
                </a:cxn>
                <a:cxn ang="0">
                  <a:pos x="24" y="23"/>
                </a:cxn>
                <a:cxn ang="0">
                  <a:pos x="26" y="24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3" y="31"/>
                </a:cxn>
                <a:cxn ang="0">
                  <a:pos x="23" y="28"/>
                </a:cxn>
                <a:cxn ang="0">
                  <a:pos x="21" y="26"/>
                </a:cxn>
                <a:cxn ang="0">
                  <a:pos x="21" y="29"/>
                </a:cxn>
                <a:cxn ang="0">
                  <a:pos x="20" y="29"/>
                </a:cxn>
                <a:cxn ang="0">
                  <a:pos x="18" y="26"/>
                </a:cxn>
                <a:cxn ang="0">
                  <a:pos x="20" y="23"/>
                </a:cxn>
                <a:cxn ang="0">
                  <a:pos x="15" y="20"/>
                </a:cxn>
                <a:cxn ang="0">
                  <a:pos x="11" y="17"/>
                </a:cxn>
                <a:cxn ang="0">
                  <a:pos x="11" y="14"/>
                </a:cxn>
                <a:cxn ang="0">
                  <a:pos x="6" y="12"/>
                </a:cxn>
                <a:cxn ang="0">
                  <a:pos x="6" y="12"/>
                </a:cxn>
                <a:cxn ang="0">
                  <a:pos x="9" y="15"/>
                </a:cxn>
                <a:cxn ang="0">
                  <a:pos x="6" y="17"/>
                </a:cxn>
                <a:cxn ang="0">
                  <a:pos x="3" y="14"/>
                </a:cxn>
                <a:cxn ang="0">
                  <a:pos x="1" y="9"/>
                </a:cxn>
                <a:cxn ang="0">
                  <a:pos x="3" y="7"/>
                </a:cxn>
                <a:cxn ang="0">
                  <a:pos x="1" y="4"/>
                </a:cxn>
                <a:cxn ang="0">
                  <a:pos x="3" y="3"/>
                </a:cxn>
                <a:cxn ang="0">
                  <a:pos x="6" y="3"/>
                </a:cxn>
                <a:cxn ang="0">
                  <a:pos x="12" y="3"/>
                </a:cxn>
                <a:cxn ang="0">
                  <a:pos x="14" y="4"/>
                </a:cxn>
                <a:cxn ang="0">
                  <a:pos x="18" y="4"/>
                </a:cxn>
                <a:cxn ang="0">
                  <a:pos x="21" y="10"/>
                </a:cxn>
                <a:cxn ang="0">
                  <a:pos x="27" y="18"/>
                </a:cxn>
              </a:cxnLst>
              <a:rect l="0" t="0" r="r" b="b"/>
              <a:pathLst>
                <a:path w="27" h="32">
                  <a:moveTo>
                    <a:pt x="27" y="18"/>
                  </a:moveTo>
                  <a:cubicBezTo>
                    <a:pt x="26" y="18"/>
                    <a:pt x="26" y="17"/>
                    <a:pt x="26" y="17"/>
                  </a:cubicBezTo>
                  <a:cubicBezTo>
                    <a:pt x="24" y="17"/>
                    <a:pt x="24" y="20"/>
                    <a:pt x="24" y="23"/>
                  </a:cubicBezTo>
                  <a:cubicBezTo>
                    <a:pt x="24" y="23"/>
                    <a:pt x="27" y="23"/>
                    <a:pt x="26" y="24"/>
                  </a:cubicBezTo>
                  <a:cubicBezTo>
                    <a:pt x="24" y="26"/>
                    <a:pt x="26" y="26"/>
                    <a:pt x="24" y="28"/>
                  </a:cubicBezTo>
                  <a:cubicBezTo>
                    <a:pt x="24" y="29"/>
                    <a:pt x="23" y="29"/>
                    <a:pt x="24" y="32"/>
                  </a:cubicBezTo>
                  <a:cubicBezTo>
                    <a:pt x="24" y="32"/>
                    <a:pt x="24" y="31"/>
                    <a:pt x="23" y="31"/>
                  </a:cubicBezTo>
                  <a:cubicBezTo>
                    <a:pt x="23" y="29"/>
                    <a:pt x="24" y="28"/>
                    <a:pt x="23" y="28"/>
                  </a:cubicBezTo>
                  <a:cubicBezTo>
                    <a:pt x="21" y="26"/>
                    <a:pt x="23" y="24"/>
                    <a:pt x="21" y="26"/>
                  </a:cubicBezTo>
                  <a:cubicBezTo>
                    <a:pt x="18" y="26"/>
                    <a:pt x="23" y="28"/>
                    <a:pt x="21" y="29"/>
                  </a:cubicBezTo>
                  <a:cubicBezTo>
                    <a:pt x="21" y="31"/>
                    <a:pt x="21" y="29"/>
                    <a:pt x="20" y="29"/>
                  </a:cubicBezTo>
                  <a:cubicBezTo>
                    <a:pt x="20" y="29"/>
                    <a:pt x="17" y="28"/>
                    <a:pt x="18" y="26"/>
                  </a:cubicBezTo>
                  <a:cubicBezTo>
                    <a:pt x="20" y="26"/>
                    <a:pt x="18" y="24"/>
                    <a:pt x="20" y="23"/>
                  </a:cubicBezTo>
                  <a:cubicBezTo>
                    <a:pt x="20" y="23"/>
                    <a:pt x="18" y="21"/>
                    <a:pt x="15" y="20"/>
                  </a:cubicBezTo>
                  <a:cubicBezTo>
                    <a:pt x="12" y="17"/>
                    <a:pt x="12" y="18"/>
                    <a:pt x="11" y="17"/>
                  </a:cubicBezTo>
                  <a:cubicBezTo>
                    <a:pt x="11" y="17"/>
                    <a:pt x="11" y="17"/>
                    <a:pt x="11" y="14"/>
                  </a:cubicBezTo>
                  <a:cubicBezTo>
                    <a:pt x="11" y="12"/>
                    <a:pt x="8" y="12"/>
                    <a:pt x="6" y="12"/>
                  </a:cubicBezTo>
                  <a:cubicBezTo>
                    <a:pt x="6" y="10"/>
                    <a:pt x="6" y="12"/>
                    <a:pt x="6" y="12"/>
                  </a:cubicBezTo>
                  <a:cubicBezTo>
                    <a:pt x="8" y="14"/>
                    <a:pt x="11" y="15"/>
                    <a:pt x="9" y="15"/>
                  </a:cubicBezTo>
                  <a:cubicBezTo>
                    <a:pt x="8" y="17"/>
                    <a:pt x="8" y="18"/>
                    <a:pt x="6" y="17"/>
                  </a:cubicBezTo>
                  <a:cubicBezTo>
                    <a:pt x="6" y="15"/>
                    <a:pt x="3" y="14"/>
                    <a:pt x="3" y="14"/>
                  </a:cubicBezTo>
                  <a:cubicBezTo>
                    <a:pt x="3" y="14"/>
                    <a:pt x="0" y="12"/>
                    <a:pt x="1" y="9"/>
                  </a:cubicBezTo>
                  <a:cubicBezTo>
                    <a:pt x="1" y="6"/>
                    <a:pt x="3" y="9"/>
                    <a:pt x="3" y="7"/>
                  </a:cubicBezTo>
                  <a:cubicBezTo>
                    <a:pt x="3" y="4"/>
                    <a:pt x="3" y="6"/>
                    <a:pt x="1" y="4"/>
                  </a:cubicBezTo>
                  <a:cubicBezTo>
                    <a:pt x="0" y="4"/>
                    <a:pt x="3" y="4"/>
                    <a:pt x="3" y="3"/>
                  </a:cubicBezTo>
                  <a:cubicBezTo>
                    <a:pt x="3" y="1"/>
                    <a:pt x="3" y="0"/>
                    <a:pt x="6" y="3"/>
                  </a:cubicBezTo>
                  <a:cubicBezTo>
                    <a:pt x="11" y="6"/>
                    <a:pt x="9" y="1"/>
                    <a:pt x="12" y="3"/>
                  </a:cubicBezTo>
                  <a:cubicBezTo>
                    <a:pt x="12" y="4"/>
                    <a:pt x="14" y="3"/>
                    <a:pt x="14" y="4"/>
                  </a:cubicBezTo>
                  <a:cubicBezTo>
                    <a:pt x="14" y="6"/>
                    <a:pt x="17" y="7"/>
                    <a:pt x="18" y="4"/>
                  </a:cubicBezTo>
                  <a:cubicBezTo>
                    <a:pt x="20" y="6"/>
                    <a:pt x="20" y="7"/>
                    <a:pt x="21" y="10"/>
                  </a:cubicBezTo>
                  <a:cubicBezTo>
                    <a:pt x="23" y="14"/>
                    <a:pt x="27" y="17"/>
                    <a:pt x="27" y="1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auto">
            <a:xfrm>
              <a:off x="2783754" y="4667872"/>
              <a:ext cx="111724" cy="139229"/>
            </a:xfrm>
            <a:custGeom>
              <a:avLst/>
              <a:gdLst/>
              <a:ahLst/>
              <a:cxnLst>
                <a:cxn ang="0">
                  <a:pos x="3" y="21"/>
                </a:cxn>
                <a:cxn ang="0">
                  <a:pos x="6" y="19"/>
                </a:cxn>
                <a:cxn ang="0">
                  <a:pos x="8" y="16"/>
                </a:cxn>
                <a:cxn ang="0">
                  <a:pos x="11" y="13"/>
                </a:cxn>
                <a:cxn ang="0">
                  <a:pos x="14" y="10"/>
                </a:cxn>
                <a:cxn ang="0">
                  <a:pos x="17" y="11"/>
                </a:cxn>
                <a:cxn ang="0">
                  <a:pos x="21" y="3"/>
                </a:cxn>
                <a:cxn ang="0">
                  <a:pos x="24" y="3"/>
                </a:cxn>
                <a:cxn ang="0">
                  <a:pos x="32" y="2"/>
                </a:cxn>
                <a:cxn ang="0">
                  <a:pos x="36" y="0"/>
                </a:cxn>
                <a:cxn ang="0">
                  <a:pos x="36" y="5"/>
                </a:cxn>
                <a:cxn ang="0">
                  <a:pos x="33" y="13"/>
                </a:cxn>
                <a:cxn ang="0">
                  <a:pos x="33" y="17"/>
                </a:cxn>
                <a:cxn ang="0">
                  <a:pos x="33" y="25"/>
                </a:cxn>
                <a:cxn ang="0">
                  <a:pos x="33" y="27"/>
                </a:cxn>
                <a:cxn ang="0">
                  <a:pos x="32" y="28"/>
                </a:cxn>
                <a:cxn ang="0">
                  <a:pos x="32" y="32"/>
                </a:cxn>
                <a:cxn ang="0">
                  <a:pos x="32" y="35"/>
                </a:cxn>
                <a:cxn ang="0">
                  <a:pos x="30" y="38"/>
                </a:cxn>
                <a:cxn ang="0">
                  <a:pos x="32" y="41"/>
                </a:cxn>
                <a:cxn ang="0">
                  <a:pos x="27" y="41"/>
                </a:cxn>
                <a:cxn ang="0">
                  <a:pos x="26" y="39"/>
                </a:cxn>
                <a:cxn ang="0">
                  <a:pos x="20" y="39"/>
                </a:cxn>
                <a:cxn ang="0">
                  <a:pos x="17" y="39"/>
                </a:cxn>
                <a:cxn ang="0">
                  <a:pos x="9" y="32"/>
                </a:cxn>
                <a:cxn ang="0">
                  <a:pos x="3" y="24"/>
                </a:cxn>
                <a:cxn ang="0">
                  <a:pos x="1" y="21"/>
                </a:cxn>
                <a:cxn ang="0">
                  <a:pos x="3" y="21"/>
                </a:cxn>
              </a:cxnLst>
              <a:rect l="0" t="0" r="r" b="b"/>
              <a:pathLst>
                <a:path w="36" h="44">
                  <a:moveTo>
                    <a:pt x="3" y="21"/>
                  </a:moveTo>
                  <a:cubicBezTo>
                    <a:pt x="6" y="21"/>
                    <a:pt x="6" y="21"/>
                    <a:pt x="6" y="19"/>
                  </a:cubicBezTo>
                  <a:cubicBezTo>
                    <a:pt x="8" y="16"/>
                    <a:pt x="9" y="19"/>
                    <a:pt x="8" y="16"/>
                  </a:cubicBezTo>
                  <a:cubicBezTo>
                    <a:pt x="8" y="11"/>
                    <a:pt x="8" y="13"/>
                    <a:pt x="11" y="13"/>
                  </a:cubicBezTo>
                  <a:cubicBezTo>
                    <a:pt x="12" y="13"/>
                    <a:pt x="12" y="8"/>
                    <a:pt x="14" y="10"/>
                  </a:cubicBezTo>
                  <a:cubicBezTo>
                    <a:pt x="15" y="13"/>
                    <a:pt x="17" y="13"/>
                    <a:pt x="17" y="11"/>
                  </a:cubicBezTo>
                  <a:cubicBezTo>
                    <a:pt x="15" y="10"/>
                    <a:pt x="21" y="5"/>
                    <a:pt x="21" y="3"/>
                  </a:cubicBezTo>
                  <a:cubicBezTo>
                    <a:pt x="23" y="2"/>
                    <a:pt x="23" y="2"/>
                    <a:pt x="24" y="3"/>
                  </a:cubicBezTo>
                  <a:cubicBezTo>
                    <a:pt x="24" y="3"/>
                    <a:pt x="30" y="3"/>
                    <a:pt x="32" y="2"/>
                  </a:cubicBezTo>
                  <a:cubicBezTo>
                    <a:pt x="33" y="0"/>
                    <a:pt x="35" y="0"/>
                    <a:pt x="36" y="0"/>
                  </a:cubicBezTo>
                  <a:cubicBezTo>
                    <a:pt x="35" y="2"/>
                    <a:pt x="35" y="3"/>
                    <a:pt x="36" y="5"/>
                  </a:cubicBezTo>
                  <a:cubicBezTo>
                    <a:pt x="36" y="8"/>
                    <a:pt x="33" y="10"/>
                    <a:pt x="33" y="13"/>
                  </a:cubicBezTo>
                  <a:cubicBezTo>
                    <a:pt x="33" y="16"/>
                    <a:pt x="32" y="14"/>
                    <a:pt x="33" y="17"/>
                  </a:cubicBezTo>
                  <a:cubicBezTo>
                    <a:pt x="33" y="22"/>
                    <a:pt x="33" y="24"/>
                    <a:pt x="33" y="25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3" y="27"/>
                    <a:pt x="32" y="28"/>
                  </a:cubicBezTo>
                  <a:cubicBezTo>
                    <a:pt x="32" y="30"/>
                    <a:pt x="30" y="32"/>
                    <a:pt x="32" y="32"/>
                  </a:cubicBezTo>
                  <a:cubicBezTo>
                    <a:pt x="32" y="32"/>
                    <a:pt x="33" y="35"/>
                    <a:pt x="32" y="35"/>
                  </a:cubicBezTo>
                  <a:cubicBezTo>
                    <a:pt x="32" y="35"/>
                    <a:pt x="30" y="36"/>
                    <a:pt x="30" y="38"/>
                  </a:cubicBezTo>
                  <a:cubicBezTo>
                    <a:pt x="32" y="39"/>
                    <a:pt x="32" y="41"/>
                    <a:pt x="32" y="41"/>
                  </a:cubicBezTo>
                  <a:cubicBezTo>
                    <a:pt x="30" y="44"/>
                    <a:pt x="27" y="43"/>
                    <a:pt x="27" y="41"/>
                  </a:cubicBezTo>
                  <a:cubicBezTo>
                    <a:pt x="27" y="39"/>
                    <a:pt x="26" y="41"/>
                    <a:pt x="26" y="39"/>
                  </a:cubicBezTo>
                  <a:cubicBezTo>
                    <a:pt x="23" y="38"/>
                    <a:pt x="24" y="43"/>
                    <a:pt x="20" y="39"/>
                  </a:cubicBezTo>
                  <a:cubicBezTo>
                    <a:pt x="17" y="36"/>
                    <a:pt x="17" y="38"/>
                    <a:pt x="17" y="39"/>
                  </a:cubicBezTo>
                  <a:cubicBezTo>
                    <a:pt x="12" y="35"/>
                    <a:pt x="11" y="35"/>
                    <a:pt x="9" y="32"/>
                  </a:cubicBezTo>
                  <a:cubicBezTo>
                    <a:pt x="8" y="27"/>
                    <a:pt x="5" y="27"/>
                    <a:pt x="3" y="24"/>
                  </a:cubicBezTo>
                  <a:cubicBezTo>
                    <a:pt x="1" y="22"/>
                    <a:pt x="0" y="22"/>
                    <a:pt x="1" y="21"/>
                  </a:cubicBezTo>
                  <a:cubicBezTo>
                    <a:pt x="1" y="19"/>
                    <a:pt x="3" y="22"/>
                    <a:pt x="3" y="2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7"/>
            <p:cNvSpPr>
              <a:spLocks/>
            </p:cNvSpPr>
            <p:nvPr/>
          </p:nvSpPr>
          <p:spPr bwMode="auto">
            <a:xfrm>
              <a:off x="2740661" y="4637112"/>
              <a:ext cx="154817" cy="97136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3" y="9"/>
                </a:cxn>
                <a:cxn ang="0">
                  <a:pos x="0" y="17"/>
                </a:cxn>
                <a:cxn ang="0">
                  <a:pos x="9" y="21"/>
                </a:cxn>
                <a:cxn ang="0">
                  <a:pos x="14" y="23"/>
                </a:cxn>
                <a:cxn ang="0">
                  <a:pos x="14" y="26"/>
                </a:cxn>
                <a:cxn ang="0">
                  <a:pos x="15" y="28"/>
                </a:cxn>
                <a:cxn ang="0">
                  <a:pos x="17" y="31"/>
                </a:cxn>
                <a:cxn ang="0">
                  <a:pos x="20" y="29"/>
                </a:cxn>
                <a:cxn ang="0">
                  <a:pos x="21" y="26"/>
                </a:cxn>
                <a:cxn ang="0">
                  <a:pos x="24" y="23"/>
                </a:cxn>
                <a:cxn ang="0">
                  <a:pos x="28" y="20"/>
                </a:cxn>
                <a:cxn ang="0">
                  <a:pos x="31" y="21"/>
                </a:cxn>
                <a:cxn ang="0">
                  <a:pos x="35" y="14"/>
                </a:cxn>
                <a:cxn ang="0">
                  <a:pos x="38" y="14"/>
                </a:cxn>
                <a:cxn ang="0">
                  <a:pos x="46" y="12"/>
                </a:cxn>
                <a:cxn ang="0">
                  <a:pos x="50" y="10"/>
                </a:cxn>
                <a:cxn ang="0">
                  <a:pos x="47" y="7"/>
                </a:cxn>
                <a:cxn ang="0">
                  <a:pos x="43" y="3"/>
                </a:cxn>
                <a:cxn ang="0">
                  <a:pos x="35" y="1"/>
                </a:cxn>
                <a:cxn ang="0">
                  <a:pos x="31" y="1"/>
                </a:cxn>
                <a:cxn ang="0">
                  <a:pos x="28" y="1"/>
                </a:cxn>
                <a:cxn ang="0">
                  <a:pos x="24" y="3"/>
                </a:cxn>
                <a:cxn ang="0">
                  <a:pos x="17" y="3"/>
                </a:cxn>
                <a:cxn ang="0">
                  <a:pos x="14" y="1"/>
                </a:cxn>
                <a:cxn ang="0">
                  <a:pos x="9" y="3"/>
                </a:cxn>
              </a:cxnLst>
              <a:rect l="0" t="0" r="r" b="b"/>
              <a:pathLst>
                <a:path w="50" h="31">
                  <a:moveTo>
                    <a:pt x="9" y="3"/>
                  </a:moveTo>
                  <a:cubicBezTo>
                    <a:pt x="8" y="4"/>
                    <a:pt x="5" y="9"/>
                    <a:pt x="3" y="9"/>
                  </a:cubicBezTo>
                  <a:cubicBezTo>
                    <a:pt x="1" y="10"/>
                    <a:pt x="5" y="15"/>
                    <a:pt x="0" y="17"/>
                  </a:cubicBezTo>
                  <a:cubicBezTo>
                    <a:pt x="6" y="18"/>
                    <a:pt x="8" y="23"/>
                    <a:pt x="9" y="21"/>
                  </a:cubicBezTo>
                  <a:cubicBezTo>
                    <a:pt x="9" y="21"/>
                    <a:pt x="14" y="20"/>
                    <a:pt x="14" y="23"/>
                  </a:cubicBezTo>
                  <a:cubicBezTo>
                    <a:pt x="14" y="24"/>
                    <a:pt x="14" y="26"/>
                    <a:pt x="14" y="26"/>
                  </a:cubicBezTo>
                  <a:cubicBezTo>
                    <a:pt x="15" y="28"/>
                    <a:pt x="14" y="24"/>
                    <a:pt x="15" y="28"/>
                  </a:cubicBezTo>
                  <a:cubicBezTo>
                    <a:pt x="17" y="31"/>
                    <a:pt x="18" y="29"/>
                    <a:pt x="17" y="31"/>
                  </a:cubicBezTo>
                  <a:cubicBezTo>
                    <a:pt x="20" y="31"/>
                    <a:pt x="20" y="31"/>
                    <a:pt x="20" y="29"/>
                  </a:cubicBezTo>
                  <a:cubicBezTo>
                    <a:pt x="21" y="26"/>
                    <a:pt x="23" y="29"/>
                    <a:pt x="21" y="26"/>
                  </a:cubicBezTo>
                  <a:cubicBezTo>
                    <a:pt x="21" y="21"/>
                    <a:pt x="21" y="23"/>
                    <a:pt x="24" y="23"/>
                  </a:cubicBezTo>
                  <a:cubicBezTo>
                    <a:pt x="26" y="23"/>
                    <a:pt x="26" y="18"/>
                    <a:pt x="28" y="20"/>
                  </a:cubicBezTo>
                  <a:cubicBezTo>
                    <a:pt x="29" y="23"/>
                    <a:pt x="31" y="23"/>
                    <a:pt x="31" y="21"/>
                  </a:cubicBezTo>
                  <a:cubicBezTo>
                    <a:pt x="29" y="20"/>
                    <a:pt x="35" y="15"/>
                    <a:pt x="35" y="14"/>
                  </a:cubicBezTo>
                  <a:cubicBezTo>
                    <a:pt x="37" y="12"/>
                    <a:pt x="37" y="12"/>
                    <a:pt x="38" y="14"/>
                  </a:cubicBezTo>
                  <a:cubicBezTo>
                    <a:pt x="38" y="14"/>
                    <a:pt x="44" y="14"/>
                    <a:pt x="46" y="12"/>
                  </a:cubicBezTo>
                  <a:cubicBezTo>
                    <a:pt x="47" y="10"/>
                    <a:pt x="49" y="10"/>
                    <a:pt x="50" y="10"/>
                  </a:cubicBezTo>
                  <a:cubicBezTo>
                    <a:pt x="50" y="10"/>
                    <a:pt x="49" y="9"/>
                    <a:pt x="47" y="7"/>
                  </a:cubicBezTo>
                  <a:cubicBezTo>
                    <a:pt x="44" y="6"/>
                    <a:pt x="44" y="6"/>
                    <a:pt x="43" y="3"/>
                  </a:cubicBezTo>
                  <a:cubicBezTo>
                    <a:pt x="41" y="1"/>
                    <a:pt x="37" y="0"/>
                    <a:pt x="35" y="1"/>
                  </a:cubicBezTo>
                  <a:cubicBezTo>
                    <a:pt x="34" y="1"/>
                    <a:pt x="32" y="1"/>
                    <a:pt x="31" y="1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9" y="1"/>
                    <a:pt x="26" y="3"/>
                    <a:pt x="24" y="3"/>
                  </a:cubicBezTo>
                  <a:cubicBezTo>
                    <a:pt x="21" y="3"/>
                    <a:pt x="18" y="1"/>
                    <a:pt x="17" y="3"/>
                  </a:cubicBezTo>
                  <a:cubicBezTo>
                    <a:pt x="15" y="3"/>
                    <a:pt x="15" y="1"/>
                    <a:pt x="14" y="1"/>
                  </a:cubicBezTo>
                  <a:cubicBezTo>
                    <a:pt x="12" y="1"/>
                    <a:pt x="12" y="4"/>
                    <a:pt x="9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8"/>
            <p:cNvSpPr>
              <a:spLocks/>
            </p:cNvSpPr>
            <p:nvPr/>
          </p:nvSpPr>
          <p:spPr bwMode="auto">
            <a:xfrm>
              <a:off x="2726296" y="4690537"/>
              <a:ext cx="60650" cy="3723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" y="4"/>
                </a:cxn>
                <a:cxn ang="0">
                  <a:pos x="19" y="6"/>
                </a:cxn>
                <a:cxn ang="0">
                  <a:pos x="19" y="9"/>
                </a:cxn>
                <a:cxn ang="0">
                  <a:pos x="19" y="11"/>
                </a:cxn>
                <a:cxn ang="0">
                  <a:pos x="14" y="12"/>
                </a:cxn>
                <a:cxn ang="0">
                  <a:pos x="13" y="12"/>
                </a:cxn>
                <a:cxn ang="0">
                  <a:pos x="4" y="9"/>
                </a:cxn>
                <a:cxn ang="0">
                  <a:pos x="0" y="6"/>
                </a:cxn>
                <a:cxn ang="0">
                  <a:pos x="5" y="0"/>
                </a:cxn>
                <a:cxn ang="0">
                  <a:pos x="5" y="0"/>
                </a:cxn>
              </a:cxnLst>
              <a:rect l="0" t="0" r="r" b="b"/>
              <a:pathLst>
                <a:path w="20" h="12">
                  <a:moveTo>
                    <a:pt x="5" y="0"/>
                  </a:moveTo>
                  <a:cubicBezTo>
                    <a:pt x="11" y="1"/>
                    <a:pt x="13" y="6"/>
                    <a:pt x="14" y="4"/>
                  </a:cubicBezTo>
                  <a:cubicBezTo>
                    <a:pt x="14" y="4"/>
                    <a:pt x="19" y="3"/>
                    <a:pt x="19" y="6"/>
                  </a:cubicBezTo>
                  <a:cubicBezTo>
                    <a:pt x="19" y="7"/>
                    <a:pt x="19" y="9"/>
                    <a:pt x="19" y="9"/>
                  </a:cubicBezTo>
                  <a:cubicBezTo>
                    <a:pt x="17" y="9"/>
                    <a:pt x="17" y="11"/>
                    <a:pt x="19" y="11"/>
                  </a:cubicBezTo>
                  <a:cubicBezTo>
                    <a:pt x="20" y="11"/>
                    <a:pt x="16" y="12"/>
                    <a:pt x="14" y="12"/>
                  </a:cubicBezTo>
                  <a:cubicBezTo>
                    <a:pt x="11" y="9"/>
                    <a:pt x="14" y="12"/>
                    <a:pt x="13" y="12"/>
                  </a:cubicBezTo>
                  <a:cubicBezTo>
                    <a:pt x="11" y="12"/>
                    <a:pt x="7" y="9"/>
                    <a:pt x="4" y="9"/>
                  </a:cubicBezTo>
                  <a:cubicBezTo>
                    <a:pt x="0" y="9"/>
                    <a:pt x="2" y="7"/>
                    <a:pt x="0" y="6"/>
                  </a:cubicBezTo>
                  <a:cubicBezTo>
                    <a:pt x="0" y="3"/>
                    <a:pt x="5" y="3"/>
                    <a:pt x="5" y="0"/>
                  </a:cubicBezTo>
                  <a:cubicBezTo>
                    <a:pt x="4" y="0"/>
                    <a:pt x="5" y="0"/>
                    <a:pt x="5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9"/>
            <p:cNvSpPr>
              <a:spLocks/>
            </p:cNvSpPr>
            <p:nvPr/>
          </p:nvSpPr>
          <p:spPr bwMode="auto">
            <a:xfrm>
              <a:off x="2675223" y="4583687"/>
              <a:ext cx="94167" cy="126277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9" y="20"/>
                </a:cxn>
                <a:cxn ang="0">
                  <a:pos x="29" y="18"/>
                </a:cxn>
                <a:cxn ang="0">
                  <a:pos x="30" y="20"/>
                </a:cxn>
                <a:cxn ang="0">
                  <a:pos x="24" y="26"/>
                </a:cxn>
                <a:cxn ang="0">
                  <a:pos x="21" y="34"/>
                </a:cxn>
                <a:cxn ang="0">
                  <a:pos x="21" y="34"/>
                </a:cxn>
                <a:cxn ang="0">
                  <a:pos x="17" y="40"/>
                </a:cxn>
                <a:cxn ang="0">
                  <a:pos x="9" y="39"/>
                </a:cxn>
                <a:cxn ang="0">
                  <a:pos x="0" y="32"/>
                </a:cxn>
                <a:cxn ang="0">
                  <a:pos x="0" y="29"/>
                </a:cxn>
                <a:cxn ang="0">
                  <a:pos x="2" y="26"/>
                </a:cxn>
                <a:cxn ang="0">
                  <a:pos x="0" y="25"/>
                </a:cxn>
                <a:cxn ang="0">
                  <a:pos x="3" y="17"/>
                </a:cxn>
                <a:cxn ang="0">
                  <a:pos x="14" y="17"/>
                </a:cxn>
                <a:cxn ang="0">
                  <a:pos x="12" y="12"/>
                </a:cxn>
                <a:cxn ang="0">
                  <a:pos x="8" y="7"/>
                </a:cxn>
                <a:cxn ang="0">
                  <a:pos x="6" y="6"/>
                </a:cxn>
                <a:cxn ang="0">
                  <a:pos x="9" y="6"/>
                </a:cxn>
                <a:cxn ang="0">
                  <a:pos x="9" y="0"/>
                </a:cxn>
                <a:cxn ang="0">
                  <a:pos x="24" y="0"/>
                </a:cxn>
              </a:cxnLst>
              <a:rect l="0" t="0" r="r" b="b"/>
              <a:pathLst>
                <a:path w="30" h="40">
                  <a:moveTo>
                    <a:pt x="24" y="0"/>
                  </a:moveTo>
                  <a:cubicBezTo>
                    <a:pt x="24" y="18"/>
                    <a:pt x="24" y="18"/>
                    <a:pt x="24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20"/>
                    <a:pt x="27" y="21"/>
                    <a:pt x="29" y="20"/>
                  </a:cubicBezTo>
                  <a:cubicBezTo>
                    <a:pt x="29" y="20"/>
                    <a:pt x="29" y="20"/>
                    <a:pt x="29" y="18"/>
                  </a:cubicBezTo>
                  <a:cubicBezTo>
                    <a:pt x="27" y="18"/>
                    <a:pt x="29" y="17"/>
                    <a:pt x="30" y="20"/>
                  </a:cubicBezTo>
                  <a:cubicBezTo>
                    <a:pt x="29" y="21"/>
                    <a:pt x="26" y="26"/>
                    <a:pt x="24" y="26"/>
                  </a:cubicBezTo>
                  <a:cubicBezTo>
                    <a:pt x="23" y="28"/>
                    <a:pt x="26" y="32"/>
                    <a:pt x="21" y="34"/>
                  </a:cubicBezTo>
                  <a:cubicBezTo>
                    <a:pt x="21" y="34"/>
                    <a:pt x="20" y="34"/>
                    <a:pt x="21" y="34"/>
                  </a:cubicBezTo>
                  <a:cubicBezTo>
                    <a:pt x="21" y="37"/>
                    <a:pt x="17" y="37"/>
                    <a:pt x="17" y="40"/>
                  </a:cubicBezTo>
                  <a:cubicBezTo>
                    <a:pt x="14" y="39"/>
                    <a:pt x="12" y="37"/>
                    <a:pt x="9" y="39"/>
                  </a:cubicBezTo>
                  <a:cubicBezTo>
                    <a:pt x="6" y="39"/>
                    <a:pt x="6" y="39"/>
                    <a:pt x="0" y="32"/>
                  </a:cubicBezTo>
                  <a:cubicBezTo>
                    <a:pt x="0" y="32"/>
                    <a:pt x="0" y="31"/>
                    <a:pt x="0" y="29"/>
                  </a:cubicBezTo>
                  <a:cubicBezTo>
                    <a:pt x="0" y="28"/>
                    <a:pt x="2" y="26"/>
                    <a:pt x="2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1"/>
                    <a:pt x="12" y="15"/>
                    <a:pt x="12" y="12"/>
                  </a:cubicBezTo>
                  <a:cubicBezTo>
                    <a:pt x="11" y="9"/>
                    <a:pt x="9" y="9"/>
                    <a:pt x="8" y="7"/>
                  </a:cubicBezTo>
                  <a:cubicBezTo>
                    <a:pt x="8" y="6"/>
                    <a:pt x="6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30"/>
            <p:cNvSpPr>
              <a:spLocks/>
            </p:cNvSpPr>
            <p:nvPr/>
          </p:nvSpPr>
          <p:spPr bwMode="auto">
            <a:xfrm>
              <a:off x="2944956" y="5088796"/>
              <a:ext cx="145240" cy="20074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7" y="6"/>
                </a:cxn>
                <a:cxn ang="0">
                  <a:pos x="30" y="10"/>
                </a:cxn>
                <a:cxn ang="0">
                  <a:pos x="38" y="11"/>
                </a:cxn>
                <a:cxn ang="0">
                  <a:pos x="41" y="11"/>
                </a:cxn>
                <a:cxn ang="0">
                  <a:pos x="47" y="14"/>
                </a:cxn>
                <a:cxn ang="0">
                  <a:pos x="44" y="31"/>
                </a:cxn>
                <a:cxn ang="0">
                  <a:pos x="23" y="48"/>
                </a:cxn>
                <a:cxn ang="0">
                  <a:pos x="18" y="61"/>
                </a:cxn>
                <a:cxn ang="0">
                  <a:pos x="12" y="58"/>
                </a:cxn>
                <a:cxn ang="0">
                  <a:pos x="6" y="56"/>
                </a:cxn>
                <a:cxn ang="0">
                  <a:pos x="7" y="47"/>
                </a:cxn>
                <a:cxn ang="0">
                  <a:pos x="11" y="39"/>
                </a:cxn>
                <a:cxn ang="0">
                  <a:pos x="4" y="39"/>
                </a:cxn>
                <a:cxn ang="0">
                  <a:pos x="3" y="27"/>
                </a:cxn>
                <a:cxn ang="0">
                  <a:pos x="6" y="19"/>
                </a:cxn>
                <a:cxn ang="0">
                  <a:pos x="9" y="8"/>
                </a:cxn>
                <a:cxn ang="0">
                  <a:pos x="18" y="0"/>
                </a:cxn>
              </a:cxnLst>
              <a:rect l="0" t="0" r="r" b="b"/>
              <a:pathLst>
                <a:path w="47" h="64">
                  <a:moveTo>
                    <a:pt x="18" y="0"/>
                  </a:moveTo>
                  <a:cubicBezTo>
                    <a:pt x="24" y="5"/>
                    <a:pt x="26" y="6"/>
                    <a:pt x="27" y="6"/>
                  </a:cubicBezTo>
                  <a:cubicBezTo>
                    <a:pt x="27" y="6"/>
                    <a:pt x="30" y="8"/>
                    <a:pt x="30" y="10"/>
                  </a:cubicBezTo>
                  <a:cubicBezTo>
                    <a:pt x="30" y="11"/>
                    <a:pt x="38" y="13"/>
                    <a:pt x="38" y="11"/>
                  </a:cubicBezTo>
                  <a:cubicBezTo>
                    <a:pt x="38" y="10"/>
                    <a:pt x="39" y="8"/>
                    <a:pt x="41" y="11"/>
                  </a:cubicBezTo>
                  <a:cubicBezTo>
                    <a:pt x="42" y="14"/>
                    <a:pt x="44" y="14"/>
                    <a:pt x="47" y="14"/>
                  </a:cubicBezTo>
                  <a:cubicBezTo>
                    <a:pt x="47" y="22"/>
                    <a:pt x="47" y="23"/>
                    <a:pt x="44" y="31"/>
                  </a:cubicBezTo>
                  <a:cubicBezTo>
                    <a:pt x="39" y="37"/>
                    <a:pt x="27" y="41"/>
                    <a:pt x="23" y="48"/>
                  </a:cubicBezTo>
                  <a:cubicBezTo>
                    <a:pt x="18" y="58"/>
                    <a:pt x="21" y="58"/>
                    <a:pt x="18" y="61"/>
                  </a:cubicBezTo>
                  <a:cubicBezTo>
                    <a:pt x="15" y="64"/>
                    <a:pt x="15" y="58"/>
                    <a:pt x="12" y="58"/>
                  </a:cubicBezTo>
                  <a:cubicBezTo>
                    <a:pt x="7" y="56"/>
                    <a:pt x="6" y="59"/>
                    <a:pt x="6" y="56"/>
                  </a:cubicBezTo>
                  <a:cubicBezTo>
                    <a:pt x="4" y="53"/>
                    <a:pt x="11" y="53"/>
                    <a:pt x="7" y="47"/>
                  </a:cubicBezTo>
                  <a:cubicBezTo>
                    <a:pt x="11" y="47"/>
                    <a:pt x="11" y="42"/>
                    <a:pt x="11" y="39"/>
                  </a:cubicBezTo>
                  <a:cubicBezTo>
                    <a:pt x="11" y="36"/>
                    <a:pt x="9" y="44"/>
                    <a:pt x="4" y="39"/>
                  </a:cubicBezTo>
                  <a:cubicBezTo>
                    <a:pt x="0" y="34"/>
                    <a:pt x="4" y="37"/>
                    <a:pt x="3" y="27"/>
                  </a:cubicBezTo>
                  <a:cubicBezTo>
                    <a:pt x="1" y="20"/>
                    <a:pt x="6" y="25"/>
                    <a:pt x="6" y="19"/>
                  </a:cubicBezTo>
                  <a:cubicBezTo>
                    <a:pt x="6" y="14"/>
                    <a:pt x="11" y="16"/>
                    <a:pt x="9" y="8"/>
                  </a:cubicBezTo>
                  <a:cubicBezTo>
                    <a:pt x="9" y="2"/>
                    <a:pt x="20" y="5"/>
                    <a:pt x="18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31"/>
            <p:cNvSpPr>
              <a:spLocks/>
            </p:cNvSpPr>
            <p:nvPr/>
          </p:nvSpPr>
          <p:spPr bwMode="auto">
            <a:xfrm>
              <a:off x="2691184" y="5124413"/>
              <a:ext cx="19152" cy="43712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3" y="10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4" y="6"/>
                </a:cxn>
                <a:cxn ang="0">
                  <a:pos x="6" y="10"/>
                </a:cxn>
                <a:cxn ang="0">
                  <a:pos x="4" y="13"/>
                </a:cxn>
                <a:cxn ang="0">
                  <a:pos x="1" y="13"/>
                </a:cxn>
              </a:cxnLst>
              <a:rect l="0" t="0" r="r" b="b"/>
              <a:pathLst>
                <a:path w="6" h="14">
                  <a:moveTo>
                    <a:pt x="1" y="13"/>
                  </a:moveTo>
                  <a:cubicBezTo>
                    <a:pt x="0" y="11"/>
                    <a:pt x="3" y="10"/>
                    <a:pt x="3" y="10"/>
                  </a:cubicBezTo>
                  <a:cubicBezTo>
                    <a:pt x="4" y="8"/>
                    <a:pt x="3" y="8"/>
                    <a:pt x="1" y="6"/>
                  </a:cubicBezTo>
                  <a:cubicBezTo>
                    <a:pt x="1" y="5"/>
                    <a:pt x="1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0"/>
                    <a:pt x="1" y="2"/>
                    <a:pt x="3" y="3"/>
                  </a:cubicBezTo>
                  <a:cubicBezTo>
                    <a:pt x="3" y="5"/>
                    <a:pt x="3" y="6"/>
                    <a:pt x="4" y="6"/>
                  </a:cubicBezTo>
                  <a:cubicBezTo>
                    <a:pt x="6" y="8"/>
                    <a:pt x="4" y="8"/>
                    <a:pt x="6" y="10"/>
                  </a:cubicBezTo>
                  <a:cubicBezTo>
                    <a:pt x="6" y="11"/>
                    <a:pt x="6" y="13"/>
                    <a:pt x="4" y="13"/>
                  </a:cubicBezTo>
                  <a:cubicBezTo>
                    <a:pt x="1" y="14"/>
                    <a:pt x="1" y="13"/>
                    <a:pt x="1" y="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32"/>
            <p:cNvSpPr>
              <a:spLocks/>
            </p:cNvSpPr>
            <p:nvPr/>
          </p:nvSpPr>
          <p:spPr bwMode="auto">
            <a:xfrm>
              <a:off x="2713529" y="5142222"/>
              <a:ext cx="12769" cy="16190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cubicBezTo>
                    <a:pt x="0" y="3"/>
                    <a:pt x="2" y="0"/>
                    <a:pt x="3" y="2"/>
                  </a:cubicBezTo>
                  <a:cubicBezTo>
                    <a:pt x="4" y="2"/>
                    <a:pt x="3" y="5"/>
                    <a:pt x="2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33"/>
            <p:cNvSpPr>
              <a:spLocks/>
            </p:cNvSpPr>
            <p:nvPr/>
          </p:nvSpPr>
          <p:spPr bwMode="auto">
            <a:xfrm>
              <a:off x="2734277" y="5151935"/>
              <a:ext cx="9577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0" y="3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3"/>
                    <a:pt x="0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34"/>
            <p:cNvSpPr>
              <a:spLocks/>
            </p:cNvSpPr>
            <p:nvPr/>
          </p:nvSpPr>
          <p:spPr bwMode="auto">
            <a:xfrm>
              <a:off x="2710336" y="5132508"/>
              <a:ext cx="9577" cy="1619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3"/>
                </a:cxn>
                <a:cxn ang="0">
                  <a:pos x="0" y="2"/>
                </a:cxn>
              </a:cxnLst>
              <a:rect l="0" t="0" r="r" b="b"/>
              <a:pathLst>
                <a:path w="3" h="5">
                  <a:moveTo>
                    <a:pt x="0" y="2"/>
                  </a:moveTo>
                  <a:cubicBezTo>
                    <a:pt x="0" y="0"/>
                    <a:pt x="3" y="2"/>
                    <a:pt x="1" y="3"/>
                  </a:cubicBezTo>
                  <a:cubicBezTo>
                    <a:pt x="1" y="5"/>
                    <a:pt x="0" y="3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35"/>
            <p:cNvSpPr>
              <a:spLocks/>
            </p:cNvSpPr>
            <p:nvPr/>
          </p:nvSpPr>
          <p:spPr bwMode="auto">
            <a:xfrm>
              <a:off x="2684800" y="5138983"/>
              <a:ext cx="15960" cy="971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3"/>
                </a:cxn>
                <a:cxn ang="0">
                  <a:pos x="2" y="1"/>
                </a:cxn>
              </a:cxnLst>
              <a:rect l="0" t="0" r="r" b="b"/>
              <a:pathLst>
                <a:path w="5" h="3">
                  <a:moveTo>
                    <a:pt x="2" y="1"/>
                  </a:moveTo>
                  <a:cubicBezTo>
                    <a:pt x="3" y="0"/>
                    <a:pt x="5" y="3"/>
                    <a:pt x="2" y="3"/>
                  </a:cubicBezTo>
                  <a:cubicBezTo>
                    <a:pt x="0" y="3"/>
                    <a:pt x="0" y="1"/>
                    <a:pt x="2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36"/>
            <p:cNvSpPr>
              <a:spLocks/>
            </p:cNvSpPr>
            <p:nvPr/>
          </p:nvSpPr>
          <p:spPr bwMode="auto">
            <a:xfrm>
              <a:off x="2713529" y="5168125"/>
              <a:ext cx="9577" cy="971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0" y="0"/>
                    <a:pt x="3" y="2"/>
                    <a:pt x="2" y="2"/>
                  </a:cubicBezTo>
                  <a:cubicBezTo>
                    <a:pt x="2" y="3"/>
                    <a:pt x="2" y="3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37"/>
            <p:cNvSpPr>
              <a:spLocks/>
            </p:cNvSpPr>
            <p:nvPr/>
          </p:nvSpPr>
          <p:spPr bwMode="auto">
            <a:xfrm>
              <a:off x="2713529" y="5121175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2" y="0"/>
                    <a:pt x="2" y="1"/>
                  </a:cubicBezTo>
                  <a:cubicBezTo>
                    <a:pt x="2" y="1"/>
                    <a:pt x="2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38"/>
            <p:cNvSpPr>
              <a:spLocks/>
            </p:cNvSpPr>
            <p:nvPr/>
          </p:nvSpPr>
          <p:spPr bwMode="auto">
            <a:xfrm>
              <a:off x="3016778" y="4557784"/>
              <a:ext cx="55861" cy="291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9" y="1"/>
                </a:cxn>
                <a:cxn ang="0">
                  <a:pos x="16" y="6"/>
                </a:cxn>
                <a:cxn ang="0">
                  <a:pos x="12" y="6"/>
                </a:cxn>
                <a:cxn ang="0">
                  <a:pos x="7" y="8"/>
                </a:cxn>
                <a:cxn ang="0">
                  <a:pos x="1" y="4"/>
                </a:cxn>
                <a:cxn ang="0">
                  <a:pos x="0" y="1"/>
                </a:cxn>
              </a:cxnLst>
              <a:rect l="0" t="0" r="r" b="b"/>
              <a:pathLst>
                <a:path w="18" h="9">
                  <a:moveTo>
                    <a:pt x="0" y="1"/>
                  </a:moveTo>
                  <a:cubicBezTo>
                    <a:pt x="1" y="0"/>
                    <a:pt x="4" y="0"/>
                    <a:pt x="9" y="1"/>
                  </a:cubicBezTo>
                  <a:cubicBezTo>
                    <a:pt x="15" y="3"/>
                    <a:pt x="16" y="3"/>
                    <a:pt x="16" y="6"/>
                  </a:cubicBezTo>
                  <a:cubicBezTo>
                    <a:pt x="18" y="8"/>
                    <a:pt x="15" y="6"/>
                    <a:pt x="12" y="6"/>
                  </a:cubicBezTo>
                  <a:cubicBezTo>
                    <a:pt x="9" y="6"/>
                    <a:pt x="12" y="9"/>
                    <a:pt x="7" y="8"/>
                  </a:cubicBezTo>
                  <a:cubicBezTo>
                    <a:pt x="1" y="6"/>
                    <a:pt x="4" y="4"/>
                    <a:pt x="1" y="4"/>
                  </a:cubicBezTo>
                  <a:cubicBezTo>
                    <a:pt x="0" y="3"/>
                    <a:pt x="0" y="3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39"/>
            <p:cNvSpPr>
              <a:spLocks/>
            </p:cNvSpPr>
            <p:nvPr/>
          </p:nvSpPr>
          <p:spPr bwMode="auto">
            <a:xfrm>
              <a:off x="3109349" y="4514073"/>
              <a:ext cx="75015" cy="69614"/>
            </a:xfrm>
            <a:custGeom>
              <a:avLst/>
              <a:gdLst/>
              <a:ahLst/>
              <a:cxnLst>
                <a:cxn ang="0">
                  <a:pos x="23" y="18"/>
                </a:cxn>
                <a:cxn ang="0">
                  <a:pos x="12" y="18"/>
                </a:cxn>
                <a:cxn ang="0">
                  <a:pos x="4" y="18"/>
                </a:cxn>
                <a:cxn ang="0">
                  <a:pos x="0" y="14"/>
                </a:cxn>
                <a:cxn ang="0">
                  <a:pos x="15" y="14"/>
                </a:cxn>
                <a:cxn ang="0">
                  <a:pos x="17" y="11"/>
                </a:cxn>
                <a:cxn ang="0">
                  <a:pos x="14" y="4"/>
                </a:cxn>
                <a:cxn ang="0">
                  <a:pos x="9" y="1"/>
                </a:cxn>
                <a:cxn ang="0">
                  <a:pos x="17" y="1"/>
                </a:cxn>
                <a:cxn ang="0">
                  <a:pos x="23" y="1"/>
                </a:cxn>
                <a:cxn ang="0">
                  <a:pos x="21" y="12"/>
                </a:cxn>
                <a:cxn ang="0">
                  <a:pos x="23" y="18"/>
                </a:cxn>
              </a:cxnLst>
              <a:rect l="0" t="0" r="r" b="b"/>
              <a:pathLst>
                <a:path w="24" h="22">
                  <a:moveTo>
                    <a:pt x="23" y="18"/>
                  </a:moveTo>
                  <a:cubicBezTo>
                    <a:pt x="17" y="15"/>
                    <a:pt x="15" y="20"/>
                    <a:pt x="12" y="18"/>
                  </a:cubicBezTo>
                  <a:cubicBezTo>
                    <a:pt x="4" y="15"/>
                    <a:pt x="8" y="22"/>
                    <a:pt x="4" y="18"/>
                  </a:cubicBezTo>
                  <a:cubicBezTo>
                    <a:pt x="1" y="15"/>
                    <a:pt x="0" y="17"/>
                    <a:pt x="0" y="14"/>
                  </a:cubicBezTo>
                  <a:cubicBezTo>
                    <a:pt x="1" y="11"/>
                    <a:pt x="11" y="17"/>
                    <a:pt x="15" y="14"/>
                  </a:cubicBezTo>
                  <a:cubicBezTo>
                    <a:pt x="17" y="14"/>
                    <a:pt x="20" y="15"/>
                    <a:pt x="17" y="11"/>
                  </a:cubicBezTo>
                  <a:cubicBezTo>
                    <a:pt x="11" y="6"/>
                    <a:pt x="17" y="6"/>
                    <a:pt x="14" y="4"/>
                  </a:cubicBezTo>
                  <a:cubicBezTo>
                    <a:pt x="9" y="3"/>
                    <a:pt x="8" y="4"/>
                    <a:pt x="9" y="1"/>
                  </a:cubicBezTo>
                  <a:cubicBezTo>
                    <a:pt x="9" y="0"/>
                    <a:pt x="15" y="0"/>
                    <a:pt x="17" y="1"/>
                  </a:cubicBezTo>
                  <a:cubicBezTo>
                    <a:pt x="20" y="3"/>
                    <a:pt x="20" y="1"/>
                    <a:pt x="23" y="1"/>
                  </a:cubicBezTo>
                  <a:cubicBezTo>
                    <a:pt x="21" y="6"/>
                    <a:pt x="24" y="9"/>
                    <a:pt x="21" y="12"/>
                  </a:cubicBezTo>
                  <a:cubicBezTo>
                    <a:pt x="20" y="15"/>
                    <a:pt x="23" y="14"/>
                    <a:pt x="23" y="1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40"/>
            <p:cNvSpPr>
              <a:spLocks/>
            </p:cNvSpPr>
            <p:nvPr/>
          </p:nvSpPr>
          <p:spPr bwMode="auto">
            <a:xfrm>
              <a:off x="3171594" y="4507597"/>
              <a:ext cx="92570" cy="85804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7" y="20"/>
                </a:cxn>
                <a:cxn ang="0">
                  <a:pos x="12" y="17"/>
                </a:cxn>
                <a:cxn ang="0">
                  <a:pos x="15" y="17"/>
                </a:cxn>
                <a:cxn ang="0">
                  <a:pos x="26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1" y="9"/>
                </a:cxn>
                <a:cxn ang="0">
                  <a:pos x="20" y="8"/>
                </a:cxn>
                <a:cxn ang="0">
                  <a:pos x="15" y="5"/>
                </a:cxn>
                <a:cxn ang="0">
                  <a:pos x="7" y="2"/>
                </a:cxn>
                <a:cxn ang="0">
                  <a:pos x="3" y="3"/>
                </a:cxn>
              </a:cxnLst>
              <a:rect l="0" t="0" r="r" b="b"/>
              <a:pathLst>
                <a:path w="30" h="27">
                  <a:moveTo>
                    <a:pt x="3" y="3"/>
                  </a:moveTo>
                  <a:cubicBezTo>
                    <a:pt x="1" y="8"/>
                    <a:pt x="4" y="11"/>
                    <a:pt x="1" y="14"/>
                  </a:cubicBezTo>
                  <a:cubicBezTo>
                    <a:pt x="0" y="17"/>
                    <a:pt x="3" y="16"/>
                    <a:pt x="3" y="20"/>
                  </a:cubicBezTo>
                  <a:cubicBezTo>
                    <a:pt x="4" y="27"/>
                    <a:pt x="6" y="23"/>
                    <a:pt x="7" y="20"/>
                  </a:cubicBezTo>
                  <a:cubicBezTo>
                    <a:pt x="9" y="17"/>
                    <a:pt x="10" y="16"/>
                    <a:pt x="12" y="17"/>
                  </a:cubicBezTo>
                  <a:cubicBezTo>
                    <a:pt x="12" y="20"/>
                    <a:pt x="14" y="20"/>
                    <a:pt x="15" y="17"/>
                  </a:cubicBezTo>
                  <a:cubicBezTo>
                    <a:pt x="18" y="16"/>
                    <a:pt x="24" y="17"/>
                    <a:pt x="26" y="19"/>
                  </a:cubicBezTo>
                  <a:cubicBezTo>
                    <a:pt x="27" y="20"/>
                    <a:pt x="30" y="16"/>
                    <a:pt x="29" y="14"/>
                  </a:cubicBezTo>
                  <a:cubicBezTo>
                    <a:pt x="26" y="13"/>
                    <a:pt x="26" y="11"/>
                    <a:pt x="24" y="11"/>
                  </a:cubicBezTo>
                  <a:cubicBezTo>
                    <a:pt x="21" y="11"/>
                    <a:pt x="20" y="9"/>
                    <a:pt x="21" y="9"/>
                  </a:cubicBezTo>
                  <a:cubicBezTo>
                    <a:pt x="24" y="9"/>
                    <a:pt x="23" y="6"/>
                    <a:pt x="20" y="8"/>
                  </a:cubicBezTo>
                  <a:cubicBezTo>
                    <a:pt x="15" y="9"/>
                    <a:pt x="18" y="3"/>
                    <a:pt x="15" y="5"/>
                  </a:cubicBezTo>
                  <a:cubicBezTo>
                    <a:pt x="14" y="6"/>
                    <a:pt x="9" y="0"/>
                    <a:pt x="7" y="2"/>
                  </a:cubicBezTo>
                  <a:cubicBezTo>
                    <a:pt x="6" y="3"/>
                    <a:pt x="4" y="0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153"/>
            <p:cNvSpPr>
              <a:spLocks/>
            </p:cNvSpPr>
            <p:nvPr/>
          </p:nvSpPr>
          <p:spPr bwMode="auto">
            <a:xfrm>
              <a:off x="4317558" y="4603115"/>
              <a:ext cx="11172" cy="1457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4" h="5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4" y="0"/>
                    <a:pt x="1" y="5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154"/>
            <p:cNvSpPr>
              <a:spLocks/>
            </p:cNvSpPr>
            <p:nvPr/>
          </p:nvSpPr>
          <p:spPr bwMode="auto">
            <a:xfrm>
              <a:off x="4338307" y="4617685"/>
              <a:ext cx="12769" cy="97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0" y="1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0"/>
                    <a:pt x="0" y="0"/>
                    <a:pt x="2" y="0"/>
                  </a:cubicBezTo>
                  <a:cubicBezTo>
                    <a:pt x="4" y="1"/>
                    <a:pt x="4" y="1"/>
                    <a:pt x="2" y="1"/>
                  </a:cubicBezTo>
                  <a:cubicBezTo>
                    <a:pt x="0" y="1"/>
                    <a:pt x="0" y="3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155"/>
            <p:cNvSpPr>
              <a:spLocks/>
            </p:cNvSpPr>
            <p:nvPr/>
          </p:nvSpPr>
          <p:spPr bwMode="auto">
            <a:xfrm>
              <a:off x="4335114" y="4667872"/>
              <a:ext cx="9577" cy="1295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2" y="0"/>
                    <a:pt x="3" y="2"/>
                    <a:pt x="2" y="2"/>
                  </a:cubicBezTo>
                  <a:cubicBezTo>
                    <a:pt x="2" y="4"/>
                    <a:pt x="0" y="2"/>
                    <a:pt x="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157"/>
            <p:cNvSpPr>
              <a:spLocks/>
            </p:cNvSpPr>
            <p:nvPr/>
          </p:nvSpPr>
          <p:spPr bwMode="auto">
            <a:xfrm>
              <a:off x="3471652" y="6819443"/>
              <a:ext cx="52670" cy="46949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0"/>
                </a:cxn>
                <a:cxn ang="0">
                  <a:pos x="2" y="7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10" y="1"/>
                </a:cxn>
                <a:cxn ang="0">
                  <a:pos x="11" y="3"/>
                </a:cxn>
                <a:cxn ang="0">
                  <a:pos x="11" y="4"/>
                </a:cxn>
                <a:cxn ang="0">
                  <a:pos x="13" y="3"/>
                </a:cxn>
                <a:cxn ang="0">
                  <a:pos x="16" y="3"/>
                </a:cxn>
                <a:cxn ang="0">
                  <a:pos x="16" y="4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8" y="9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5" y="12"/>
                </a:cxn>
                <a:cxn ang="0">
                  <a:pos x="2" y="14"/>
                </a:cxn>
              </a:cxnLst>
              <a:rect l="0" t="0" r="r" b="b"/>
              <a:pathLst>
                <a:path w="17" h="15">
                  <a:moveTo>
                    <a:pt x="2" y="14"/>
                  </a:moveTo>
                  <a:cubicBezTo>
                    <a:pt x="0" y="12"/>
                    <a:pt x="0" y="10"/>
                    <a:pt x="0" y="10"/>
                  </a:cubicBezTo>
                  <a:cubicBezTo>
                    <a:pt x="2" y="10"/>
                    <a:pt x="0" y="9"/>
                    <a:pt x="2" y="7"/>
                  </a:cubicBezTo>
                  <a:cubicBezTo>
                    <a:pt x="5" y="6"/>
                    <a:pt x="3" y="6"/>
                    <a:pt x="5" y="6"/>
                  </a:cubicBezTo>
                  <a:cubicBezTo>
                    <a:pt x="6" y="6"/>
                    <a:pt x="6" y="6"/>
                    <a:pt x="5" y="4"/>
                  </a:cubicBezTo>
                  <a:cubicBezTo>
                    <a:pt x="5" y="4"/>
                    <a:pt x="6" y="4"/>
                    <a:pt x="5" y="3"/>
                  </a:cubicBezTo>
                  <a:cubicBezTo>
                    <a:pt x="5" y="3"/>
                    <a:pt x="8" y="3"/>
                    <a:pt x="6" y="1"/>
                  </a:cubicBezTo>
                  <a:cubicBezTo>
                    <a:pt x="6" y="0"/>
                    <a:pt x="8" y="1"/>
                    <a:pt x="10" y="1"/>
                  </a:cubicBezTo>
                  <a:cubicBezTo>
                    <a:pt x="11" y="1"/>
                    <a:pt x="11" y="3"/>
                    <a:pt x="11" y="3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3" y="6"/>
                    <a:pt x="11" y="3"/>
                    <a:pt x="13" y="3"/>
                  </a:cubicBezTo>
                  <a:cubicBezTo>
                    <a:pt x="14" y="1"/>
                    <a:pt x="14" y="1"/>
                    <a:pt x="16" y="3"/>
                  </a:cubicBezTo>
                  <a:cubicBezTo>
                    <a:pt x="16" y="4"/>
                    <a:pt x="14" y="4"/>
                    <a:pt x="16" y="4"/>
                  </a:cubicBezTo>
                  <a:cubicBezTo>
                    <a:pt x="17" y="6"/>
                    <a:pt x="16" y="6"/>
                    <a:pt x="14" y="6"/>
                  </a:cubicBezTo>
                  <a:cubicBezTo>
                    <a:pt x="11" y="7"/>
                    <a:pt x="14" y="9"/>
                    <a:pt x="11" y="7"/>
                  </a:cubicBezTo>
                  <a:cubicBezTo>
                    <a:pt x="6" y="7"/>
                    <a:pt x="5" y="7"/>
                    <a:pt x="8" y="9"/>
                  </a:cubicBezTo>
                  <a:cubicBezTo>
                    <a:pt x="10" y="9"/>
                    <a:pt x="10" y="12"/>
                    <a:pt x="8" y="10"/>
                  </a:cubicBezTo>
                  <a:cubicBezTo>
                    <a:pt x="6" y="9"/>
                    <a:pt x="8" y="12"/>
                    <a:pt x="6" y="10"/>
                  </a:cubicBezTo>
                  <a:cubicBezTo>
                    <a:pt x="3" y="9"/>
                    <a:pt x="6" y="14"/>
                    <a:pt x="5" y="12"/>
                  </a:cubicBezTo>
                  <a:cubicBezTo>
                    <a:pt x="0" y="10"/>
                    <a:pt x="5" y="15"/>
                    <a:pt x="2" y="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158"/>
            <p:cNvSpPr>
              <a:spLocks/>
            </p:cNvSpPr>
            <p:nvPr/>
          </p:nvSpPr>
          <p:spPr bwMode="auto">
            <a:xfrm>
              <a:off x="3441327" y="6822681"/>
              <a:ext cx="46286" cy="33997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4" y="8"/>
                </a:cxn>
                <a:cxn ang="0">
                  <a:pos x="6" y="6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3" y="3"/>
                </a:cxn>
                <a:cxn ang="0">
                  <a:pos x="10" y="6"/>
                </a:cxn>
                <a:cxn ang="0">
                  <a:pos x="7" y="8"/>
                </a:cxn>
                <a:cxn ang="0">
                  <a:pos x="6" y="10"/>
                </a:cxn>
                <a:cxn ang="0">
                  <a:pos x="4" y="11"/>
                </a:cxn>
                <a:cxn ang="0">
                  <a:pos x="3" y="11"/>
                </a:cxn>
              </a:cxnLst>
              <a:rect l="0" t="0" r="r" b="b"/>
              <a:pathLst>
                <a:path w="15" h="11">
                  <a:moveTo>
                    <a:pt x="3" y="11"/>
                  </a:moveTo>
                  <a:cubicBezTo>
                    <a:pt x="1" y="10"/>
                    <a:pt x="3" y="11"/>
                    <a:pt x="1" y="10"/>
                  </a:cubicBezTo>
                  <a:cubicBezTo>
                    <a:pt x="0" y="8"/>
                    <a:pt x="1" y="10"/>
                    <a:pt x="1" y="8"/>
                  </a:cubicBezTo>
                  <a:cubicBezTo>
                    <a:pt x="1" y="8"/>
                    <a:pt x="3" y="10"/>
                    <a:pt x="4" y="8"/>
                  </a:cubicBezTo>
                  <a:cubicBezTo>
                    <a:pt x="4" y="6"/>
                    <a:pt x="6" y="6"/>
                    <a:pt x="6" y="6"/>
                  </a:cubicBezTo>
                  <a:cubicBezTo>
                    <a:pt x="7" y="5"/>
                    <a:pt x="6" y="5"/>
                    <a:pt x="4" y="5"/>
                  </a:cubicBezTo>
                  <a:cubicBezTo>
                    <a:pt x="3" y="6"/>
                    <a:pt x="3" y="5"/>
                    <a:pt x="4" y="5"/>
                  </a:cubicBezTo>
                  <a:cubicBezTo>
                    <a:pt x="6" y="5"/>
                    <a:pt x="6" y="3"/>
                    <a:pt x="4" y="3"/>
                  </a:cubicBezTo>
                  <a:cubicBezTo>
                    <a:pt x="3" y="2"/>
                    <a:pt x="1" y="0"/>
                    <a:pt x="4" y="2"/>
                  </a:cubicBezTo>
                  <a:cubicBezTo>
                    <a:pt x="9" y="3"/>
                    <a:pt x="7" y="2"/>
                    <a:pt x="9" y="2"/>
                  </a:cubicBezTo>
                  <a:cubicBezTo>
                    <a:pt x="9" y="0"/>
                    <a:pt x="9" y="2"/>
                    <a:pt x="10" y="2"/>
                  </a:cubicBezTo>
                  <a:cubicBezTo>
                    <a:pt x="12" y="2"/>
                    <a:pt x="12" y="0"/>
                    <a:pt x="13" y="0"/>
                  </a:cubicBezTo>
                  <a:cubicBezTo>
                    <a:pt x="15" y="2"/>
                    <a:pt x="15" y="2"/>
                    <a:pt x="13" y="3"/>
                  </a:cubicBezTo>
                  <a:cubicBezTo>
                    <a:pt x="12" y="5"/>
                    <a:pt x="12" y="3"/>
                    <a:pt x="10" y="6"/>
                  </a:cubicBezTo>
                  <a:cubicBezTo>
                    <a:pt x="9" y="8"/>
                    <a:pt x="9" y="8"/>
                    <a:pt x="7" y="8"/>
                  </a:cubicBezTo>
                  <a:cubicBezTo>
                    <a:pt x="6" y="8"/>
                    <a:pt x="6" y="10"/>
                    <a:pt x="6" y="10"/>
                  </a:cubicBezTo>
                  <a:cubicBezTo>
                    <a:pt x="4" y="11"/>
                    <a:pt x="4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232"/>
            <p:cNvSpPr>
              <a:spLocks noEditPoints="1"/>
            </p:cNvSpPr>
            <p:nvPr/>
          </p:nvSpPr>
          <p:spPr bwMode="auto">
            <a:xfrm>
              <a:off x="3075832" y="5669997"/>
              <a:ext cx="218658" cy="1330769"/>
            </a:xfrm>
            <a:custGeom>
              <a:avLst/>
              <a:gdLst/>
              <a:ahLst/>
              <a:cxnLst>
                <a:cxn ang="0">
                  <a:pos x="69" y="59"/>
                </a:cxn>
                <a:cxn ang="0">
                  <a:pos x="46" y="158"/>
                </a:cxn>
                <a:cxn ang="0">
                  <a:pos x="33" y="251"/>
                </a:cxn>
                <a:cxn ang="0">
                  <a:pos x="33" y="313"/>
                </a:cxn>
                <a:cxn ang="0">
                  <a:pos x="46" y="375"/>
                </a:cxn>
                <a:cxn ang="0">
                  <a:pos x="31" y="391"/>
                </a:cxn>
                <a:cxn ang="0">
                  <a:pos x="25" y="389"/>
                </a:cxn>
                <a:cxn ang="0">
                  <a:pos x="20" y="386"/>
                </a:cxn>
                <a:cxn ang="0">
                  <a:pos x="28" y="374"/>
                </a:cxn>
                <a:cxn ang="0">
                  <a:pos x="17" y="369"/>
                </a:cxn>
                <a:cxn ang="0">
                  <a:pos x="14" y="357"/>
                </a:cxn>
                <a:cxn ang="0">
                  <a:pos x="14" y="341"/>
                </a:cxn>
                <a:cxn ang="0">
                  <a:pos x="19" y="327"/>
                </a:cxn>
                <a:cxn ang="0">
                  <a:pos x="3" y="313"/>
                </a:cxn>
                <a:cxn ang="0">
                  <a:pos x="22" y="293"/>
                </a:cxn>
                <a:cxn ang="0">
                  <a:pos x="22" y="256"/>
                </a:cxn>
                <a:cxn ang="0">
                  <a:pos x="34" y="165"/>
                </a:cxn>
                <a:cxn ang="0">
                  <a:pos x="43" y="58"/>
                </a:cxn>
                <a:cxn ang="0">
                  <a:pos x="59" y="383"/>
                </a:cxn>
                <a:cxn ang="0">
                  <a:pos x="46" y="399"/>
                </a:cxn>
                <a:cxn ang="0">
                  <a:pos x="34" y="406"/>
                </a:cxn>
                <a:cxn ang="0">
                  <a:pos x="48" y="411"/>
                </a:cxn>
                <a:cxn ang="0">
                  <a:pos x="22" y="287"/>
                </a:cxn>
                <a:cxn ang="0">
                  <a:pos x="45" y="403"/>
                </a:cxn>
                <a:cxn ang="0">
                  <a:pos x="13" y="271"/>
                </a:cxn>
                <a:cxn ang="0">
                  <a:pos x="14" y="259"/>
                </a:cxn>
                <a:cxn ang="0">
                  <a:pos x="16" y="296"/>
                </a:cxn>
                <a:cxn ang="0">
                  <a:pos x="14" y="290"/>
                </a:cxn>
                <a:cxn ang="0">
                  <a:pos x="17" y="299"/>
                </a:cxn>
                <a:cxn ang="0">
                  <a:pos x="14" y="301"/>
                </a:cxn>
                <a:cxn ang="0">
                  <a:pos x="6" y="305"/>
                </a:cxn>
                <a:cxn ang="0">
                  <a:pos x="16" y="284"/>
                </a:cxn>
                <a:cxn ang="0">
                  <a:pos x="10" y="302"/>
                </a:cxn>
                <a:cxn ang="0">
                  <a:pos x="53" y="417"/>
                </a:cxn>
                <a:cxn ang="0">
                  <a:pos x="59" y="416"/>
                </a:cxn>
                <a:cxn ang="0">
                  <a:pos x="48" y="413"/>
                </a:cxn>
                <a:cxn ang="0">
                  <a:pos x="39" y="411"/>
                </a:cxn>
                <a:cxn ang="0">
                  <a:pos x="66" y="421"/>
                </a:cxn>
                <a:cxn ang="0">
                  <a:pos x="33" y="403"/>
                </a:cxn>
                <a:cxn ang="0">
                  <a:pos x="25" y="396"/>
                </a:cxn>
                <a:cxn ang="0">
                  <a:pos x="23" y="402"/>
                </a:cxn>
                <a:cxn ang="0">
                  <a:pos x="17" y="383"/>
                </a:cxn>
                <a:cxn ang="0">
                  <a:pos x="19" y="389"/>
                </a:cxn>
                <a:cxn ang="0">
                  <a:pos x="16" y="374"/>
                </a:cxn>
                <a:cxn ang="0">
                  <a:pos x="11" y="372"/>
                </a:cxn>
                <a:cxn ang="0">
                  <a:pos x="13" y="378"/>
                </a:cxn>
                <a:cxn ang="0">
                  <a:pos x="10" y="380"/>
                </a:cxn>
                <a:cxn ang="0">
                  <a:pos x="16" y="368"/>
                </a:cxn>
                <a:cxn ang="0">
                  <a:pos x="13" y="366"/>
                </a:cxn>
                <a:cxn ang="0">
                  <a:pos x="6" y="343"/>
                </a:cxn>
                <a:cxn ang="0">
                  <a:pos x="5" y="360"/>
                </a:cxn>
                <a:cxn ang="0">
                  <a:pos x="13" y="361"/>
                </a:cxn>
                <a:cxn ang="0">
                  <a:pos x="8" y="355"/>
                </a:cxn>
                <a:cxn ang="0">
                  <a:pos x="10" y="363"/>
                </a:cxn>
                <a:cxn ang="0">
                  <a:pos x="8" y="341"/>
                </a:cxn>
                <a:cxn ang="0">
                  <a:pos x="10" y="336"/>
                </a:cxn>
                <a:cxn ang="0">
                  <a:pos x="6" y="333"/>
                </a:cxn>
                <a:cxn ang="0">
                  <a:pos x="8" y="329"/>
                </a:cxn>
                <a:cxn ang="0">
                  <a:pos x="3" y="336"/>
                </a:cxn>
                <a:cxn ang="0">
                  <a:pos x="6" y="326"/>
                </a:cxn>
                <a:cxn ang="0">
                  <a:pos x="5" y="338"/>
                </a:cxn>
              </a:cxnLst>
              <a:rect l="0" t="0" r="r" b="b"/>
              <a:pathLst>
                <a:path w="71" h="424">
                  <a:moveTo>
                    <a:pt x="51" y="0"/>
                  </a:moveTo>
                  <a:cubicBezTo>
                    <a:pt x="53" y="7"/>
                    <a:pt x="54" y="7"/>
                    <a:pt x="54" y="8"/>
                  </a:cubicBezTo>
                  <a:cubicBezTo>
                    <a:pt x="54" y="10"/>
                    <a:pt x="56" y="17"/>
                    <a:pt x="57" y="17"/>
                  </a:cubicBezTo>
                  <a:cubicBezTo>
                    <a:pt x="59" y="21"/>
                    <a:pt x="60" y="21"/>
                    <a:pt x="59" y="22"/>
                  </a:cubicBezTo>
                  <a:cubicBezTo>
                    <a:pt x="56" y="25"/>
                    <a:pt x="60" y="25"/>
                    <a:pt x="59" y="27"/>
                  </a:cubicBezTo>
                  <a:cubicBezTo>
                    <a:pt x="57" y="30"/>
                    <a:pt x="57" y="31"/>
                    <a:pt x="59" y="31"/>
                  </a:cubicBezTo>
                  <a:cubicBezTo>
                    <a:pt x="60" y="33"/>
                    <a:pt x="57" y="36"/>
                    <a:pt x="60" y="36"/>
                  </a:cubicBezTo>
                  <a:cubicBezTo>
                    <a:pt x="62" y="36"/>
                    <a:pt x="63" y="46"/>
                    <a:pt x="63" y="52"/>
                  </a:cubicBezTo>
                  <a:cubicBezTo>
                    <a:pt x="65" y="56"/>
                    <a:pt x="66" y="56"/>
                    <a:pt x="69" y="55"/>
                  </a:cubicBezTo>
                  <a:cubicBezTo>
                    <a:pt x="71" y="56"/>
                    <a:pt x="71" y="58"/>
                    <a:pt x="69" y="59"/>
                  </a:cubicBezTo>
                  <a:cubicBezTo>
                    <a:pt x="69" y="63"/>
                    <a:pt x="69" y="67"/>
                    <a:pt x="66" y="69"/>
                  </a:cubicBezTo>
                  <a:cubicBezTo>
                    <a:pt x="65" y="69"/>
                    <a:pt x="57" y="72"/>
                    <a:pt x="59" y="77"/>
                  </a:cubicBezTo>
                  <a:cubicBezTo>
                    <a:pt x="60" y="78"/>
                    <a:pt x="57" y="91"/>
                    <a:pt x="60" y="95"/>
                  </a:cubicBezTo>
                  <a:cubicBezTo>
                    <a:pt x="63" y="103"/>
                    <a:pt x="57" y="95"/>
                    <a:pt x="56" y="103"/>
                  </a:cubicBezTo>
                  <a:cubicBezTo>
                    <a:pt x="53" y="111"/>
                    <a:pt x="54" y="109"/>
                    <a:pt x="51" y="111"/>
                  </a:cubicBezTo>
                  <a:cubicBezTo>
                    <a:pt x="49" y="112"/>
                    <a:pt x="49" y="119"/>
                    <a:pt x="48" y="120"/>
                  </a:cubicBezTo>
                  <a:cubicBezTo>
                    <a:pt x="45" y="123"/>
                    <a:pt x="49" y="129"/>
                    <a:pt x="48" y="133"/>
                  </a:cubicBezTo>
                  <a:cubicBezTo>
                    <a:pt x="46" y="134"/>
                    <a:pt x="46" y="131"/>
                    <a:pt x="45" y="136"/>
                  </a:cubicBezTo>
                  <a:cubicBezTo>
                    <a:pt x="43" y="140"/>
                    <a:pt x="42" y="145"/>
                    <a:pt x="43" y="147"/>
                  </a:cubicBezTo>
                  <a:cubicBezTo>
                    <a:pt x="45" y="150"/>
                    <a:pt x="45" y="153"/>
                    <a:pt x="46" y="158"/>
                  </a:cubicBezTo>
                  <a:cubicBezTo>
                    <a:pt x="48" y="162"/>
                    <a:pt x="45" y="164"/>
                    <a:pt x="48" y="164"/>
                  </a:cubicBezTo>
                  <a:cubicBezTo>
                    <a:pt x="51" y="164"/>
                    <a:pt x="48" y="167"/>
                    <a:pt x="48" y="171"/>
                  </a:cubicBezTo>
                  <a:cubicBezTo>
                    <a:pt x="49" y="176"/>
                    <a:pt x="45" y="173"/>
                    <a:pt x="45" y="181"/>
                  </a:cubicBezTo>
                  <a:cubicBezTo>
                    <a:pt x="43" y="190"/>
                    <a:pt x="45" y="192"/>
                    <a:pt x="43" y="195"/>
                  </a:cubicBezTo>
                  <a:cubicBezTo>
                    <a:pt x="40" y="200"/>
                    <a:pt x="39" y="196"/>
                    <a:pt x="39" y="200"/>
                  </a:cubicBezTo>
                  <a:cubicBezTo>
                    <a:pt x="37" y="203"/>
                    <a:pt x="39" y="207"/>
                    <a:pt x="37" y="210"/>
                  </a:cubicBezTo>
                  <a:cubicBezTo>
                    <a:pt x="37" y="214"/>
                    <a:pt x="42" y="221"/>
                    <a:pt x="39" y="223"/>
                  </a:cubicBezTo>
                  <a:cubicBezTo>
                    <a:pt x="33" y="228"/>
                    <a:pt x="37" y="231"/>
                    <a:pt x="34" y="232"/>
                  </a:cubicBezTo>
                  <a:cubicBezTo>
                    <a:pt x="31" y="235"/>
                    <a:pt x="36" y="240"/>
                    <a:pt x="33" y="243"/>
                  </a:cubicBezTo>
                  <a:cubicBezTo>
                    <a:pt x="29" y="246"/>
                    <a:pt x="33" y="245"/>
                    <a:pt x="33" y="251"/>
                  </a:cubicBezTo>
                  <a:cubicBezTo>
                    <a:pt x="31" y="257"/>
                    <a:pt x="34" y="259"/>
                    <a:pt x="33" y="260"/>
                  </a:cubicBezTo>
                  <a:cubicBezTo>
                    <a:pt x="33" y="263"/>
                    <a:pt x="31" y="259"/>
                    <a:pt x="29" y="265"/>
                  </a:cubicBezTo>
                  <a:cubicBezTo>
                    <a:pt x="29" y="271"/>
                    <a:pt x="33" y="271"/>
                    <a:pt x="33" y="273"/>
                  </a:cubicBezTo>
                  <a:cubicBezTo>
                    <a:pt x="34" y="274"/>
                    <a:pt x="31" y="279"/>
                    <a:pt x="34" y="281"/>
                  </a:cubicBezTo>
                  <a:cubicBezTo>
                    <a:pt x="36" y="282"/>
                    <a:pt x="29" y="288"/>
                    <a:pt x="34" y="287"/>
                  </a:cubicBezTo>
                  <a:cubicBezTo>
                    <a:pt x="40" y="285"/>
                    <a:pt x="39" y="291"/>
                    <a:pt x="34" y="291"/>
                  </a:cubicBezTo>
                  <a:cubicBezTo>
                    <a:pt x="29" y="290"/>
                    <a:pt x="29" y="291"/>
                    <a:pt x="33" y="293"/>
                  </a:cubicBezTo>
                  <a:cubicBezTo>
                    <a:pt x="37" y="293"/>
                    <a:pt x="37" y="298"/>
                    <a:pt x="34" y="299"/>
                  </a:cubicBezTo>
                  <a:cubicBezTo>
                    <a:pt x="29" y="301"/>
                    <a:pt x="36" y="304"/>
                    <a:pt x="33" y="305"/>
                  </a:cubicBezTo>
                  <a:cubicBezTo>
                    <a:pt x="31" y="307"/>
                    <a:pt x="36" y="312"/>
                    <a:pt x="33" y="313"/>
                  </a:cubicBezTo>
                  <a:cubicBezTo>
                    <a:pt x="28" y="316"/>
                    <a:pt x="36" y="316"/>
                    <a:pt x="31" y="319"/>
                  </a:cubicBezTo>
                  <a:cubicBezTo>
                    <a:pt x="26" y="324"/>
                    <a:pt x="29" y="324"/>
                    <a:pt x="28" y="326"/>
                  </a:cubicBezTo>
                  <a:cubicBezTo>
                    <a:pt x="25" y="329"/>
                    <a:pt x="31" y="330"/>
                    <a:pt x="28" y="333"/>
                  </a:cubicBezTo>
                  <a:cubicBezTo>
                    <a:pt x="25" y="335"/>
                    <a:pt x="23" y="344"/>
                    <a:pt x="20" y="344"/>
                  </a:cubicBezTo>
                  <a:cubicBezTo>
                    <a:pt x="17" y="343"/>
                    <a:pt x="20" y="347"/>
                    <a:pt x="19" y="351"/>
                  </a:cubicBezTo>
                  <a:cubicBezTo>
                    <a:pt x="17" y="355"/>
                    <a:pt x="20" y="352"/>
                    <a:pt x="22" y="358"/>
                  </a:cubicBezTo>
                  <a:cubicBezTo>
                    <a:pt x="22" y="363"/>
                    <a:pt x="23" y="358"/>
                    <a:pt x="26" y="358"/>
                  </a:cubicBezTo>
                  <a:cubicBezTo>
                    <a:pt x="29" y="358"/>
                    <a:pt x="26" y="371"/>
                    <a:pt x="29" y="372"/>
                  </a:cubicBezTo>
                  <a:cubicBezTo>
                    <a:pt x="33" y="374"/>
                    <a:pt x="29" y="375"/>
                    <a:pt x="34" y="375"/>
                  </a:cubicBezTo>
                  <a:cubicBezTo>
                    <a:pt x="39" y="375"/>
                    <a:pt x="46" y="375"/>
                    <a:pt x="46" y="375"/>
                  </a:cubicBezTo>
                  <a:cubicBezTo>
                    <a:pt x="51" y="378"/>
                    <a:pt x="59" y="377"/>
                    <a:pt x="60" y="380"/>
                  </a:cubicBezTo>
                  <a:cubicBezTo>
                    <a:pt x="59" y="380"/>
                    <a:pt x="57" y="380"/>
                    <a:pt x="56" y="378"/>
                  </a:cubicBezTo>
                  <a:cubicBezTo>
                    <a:pt x="53" y="378"/>
                    <a:pt x="53" y="378"/>
                    <a:pt x="51" y="382"/>
                  </a:cubicBezTo>
                  <a:cubicBezTo>
                    <a:pt x="48" y="383"/>
                    <a:pt x="49" y="380"/>
                    <a:pt x="46" y="383"/>
                  </a:cubicBezTo>
                  <a:cubicBezTo>
                    <a:pt x="43" y="385"/>
                    <a:pt x="42" y="383"/>
                    <a:pt x="40" y="386"/>
                  </a:cubicBezTo>
                  <a:cubicBezTo>
                    <a:pt x="40" y="391"/>
                    <a:pt x="40" y="388"/>
                    <a:pt x="39" y="394"/>
                  </a:cubicBezTo>
                  <a:cubicBezTo>
                    <a:pt x="39" y="399"/>
                    <a:pt x="40" y="399"/>
                    <a:pt x="37" y="399"/>
                  </a:cubicBezTo>
                  <a:cubicBezTo>
                    <a:pt x="34" y="399"/>
                    <a:pt x="33" y="397"/>
                    <a:pt x="33" y="397"/>
                  </a:cubicBezTo>
                  <a:cubicBezTo>
                    <a:pt x="31" y="397"/>
                    <a:pt x="28" y="394"/>
                    <a:pt x="28" y="393"/>
                  </a:cubicBezTo>
                  <a:cubicBezTo>
                    <a:pt x="28" y="391"/>
                    <a:pt x="29" y="391"/>
                    <a:pt x="31" y="391"/>
                  </a:cubicBezTo>
                  <a:cubicBezTo>
                    <a:pt x="31" y="393"/>
                    <a:pt x="31" y="391"/>
                    <a:pt x="33" y="391"/>
                  </a:cubicBezTo>
                  <a:cubicBezTo>
                    <a:pt x="34" y="393"/>
                    <a:pt x="33" y="391"/>
                    <a:pt x="34" y="389"/>
                  </a:cubicBezTo>
                  <a:cubicBezTo>
                    <a:pt x="37" y="389"/>
                    <a:pt x="39" y="386"/>
                    <a:pt x="37" y="386"/>
                  </a:cubicBezTo>
                  <a:cubicBezTo>
                    <a:pt x="36" y="385"/>
                    <a:pt x="36" y="386"/>
                    <a:pt x="33" y="388"/>
                  </a:cubicBezTo>
                  <a:cubicBezTo>
                    <a:pt x="31" y="388"/>
                    <a:pt x="33" y="389"/>
                    <a:pt x="29" y="389"/>
                  </a:cubicBezTo>
                  <a:cubicBezTo>
                    <a:pt x="25" y="388"/>
                    <a:pt x="31" y="389"/>
                    <a:pt x="29" y="391"/>
                  </a:cubicBezTo>
                  <a:cubicBezTo>
                    <a:pt x="28" y="391"/>
                    <a:pt x="26" y="391"/>
                    <a:pt x="26" y="394"/>
                  </a:cubicBezTo>
                  <a:cubicBezTo>
                    <a:pt x="28" y="396"/>
                    <a:pt x="26" y="394"/>
                    <a:pt x="25" y="393"/>
                  </a:cubicBezTo>
                  <a:cubicBezTo>
                    <a:pt x="22" y="393"/>
                    <a:pt x="20" y="389"/>
                    <a:pt x="22" y="389"/>
                  </a:cubicBezTo>
                  <a:cubicBezTo>
                    <a:pt x="23" y="389"/>
                    <a:pt x="25" y="391"/>
                    <a:pt x="25" y="389"/>
                  </a:cubicBezTo>
                  <a:cubicBezTo>
                    <a:pt x="23" y="389"/>
                    <a:pt x="25" y="389"/>
                    <a:pt x="23" y="388"/>
                  </a:cubicBezTo>
                  <a:cubicBezTo>
                    <a:pt x="23" y="386"/>
                    <a:pt x="25" y="385"/>
                    <a:pt x="26" y="386"/>
                  </a:cubicBezTo>
                  <a:cubicBezTo>
                    <a:pt x="28" y="388"/>
                    <a:pt x="28" y="383"/>
                    <a:pt x="31" y="383"/>
                  </a:cubicBezTo>
                  <a:cubicBezTo>
                    <a:pt x="33" y="385"/>
                    <a:pt x="34" y="385"/>
                    <a:pt x="36" y="383"/>
                  </a:cubicBezTo>
                  <a:cubicBezTo>
                    <a:pt x="36" y="383"/>
                    <a:pt x="29" y="382"/>
                    <a:pt x="28" y="383"/>
                  </a:cubicBezTo>
                  <a:cubicBezTo>
                    <a:pt x="26" y="385"/>
                    <a:pt x="28" y="382"/>
                    <a:pt x="25" y="382"/>
                  </a:cubicBezTo>
                  <a:cubicBezTo>
                    <a:pt x="23" y="383"/>
                    <a:pt x="25" y="383"/>
                    <a:pt x="25" y="383"/>
                  </a:cubicBezTo>
                  <a:cubicBezTo>
                    <a:pt x="26" y="385"/>
                    <a:pt x="23" y="385"/>
                    <a:pt x="23" y="386"/>
                  </a:cubicBezTo>
                  <a:cubicBezTo>
                    <a:pt x="23" y="388"/>
                    <a:pt x="23" y="389"/>
                    <a:pt x="20" y="389"/>
                  </a:cubicBezTo>
                  <a:cubicBezTo>
                    <a:pt x="17" y="388"/>
                    <a:pt x="22" y="388"/>
                    <a:pt x="20" y="386"/>
                  </a:cubicBezTo>
                  <a:cubicBezTo>
                    <a:pt x="20" y="386"/>
                    <a:pt x="19" y="385"/>
                    <a:pt x="20" y="386"/>
                  </a:cubicBezTo>
                  <a:cubicBezTo>
                    <a:pt x="22" y="386"/>
                    <a:pt x="20" y="382"/>
                    <a:pt x="19" y="385"/>
                  </a:cubicBezTo>
                  <a:cubicBezTo>
                    <a:pt x="17" y="386"/>
                    <a:pt x="17" y="385"/>
                    <a:pt x="19" y="382"/>
                  </a:cubicBezTo>
                  <a:cubicBezTo>
                    <a:pt x="20" y="380"/>
                    <a:pt x="17" y="382"/>
                    <a:pt x="19" y="380"/>
                  </a:cubicBezTo>
                  <a:cubicBezTo>
                    <a:pt x="19" y="377"/>
                    <a:pt x="16" y="375"/>
                    <a:pt x="17" y="377"/>
                  </a:cubicBezTo>
                  <a:cubicBezTo>
                    <a:pt x="19" y="377"/>
                    <a:pt x="20" y="380"/>
                    <a:pt x="22" y="378"/>
                  </a:cubicBezTo>
                  <a:cubicBezTo>
                    <a:pt x="22" y="377"/>
                    <a:pt x="23" y="377"/>
                    <a:pt x="23" y="377"/>
                  </a:cubicBezTo>
                  <a:cubicBezTo>
                    <a:pt x="23" y="378"/>
                    <a:pt x="23" y="378"/>
                    <a:pt x="23" y="375"/>
                  </a:cubicBezTo>
                  <a:cubicBezTo>
                    <a:pt x="25" y="374"/>
                    <a:pt x="28" y="378"/>
                    <a:pt x="26" y="377"/>
                  </a:cubicBezTo>
                  <a:cubicBezTo>
                    <a:pt x="25" y="375"/>
                    <a:pt x="26" y="375"/>
                    <a:pt x="28" y="374"/>
                  </a:cubicBezTo>
                  <a:cubicBezTo>
                    <a:pt x="28" y="371"/>
                    <a:pt x="26" y="371"/>
                    <a:pt x="23" y="369"/>
                  </a:cubicBezTo>
                  <a:cubicBezTo>
                    <a:pt x="20" y="368"/>
                    <a:pt x="20" y="369"/>
                    <a:pt x="23" y="371"/>
                  </a:cubicBezTo>
                  <a:cubicBezTo>
                    <a:pt x="26" y="372"/>
                    <a:pt x="28" y="374"/>
                    <a:pt x="25" y="374"/>
                  </a:cubicBezTo>
                  <a:cubicBezTo>
                    <a:pt x="22" y="372"/>
                    <a:pt x="23" y="374"/>
                    <a:pt x="23" y="374"/>
                  </a:cubicBezTo>
                  <a:cubicBezTo>
                    <a:pt x="22" y="374"/>
                    <a:pt x="22" y="375"/>
                    <a:pt x="22" y="377"/>
                  </a:cubicBezTo>
                  <a:cubicBezTo>
                    <a:pt x="20" y="378"/>
                    <a:pt x="17" y="374"/>
                    <a:pt x="19" y="374"/>
                  </a:cubicBezTo>
                  <a:cubicBezTo>
                    <a:pt x="20" y="375"/>
                    <a:pt x="19" y="375"/>
                    <a:pt x="19" y="372"/>
                  </a:cubicBezTo>
                  <a:cubicBezTo>
                    <a:pt x="19" y="371"/>
                    <a:pt x="17" y="374"/>
                    <a:pt x="16" y="372"/>
                  </a:cubicBezTo>
                  <a:cubicBezTo>
                    <a:pt x="16" y="371"/>
                    <a:pt x="17" y="371"/>
                    <a:pt x="16" y="369"/>
                  </a:cubicBezTo>
                  <a:cubicBezTo>
                    <a:pt x="16" y="368"/>
                    <a:pt x="16" y="368"/>
                    <a:pt x="17" y="369"/>
                  </a:cubicBezTo>
                  <a:cubicBezTo>
                    <a:pt x="17" y="371"/>
                    <a:pt x="19" y="371"/>
                    <a:pt x="17" y="368"/>
                  </a:cubicBezTo>
                  <a:cubicBezTo>
                    <a:pt x="17" y="366"/>
                    <a:pt x="17" y="366"/>
                    <a:pt x="16" y="366"/>
                  </a:cubicBezTo>
                  <a:cubicBezTo>
                    <a:pt x="14" y="366"/>
                    <a:pt x="14" y="368"/>
                    <a:pt x="14" y="364"/>
                  </a:cubicBezTo>
                  <a:cubicBezTo>
                    <a:pt x="14" y="363"/>
                    <a:pt x="14" y="364"/>
                    <a:pt x="14" y="363"/>
                  </a:cubicBezTo>
                  <a:cubicBezTo>
                    <a:pt x="13" y="363"/>
                    <a:pt x="14" y="361"/>
                    <a:pt x="16" y="363"/>
                  </a:cubicBezTo>
                  <a:cubicBezTo>
                    <a:pt x="16" y="363"/>
                    <a:pt x="17" y="361"/>
                    <a:pt x="17" y="360"/>
                  </a:cubicBezTo>
                  <a:cubicBezTo>
                    <a:pt x="19" y="357"/>
                    <a:pt x="17" y="357"/>
                    <a:pt x="17" y="358"/>
                  </a:cubicBezTo>
                  <a:cubicBezTo>
                    <a:pt x="16" y="361"/>
                    <a:pt x="16" y="361"/>
                    <a:pt x="14" y="360"/>
                  </a:cubicBezTo>
                  <a:cubicBezTo>
                    <a:pt x="13" y="358"/>
                    <a:pt x="13" y="358"/>
                    <a:pt x="14" y="358"/>
                  </a:cubicBezTo>
                  <a:cubicBezTo>
                    <a:pt x="16" y="358"/>
                    <a:pt x="16" y="358"/>
                    <a:pt x="14" y="357"/>
                  </a:cubicBezTo>
                  <a:cubicBezTo>
                    <a:pt x="13" y="357"/>
                    <a:pt x="14" y="357"/>
                    <a:pt x="13" y="357"/>
                  </a:cubicBezTo>
                  <a:cubicBezTo>
                    <a:pt x="11" y="355"/>
                    <a:pt x="11" y="355"/>
                    <a:pt x="10" y="354"/>
                  </a:cubicBezTo>
                  <a:cubicBezTo>
                    <a:pt x="8" y="354"/>
                    <a:pt x="11" y="352"/>
                    <a:pt x="13" y="354"/>
                  </a:cubicBezTo>
                  <a:cubicBezTo>
                    <a:pt x="14" y="355"/>
                    <a:pt x="16" y="355"/>
                    <a:pt x="14" y="354"/>
                  </a:cubicBezTo>
                  <a:cubicBezTo>
                    <a:pt x="13" y="352"/>
                    <a:pt x="11" y="351"/>
                    <a:pt x="14" y="352"/>
                  </a:cubicBezTo>
                  <a:cubicBezTo>
                    <a:pt x="17" y="352"/>
                    <a:pt x="16" y="352"/>
                    <a:pt x="13" y="351"/>
                  </a:cubicBezTo>
                  <a:cubicBezTo>
                    <a:pt x="11" y="349"/>
                    <a:pt x="14" y="349"/>
                    <a:pt x="13" y="347"/>
                  </a:cubicBezTo>
                  <a:cubicBezTo>
                    <a:pt x="13" y="347"/>
                    <a:pt x="14" y="346"/>
                    <a:pt x="16" y="347"/>
                  </a:cubicBezTo>
                  <a:cubicBezTo>
                    <a:pt x="17" y="349"/>
                    <a:pt x="16" y="346"/>
                    <a:pt x="14" y="344"/>
                  </a:cubicBezTo>
                  <a:cubicBezTo>
                    <a:pt x="14" y="343"/>
                    <a:pt x="16" y="341"/>
                    <a:pt x="14" y="341"/>
                  </a:cubicBezTo>
                  <a:cubicBezTo>
                    <a:pt x="13" y="343"/>
                    <a:pt x="14" y="346"/>
                    <a:pt x="13" y="346"/>
                  </a:cubicBezTo>
                  <a:cubicBezTo>
                    <a:pt x="11" y="346"/>
                    <a:pt x="13" y="343"/>
                    <a:pt x="11" y="340"/>
                  </a:cubicBezTo>
                  <a:cubicBezTo>
                    <a:pt x="11" y="336"/>
                    <a:pt x="13" y="336"/>
                    <a:pt x="13" y="335"/>
                  </a:cubicBezTo>
                  <a:cubicBezTo>
                    <a:pt x="13" y="332"/>
                    <a:pt x="16" y="335"/>
                    <a:pt x="16" y="335"/>
                  </a:cubicBezTo>
                  <a:cubicBezTo>
                    <a:pt x="14" y="333"/>
                    <a:pt x="16" y="333"/>
                    <a:pt x="14" y="333"/>
                  </a:cubicBezTo>
                  <a:cubicBezTo>
                    <a:pt x="14" y="332"/>
                    <a:pt x="13" y="332"/>
                    <a:pt x="11" y="330"/>
                  </a:cubicBezTo>
                  <a:cubicBezTo>
                    <a:pt x="11" y="329"/>
                    <a:pt x="11" y="330"/>
                    <a:pt x="10" y="329"/>
                  </a:cubicBezTo>
                  <a:cubicBezTo>
                    <a:pt x="10" y="327"/>
                    <a:pt x="11" y="329"/>
                    <a:pt x="14" y="329"/>
                  </a:cubicBezTo>
                  <a:cubicBezTo>
                    <a:pt x="16" y="329"/>
                    <a:pt x="17" y="329"/>
                    <a:pt x="19" y="330"/>
                  </a:cubicBezTo>
                  <a:cubicBezTo>
                    <a:pt x="22" y="332"/>
                    <a:pt x="17" y="327"/>
                    <a:pt x="19" y="327"/>
                  </a:cubicBezTo>
                  <a:cubicBezTo>
                    <a:pt x="20" y="327"/>
                    <a:pt x="17" y="324"/>
                    <a:pt x="17" y="326"/>
                  </a:cubicBezTo>
                  <a:cubicBezTo>
                    <a:pt x="17" y="327"/>
                    <a:pt x="16" y="324"/>
                    <a:pt x="13" y="326"/>
                  </a:cubicBezTo>
                  <a:cubicBezTo>
                    <a:pt x="10" y="326"/>
                    <a:pt x="10" y="326"/>
                    <a:pt x="10" y="324"/>
                  </a:cubicBezTo>
                  <a:cubicBezTo>
                    <a:pt x="11" y="322"/>
                    <a:pt x="11" y="324"/>
                    <a:pt x="13" y="324"/>
                  </a:cubicBezTo>
                  <a:cubicBezTo>
                    <a:pt x="14" y="324"/>
                    <a:pt x="10" y="322"/>
                    <a:pt x="11" y="321"/>
                  </a:cubicBezTo>
                  <a:cubicBezTo>
                    <a:pt x="13" y="318"/>
                    <a:pt x="16" y="319"/>
                    <a:pt x="16" y="318"/>
                  </a:cubicBezTo>
                  <a:cubicBezTo>
                    <a:pt x="16" y="315"/>
                    <a:pt x="14" y="316"/>
                    <a:pt x="14" y="315"/>
                  </a:cubicBezTo>
                  <a:cubicBezTo>
                    <a:pt x="13" y="313"/>
                    <a:pt x="11" y="313"/>
                    <a:pt x="11" y="315"/>
                  </a:cubicBezTo>
                  <a:cubicBezTo>
                    <a:pt x="11" y="316"/>
                    <a:pt x="8" y="315"/>
                    <a:pt x="6" y="313"/>
                  </a:cubicBezTo>
                  <a:cubicBezTo>
                    <a:pt x="6" y="310"/>
                    <a:pt x="3" y="312"/>
                    <a:pt x="3" y="313"/>
                  </a:cubicBezTo>
                  <a:cubicBezTo>
                    <a:pt x="3" y="316"/>
                    <a:pt x="3" y="316"/>
                    <a:pt x="2" y="315"/>
                  </a:cubicBezTo>
                  <a:cubicBezTo>
                    <a:pt x="0" y="312"/>
                    <a:pt x="3" y="310"/>
                    <a:pt x="6" y="307"/>
                  </a:cubicBezTo>
                  <a:cubicBezTo>
                    <a:pt x="11" y="305"/>
                    <a:pt x="8" y="302"/>
                    <a:pt x="11" y="304"/>
                  </a:cubicBezTo>
                  <a:cubicBezTo>
                    <a:pt x="13" y="304"/>
                    <a:pt x="10" y="302"/>
                    <a:pt x="13" y="302"/>
                  </a:cubicBezTo>
                  <a:cubicBezTo>
                    <a:pt x="16" y="302"/>
                    <a:pt x="13" y="305"/>
                    <a:pt x="16" y="307"/>
                  </a:cubicBezTo>
                  <a:cubicBezTo>
                    <a:pt x="19" y="308"/>
                    <a:pt x="14" y="313"/>
                    <a:pt x="17" y="312"/>
                  </a:cubicBezTo>
                  <a:cubicBezTo>
                    <a:pt x="19" y="310"/>
                    <a:pt x="17" y="310"/>
                    <a:pt x="19" y="305"/>
                  </a:cubicBezTo>
                  <a:cubicBezTo>
                    <a:pt x="19" y="301"/>
                    <a:pt x="19" y="302"/>
                    <a:pt x="19" y="299"/>
                  </a:cubicBezTo>
                  <a:cubicBezTo>
                    <a:pt x="19" y="298"/>
                    <a:pt x="22" y="298"/>
                    <a:pt x="20" y="296"/>
                  </a:cubicBezTo>
                  <a:cubicBezTo>
                    <a:pt x="20" y="294"/>
                    <a:pt x="19" y="294"/>
                    <a:pt x="22" y="293"/>
                  </a:cubicBezTo>
                  <a:cubicBezTo>
                    <a:pt x="23" y="293"/>
                    <a:pt x="25" y="291"/>
                    <a:pt x="25" y="290"/>
                  </a:cubicBezTo>
                  <a:cubicBezTo>
                    <a:pt x="26" y="288"/>
                    <a:pt x="26" y="285"/>
                    <a:pt x="23" y="285"/>
                  </a:cubicBezTo>
                  <a:cubicBezTo>
                    <a:pt x="22" y="285"/>
                    <a:pt x="20" y="284"/>
                    <a:pt x="22" y="284"/>
                  </a:cubicBezTo>
                  <a:cubicBezTo>
                    <a:pt x="23" y="282"/>
                    <a:pt x="23" y="279"/>
                    <a:pt x="22" y="276"/>
                  </a:cubicBezTo>
                  <a:cubicBezTo>
                    <a:pt x="22" y="273"/>
                    <a:pt x="26" y="273"/>
                    <a:pt x="25" y="268"/>
                  </a:cubicBezTo>
                  <a:cubicBezTo>
                    <a:pt x="23" y="265"/>
                    <a:pt x="25" y="266"/>
                    <a:pt x="25" y="263"/>
                  </a:cubicBezTo>
                  <a:cubicBezTo>
                    <a:pt x="25" y="262"/>
                    <a:pt x="25" y="262"/>
                    <a:pt x="26" y="263"/>
                  </a:cubicBezTo>
                  <a:cubicBezTo>
                    <a:pt x="28" y="265"/>
                    <a:pt x="29" y="260"/>
                    <a:pt x="25" y="260"/>
                  </a:cubicBezTo>
                  <a:cubicBezTo>
                    <a:pt x="22" y="259"/>
                    <a:pt x="28" y="257"/>
                    <a:pt x="26" y="256"/>
                  </a:cubicBezTo>
                  <a:cubicBezTo>
                    <a:pt x="23" y="256"/>
                    <a:pt x="23" y="251"/>
                    <a:pt x="22" y="256"/>
                  </a:cubicBezTo>
                  <a:cubicBezTo>
                    <a:pt x="22" y="257"/>
                    <a:pt x="19" y="259"/>
                    <a:pt x="16" y="252"/>
                  </a:cubicBezTo>
                  <a:cubicBezTo>
                    <a:pt x="14" y="248"/>
                    <a:pt x="16" y="248"/>
                    <a:pt x="17" y="238"/>
                  </a:cubicBezTo>
                  <a:cubicBezTo>
                    <a:pt x="17" y="232"/>
                    <a:pt x="19" y="240"/>
                    <a:pt x="20" y="231"/>
                  </a:cubicBezTo>
                  <a:cubicBezTo>
                    <a:pt x="22" y="223"/>
                    <a:pt x="19" y="224"/>
                    <a:pt x="19" y="218"/>
                  </a:cubicBezTo>
                  <a:cubicBezTo>
                    <a:pt x="20" y="210"/>
                    <a:pt x="17" y="215"/>
                    <a:pt x="17" y="207"/>
                  </a:cubicBezTo>
                  <a:cubicBezTo>
                    <a:pt x="19" y="203"/>
                    <a:pt x="22" y="210"/>
                    <a:pt x="22" y="203"/>
                  </a:cubicBezTo>
                  <a:cubicBezTo>
                    <a:pt x="22" y="196"/>
                    <a:pt x="23" y="206"/>
                    <a:pt x="23" y="196"/>
                  </a:cubicBezTo>
                  <a:cubicBezTo>
                    <a:pt x="25" y="190"/>
                    <a:pt x="26" y="195"/>
                    <a:pt x="26" y="190"/>
                  </a:cubicBezTo>
                  <a:cubicBezTo>
                    <a:pt x="26" y="187"/>
                    <a:pt x="31" y="184"/>
                    <a:pt x="31" y="175"/>
                  </a:cubicBezTo>
                  <a:cubicBezTo>
                    <a:pt x="31" y="167"/>
                    <a:pt x="36" y="171"/>
                    <a:pt x="34" y="165"/>
                  </a:cubicBezTo>
                  <a:cubicBezTo>
                    <a:pt x="33" y="161"/>
                    <a:pt x="37" y="158"/>
                    <a:pt x="36" y="154"/>
                  </a:cubicBezTo>
                  <a:cubicBezTo>
                    <a:pt x="34" y="151"/>
                    <a:pt x="36" y="150"/>
                    <a:pt x="34" y="142"/>
                  </a:cubicBezTo>
                  <a:cubicBezTo>
                    <a:pt x="33" y="134"/>
                    <a:pt x="34" y="133"/>
                    <a:pt x="36" y="131"/>
                  </a:cubicBezTo>
                  <a:cubicBezTo>
                    <a:pt x="37" y="129"/>
                    <a:pt x="37" y="125"/>
                    <a:pt x="36" y="120"/>
                  </a:cubicBezTo>
                  <a:cubicBezTo>
                    <a:pt x="33" y="116"/>
                    <a:pt x="37" y="117"/>
                    <a:pt x="39" y="111"/>
                  </a:cubicBezTo>
                  <a:cubicBezTo>
                    <a:pt x="39" y="103"/>
                    <a:pt x="40" y="106"/>
                    <a:pt x="40" y="101"/>
                  </a:cubicBezTo>
                  <a:cubicBezTo>
                    <a:pt x="39" y="98"/>
                    <a:pt x="43" y="91"/>
                    <a:pt x="42" y="88"/>
                  </a:cubicBezTo>
                  <a:cubicBezTo>
                    <a:pt x="40" y="84"/>
                    <a:pt x="45" y="83"/>
                    <a:pt x="43" y="77"/>
                  </a:cubicBezTo>
                  <a:cubicBezTo>
                    <a:pt x="40" y="69"/>
                    <a:pt x="45" y="63"/>
                    <a:pt x="43" y="63"/>
                  </a:cubicBezTo>
                  <a:cubicBezTo>
                    <a:pt x="40" y="61"/>
                    <a:pt x="43" y="58"/>
                    <a:pt x="43" y="58"/>
                  </a:cubicBezTo>
                  <a:cubicBezTo>
                    <a:pt x="45" y="58"/>
                    <a:pt x="45" y="56"/>
                    <a:pt x="46" y="47"/>
                  </a:cubicBezTo>
                  <a:cubicBezTo>
                    <a:pt x="48" y="38"/>
                    <a:pt x="45" y="36"/>
                    <a:pt x="46" y="30"/>
                  </a:cubicBezTo>
                  <a:cubicBezTo>
                    <a:pt x="46" y="24"/>
                    <a:pt x="45" y="24"/>
                    <a:pt x="45" y="19"/>
                  </a:cubicBezTo>
                  <a:cubicBezTo>
                    <a:pt x="45" y="16"/>
                    <a:pt x="43" y="21"/>
                    <a:pt x="43" y="10"/>
                  </a:cubicBezTo>
                  <a:cubicBezTo>
                    <a:pt x="53" y="7"/>
                    <a:pt x="46" y="4"/>
                    <a:pt x="48" y="4"/>
                  </a:cubicBezTo>
                  <a:cubicBezTo>
                    <a:pt x="51" y="4"/>
                    <a:pt x="51" y="0"/>
                    <a:pt x="51" y="0"/>
                  </a:cubicBezTo>
                  <a:close/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moveTo>
                    <a:pt x="59" y="411"/>
                  </a:moveTo>
                  <a:cubicBezTo>
                    <a:pt x="59" y="383"/>
                    <a:pt x="59" y="383"/>
                    <a:pt x="59" y="383"/>
                  </a:cubicBezTo>
                  <a:cubicBezTo>
                    <a:pt x="57" y="382"/>
                    <a:pt x="56" y="385"/>
                    <a:pt x="54" y="385"/>
                  </a:cubicBezTo>
                  <a:cubicBezTo>
                    <a:pt x="53" y="385"/>
                    <a:pt x="53" y="382"/>
                    <a:pt x="51" y="382"/>
                  </a:cubicBezTo>
                  <a:cubicBezTo>
                    <a:pt x="49" y="382"/>
                    <a:pt x="49" y="385"/>
                    <a:pt x="48" y="386"/>
                  </a:cubicBezTo>
                  <a:cubicBezTo>
                    <a:pt x="46" y="386"/>
                    <a:pt x="45" y="385"/>
                    <a:pt x="45" y="385"/>
                  </a:cubicBezTo>
                  <a:cubicBezTo>
                    <a:pt x="43" y="385"/>
                    <a:pt x="45" y="385"/>
                    <a:pt x="45" y="386"/>
                  </a:cubicBezTo>
                  <a:cubicBezTo>
                    <a:pt x="45" y="388"/>
                    <a:pt x="46" y="386"/>
                    <a:pt x="46" y="388"/>
                  </a:cubicBezTo>
                  <a:cubicBezTo>
                    <a:pt x="45" y="389"/>
                    <a:pt x="45" y="389"/>
                    <a:pt x="45" y="388"/>
                  </a:cubicBezTo>
                  <a:cubicBezTo>
                    <a:pt x="43" y="386"/>
                    <a:pt x="43" y="389"/>
                    <a:pt x="45" y="393"/>
                  </a:cubicBezTo>
                  <a:cubicBezTo>
                    <a:pt x="45" y="396"/>
                    <a:pt x="51" y="391"/>
                    <a:pt x="53" y="393"/>
                  </a:cubicBezTo>
                  <a:cubicBezTo>
                    <a:pt x="54" y="396"/>
                    <a:pt x="45" y="396"/>
                    <a:pt x="46" y="399"/>
                  </a:cubicBezTo>
                  <a:cubicBezTo>
                    <a:pt x="46" y="403"/>
                    <a:pt x="56" y="405"/>
                    <a:pt x="56" y="406"/>
                  </a:cubicBezTo>
                  <a:cubicBezTo>
                    <a:pt x="49" y="405"/>
                    <a:pt x="51" y="403"/>
                    <a:pt x="51" y="405"/>
                  </a:cubicBezTo>
                  <a:cubicBezTo>
                    <a:pt x="49" y="406"/>
                    <a:pt x="48" y="403"/>
                    <a:pt x="46" y="403"/>
                  </a:cubicBezTo>
                  <a:cubicBezTo>
                    <a:pt x="45" y="405"/>
                    <a:pt x="48" y="406"/>
                    <a:pt x="45" y="405"/>
                  </a:cubicBezTo>
                  <a:cubicBezTo>
                    <a:pt x="42" y="402"/>
                    <a:pt x="39" y="400"/>
                    <a:pt x="40" y="402"/>
                  </a:cubicBezTo>
                  <a:cubicBezTo>
                    <a:pt x="40" y="405"/>
                    <a:pt x="45" y="403"/>
                    <a:pt x="42" y="405"/>
                  </a:cubicBezTo>
                  <a:cubicBezTo>
                    <a:pt x="39" y="405"/>
                    <a:pt x="40" y="406"/>
                    <a:pt x="39" y="406"/>
                  </a:cubicBezTo>
                  <a:cubicBezTo>
                    <a:pt x="36" y="405"/>
                    <a:pt x="36" y="405"/>
                    <a:pt x="36" y="405"/>
                  </a:cubicBezTo>
                  <a:cubicBezTo>
                    <a:pt x="36" y="406"/>
                    <a:pt x="34" y="405"/>
                    <a:pt x="33" y="405"/>
                  </a:cubicBezTo>
                  <a:cubicBezTo>
                    <a:pt x="31" y="405"/>
                    <a:pt x="34" y="406"/>
                    <a:pt x="34" y="406"/>
                  </a:cubicBezTo>
                  <a:cubicBezTo>
                    <a:pt x="33" y="408"/>
                    <a:pt x="31" y="405"/>
                    <a:pt x="31" y="406"/>
                  </a:cubicBezTo>
                  <a:cubicBezTo>
                    <a:pt x="31" y="408"/>
                    <a:pt x="31" y="408"/>
                    <a:pt x="31" y="408"/>
                  </a:cubicBezTo>
                  <a:cubicBezTo>
                    <a:pt x="33" y="410"/>
                    <a:pt x="34" y="408"/>
                    <a:pt x="36" y="408"/>
                  </a:cubicBezTo>
                  <a:cubicBezTo>
                    <a:pt x="36" y="410"/>
                    <a:pt x="36" y="406"/>
                    <a:pt x="37" y="406"/>
                  </a:cubicBezTo>
                  <a:cubicBezTo>
                    <a:pt x="37" y="406"/>
                    <a:pt x="36" y="408"/>
                    <a:pt x="37" y="408"/>
                  </a:cubicBezTo>
                  <a:cubicBezTo>
                    <a:pt x="37" y="410"/>
                    <a:pt x="40" y="406"/>
                    <a:pt x="39" y="408"/>
                  </a:cubicBezTo>
                  <a:cubicBezTo>
                    <a:pt x="39" y="411"/>
                    <a:pt x="39" y="410"/>
                    <a:pt x="40" y="410"/>
                  </a:cubicBezTo>
                  <a:cubicBezTo>
                    <a:pt x="40" y="410"/>
                    <a:pt x="40" y="411"/>
                    <a:pt x="42" y="410"/>
                  </a:cubicBezTo>
                  <a:cubicBezTo>
                    <a:pt x="43" y="410"/>
                    <a:pt x="45" y="411"/>
                    <a:pt x="45" y="411"/>
                  </a:cubicBezTo>
                  <a:cubicBezTo>
                    <a:pt x="46" y="410"/>
                    <a:pt x="46" y="411"/>
                    <a:pt x="48" y="411"/>
                  </a:cubicBezTo>
                  <a:cubicBezTo>
                    <a:pt x="48" y="410"/>
                    <a:pt x="49" y="411"/>
                    <a:pt x="49" y="410"/>
                  </a:cubicBezTo>
                  <a:cubicBezTo>
                    <a:pt x="49" y="408"/>
                    <a:pt x="49" y="411"/>
                    <a:pt x="51" y="411"/>
                  </a:cubicBezTo>
                  <a:cubicBezTo>
                    <a:pt x="56" y="411"/>
                    <a:pt x="57" y="413"/>
                    <a:pt x="57" y="411"/>
                  </a:cubicBezTo>
                  <a:cubicBezTo>
                    <a:pt x="57" y="410"/>
                    <a:pt x="57" y="411"/>
                    <a:pt x="59" y="411"/>
                  </a:cubicBezTo>
                  <a:close/>
                  <a:moveTo>
                    <a:pt x="20" y="291"/>
                  </a:moveTo>
                  <a:cubicBezTo>
                    <a:pt x="20" y="291"/>
                    <a:pt x="19" y="291"/>
                    <a:pt x="20" y="293"/>
                  </a:cubicBezTo>
                  <a:cubicBezTo>
                    <a:pt x="22" y="293"/>
                    <a:pt x="23" y="291"/>
                    <a:pt x="23" y="291"/>
                  </a:cubicBezTo>
                  <a:cubicBezTo>
                    <a:pt x="25" y="290"/>
                    <a:pt x="23" y="290"/>
                    <a:pt x="23" y="290"/>
                  </a:cubicBezTo>
                  <a:cubicBezTo>
                    <a:pt x="25" y="290"/>
                    <a:pt x="26" y="288"/>
                    <a:pt x="23" y="287"/>
                  </a:cubicBezTo>
                  <a:cubicBezTo>
                    <a:pt x="22" y="285"/>
                    <a:pt x="23" y="287"/>
                    <a:pt x="22" y="287"/>
                  </a:cubicBezTo>
                  <a:cubicBezTo>
                    <a:pt x="22" y="287"/>
                    <a:pt x="20" y="287"/>
                    <a:pt x="20" y="288"/>
                  </a:cubicBezTo>
                  <a:cubicBezTo>
                    <a:pt x="22" y="290"/>
                    <a:pt x="20" y="288"/>
                    <a:pt x="19" y="290"/>
                  </a:cubicBezTo>
                  <a:cubicBezTo>
                    <a:pt x="19" y="290"/>
                    <a:pt x="19" y="290"/>
                    <a:pt x="20" y="291"/>
                  </a:cubicBezTo>
                  <a:close/>
                  <a:moveTo>
                    <a:pt x="43" y="402"/>
                  </a:moveTo>
                  <a:cubicBezTo>
                    <a:pt x="42" y="400"/>
                    <a:pt x="42" y="400"/>
                    <a:pt x="43" y="400"/>
                  </a:cubicBezTo>
                  <a:cubicBezTo>
                    <a:pt x="45" y="402"/>
                    <a:pt x="45" y="402"/>
                    <a:pt x="43" y="400"/>
                  </a:cubicBezTo>
                  <a:cubicBezTo>
                    <a:pt x="43" y="399"/>
                    <a:pt x="43" y="397"/>
                    <a:pt x="43" y="396"/>
                  </a:cubicBezTo>
                  <a:cubicBezTo>
                    <a:pt x="43" y="394"/>
                    <a:pt x="42" y="396"/>
                    <a:pt x="42" y="397"/>
                  </a:cubicBezTo>
                  <a:cubicBezTo>
                    <a:pt x="42" y="399"/>
                    <a:pt x="40" y="397"/>
                    <a:pt x="40" y="399"/>
                  </a:cubicBezTo>
                  <a:cubicBezTo>
                    <a:pt x="40" y="400"/>
                    <a:pt x="42" y="402"/>
                    <a:pt x="45" y="403"/>
                  </a:cubicBezTo>
                  <a:cubicBezTo>
                    <a:pt x="46" y="405"/>
                    <a:pt x="45" y="403"/>
                    <a:pt x="43" y="402"/>
                  </a:cubicBezTo>
                  <a:close/>
                  <a:moveTo>
                    <a:pt x="39" y="402"/>
                  </a:moveTo>
                  <a:cubicBezTo>
                    <a:pt x="39" y="400"/>
                    <a:pt x="37" y="402"/>
                    <a:pt x="37" y="400"/>
                  </a:cubicBezTo>
                  <a:cubicBezTo>
                    <a:pt x="36" y="399"/>
                    <a:pt x="34" y="399"/>
                    <a:pt x="34" y="400"/>
                  </a:cubicBezTo>
                  <a:cubicBezTo>
                    <a:pt x="34" y="402"/>
                    <a:pt x="33" y="403"/>
                    <a:pt x="34" y="403"/>
                  </a:cubicBezTo>
                  <a:cubicBezTo>
                    <a:pt x="36" y="403"/>
                    <a:pt x="34" y="402"/>
                    <a:pt x="36" y="403"/>
                  </a:cubicBezTo>
                  <a:cubicBezTo>
                    <a:pt x="37" y="403"/>
                    <a:pt x="36" y="403"/>
                    <a:pt x="37" y="405"/>
                  </a:cubicBezTo>
                  <a:cubicBezTo>
                    <a:pt x="39" y="405"/>
                    <a:pt x="39" y="403"/>
                    <a:pt x="39" y="402"/>
                  </a:cubicBezTo>
                  <a:close/>
                  <a:moveTo>
                    <a:pt x="13" y="265"/>
                  </a:moveTo>
                  <a:cubicBezTo>
                    <a:pt x="13" y="266"/>
                    <a:pt x="14" y="266"/>
                    <a:pt x="13" y="271"/>
                  </a:cubicBezTo>
                  <a:cubicBezTo>
                    <a:pt x="11" y="276"/>
                    <a:pt x="13" y="274"/>
                    <a:pt x="16" y="276"/>
                  </a:cubicBezTo>
                  <a:cubicBezTo>
                    <a:pt x="20" y="276"/>
                    <a:pt x="16" y="273"/>
                    <a:pt x="17" y="273"/>
                  </a:cubicBezTo>
                  <a:cubicBezTo>
                    <a:pt x="20" y="273"/>
                    <a:pt x="17" y="270"/>
                    <a:pt x="19" y="270"/>
                  </a:cubicBezTo>
                  <a:cubicBezTo>
                    <a:pt x="20" y="270"/>
                    <a:pt x="20" y="270"/>
                    <a:pt x="17" y="266"/>
                  </a:cubicBezTo>
                  <a:cubicBezTo>
                    <a:pt x="16" y="265"/>
                    <a:pt x="19" y="266"/>
                    <a:pt x="17" y="265"/>
                  </a:cubicBezTo>
                  <a:cubicBezTo>
                    <a:pt x="17" y="263"/>
                    <a:pt x="17" y="263"/>
                    <a:pt x="19" y="263"/>
                  </a:cubicBezTo>
                  <a:cubicBezTo>
                    <a:pt x="22" y="263"/>
                    <a:pt x="20" y="262"/>
                    <a:pt x="19" y="260"/>
                  </a:cubicBezTo>
                  <a:cubicBezTo>
                    <a:pt x="19" y="259"/>
                    <a:pt x="19" y="257"/>
                    <a:pt x="17" y="259"/>
                  </a:cubicBezTo>
                  <a:cubicBezTo>
                    <a:pt x="14" y="259"/>
                    <a:pt x="17" y="257"/>
                    <a:pt x="16" y="257"/>
                  </a:cubicBezTo>
                  <a:cubicBezTo>
                    <a:pt x="14" y="257"/>
                    <a:pt x="14" y="257"/>
                    <a:pt x="14" y="259"/>
                  </a:cubicBezTo>
                  <a:cubicBezTo>
                    <a:pt x="16" y="262"/>
                    <a:pt x="14" y="262"/>
                    <a:pt x="13" y="265"/>
                  </a:cubicBezTo>
                  <a:close/>
                  <a:moveTo>
                    <a:pt x="22" y="281"/>
                  </a:moveTo>
                  <a:cubicBezTo>
                    <a:pt x="22" y="281"/>
                    <a:pt x="22" y="282"/>
                    <a:pt x="20" y="282"/>
                  </a:cubicBezTo>
                  <a:cubicBezTo>
                    <a:pt x="20" y="282"/>
                    <a:pt x="20" y="281"/>
                    <a:pt x="22" y="281"/>
                  </a:cubicBezTo>
                  <a:close/>
                  <a:moveTo>
                    <a:pt x="16" y="281"/>
                  </a:moveTo>
                  <a:cubicBezTo>
                    <a:pt x="17" y="281"/>
                    <a:pt x="17" y="281"/>
                    <a:pt x="17" y="281"/>
                  </a:cubicBezTo>
                  <a:cubicBezTo>
                    <a:pt x="16" y="279"/>
                    <a:pt x="16" y="281"/>
                    <a:pt x="14" y="281"/>
                  </a:cubicBezTo>
                  <a:cubicBezTo>
                    <a:pt x="14" y="279"/>
                    <a:pt x="13" y="281"/>
                    <a:pt x="14" y="281"/>
                  </a:cubicBezTo>
                  <a:cubicBezTo>
                    <a:pt x="16" y="282"/>
                    <a:pt x="16" y="282"/>
                    <a:pt x="16" y="281"/>
                  </a:cubicBezTo>
                  <a:close/>
                  <a:moveTo>
                    <a:pt x="16" y="296"/>
                  </a:moveTo>
                  <a:cubicBezTo>
                    <a:pt x="16" y="296"/>
                    <a:pt x="16" y="296"/>
                    <a:pt x="17" y="296"/>
                  </a:cubicBezTo>
                  <a:cubicBezTo>
                    <a:pt x="17" y="298"/>
                    <a:pt x="17" y="296"/>
                    <a:pt x="17" y="294"/>
                  </a:cubicBezTo>
                  <a:cubicBezTo>
                    <a:pt x="16" y="293"/>
                    <a:pt x="16" y="294"/>
                    <a:pt x="14" y="294"/>
                  </a:cubicBezTo>
                  <a:cubicBezTo>
                    <a:pt x="13" y="293"/>
                    <a:pt x="13" y="294"/>
                    <a:pt x="14" y="296"/>
                  </a:cubicBezTo>
                  <a:cubicBezTo>
                    <a:pt x="14" y="296"/>
                    <a:pt x="14" y="296"/>
                    <a:pt x="16" y="296"/>
                  </a:cubicBezTo>
                  <a:close/>
                  <a:moveTo>
                    <a:pt x="16" y="293"/>
                  </a:moveTo>
                  <a:cubicBezTo>
                    <a:pt x="16" y="293"/>
                    <a:pt x="16" y="293"/>
                    <a:pt x="14" y="291"/>
                  </a:cubicBezTo>
                  <a:cubicBezTo>
                    <a:pt x="13" y="291"/>
                    <a:pt x="13" y="293"/>
                    <a:pt x="13" y="293"/>
                  </a:cubicBezTo>
                  <a:cubicBezTo>
                    <a:pt x="11" y="294"/>
                    <a:pt x="13" y="293"/>
                    <a:pt x="16" y="293"/>
                  </a:cubicBezTo>
                  <a:close/>
                  <a:moveTo>
                    <a:pt x="14" y="290"/>
                  </a:moveTo>
                  <a:cubicBezTo>
                    <a:pt x="16" y="290"/>
                    <a:pt x="16" y="290"/>
                    <a:pt x="16" y="290"/>
                  </a:cubicBezTo>
                  <a:cubicBezTo>
                    <a:pt x="16" y="288"/>
                    <a:pt x="14" y="288"/>
                    <a:pt x="13" y="290"/>
                  </a:cubicBezTo>
                  <a:cubicBezTo>
                    <a:pt x="11" y="290"/>
                    <a:pt x="13" y="290"/>
                    <a:pt x="13" y="291"/>
                  </a:cubicBezTo>
                  <a:cubicBezTo>
                    <a:pt x="13" y="291"/>
                    <a:pt x="14" y="291"/>
                    <a:pt x="14" y="290"/>
                  </a:cubicBezTo>
                  <a:close/>
                  <a:moveTo>
                    <a:pt x="17" y="290"/>
                  </a:moveTo>
                  <a:cubicBezTo>
                    <a:pt x="19" y="290"/>
                    <a:pt x="19" y="288"/>
                    <a:pt x="17" y="288"/>
                  </a:cubicBezTo>
                  <a:cubicBezTo>
                    <a:pt x="16" y="288"/>
                    <a:pt x="17" y="288"/>
                    <a:pt x="17" y="290"/>
                  </a:cubicBezTo>
                  <a:cubicBezTo>
                    <a:pt x="17" y="290"/>
                    <a:pt x="17" y="290"/>
                    <a:pt x="17" y="290"/>
                  </a:cubicBezTo>
                  <a:close/>
                  <a:moveTo>
                    <a:pt x="19" y="301"/>
                  </a:moveTo>
                  <a:cubicBezTo>
                    <a:pt x="19" y="299"/>
                    <a:pt x="19" y="299"/>
                    <a:pt x="17" y="299"/>
                  </a:cubicBezTo>
                  <a:cubicBezTo>
                    <a:pt x="17" y="299"/>
                    <a:pt x="16" y="301"/>
                    <a:pt x="17" y="302"/>
                  </a:cubicBezTo>
                  <a:cubicBezTo>
                    <a:pt x="17" y="302"/>
                    <a:pt x="19" y="302"/>
                    <a:pt x="19" y="301"/>
                  </a:cubicBezTo>
                  <a:close/>
                  <a:moveTo>
                    <a:pt x="13" y="301"/>
                  </a:moveTo>
                  <a:cubicBezTo>
                    <a:pt x="14" y="301"/>
                    <a:pt x="13" y="299"/>
                    <a:pt x="13" y="299"/>
                  </a:cubicBezTo>
                  <a:cubicBezTo>
                    <a:pt x="11" y="298"/>
                    <a:pt x="11" y="299"/>
                    <a:pt x="11" y="301"/>
                  </a:cubicBezTo>
                  <a:cubicBezTo>
                    <a:pt x="13" y="301"/>
                    <a:pt x="11" y="302"/>
                    <a:pt x="13" y="302"/>
                  </a:cubicBezTo>
                  <a:cubicBezTo>
                    <a:pt x="13" y="301"/>
                    <a:pt x="13" y="301"/>
                    <a:pt x="13" y="301"/>
                  </a:cubicBezTo>
                  <a:close/>
                  <a:moveTo>
                    <a:pt x="14" y="301"/>
                  </a:moveTo>
                  <a:cubicBezTo>
                    <a:pt x="14" y="301"/>
                    <a:pt x="16" y="299"/>
                    <a:pt x="16" y="301"/>
                  </a:cubicBezTo>
                  <a:cubicBezTo>
                    <a:pt x="16" y="301"/>
                    <a:pt x="16" y="302"/>
                    <a:pt x="14" y="301"/>
                  </a:cubicBezTo>
                  <a:close/>
                  <a:moveTo>
                    <a:pt x="17" y="304"/>
                  </a:moveTo>
                  <a:cubicBezTo>
                    <a:pt x="17" y="304"/>
                    <a:pt x="17" y="304"/>
                    <a:pt x="17" y="302"/>
                  </a:cubicBezTo>
                  <a:cubicBezTo>
                    <a:pt x="17" y="302"/>
                    <a:pt x="16" y="302"/>
                    <a:pt x="16" y="304"/>
                  </a:cubicBezTo>
                  <a:cubicBezTo>
                    <a:pt x="16" y="305"/>
                    <a:pt x="16" y="305"/>
                    <a:pt x="17" y="304"/>
                  </a:cubicBezTo>
                  <a:close/>
                  <a:moveTo>
                    <a:pt x="6" y="305"/>
                  </a:moveTo>
                  <a:cubicBezTo>
                    <a:pt x="6" y="305"/>
                    <a:pt x="6" y="305"/>
                    <a:pt x="6" y="305"/>
                  </a:cubicBezTo>
                  <a:cubicBezTo>
                    <a:pt x="6" y="307"/>
                    <a:pt x="8" y="307"/>
                    <a:pt x="8" y="305"/>
                  </a:cubicBezTo>
                  <a:cubicBezTo>
                    <a:pt x="10" y="305"/>
                    <a:pt x="10" y="304"/>
                    <a:pt x="8" y="302"/>
                  </a:cubicBezTo>
                  <a:cubicBezTo>
                    <a:pt x="8" y="302"/>
                    <a:pt x="8" y="302"/>
                    <a:pt x="6" y="304"/>
                  </a:cubicBezTo>
                  <a:cubicBezTo>
                    <a:pt x="6" y="304"/>
                    <a:pt x="6" y="304"/>
                    <a:pt x="6" y="305"/>
                  </a:cubicBezTo>
                  <a:close/>
                  <a:moveTo>
                    <a:pt x="13" y="287"/>
                  </a:moveTo>
                  <a:cubicBezTo>
                    <a:pt x="13" y="287"/>
                    <a:pt x="13" y="287"/>
                    <a:pt x="11" y="287"/>
                  </a:cubicBezTo>
                  <a:cubicBezTo>
                    <a:pt x="11" y="288"/>
                    <a:pt x="11" y="288"/>
                    <a:pt x="11" y="288"/>
                  </a:cubicBezTo>
                  <a:cubicBezTo>
                    <a:pt x="13" y="288"/>
                    <a:pt x="13" y="287"/>
                    <a:pt x="13" y="287"/>
                  </a:cubicBezTo>
                  <a:close/>
                  <a:moveTo>
                    <a:pt x="14" y="288"/>
                  </a:moveTo>
                  <a:cubicBezTo>
                    <a:pt x="16" y="288"/>
                    <a:pt x="16" y="288"/>
                    <a:pt x="16" y="288"/>
                  </a:cubicBezTo>
                  <a:cubicBezTo>
                    <a:pt x="16" y="287"/>
                    <a:pt x="14" y="288"/>
                    <a:pt x="13" y="288"/>
                  </a:cubicBezTo>
                  <a:cubicBezTo>
                    <a:pt x="13" y="288"/>
                    <a:pt x="13" y="288"/>
                    <a:pt x="14" y="288"/>
                  </a:cubicBezTo>
                  <a:close/>
                  <a:moveTo>
                    <a:pt x="14" y="285"/>
                  </a:moveTo>
                  <a:cubicBezTo>
                    <a:pt x="14" y="284"/>
                    <a:pt x="14" y="284"/>
                    <a:pt x="16" y="284"/>
                  </a:cubicBezTo>
                  <a:cubicBezTo>
                    <a:pt x="16" y="285"/>
                    <a:pt x="14" y="287"/>
                    <a:pt x="14" y="285"/>
                  </a:cubicBezTo>
                  <a:close/>
                  <a:moveTo>
                    <a:pt x="19" y="284"/>
                  </a:moveTo>
                  <a:cubicBezTo>
                    <a:pt x="17" y="284"/>
                    <a:pt x="17" y="282"/>
                    <a:pt x="17" y="282"/>
                  </a:cubicBezTo>
                  <a:cubicBezTo>
                    <a:pt x="17" y="281"/>
                    <a:pt x="19" y="284"/>
                    <a:pt x="19" y="284"/>
                  </a:cubicBezTo>
                  <a:close/>
                  <a:moveTo>
                    <a:pt x="8" y="277"/>
                  </a:moveTo>
                  <a:cubicBezTo>
                    <a:pt x="8" y="277"/>
                    <a:pt x="10" y="276"/>
                    <a:pt x="10" y="277"/>
                  </a:cubicBezTo>
                  <a:cubicBezTo>
                    <a:pt x="11" y="277"/>
                    <a:pt x="8" y="279"/>
                    <a:pt x="8" y="277"/>
                  </a:cubicBezTo>
                  <a:close/>
                  <a:moveTo>
                    <a:pt x="10" y="302"/>
                  </a:moveTo>
                  <a:cubicBezTo>
                    <a:pt x="10" y="301"/>
                    <a:pt x="10" y="301"/>
                    <a:pt x="10" y="301"/>
                  </a:cubicBezTo>
                  <a:cubicBezTo>
                    <a:pt x="11" y="301"/>
                    <a:pt x="11" y="302"/>
                    <a:pt x="10" y="302"/>
                  </a:cubicBezTo>
                  <a:close/>
                  <a:moveTo>
                    <a:pt x="16" y="299"/>
                  </a:moveTo>
                  <a:cubicBezTo>
                    <a:pt x="16" y="299"/>
                    <a:pt x="14" y="298"/>
                    <a:pt x="14" y="299"/>
                  </a:cubicBezTo>
                  <a:cubicBezTo>
                    <a:pt x="14" y="299"/>
                    <a:pt x="14" y="299"/>
                    <a:pt x="16" y="299"/>
                  </a:cubicBezTo>
                  <a:cubicBezTo>
                    <a:pt x="16" y="299"/>
                    <a:pt x="17" y="299"/>
                    <a:pt x="16" y="299"/>
                  </a:cubicBezTo>
                  <a:close/>
                  <a:moveTo>
                    <a:pt x="17" y="293"/>
                  </a:moveTo>
                  <a:cubicBezTo>
                    <a:pt x="16" y="293"/>
                    <a:pt x="16" y="291"/>
                    <a:pt x="16" y="291"/>
                  </a:cubicBezTo>
                  <a:cubicBezTo>
                    <a:pt x="17" y="291"/>
                    <a:pt x="17" y="293"/>
                    <a:pt x="17" y="293"/>
                  </a:cubicBezTo>
                  <a:close/>
                  <a:moveTo>
                    <a:pt x="51" y="417"/>
                  </a:moveTo>
                  <a:cubicBezTo>
                    <a:pt x="53" y="417"/>
                    <a:pt x="53" y="419"/>
                    <a:pt x="54" y="419"/>
                  </a:cubicBezTo>
                  <a:cubicBezTo>
                    <a:pt x="56" y="419"/>
                    <a:pt x="54" y="419"/>
                    <a:pt x="53" y="417"/>
                  </a:cubicBezTo>
                  <a:cubicBezTo>
                    <a:pt x="51" y="416"/>
                    <a:pt x="53" y="416"/>
                    <a:pt x="54" y="416"/>
                  </a:cubicBezTo>
                  <a:cubicBezTo>
                    <a:pt x="56" y="416"/>
                    <a:pt x="57" y="416"/>
                    <a:pt x="56" y="416"/>
                  </a:cubicBezTo>
                  <a:cubicBezTo>
                    <a:pt x="56" y="417"/>
                    <a:pt x="56" y="417"/>
                    <a:pt x="56" y="419"/>
                  </a:cubicBezTo>
                  <a:cubicBezTo>
                    <a:pt x="57" y="421"/>
                    <a:pt x="57" y="417"/>
                    <a:pt x="59" y="419"/>
                  </a:cubicBezTo>
                  <a:cubicBezTo>
                    <a:pt x="59" y="421"/>
                    <a:pt x="60" y="419"/>
                    <a:pt x="60" y="421"/>
                  </a:cubicBezTo>
                  <a:cubicBezTo>
                    <a:pt x="62" y="422"/>
                    <a:pt x="62" y="421"/>
                    <a:pt x="62" y="422"/>
                  </a:cubicBezTo>
                  <a:cubicBezTo>
                    <a:pt x="63" y="424"/>
                    <a:pt x="63" y="421"/>
                    <a:pt x="63" y="421"/>
                  </a:cubicBezTo>
                  <a:cubicBezTo>
                    <a:pt x="62" y="419"/>
                    <a:pt x="63" y="419"/>
                    <a:pt x="60" y="417"/>
                  </a:cubicBezTo>
                  <a:cubicBezTo>
                    <a:pt x="57" y="416"/>
                    <a:pt x="62" y="417"/>
                    <a:pt x="60" y="416"/>
                  </a:cubicBezTo>
                  <a:cubicBezTo>
                    <a:pt x="60" y="416"/>
                    <a:pt x="60" y="416"/>
                    <a:pt x="59" y="416"/>
                  </a:cubicBezTo>
                  <a:cubicBezTo>
                    <a:pt x="57" y="414"/>
                    <a:pt x="57" y="414"/>
                    <a:pt x="59" y="414"/>
                  </a:cubicBezTo>
                  <a:cubicBezTo>
                    <a:pt x="60" y="414"/>
                    <a:pt x="60" y="413"/>
                    <a:pt x="60" y="413"/>
                  </a:cubicBezTo>
                  <a:cubicBezTo>
                    <a:pt x="59" y="411"/>
                    <a:pt x="56" y="413"/>
                    <a:pt x="54" y="413"/>
                  </a:cubicBezTo>
                  <a:cubicBezTo>
                    <a:pt x="53" y="413"/>
                    <a:pt x="51" y="413"/>
                    <a:pt x="48" y="414"/>
                  </a:cubicBezTo>
                  <a:cubicBezTo>
                    <a:pt x="46" y="414"/>
                    <a:pt x="48" y="414"/>
                    <a:pt x="49" y="416"/>
                  </a:cubicBezTo>
                  <a:cubicBezTo>
                    <a:pt x="51" y="417"/>
                    <a:pt x="46" y="416"/>
                    <a:pt x="51" y="417"/>
                  </a:cubicBezTo>
                  <a:close/>
                  <a:moveTo>
                    <a:pt x="51" y="413"/>
                  </a:moveTo>
                  <a:cubicBezTo>
                    <a:pt x="54" y="411"/>
                    <a:pt x="53" y="413"/>
                    <a:pt x="51" y="411"/>
                  </a:cubicBezTo>
                  <a:cubicBezTo>
                    <a:pt x="48" y="411"/>
                    <a:pt x="48" y="411"/>
                    <a:pt x="46" y="413"/>
                  </a:cubicBezTo>
                  <a:cubicBezTo>
                    <a:pt x="45" y="413"/>
                    <a:pt x="46" y="413"/>
                    <a:pt x="48" y="413"/>
                  </a:cubicBezTo>
                  <a:cubicBezTo>
                    <a:pt x="48" y="413"/>
                    <a:pt x="48" y="413"/>
                    <a:pt x="51" y="413"/>
                  </a:cubicBezTo>
                  <a:close/>
                  <a:moveTo>
                    <a:pt x="43" y="413"/>
                  </a:moveTo>
                  <a:cubicBezTo>
                    <a:pt x="43" y="413"/>
                    <a:pt x="42" y="413"/>
                    <a:pt x="43" y="413"/>
                  </a:cubicBezTo>
                  <a:cubicBezTo>
                    <a:pt x="46" y="413"/>
                    <a:pt x="45" y="411"/>
                    <a:pt x="43" y="411"/>
                  </a:cubicBezTo>
                  <a:cubicBezTo>
                    <a:pt x="42" y="411"/>
                    <a:pt x="42" y="413"/>
                    <a:pt x="40" y="413"/>
                  </a:cubicBezTo>
                  <a:cubicBezTo>
                    <a:pt x="39" y="413"/>
                    <a:pt x="39" y="413"/>
                    <a:pt x="39" y="413"/>
                  </a:cubicBezTo>
                  <a:cubicBezTo>
                    <a:pt x="39" y="414"/>
                    <a:pt x="40" y="414"/>
                    <a:pt x="42" y="414"/>
                  </a:cubicBezTo>
                  <a:cubicBezTo>
                    <a:pt x="43" y="414"/>
                    <a:pt x="42" y="416"/>
                    <a:pt x="43" y="416"/>
                  </a:cubicBezTo>
                  <a:cubicBezTo>
                    <a:pt x="45" y="414"/>
                    <a:pt x="45" y="413"/>
                    <a:pt x="43" y="413"/>
                  </a:cubicBezTo>
                  <a:close/>
                  <a:moveTo>
                    <a:pt x="39" y="411"/>
                  </a:moveTo>
                  <a:cubicBezTo>
                    <a:pt x="39" y="411"/>
                    <a:pt x="37" y="410"/>
                    <a:pt x="36" y="411"/>
                  </a:cubicBezTo>
                  <a:cubicBezTo>
                    <a:pt x="36" y="411"/>
                    <a:pt x="36" y="413"/>
                    <a:pt x="37" y="411"/>
                  </a:cubicBezTo>
                  <a:cubicBezTo>
                    <a:pt x="39" y="411"/>
                    <a:pt x="37" y="413"/>
                    <a:pt x="39" y="411"/>
                  </a:cubicBezTo>
                  <a:cubicBezTo>
                    <a:pt x="40" y="411"/>
                    <a:pt x="39" y="411"/>
                    <a:pt x="39" y="411"/>
                  </a:cubicBezTo>
                  <a:close/>
                  <a:moveTo>
                    <a:pt x="65" y="424"/>
                  </a:moveTo>
                  <a:cubicBezTo>
                    <a:pt x="63" y="422"/>
                    <a:pt x="66" y="422"/>
                    <a:pt x="66" y="422"/>
                  </a:cubicBezTo>
                  <a:cubicBezTo>
                    <a:pt x="68" y="424"/>
                    <a:pt x="65" y="424"/>
                    <a:pt x="65" y="424"/>
                  </a:cubicBezTo>
                  <a:close/>
                  <a:moveTo>
                    <a:pt x="68" y="421"/>
                  </a:moveTo>
                  <a:cubicBezTo>
                    <a:pt x="68" y="421"/>
                    <a:pt x="68" y="419"/>
                    <a:pt x="68" y="421"/>
                  </a:cubicBezTo>
                  <a:cubicBezTo>
                    <a:pt x="68" y="422"/>
                    <a:pt x="66" y="421"/>
                    <a:pt x="66" y="421"/>
                  </a:cubicBezTo>
                  <a:cubicBezTo>
                    <a:pt x="66" y="422"/>
                    <a:pt x="66" y="422"/>
                    <a:pt x="68" y="422"/>
                  </a:cubicBezTo>
                  <a:cubicBezTo>
                    <a:pt x="69" y="422"/>
                    <a:pt x="69" y="422"/>
                    <a:pt x="68" y="421"/>
                  </a:cubicBezTo>
                  <a:close/>
                  <a:moveTo>
                    <a:pt x="33" y="403"/>
                  </a:moveTo>
                  <a:cubicBezTo>
                    <a:pt x="33" y="402"/>
                    <a:pt x="34" y="402"/>
                    <a:pt x="34" y="402"/>
                  </a:cubicBezTo>
                  <a:cubicBezTo>
                    <a:pt x="33" y="400"/>
                    <a:pt x="34" y="399"/>
                    <a:pt x="33" y="399"/>
                  </a:cubicBezTo>
                  <a:cubicBezTo>
                    <a:pt x="31" y="399"/>
                    <a:pt x="31" y="399"/>
                    <a:pt x="31" y="399"/>
                  </a:cubicBezTo>
                  <a:cubicBezTo>
                    <a:pt x="31" y="400"/>
                    <a:pt x="29" y="399"/>
                    <a:pt x="29" y="399"/>
                  </a:cubicBezTo>
                  <a:cubicBezTo>
                    <a:pt x="28" y="400"/>
                    <a:pt x="29" y="400"/>
                    <a:pt x="29" y="402"/>
                  </a:cubicBezTo>
                  <a:cubicBezTo>
                    <a:pt x="31" y="402"/>
                    <a:pt x="33" y="402"/>
                    <a:pt x="31" y="403"/>
                  </a:cubicBezTo>
                  <a:cubicBezTo>
                    <a:pt x="31" y="405"/>
                    <a:pt x="33" y="405"/>
                    <a:pt x="33" y="403"/>
                  </a:cubicBezTo>
                  <a:cubicBezTo>
                    <a:pt x="33" y="403"/>
                    <a:pt x="33" y="403"/>
                    <a:pt x="33" y="403"/>
                  </a:cubicBezTo>
                  <a:close/>
                  <a:moveTo>
                    <a:pt x="22" y="377"/>
                  </a:moveTo>
                  <a:cubicBezTo>
                    <a:pt x="22" y="375"/>
                    <a:pt x="23" y="374"/>
                    <a:pt x="23" y="374"/>
                  </a:cubicBezTo>
                  <a:cubicBezTo>
                    <a:pt x="25" y="374"/>
                    <a:pt x="23" y="377"/>
                    <a:pt x="22" y="377"/>
                  </a:cubicBezTo>
                  <a:close/>
                  <a:moveTo>
                    <a:pt x="28" y="400"/>
                  </a:moveTo>
                  <a:cubicBezTo>
                    <a:pt x="28" y="402"/>
                    <a:pt x="28" y="402"/>
                    <a:pt x="28" y="400"/>
                  </a:cubicBezTo>
                  <a:cubicBezTo>
                    <a:pt x="28" y="399"/>
                    <a:pt x="31" y="399"/>
                    <a:pt x="29" y="397"/>
                  </a:cubicBezTo>
                  <a:cubicBezTo>
                    <a:pt x="29" y="397"/>
                    <a:pt x="28" y="397"/>
                    <a:pt x="28" y="396"/>
                  </a:cubicBezTo>
                  <a:cubicBezTo>
                    <a:pt x="28" y="396"/>
                    <a:pt x="26" y="394"/>
                    <a:pt x="25" y="396"/>
                  </a:cubicBezTo>
                  <a:cubicBezTo>
                    <a:pt x="25" y="396"/>
                    <a:pt x="25" y="394"/>
                    <a:pt x="25" y="396"/>
                  </a:cubicBezTo>
                  <a:cubicBezTo>
                    <a:pt x="23" y="396"/>
                    <a:pt x="25" y="394"/>
                    <a:pt x="23" y="393"/>
                  </a:cubicBezTo>
                  <a:cubicBezTo>
                    <a:pt x="22" y="393"/>
                    <a:pt x="23" y="394"/>
                    <a:pt x="20" y="394"/>
                  </a:cubicBezTo>
                  <a:cubicBezTo>
                    <a:pt x="19" y="393"/>
                    <a:pt x="22" y="396"/>
                    <a:pt x="20" y="396"/>
                  </a:cubicBezTo>
                  <a:cubicBezTo>
                    <a:pt x="19" y="396"/>
                    <a:pt x="19" y="394"/>
                    <a:pt x="19" y="396"/>
                  </a:cubicBezTo>
                  <a:cubicBezTo>
                    <a:pt x="17" y="397"/>
                    <a:pt x="19" y="396"/>
                    <a:pt x="19" y="397"/>
                  </a:cubicBezTo>
                  <a:cubicBezTo>
                    <a:pt x="19" y="399"/>
                    <a:pt x="20" y="396"/>
                    <a:pt x="20" y="397"/>
                  </a:cubicBezTo>
                  <a:cubicBezTo>
                    <a:pt x="22" y="399"/>
                    <a:pt x="20" y="400"/>
                    <a:pt x="22" y="400"/>
                  </a:cubicBezTo>
                  <a:cubicBezTo>
                    <a:pt x="23" y="402"/>
                    <a:pt x="22" y="397"/>
                    <a:pt x="23" y="399"/>
                  </a:cubicBezTo>
                  <a:cubicBezTo>
                    <a:pt x="23" y="400"/>
                    <a:pt x="25" y="397"/>
                    <a:pt x="25" y="399"/>
                  </a:cubicBezTo>
                  <a:cubicBezTo>
                    <a:pt x="25" y="402"/>
                    <a:pt x="22" y="402"/>
                    <a:pt x="23" y="402"/>
                  </a:cubicBezTo>
                  <a:cubicBezTo>
                    <a:pt x="25" y="402"/>
                    <a:pt x="25" y="400"/>
                    <a:pt x="26" y="402"/>
                  </a:cubicBezTo>
                  <a:cubicBezTo>
                    <a:pt x="26" y="402"/>
                    <a:pt x="26" y="400"/>
                    <a:pt x="28" y="400"/>
                  </a:cubicBezTo>
                  <a:close/>
                  <a:moveTo>
                    <a:pt x="29" y="403"/>
                  </a:moveTo>
                  <a:cubicBezTo>
                    <a:pt x="29" y="402"/>
                    <a:pt x="29" y="400"/>
                    <a:pt x="28" y="402"/>
                  </a:cubicBezTo>
                  <a:cubicBezTo>
                    <a:pt x="28" y="403"/>
                    <a:pt x="26" y="402"/>
                    <a:pt x="28" y="403"/>
                  </a:cubicBezTo>
                  <a:cubicBezTo>
                    <a:pt x="28" y="403"/>
                    <a:pt x="28" y="403"/>
                    <a:pt x="29" y="403"/>
                  </a:cubicBezTo>
                  <a:close/>
                  <a:moveTo>
                    <a:pt x="14" y="391"/>
                  </a:moveTo>
                  <a:cubicBezTo>
                    <a:pt x="16" y="391"/>
                    <a:pt x="14" y="393"/>
                    <a:pt x="13" y="393"/>
                  </a:cubicBezTo>
                  <a:cubicBezTo>
                    <a:pt x="13" y="391"/>
                    <a:pt x="14" y="391"/>
                    <a:pt x="14" y="391"/>
                  </a:cubicBezTo>
                  <a:close/>
                  <a:moveTo>
                    <a:pt x="17" y="383"/>
                  </a:moveTo>
                  <a:cubicBezTo>
                    <a:pt x="17" y="382"/>
                    <a:pt x="17" y="382"/>
                    <a:pt x="17" y="382"/>
                  </a:cubicBezTo>
                  <a:cubicBezTo>
                    <a:pt x="17" y="380"/>
                    <a:pt x="17" y="382"/>
                    <a:pt x="16" y="382"/>
                  </a:cubicBezTo>
                  <a:cubicBezTo>
                    <a:pt x="14" y="383"/>
                    <a:pt x="16" y="383"/>
                    <a:pt x="16" y="385"/>
                  </a:cubicBezTo>
                  <a:cubicBezTo>
                    <a:pt x="16" y="385"/>
                    <a:pt x="17" y="385"/>
                    <a:pt x="17" y="383"/>
                  </a:cubicBezTo>
                  <a:close/>
                  <a:moveTo>
                    <a:pt x="16" y="391"/>
                  </a:moveTo>
                  <a:cubicBezTo>
                    <a:pt x="17" y="391"/>
                    <a:pt x="17" y="389"/>
                    <a:pt x="19" y="391"/>
                  </a:cubicBezTo>
                  <a:cubicBezTo>
                    <a:pt x="19" y="391"/>
                    <a:pt x="17" y="391"/>
                    <a:pt x="19" y="393"/>
                  </a:cubicBezTo>
                  <a:cubicBezTo>
                    <a:pt x="19" y="393"/>
                    <a:pt x="19" y="391"/>
                    <a:pt x="20" y="393"/>
                  </a:cubicBezTo>
                  <a:cubicBezTo>
                    <a:pt x="22" y="393"/>
                    <a:pt x="22" y="393"/>
                    <a:pt x="22" y="391"/>
                  </a:cubicBezTo>
                  <a:cubicBezTo>
                    <a:pt x="20" y="391"/>
                    <a:pt x="20" y="389"/>
                    <a:pt x="19" y="389"/>
                  </a:cubicBezTo>
                  <a:cubicBezTo>
                    <a:pt x="19" y="389"/>
                    <a:pt x="19" y="388"/>
                    <a:pt x="17" y="389"/>
                  </a:cubicBezTo>
                  <a:cubicBezTo>
                    <a:pt x="17" y="389"/>
                    <a:pt x="17" y="388"/>
                    <a:pt x="16" y="388"/>
                  </a:cubicBezTo>
                  <a:cubicBezTo>
                    <a:pt x="14" y="388"/>
                    <a:pt x="13" y="388"/>
                    <a:pt x="11" y="386"/>
                  </a:cubicBezTo>
                  <a:cubicBezTo>
                    <a:pt x="10" y="385"/>
                    <a:pt x="8" y="385"/>
                    <a:pt x="10" y="386"/>
                  </a:cubicBezTo>
                  <a:cubicBezTo>
                    <a:pt x="11" y="386"/>
                    <a:pt x="10" y="386"/>
                    <a:pt x="11" y="388"/>
                  </a:cubicBezTo>
                  <a:cubicBezTo>
                    <a:pt x="13" y="388"/>
                    <a:pt x="11" y="389"/>
                    <a:pt x="14" y="389"/>
                  </a:cubicBezTo>
                  <a:cubicBezTo>
                    <a:pt x="14" y="389"/>
                    <a:pt x="16" y="389"/>
                    <a:pt x="16" y="391"/>
                  </a:cubicBezTo>
                  <a:close/>
                  <a:moveTo>
                    <a:pt x="14" y="371"/>
                  </a:moveTo>
                  <a:cubicBezTo>
                    <a:pt x="14" y="369"/>
                    <a:pt x="14" y="371"/>
                    <a:pt x="14" y="372"/>
                  </a:cubicBezTo>
                  <a:cubicBezTo>
                    <a:pt x="13" y="372"/>
                    <a:pt x="14" y="374"/>
                    <a:pt x="16" y="374"/>
                  </a:cubicBezTo>
                  <a:cubicBezTo>
                    <a:pt x="16" y="372"/>
                    <a:pt x="16" y="371"/>
                    <a:pt x="14" y="371"/>
                  </a:cubicBezTo>
                  <a:close/>
                  <a:moveTo>
                    <a:pt x="8" y="375"/>
                  </a:moveTo>
                  <a:cubicBezTo>
                    <a:pt x="8" y="374"/>
                    <a:pt x="10" y="374"/>
                    <a:pt x="10" y="372"/>
                  </a:cubicBezTo>
                  <a:cubicBezTo>
                    <a:pt x="8" y="371"/>
                    <a:pt x="8" y="371"/>
                    <a:pt x="8" y="372"/>
                  </a:cubicBezTo>
                  <a:cubicBezTo>
                    <a:pt x="8" y="374"/>
                    <a:pt x="8" y="374"/>
                    <a:pt x="8" y="372"/>
                  </a:cubicBezTo>
                  <a:cubicBezTo>
                    <a:pt x="6" y="372"/>
                    <a:pt x="6" y="374"/>
                    <a:pt x="6" y="374"/>
                  </a:cubicBezTo>
                  <a:cubicBezTo>
                    <a:pt x="8" y="375"/>
                    <a:pt x="6" y="375"/>
                    <a:pt x="6" y="377"/>
                  </a:cubicBezTo>
                  <a:cubicBezTo>
                    <a:pt x="6" y="377"/>
                    <a:pt x="8" y="377"/>
                    <a:pt x="8" y="375"/>
                  </a:cubicBezTo>
                  <a:close/>
                  <a:moveTo>
                    <a:pt x="13" y="374"/>
                  </a:moveTo>
                  <a:cubicBezTo>
                    <a:pt x="11" y="372"/>
                    <a:pt x="11" y="372"/>
                    <a:pt x="11" y="372"/>
                  </a:cubicBezTo>
                  <a:cubicBezTo>
                    <a:pt x="13" y="374"/>
                    <a:pt x="11" y="374"/>
                    <a:pt x="13" y="375"/>
                  </a:cubicBezTo>
                  <a:cubicBezTo>
                    <a:pt x="14" y="375"/>
                    <a:pt x="14" y="374"/>
                    <a:pt x="13" y="374"/>
                  </a:cubicBezTo>
                  <a:close/>
                  <a:moveTo>
                    <a:pt x="16" y="377"/>
                  </a:moveTo>
                  <a:cubicBezTo>
                    <a:pt x="17" y="380"/>
                    <a:pt x="17" y="378"/>
                    <a:pt x="17" y="377"/>
                  </a:cubicBezTo>
                  <a:cubicBezTo>
                    <a:pt x="16" y="375"/>
                    <a:pt x="14" y="374"/>
                    <a:pt x="14" y="375"/>
                  </a:cubicBezTo>
                  <a:cubicBezTo>
                    <a:pt x="14" y="377"/>
                    <a:pt x="14" y="375"/>
                    <a:pt x="16" y="377"/>
                  </a:cubicBezTo>
                  <a:close/>
                  <a:moveTo>
                    <a:pt x="16" y="380"/>
                  </a:moveTo>
                  <a:cubicBezTo>
                    <a:pt x="16" y="380"/>
                    <a:pt x="16" y="378"/>
                    <a:pt x="14" y="377"/>
                  </a:cubicBezTo>
                  <a:cubicBezTo>
                    <a:pt x="13" y="377"/>
                    <a:pt x="11" y="377"/>
                    <a:pt x="13" y="377"/>
                  </a:cubicBezTo>
                  <a:cubicBezTo>
                    <a:pt x="13" y="378"/>
                    <a:pt x="13" y="377"/>
                    <a:pt x="13" y="378"/>
                  </a:cubicBezTo>
                  <a:cubicBezTo>
                    <a:pt x="14" y="378"/>
                    <a:pt x="13" y="378"/>
                    <a:pt x="14" y="380"/>
                  </a:cubicBezTo>
                  <a:cubicBezTo>
                    <a:pt x="14" y="382"/>
                    <a:pt x="14" y="380"/>
                    <a:pt x="16" y="380"/>
                  </a:cubicBezTo>
                  <a:close/>
                  <a:moveTo>
                    <a:pt x="10" y="375"/>
                  </a:moveTo>
                  <a:cubicBezTo>
                    <a:pt x="11" y="374"/>
                    <a:pt x="10" y="374"/>
                    <a:pt x="10" y="375"/>
                  </a:cubicBezTo>
                  <a:cubicBezTo>
                    <a:pt x="8" y="377"/>
                    <a:pt x="8" y="378"/>
                    <a:pt x="8" y="377"/>
                  </a:cubicBezTo>
                  <a:cubicBezTo>
                    <a:pt x="10" y="377"/>
                    <a:pt x="10" y="377"/>
                    <a:pt x="10" y="375"/>
                  </a:cubicBezTo>
                  <a:close/>
                  <a:moveTo>
                    <a:pt x="10" y="380"/>
                  </a:moveTo>
                  <a:cubicBezTo>
                    <a:pt x="10" y="380"/>
                    <a:pt x="11" y="378"/>
                    <a:pt x="10" y="378"/>
                  </a:cubicBezTo>
                  <a:cubicBezTo>
                    <a:pt x="8" y="378"/>
                    <a:pt x="8" y="378"/>
                    <a:pt x="8" y="378"/>
                  </a:cubicBezTo>
                  <a:cubicBezTo>
                    <a:pt x="8" y="378"/>
                    <a:pt x="8" y="378"/>
                    <a:pt x="10" y="380"/>
                  </a:cubicBezTo>
                  <a:close/>
                  <a:moveTo>
                    <a:pt x="6" y="369"/>
                  </a:moveTo>
                  <a:cubicBezTo>
                    <a:pt x="6" y="368"/>
                    <a:pt x="6" y="368"/>
                    <a:pt x="6" y="368"/>
                  </a:cubicBezTo>
                  <a:cubicBezTo>
                    <a:pt x="5" y="366"/>
                    <a:pt x="5" y="368"/>
                    <a:pt x="5" y="369"/>
                  </a:cubicBezTo>
                  <a:cubicBezTo>
                    <a:pt x="5" y="371"/>
                    <a:pt x="3" y="372"/>
                    <a:pt x="5" y="371"/>
                  </a:cubicBezTo>
                  <a:cubicBezTo>
                    <a:pt x="6" y="371"/>
                    <a:pt x="5" y="369"/>
                    <a:pt x="6" y="369"/>
                  </a:cubicBezTo>
                  <a:close/>
                  <a:moveTo>
                    <a:pt x="14" y="369"/>
                  </a:moveTo>
                  <a:cubicBezTo>
                    <a:pt x="13" y="369"/>
                    <a:pt x="13" y="368"/>
                    <a:pt x="13" y="368"/>
                  </a:cubicBezTo>
                  <a:cubicBezTo>
                    <a:pt x="14" y="368"/>
                    <a:pt x="14" y="369"/>
                    <a:pt x="14" y="369"/>
                  </a:cubicBezTo>
                  <a:close/>
                  <a:moveTo>
                    <a:pt x="14" y="368"/>
                  </a:moveTo>
                  <a:cubicBezTo>
                    <a:pt x="14" y="366"/>
                    <a:pt x="16" y="366"/>
                    <a:pt x="16" y="368"/>
                  </a:cubicBezTo>
                  <a:cubicBezTo>
                    <a:pt x="16" y="368"/>
                    <a:pt x="14" y="369"/>
                    <a:pt x="14" y="368"/>
                  </a:cubicBezTo>
                  <a:close/>
                  <a:moveTo>
                    <a:pt x="10" y="368"/>
                  </a:moveTo>
                  <a:cubicBezTo>
                    <a:pt x="10" y="369"/>
                    <a:pt x="11" y="369"/>
                    <a:pt x="11" y="368"/>
                  </a:cubicBezTo>
                  <a:cubicBezTo>
                    <a:pt x="10" y="368"/>
                    <a:pt x="11" y="366"/>
                    <a:pt x="10" y="366"/>
                  </a:cubicBezTo>
                  <a:cubicBezTo>
                    <a:pt x="8" y="366"/>
                    <a:pt x="8" y="368"/>
                    <a:pt x="8" y="368"/>
                  </a:cubicBezTo>
                  <a:cubicBezTo>
                    <a:pt x="6" y="369"/>
                    <a:pt x="6" y="369"/>
                    <a:pt x="8" y="369"/>
                  </a:cubicBezTo>
                  <a:cubicBezTo>
                    <a:pt x="10" y="369"/>
                    <a:pt x="10" y="368"/>
                    <a:pt x="10" y="368"/>
                  </a:cubicBezTo>
                  <a:close/>
                  <a:moveTo>
                    <a:pt x="13" y="366"/>
                  </a:moveTo>
                  <a:cubicBezTo>
                    <a:pt x="13" y="363"/>
                    <a:pt x="13" y="363"/>
                    <a:pt x="13" y="363"/>
                  </a:cubicBezTo>
                  <a:cubicBezTo>
                    <a:pt x="13" y="363"/>
                    <a:pt x="14" y="366"/>
                    <a:pt x="13" y="366"/>
                  </a:cubicBezTo>
                  <a:close/>
                  <a:moveTo>
                    <a:pt x="11" y="349"/>
                  </a:moveTo>
                  <a:cubicBezTo>
                    <a:pt x="13" y="349"/>
                    <a:pt x="11" y="347"/>
                    <a:pt x="11" y="347"/>
                  </a:cubicBezTo>
                  <a:cubicBezTo>
                    <a:pt x="11" y="349"/>
                    <a:pt x="10" y="347"/>
                    <a:pt x="11" y="347"/>
                  </a:cubicBezTo>
                  <a:cubicBezTo>
                    <a:pt x="11" y="346"/>
                    <a:pt x="11" y="344"/>
                    <a:pt x="11" y="341"/>
                  </a:cubicBezTo>
                  <a:cubicBezTo>
                    <a:pt x="11" y="338"/>
                    <a:pt x="11" y="336"/>
                    <a:pt x="11" y="336"/>
                  </a:cubicBezTo>
                  <a:cubicBezTo>
                    <a:pt x="10" y="336"/>
                    <a:pt x="10" y="336"/>
                    <a:pt x="8" y="336"/>
                  </a:cubicBezTo>
                  <a:cubicBezTo>
                    <a:pt x="6" y="338"/>
                    <a:pt x="6" y="338"/>
                    <a:pt x="6" y="338"/>
                  </a:cubicBezTo>
                  <a:cubicBezTo>
                    <a:pt x="8" y="340"/>
                    <a:pt x="6" y="340"/>
                    <a:pt x="8" y="340"/>
                  </a:cubicBezTo>
                  <a:cubicBezTo>
                    <a:pt x="8" y="341"/>
                    <a:pt x="8" y="343"/>
                    <a:pt x="8" y="344"/>
                  </a:cubicBezTo>
                  <a:cubicBezTo>
                    <a:pt x="6" y="343"/>
                    <a:pt x="6" y="343"/>
                    <a:pt x="6" y="343"/>
                  </a:cubicBezTo>
                  <a:cubicBezTo>
                    <a:pt x="5" y="344"/>
                    <a:pt x="5" y="343"/>
                    <a:pt x="5" y="343"/>
                  </a:cubicBezTo>
                  <a:cubicBezTo>
                    <a:pt x="3" y="344"/>
                    <a:pt x="3" y="344"/>
                    <a:pt x="5" y="346"/>
                  </a:cubicBezTo>
                  <a:cubicBezTo>
                    <a:pt x="5" y="347"/>
                    <a:pt x="5" y="349"/>
                    <a:pt x="6" y="351"/>
                  </a:cubicBezTo>
                  <a:cubicBezTo>
                    <a:pt x="8" y="352"/>
                    <a:pt x="8" y="349"/>
                    <a:pt x="6" y="347"/>
                  </a:cubicBezTo>
                  <a:cubicBezTo>
                    <a:pt x="6" y="346"/>
                    <a:pt x="6" y="346"/>
                    <a:pt x="8" y="347"/>
                  </a:cubicBezTo>
                  <a:cubicBezTo>
                    <a:pt x="10" y="347"/>
                    <a:pt x="8" y="347"/>
                    <a:pt x="8" y="349"/>
                  </a:cubicBezTo>
                  <a:cubicBezTo>
                    <a:pt x="8" y="351"/>
                    <a:pt x="8" y="349"/>
                    <a:pt x="8" y="351"/>
                  </a:cubicBezTo>
                  <a:cubicBezTo>
                    <a:pt x="8" y="352"/>
                    <a:pt x="8" y="352"/>
                    <a:pt x="10" y="352"/>
                  </a:cubicBezTo>
                  <a:cubicBezTo>
                    <a:pt x="13" y="352"/>
                    <a:pt x="11" y="349"/>
                    <a:pt x="11" y="349"/>
                  </a:cubicBezTo>
                  <a:close/>
                  <a:moveTo>
                    <a:pt x="5" y="360"/>
                  </a:moveTo>
                  <a:cubicBezTo>
                    <a:pt x="6" y="358"/>
                    <a:pt x="6" y="358"/>
                    <a:pt x="5" y="358"/>
                  </a:cubicBezTo>
                  <a:cubicBezTo>
                    <a:pt x="2" y="357"/>
                    <a:pt x="5" y="358"/>
                    <a:pt x="3" y="360"/>
                  </a:cubicBezTo>
                  <a:cubicBezTo>
                    <a:pt x="3" y="360"/>
                    <a:pt x="2" y="361"/>
                    <a:pt x="3" y="361"/>
                  </a:cubicBezTo>
                  <a:cubicBezTo>
                    <a:pt x="5" y="361"/>
                    <a:pt x="5" y="360"/>
                    <a:pt x="5" y="360"/>
                  </a:cubicBezTo>
                  <a:close/>
                  <a:moveTo>
                    <a:pt x="13" y="361"/>
                  </a:moveTo>
                  <a:cubicBezTo>
                    <a:pt x="14" y="361"/>
                    <a:pt x="14" y="361"/>
                    <a:pt x="13" y="360"/>
                  </a:cubicBezTo>
                  <a:cubicBezTo>
                    <a:pt x="13" y="358"/>
                    <a:pt x="13" y="358"/>
                    <a:pt x="11" y="357"/>
                  </a:cubicBezTo>
                  <a:cubicBezTo>
                    <a:pt x="11" y="357"/>
                    <a:pt x="10" y="357"/>
                    <a:pt x="11" y="358"/>
                  </a:cubicBezTo>
                  <a:cubicBezTo>
                    <a:pt x="13" y="360"/>
                    <a:pt x="10" y="358"/>
                    <a:pt x="11" y="361"/>
                  </a:cubicBezTo>
                  <a:cubicBezTo>
                    <a:pt x="13" y="361"/>
                    <a:pt x="13" y="361"/>
                    <a:pt x="13" y="361"/>
                  </a:cubicBezTo>
                  <a:close/>
                  <a:moveTo>
                    <a:pt x="3" y="349"/>
                  </a:moveTo>
                  <a:cubicBezTo>
                    <a:pt x="5" y="349"/>
                    <a:pt x="3" y="351"/>
                    <a:pt x="5" y="351"/>
                  </a:cubicBezTo>
                  <a:cubicBezTo>
                    <a:pt x="5" y="351"/>
                    <a:pt x="5" y="351"/>
                    <a:pt x="5" y="349"/>
                  </a:cubicBezTo>
                  <a:cubicBezTo>
                    <a:pt x="5" y="347"/>
                    <a:pt x="5" y="347"/>
                    <a:pt x="3" y="347"/>
                  </a:cubicBezTo>
                  <a:cubicBezTo>
                    <a:pt x="2" y="347"/>
                    <a:pt x="2" y="347"/>
                    <a:pt x="2" y="351"/>
                  </a:cubicBezTo>
                  <a:cubicBezTo>
                    <a:pt x="2" y="351"/>
                    <a:pt x="3" y="351"/>
                    <a:pt x="3" y="349"/>
                  </a:cubicBezTo>
                  <a:close/>
                  <a:moveTo>
                    <a:pt x="5" y="357"/>
                  </a:moveTo>
                  <a:cubicBezTo>
                    <a:pt x="5" y="357"/>
                    <a:pt x="5" y="358"/>
                    <a:pt x="6" y="357"/>
                  </a:cubicBezTo>
                  <a:cubicBezTo>
                    <a:pt x="6" y="355"/>
                    <a:pt x="6" y="357"/>
                    <a:pt x="8" y="357"/>
                  </a:cubicBezTo>
                  <a:cubicBezTo>
                    <a:pt x="8" y="355"/>
                    <a:pt x="6" y="355"/>
                    <a:pt x="8" y="355"/>
                  </a:cubicBezTo>
                  <a:cubicBezTo>
                    <a:pt x="10" y="354"/>
                    <a:pt x="8" y="354"/>
                    <a:pt x="8" y="354"/>
                  </a:cubicBezTo>
                  <a:cubicBezTo>
                    <a:pt x="6" y="355"/>
                    <a:pt x="8" y="352"/>
                    <a:pt x="6" y="354"/>
                  </a:cubicBezTo>
                  <a:cubicBezTo>
                    <a:pt x="6" y="354"/>
                    <a:pt x="5" y="352"/>
                    <a:pt x="3" y="352"/>
                  </a:cubicBezTo>
                  <a:cubicBezTo>
                    <a:pt x="2" y="352"/>
                    <a:pt x="6" y="354"/>
                    <a:pt x="5" y="354"/>
                  </a:cubicBezTo>
                  <a:cubicBezTo>
                    <a:pt x="5" y="355"/>
                    <a:pt x="3" y="352"/>
                    <a:pt x="3" y="355"/>
                  </a:cubicBezTo>
                  <a:cubicBezTo>
                    <a:pt x="3" y="357"/>
                    <a:pt x="5" y="355"/>
                    <a:pt x="5" y="357"/>
                  </a:cubicBezTo>
                  <a:close/>
                  <a:moveTo>
                    <a:pt x="11" y="364"/>
                  </a:moveTo>
                  <a:cubicBezTo>
                    <a:pt x="11" y="364"/>
                    <a:pt x="13" y="363"/>
                    <a:pt x="11" y="363"/>
                  </a:cubicBezTo>
                  <a:cubicBezTo>
                    <a:pt x="11" y="361"/>
                    <a:pt x="10" y="360"/>
                    <a:pt x="10" y="361"/>
                  </a:cubicBezTo>
                  <a:cubicBezTo>
                    <a:pt x="10" y="363"/>
                    <a:pt x="11" y="363"/>
                    <a:pt x="10" y="363"/>
                  </a:cubicBezTo>
                  <a:cubicBezTo>
                    <a:pt x="6" y="363"/>
                    <a:pt x="6" y="363"/>
                    <a:pt x="8" y="363"/>
                  </a:cubicBezTo>
                  <a:cubicBezTo>
                    <a:pt x="10" y="364"/>
                    <a:pt x="8" y="364"/>
                    <a:pt x="10" y="364"/>
                  </a:cubicBezTo>
                  <a:cubicBezTo>
                    <a:pt x="10" y="366"/>
                    <a:pt x="11" y="363"/>
                    <a:pt x="11" y="364"/>
                  </a:cubicBezTo>
                  <a:close/>
                  <a:moveTo>
                    <a:pt x="10" y="363"/>
                  </a:moveTo>
                  <a:cubicBezTo>
                    <a:pt x="8" y="361"/>
                    <a:pt x="6" y="361"/>
                    <a:pt x="8" y="360"/>
                  </a:cubicBezTo>
                  <a:cubicBezTo>
                    <a:pt x="10" y="363"/>
                    <a:pt x="10" y="363"/>
                    <a:pt x="10" y="363"/>
                  </a:cubicBezTo>
                  <a:close/>
                  <a:moveTo>
                    <a:pt x="11" y="366"/>
                  </a:moveTo>
                  <a:cubicBezTo>
                    <a:pt x="10" y="366"/>
                    <a:pt x="11" y="364"/>
                    <a:pt x="11" y="364"/>
                  </a:cubicBezTo>
                  <a:cubicBezTo>
                    <a:pt x="11" y="366"/>
                    <a:pt x="13" y="368"/>
                    <a:pt x="11" y="366"/>
                  </a:cubicBezTo>
                  <a:close/>
                  <a:moveTo>
                    <a:pt x="8" y="341"/>
                  </a:moveTo>
                  <a:cubicBezTo>
                    <a:pt x="8" y="341"/>
                    <a:pt x="5" y="340"/>
                    <a:pt x="5" y="341"/>
                  </a:cubicBezTo>
                  <a:cubicBezTo>
                    <a:pt x="5" y="343"/>
                    <a:pt x="6" y="341"/>
                    <a:pt x="6" y="343"/>
                  </a:cubicBezTo>
                  <a:cubicBezTo>
                    <a:pt x="8" y="343"/>
                    <a:pt x="8" y="343"/>
                    <a:pt x="8" y="341"/>
                  </a:cubicBezTo>
                  <a:close/>
                  <a:moveTo>
                    <a:pt x="11" y="335"/>
                  </a:moveTo>
                  <a:cubicBezTo>
                    <a:pt x="11" y="335"/>
                    <a:pt x="11" y="336"/>
                    <a:pt x="11" y="335"/>
                  </a:cubicBezTo>
                  <a:cubicBezTo>
                    <a:pt x="10" y="333"/>
                    <a:pt x="11" y="333"/>
                    <a:pt x="11" y="332"/>
                  </a:cubicBezTo>
                  <a:cubicBezTo>
                    <a:pt x="10" y="330"/>
                    <a:pt x="10" y="329"/>
                    <a:pt x="10" y="330"/>
                  </a:cubicBezTo>
                  <a:cubicBezTo>
                    <a:pt x="8" y="332"/>
                    <a:pt x="10" y="332"/>
                    <a:pt x="10" y="333"/>
                  </a:cubicBezTo>
                  <a:cubicBezTo>
                    <a:pt x="10" y="335"/>
                    <a:pt x="8" y="332"/>
                    <a:pt x="6" y="333"/>
                  </a:cubicBezTo>
                  <a:cubicBezTo>
                    <a:pt x="6" y="335"/>
                    <a:pt x="8" y="335"/>
                    <a:pt x="10" y="336"/>
                  </a:cubicBezTo>
                  <a:cubicBezTo>
                    <a:pt x="11" y="336"/>
                    <a:pt x="11" y="336"/>
                    <a:pt x="11" y="335"/>
                  </a:cubicBezTo>
                  <a:close/>
                  <a:moveTo>
                    <a:pt x="16" y="327"/>
                  </a:moveTo>
                  <a:cubicBezTo>
                    <a:pt x="16" y="329"/>
                    <a:pt x="16" y="327"/>
                    <a:pt x="17" y="327"/>
                  </a:cubicBezTo>
                  <a:cubicBezTo>
                    <a:pt x="17" y="327"/>
                    <a:pt x="16" y="327"/>
                    <a:pt x="14" y="326"/>
                  </a:cubicBezTo>
                  <a:cubicBezTo>
                    <a:pt x="14" y="326"/>
                    <a:pt x="11" y="326"/>
                    <a:pt x="11" y="327"/>
                  </a:cubicBezTo>
                  <a:cubicBezTo>
                    <a:pt x="11" y="329"/>
                    <a:pt x="14" y="327"/>
                    <a:pt x="16" y="327"/>
                  </a:cubicBezTo>
                  <a:close/>
                  <a:moveTo>
                    <a:pt x="8" y="333"/>
                  </a:moveTo>
                  <a:cubicBezTo>
                    <a:pt x="8" y="332"/>
                    <a:pt x="8" y="332"/>
                    <a:pt x="8" y="330"/>
                  </a:cubicBezTo>
                  <a:cubicBezTo>
                    <a:pt x="8" y="330"/>
                    <a:pt x="6" y="330"/>
                    <a:pt x="6" y="329"/>
                  </a:cubicBezTo>
                  <a:cubicBezTo>
                    <a:pt x="5" y="329"/>
                    <a:pt x="5" y="332"/>
                    <a:pt x="6" y="333"/>
                  </a:cubicBezTo>
                  <a:cubicBezTo>
                    <a:pt x="8" y="333"/>
                    <a:pt x="8" y="333"/>
                    <a:pt x="8" y="333"/>
                  </a:cubicBezTo>
                  <a:close/>
                  <a:moveTo>
                    <a:pt x="3" y="343"/>
                  </a:moveTo>
                  <a:cubicBezTo>
                    <a:pt x="3" y="341"/>
                    <a:pt x="5" y="343"/>
                    <a:pt x="3" y="341"/>
                  </a:cubicBezTo>
                  <a:cubicBezTo>
                    <a:pt x="3" y="340"/>
                    <a:pt x="3" y="341"/>
                    <a:pt x="3" y="341"/>
                  </a:cubicBezTo>
                  <a:cubicBezTo>
                    <a:pt x="2" y="341"/>
                    <a:pt x="2" y="343"/>
                    <a:pt x="2" y="343"/>
                  </a:cubicBezTo>
                  <a:cubicBezTo>
                    <a:pt x="3" y="344"/>
                    <a:pt x="3" y="344"/>
                    <a:pt x="3" y="343"/>
                  </a:cubicBezTo>
                  <a:close/>
                  <a:moveTo>
                    <a:pt x="8" y="326"/>
                  </a:moveTo>
                  <a:cubicBezTo>
                    <a:pt x="8" y="326"/>
                    <a:pt x="8" y="327"/>
                    <a:pt x="6" y="327"/>
                  </a:cubicBezTo>
                  <a:cubicBezTo>
                    <a:pt x="5" y="327"/>
                    <a:pt x="5" y="329"/>
                    <a:pt x="6" y="329"/>
                  </a:cubicBezTo>
                  <a:cubicBezTo>
                    <a:pt x="8" y="329"/>
                    <a:pt x="6" y="329"/>
                    <a:pt x="8" y="329"/>
                  </a:cubicBezTo>
                  <a:cubicBezTo>
                    <a:pt x="8" y="329"/>
                    <a:pt x="10" y="326"/>
                    <a:pt x="8" y="326"/>
                  </a:cubicBezTo>
                  <a:close/>
                  <a:moveTo>
                    <a:pt x="6" y="335"/>
                  </a:moveTo>
                  <a:cubicBezTo>
                    <a:pt x="6" y="333"/>
                    <a:pt x="5" y="332"/>
                    <a:pt x="5" y="330"/>
                  </a:cubicBezTo>
                  <a:cubicBezTo>
                    <a:pt x="3" y="329"/>
                    <a:pt x="3" y="329"/>
                    <a:pt x="3" y="329"/>
                  </a:cubicBezTo>
                  <a:cubicBezTo>
                    <a:pt x="2" y="330"/>
                    <a:pt x="3" y="330"/>
                    <a:pt x="3" y="332"/>
                  </a:cubicBezTo>
                  <a:cubicBezTo>
                    <a:pt x="2" y="332"/>
                    <a:pt x="2" y="333"/>
                    <a:pt x="3" y="333"/>
                  </a:cubicBezTo>
                  <a:cubicBezTo>
                    <a:pt x="5" y="332"/>
                    <a:pt x="5" y="333"/>
                    <a:pt x="5" y="335"/>
                  </a:cubicBezTo>
                  <a:cubicBezTo>
                    <a:pt x="5" y="336"/>
                    <a:pt x="5" y="336"/>
                    <a:pt x="5" y="336"/>
                  </a:cubicBezTo>
                  <a:cubicBezTo>
                    <a:pt x="6" y="335"/>
                    <a:pt x="6" y="335"/>
                    <a:pt x="6" y="335"/>
                  </a:cubicBezTo>
                  <a:close/>
                  <a:moveTo>
                    <a:pt x="3" y="336"/>
                  </a:moveTo>
                  <a:cubicBezTo>
                    <a:pt x="5" y="335"/>
                    <a:pt x="3" y="333"/>
                    <a:pt x="3" y="333"/>
                  </a:cubicBezTo>
                  <a:cubicBezTo>
                    <a:pt x="2" y="335"/>
                    <a:pt x="2" y="333"/>
                    <a:pt x="2" y="335"/>
                  </a:cubicBezTo>
                  <a:cubicBezTo>
                    <a:pt x="2" y="336"/>
                    <a:pt x="2" y="336"/>
                    <a:pt x="3" y="336"/>
                  </a:cubicBezTo>
                  <a:close/>
                  <a:moveTo>
                    <a:pt x="3" y="340"/>
                  </a:moveTo>
                  <a:cubicBezTo>
                    <a:pt x="5" y="340"/>
                    <a:pt x="5" y="341"/>
                    <a:pt x="5" y="340"/>
                  </a:cubicBezTo>
                  <a:cubicBezTo>
                    <a:pt x="5" y="340"/>
                    <a:pt x="5" y="338"/>
                    <a:pt x="3" y="338"/>
                  </a:cubicBezTo>
                  <a:cubicBezTo>
                    <a:pt x="3" y="338"/>
                    <a:pt x="0" y="338"/>
                    <a:pt x="2" y="340"/>
                  </a:cubicBezTo>
                  <a:cubicBezTo>
                    <a:pt x="3" y="340"/>
                    <a:pt x="3" y="340"/>
                    <a:pt x="3" y="340"/>
                  </a:cubicBezTo>
                  <a:close/>
                  <a:moveTo>
                    <a:pt x="5" y="326"/>
                  </a:moveTo>
                  <a:cubicBezTo>
                    <a:pt x="5" y="326"/>
                    <a:pt x="6" y="324"/>
                    <a:pt x="6" y="326"/>
                  </a:cubicBezTo>
                  <a:cubicBezTo>
                    <a:pt x="6" y="326"/>
                    <a:pt x="5" y="327"/>
                    <a:pt x="5" y="326"/>
                  </a:cubicBezTo>
                  <a:close/>
                  <a:moveTo>
                    <a:pt x="13" y="318"/>
                  </a:moveTo>
                  <a:cubicBezTo>
                    <a:pt x="13" y="316"/>
                    <a:pt x="16" y="316"/>
                    <a:pt x="14" y="318"/>
                  </a:cubicBezTo>
                  <a:cubicBezTo>
                    <a:pt x="13" y="318"/>
                    <a:pt x="13" y="318"/>
                    <a:pt x="13" y="318"/>
                  </a:cubicBezTo>
                  <a:close/>
                  <a:moveTo>
                    <a:pt x="3" y="336"/>
                  </a:moveTo>
                  <a:cubicBezTo>
                    <a:pt x="5" y="336"/>
                    <a:pt x="5" y="336"/>
                    <a:pt x="3" y="336"/>
                  </a:cubicBezTo>
                  <a:cubicBezTo>
                    <a:pt x="2" y="336"/>
                    <a:pt x="2" y="336"/>
                    <a:pt x="2" y="338"/>
                  </a:cubicBezTo>
                  <a:cubicBezTo>
                    <a:pt x="2" y="338"/>
                    <a:pt x="2" y="338"/>
                    <a:pt x="3" y="336"/>
                  </a:cubicBezTo>
                  <a:close/>
                  <a:moveTo>
                    <a:pt x="6" y="340"/>
                  </a:moveTo>
                  <a:cubicBezTo>
                    <a:pt x="6" y="340"/>
                    <a:pt x="6" y="338"/>
                    <a:pt x="5" y="338"/>
                  </a:cubicBezTo>
                  <a:cubicBezTo>
                    <a:pt x="5" y="338"/>
                    <a:pt x="5" y="338"/>
                    <a:pt x="5" y="340"/>
                  </a:cubicBezTo>
                  <a:cubicBezTo>
                    <a:pt x="5" y="340"/>
                    <a:pt x="5" y="340"/>
                    <a:pt x="6" y="340"/>
                  </a:cubicBezTo>
                  <a:close/>
                  <a:moveTo>
                    <a:pt x="14" y="333"/>
                  </a:moveTo>
                  <a:cubicBezTo>
                    <a:pt x="14" y="333"/>
                    <a:pt x="13" y="332"/>
                    <a:pt x="11" y="332"/>
                  </a:cubicBezTo>
                  <a:cubicBezTo>
                    <a:pt x="11" y="330"/>
                    <a:pt x="11" y="329"/>
                    <a:pt x="11" y="330"/>
                  </a:cubicBezTo>
                  <a:cubicBezTo>
                    <a:pt x="11" y="333"/>
                    <a:pt x="11" y="332"/>
                    <a:pt x="11" y="333"/>
                  </a:cubicBezTo>
                  <a:cubicBezTo>
                    <a:pt x="13" y="333"/>
                    <a:pt x="14" y="333"/>
                    <a:pt x="14" y="33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233"/>
            <p:cNvSpPr>
              <a:spLocks noEditPoints="1"/>
            </p:cNvSpPr>
            <p:nvPr/>
          </p:nvSpPr>
          <p:spPr bwMode="auto">
            <a:xfrm>
              <a:off x="3128501" y="5807606"/>
              <a:ext cx="494775" cy="1172113"/>
            </a:xfrm>
            <a:custGeom>
              <a:avLst/>
              <a:gdLst/>
              <a:ahLst/>
              <a:cxnLst>
                <a:cxn ang="0">
                  <a:pos x="124" y="104"/>
                </a:cxn>
                <a:cxn ang="0">
                  <a:pos x="130" y="140"/>
                </a:cxn>
                <a:cxn ang="0">
                  <a:pos x="131" y="166"/>
                </a:cxn>
                <a:cxn ang="0">
                  <a:pos x="93" y="180"/>
                </a:cxn>
                <a:cxn ang="0">
                  <a:pos x="92" y="199"/>
                </a:cxn>
                <a:cxn ang="0">
                  <a:pos x="69" y="202"/>
                </a:cxn>
                <a:cxn ang="0">
                  <a:pos x="81" y="222"/>
                </a:cxn>
                <a:cxn ang="0">
                  <a:pos x="73" y="227"/>
                </a:cxn>
                <a:cxn ang="0">
                  <a:pos x="58" y="250"/>
                </a:cxn>
                <a:cxn ang="0">
                  <a:pos x="64" y="275"/>
                </a:cxn>
                <a:cxn ang="0">
                  <a:pos x="49" y="298"/>
                </a:cxn>
                <a:cxn ang="0">
                  <a:pos x="43" y="335"/>
                </a:cxn>
                <a:cxn ang="0">
                  <a:pos x="13" y="328"/>
                </a:cxn>
                <a:cxn ang="0">
                  <a:pos x="2" y="306"/>
                </a:cxn>
                <a:cxn ang="0">
                  <a:pos x="11" y="281"/>
                </a:cxn>
                <a:cxn ang="0">
                  <a:pos x="16" y="261"/>
                </a:cxn>
                <a:cxn ang="0">
                  <a:pos x="17" y="247"/>
                </a:cxn>
                <a:cxn ang="0">
                  <a:pos x="16" y="228"/>
                </a:cxn>
                <a:cxn ang="0">
                  <a:pos x="16" y="206"/>
                </a:cxn>
                <a:cxn ang="0">
                  <a:pos x="22" y="179"/>
                </a:cxn>
                <a:cxn ang="0">
                  <a:pos x="26" y="151"/>
                </a:cxn>
                <a:cxn ang="0">
                  <a:pos x="31" y="119"/>
                </a:cxn>
                <a:cxn ang="0">
                  <a:pos x="28" y="91"/>
                </a:cxn>
                <a:cxn ang="0">
                  <a:pos x="34" y="67"/>
                </a:cxn>
                <a:cxn ang="0">
                  <a:pos x="42" y="33"/>
                </a:cxn>
                <a:cxn ang="0">
                  <a:pos x="52" y="11"/>
                </a:cxn>
                <a:cxn ang="0">
                  <a:pos x="66" y="5"/>
                </a:cxn>
                <a:cxn ang="0">
                  <a:pos x="86" y="3"/>
                </a:cxn>
                <a:cxn ang="0">
                  <a:pos x="101" y="20"/>
                </a:cxn>
                <a:cxn ang="0">
                  <a:pos x="128" y="39"/>
                </a:cxn>
                <a:cxn ang="0">
                  <a:pos x="121" y="56"/>
                </a:cxn>
                <a:cxn ang="0">
                  <a:pos x="145" y="57"/>
                </a:cxn>
                <a:cxn ang="0">
                  <a:pos x="159" y="42"/>
                </a:cxn>
                <a:cxn ang="0">
                  <a:pos x="133" y="82"/>
                </a:cxn>
                <a:cxn ang="0">
                  <a:pos x="45" y="366"/>
                </a:cxn>
                <a:cxn ang="0">
                  <a:pos x="64" y="366"/>
                </a:cxn>
                <a:cxn ang="0">
                  <a:pos x="66" y="363"/>
                </a:cxn>
                <a:cxn ang="0">
                  <a:pos x="46" y="349"/>
                </a:cxn>
                <a:cxn ang="0">
                  <a:pos x="43" y="345"/>
                </a:cxn>
                <a:cxn ang="0">
                  <a:pos x="42" y="366"/>
                </a:cxn>
                <a:cxn ang="0">
                  <a:pos x="78" y="365"/>
                </a:cxn>
                <a:cxn ang="0">
                  <a:pos x="72" y="366"/>
                </a:cxn>
                <a:cxn ang="0">
                  <a:pos x="49" y="370"/>
                </a:cxn>
                <a:cxn ang="0">
                  <a:pos x="51" y="368"/>
                </a:cxn>
                <a:cxn ang="0">
                  <a:pos x="45" y="371"/>
                </a:cxn>
                <a:cxn ang="0">
                  <a:pos x="55" y="371"/>
                </a:cxn>
                <a:cxn ang="0">
                  <a:pos x="58" y="370"/>
                </a:cxn>
              </a:cxnLst>
              <a:rect l="0" t="0" r="r" b="b"/>
              <a:pathLst>
                <a:path w="160" h="373">
                  <a:moveTo>
                    <a:pt x="128" y="87"/>
                  </a:moveTo>
                  <a:cubicBezTo>
                    <a:pt x="125" y="91"/>
                    <a:pt x="128" y="93"/>
                    <a:pt x="125" y="98"/>
                  </a:cubicBezTo>
                  <a:cubicBezTo>
                    <a:pt x="122" y="102"/>
                    <a:pt x="127" y="102"/>
                    <a:pt x="124" y="104"/>
                  </a:cubicBezTo>
                  <a:cubicBezTo>
                    <a:pt x="122" y="107"/>
                    <a:pt x="127" y="116"/>
                    <a:pt x="124" y="118"/>
                  </a:cubicBezTo>
                  <a:cubicBezTo>
                    <a:pt x="121" y="119"/>
                    <a:pt x="121" y="126"/>
                    <a:pt x="122" y="129"/>
                  </a:cubicBezTo>
                  <a:cubicBezTo>
                    <a:pt x="118" y="135"/>
                    <a:pt x="127" y="135"/>
                    <a:pt x="130" y="140"/>
                  </a:cubicBezTo>
                  <a:cubicBezTo>
                    <a:pt x="134" y="146"/>
                    <a:pt x="128" y="144"/>
                    <a:pt x="130" y="149"/>
                  </a:cubicBezTo>
                  <a:cubicBezTo>
                    <a:pt x="133" y="155"/>
                    <a:pt x="136" y="149"/>
                    <a:pt x="136" y="155"/>
                  </a:cubicBezTo>
                  <a:cubicBezTo>
                    <a:pt x="136" y="160"/>
                    <a:pt x="134" y="163"/>
                    <a:pt x="131" y="166"/>
                  </a:cubicBezTo>
                  <a:cubicBezTo>
                    <a:pt x="128" y="171"/>
                    <a:pt x="131" y="171"/>
                    <a:pt x="127" y="174"/>
                  </a:cubicBezTo>
                  <a:cubicBezTo>
                    <a:pt x="121" y="177"/>
                    <a:pt x="110" y="180"/>
                    <a:pt x="102" y="182"/>
                  </a:cubicBezTo>
                  <a:cubicBezTo>
                    <a:pt x="95" y="182"/>
                    <a:pt x="96" y="183"/>
                    <a:pt x="93" y="180"/>
                  </a:cubicBezTo>
                  <a:cubicBezTo>
                    <a:pt x="89" y="179"/>
                    <a:pt x="90" y="183"/>
                    <a:pt x="92" y="185"/>
                  </a:cubicBezTo>
                  <a:cubicBezTo>
                    <a:pt x="95" y="186"/>
                    <a:pt x="93" y="189"/>
                    <a:pt x="92" y="192"/>
                  </a:cubicBezTo>
                  <a:cubicBezTo>
                    <a:pt x="90" y="194"/>
                    <a:pt x="89" y="197"/>
                    <a:pt x="92" y="199"/>
                  </a:cubicBezTo>
                  <a:cubicBezTo>
                    <a:pt x="93" y="200"/>
                    <a:pt x="93" y="202"/>
                    <a:pt x="87" y="205"/>
                  </a:cubicBezTo>
                  <a:cubicBezTo>
                    <a:pt x="83" y="206"/>
                    <a:pt x="86" y="205"/>
                    <a:pt x="81" y="205"/>
                  </a:cubicBezTo>
                  <a:cubicBezTo>
                    <a:pt x="77" y="206"/>
                    <a:pt x="73" y="200"/>
                    <a:pt x="69" y="202"/>
                  </a:cubicBezTo>
                  <a:cubicBezTo>
                    <a:pt x="66" y="203"/>
                    <a:pt x="70" y="208"/>
                    <a:pt x="69" y="213"/>
                  </a:cubicBezTo>
                  <a:cubicBezTo>
                    <a:pt x="69" y="219"/>
                    <a:pt x="72" y="219"/>
                    <a:pt x="78" y="216"/>
                  </a:cubicBezTo>
                  <a:cubicBezTo>
                    <a:pt x="81" y="216"/>
                    <a:pt x="81" y="220"/>
                    <a:pt x="81" y="222"/>
                  </a:cubicBezTo>
                  <a:cubicBezTo>
                    <a:pt x="80" y="227"/>
                    <a:pt x="77" y="227"/>
                    <a:pt x="75" y="224"/>
                  </a:cubicBezTo>
                  <a:cubicBezTo>
                    <a:pt x="73" y="220"/>
                    <a:pt x="67" y="222"/>
                    <a:pt x="70" y="225"/>
                  </a:cubicBezTo>
                  <a:cubicBezTo>
                    <a:pt x="73" y="227"/>
                    <a:pt x="77" y="225"/>
                    <a:pt x="73" y="227"/>
                  </a:cubicBezTo>
                  <a:cubicBezTo>
                    <a:pt x="67" y="228"/>
                    <a:pt x="66" y="234"/>
                    <a:pt x="67" y="237"/>
                  </a:cubicBezTo>
                  <a:cubicBezTo>
                    <a:pt x="70" y="245"/>
                    <a:pt x="63" y="244"/>
                    <a:pt x="64" y="247"/>
                  </a:cubicBezTo>
                  <a:cubicBezTo>
                    <a:pt x="67" y="250"/>
                    <a:pt x="60" y="248"/>
                    <a:pt x="58" y="250"/>
                  </a:cubicBezTo>
                  <a:cubicBezTo>
                    <a:pt x="57" y="253"/>
                    <a:pt x="55" y="248"/>
                    <a:pt x="52" y="256"/>
                  </a:cubicBezTo>
                  <a:cubicBezTo>
                    <a:pt x="48" y="262"/>
                    <a:pt x="48" y="262"/>
                    <a:pt x="52" y="269"/>
                  </a:cubicBezTo>
                  <a:cubicBezTo>
                    <a:pt x="58" y="276"/>
                    <a:pt x="63" y="270"/>
                    <a:pt x="64" y="275"/>
                  </a:cubicBezTo>
                  <a:cubicBezTo>
                    <a:pt x="64" y="281"/>
                    <a:pt x="61" y="279"/>
                    <a:pt x="63" y="281"/>
                  </a:cubicBezTo>
                  <a:cubicBezTo>
                    <a:pt x="64" y="284"/>
                    <a:pt x="60" y="284"/>
                    <a:pt x="60" y="287"/>
                  </a:cubicBezTo>
                  <a:cubicBezTo>
                    <a:pt x="60" y="289"/>
                    <a:pt x="51" y="290"/>
                    <a:pt x="49" y="298"/>
                  </a:cubicBezTo>
                  <a:cubicBezTo>
                    <a:pt x="48" y="304"/>
                    <a:pt x="49" y="307"/>
                    <a:pt x="43" y="309"/>
                  </a:cubicBezTo>
                  <a:cubicBezTo>
                    <a:pt x="35" y="312"/>
                    <a:pt x="37" y="318"/>
                    <a:pt x="37" y="323"/>
                  </a:cubicBezTo>
                  <a:cubicBezTo>
                    <a:pt x="38" y="331"/>
                    <a:pt x="45" y="335"/>
                    <a:pt x="43" y="335"/>
                  </a:cubicBezTo>
                  <a:cubicBezTo>
                    <a:pt x="42" y="332"/>
                    <a:pt x="34" y="334"/>
                    <a:pt x="29" y="331"/>
                  </a:cubicBezTo>
                  <a:cubicBezTo>
                    <a:pt x="29" y="331"/>
                    <a:pt x="22" y="331"/>
                    <a:pt x="17" y="331"/>
                  </a:cubicBezTo>
                  <a:cubicBezTo>
                    <a:pt x="13" y="331"/>
                    <a:pt x="16" y="329"/>
                    <a:pt x="13" y="328"/>
                  </a:cubicBezTo>
                  <a:cubicBezTo>
                    <a:pt x="10" y="326"/>
                    <a:pt x="13" y="314"/>
                    <a:pt x="10" y="314"/>
                  </a:cubicBezTo>
                  <a:cubicBezTo>
                    <a:pt x="7" y="314"/>
                    <a:pt x="5" y="318"/>
                    <a:pt x="5" y="314"/>
                  </a:cubicBezTo>
                  <a:cubicBezTo>
                    <a:pt x="3" y="307"/>
                    <a:pt x="0" y="310"/>
                    <a:pt x="2" y="306"/>
                  </a:cubicBezTo>
                  <a:cubicBezTo>
                    <a:pt x="3" y="303"/>
                    <a:pt x="0" y="298"/>
                    <a:pt x="3" y="300"/>
                  </a:cubicBezTo>
                  <a:cubicBezTo>
                    <a:pt x="7" y="300"/>
                    <a:pt x="8" y="290"/>
                    <a:pt x="11" y="289"/>
                  </a:cubicBezTo>
                  <a:cubicBezTo>
                    <a:pt x="14" y="286"/>
                    <a:pt x="8" y="284"/>
                    <a:pt x="11" y="281"/>
                  </a:cubicBezTo>
                  <a:cubicBezTo>
                    <a:pt x="13" y="279"/>
                    <a:pt x="10" y="279"/>
                    <a:pt x="14" y="275"/>
                  </a:cubicBezTo>
                  <a:cubicBezTo>
                    <a:pt x="19" y="272"/>
                    <a:pt x="11" y="272"/>
                    <a:pt x="16" y="269"/>
                  </a:cubicBezTo>
                  <a:cubicBezTo>
                    <a:pt x="19" y="267"/>
                    <a:pt x="14" y="262"/>
                    <a:pt x="16" y="261"/>
                  </a:cubicBezTo>
                  <a:cubicBezTo>
                    <a:pt x="19" y="259"/>
                    <a:pt x="13" y="256"/>
                    <a:pt x="17" y="255"/>
                  </a:cubicBezTo>
                  <a:cubicBezTo>
                    <a:pt x="20" y="253"/>
                    <a:pt x="20" y="248"/>
                    <a:pt x="16" y="248"/>
                  </a:cubicBezTo>
                  <a:cubicBezTo>
                    <a:pt x="13" y="247"/>
                    <a:pt x="13" y="245"/>
                    <a:pt x="17" y="247"/>
                  </a:cubicBezTo>
                  <a:cubicBezTo>
                    <a:pt x="22" y="247"/>
                    <a:pt x="23" y="241"/>
                    <a:pt x="17" y="242"/>
                  </a:cubicBezTo>
                  <a:cubicBezTo>
                    <a:pt x="13" y="244"/>
                    <a:pt x="19" y="237"/>
                    <a:pt x="17" y="236"/>
                  </a:cubicBezTo>
                  <a:cubicBezTo>
                    <a:pt x="14" y="234"/>
                    <a:pt x="17" y="230"/>
                    <a:pt x="16" y="228"/>
                  </a:cubicBezTo>
                  <a:cubicBezTo>
                    <a:pt x="16" y="227"/>
                    <a:pt x="13" y="227"/>
                    <a:pt x="13" y="220"/>
                  </a:cubicBezTo>
                  <a:cubicBezTo>
                    <a:pt x="14" y="214"/>
                    <a:pt x="16" y="219"/>
                    <a:pt x="16" y="216"/>
                  </a:cubicBezTo>
                  <a:cubicBezTo>
                    <a:pt x="17" y="214"/>
                    <a:pt x="14" y="213"/>
                    <a:pt x="16" y="206"/>
                  </a:cubicBezTo>
                  <a:cubicBezTo>
                    <a:pt x="16" y="200"/>
                    <a:pt x="13" y="202"/>
                    <a:pt x="16" y="199"/>
                  </a:cubicBezTo>
                  <a:cubicBezTo>
                    <a:pt x="19" y="196"/>
                    <a:pt x="14" y="191"/>
                    <a:pt x="17" y="188"/>
                  </a:cubicBezTo>
                  <a:cubicBezTo>
                    <a:pt x="20" y="186"/>
                    <a:pt x="16" y="183"/>
                    <a:pt x="22" y="179"/>
                  </a:cubicBezTo>
                  <a:cubicBezTo>
                    <a:pt x="25" y="177"/>
                    <a:pt x="20" y="169"/>
                    <a:pt x="20" y="166"/>
                  </a:cubicBezTo>
                  <a:cubicBezTo>
                    <a:pt x="22" y="163"/>
                    <a:pt x="20" y="158"/>
                    <a:pt x="22" y="155"/>
                  </a:cubicBezTo>
                  <a:cubicBezTo>
                    <a:pt x="22" y="152"/>
                    <a:pt x="23" y="155"/>
                    <a:pt x="26" y="151"/>
                  </a:cubicBezTo>
                  <a:cubicBezTo>
                    <a:pt x="28" y="147"/>
                    <a:pt x="26" y="146"/>
                    <a:pt x="28" y="136"/>
                  </a:cubicBezTo>
                  <a:cubicBezTo>
                    <a:pt x="28" y="129"/>
                    <a:pt x="32" y="132"/>
                    <a:pt x="31" y="127"/>
                  </a:cubicBezTo>
                  <a:cubicBezTo>
                    <a:pt x="31" y="123"/>
                    <a:pt x="34" y="119"/>
                    <a:pt x="31" y="119"/>
                  </a:cubicBezTo>
                  <a:cubicBezTo>
                    <a:pt x="28" y="119"/>
                    <a:pt x="31" y="118"/>
                    <a:pt x="29" y="113"/>
                  </a:cubicBezTo>
                  <a:cubicBezTo>
                    <a:pt x="28" y="109"/>
                    <a:pt x="28" y="106"/>
                    <a:pt x="26" y="102"/>
                  </a:cubicBezTo>
                  <a:cubicBezTo>
                    <a:pt x="25" y="101"/>
                    <a:pt x="26" y="96"/>
                    <a:pt x="28" y="91"/>
                  </a:cubicBezTo>
                  <a:cubicBezTo>
                    <a:pt x="29" y="87"/>
                    <a:pt x="29" y="90"/>
                    <a:pt x="31" y="88"/>
                  </a:cubicBezTo>
                  <a:cubicBezTo>
                    <a:pt x="32" y="85"/>
                    <a:pt x="28" y="79"/>
                    <a:pt x="31" y="76"/>
                  </a:cubicBezTo>
                  <a:cubicBezTo>
                    <a:pt x="32" y="74"/>
                    <a:pt x="32" y="68"/>
                    <a:pt x="34" y="67"/>
                  </a:cubicBezTo>
                  <a:cubicBezTo>
                    <a:pt x="37" y="65"/>
                    <a:pt x="35" y="67"/>
                    <a:pt x="38" y="59"/>
                  </a:cubicBezTo>
                  <a:cubicBezTo>
                    <a:pt x="40" y="51"/>
                    <a:pt x="46" y="59"/>
                    <a:pt x="43" y="51"/>
                  </a:cubicBezTo>
                  <a:cubicBezTo>
                    <a:pt x="40" y="46"/>
                    <a:pt x="43" y="34"/>
                    <a:pt x="42" y="33"/>
                  </a:cubicBezTo>
                  <a:cubicBezTo>
                    <a:pt x="40" y="28"/>
                    <a:pt x="48" y="25"/>
                    <a:pt x="49" y="25"/>
                  </a:cubicBezTo>
                  <a:cubicBezTo>
                    <a:pt x="52" y="23"/>
                    <a:pt x="52" y="19"/>
                    <a:pt x="52" y="15"/>
                  </a:cubicBezTo>
                  <a:cubicBezTo>
                    <a:pt x="54" y="14"/>
                    <a:pt x="54" y="12"/>
                    <a:pt x="52" y="11"/>
                  </a:cubicBezTo>
                  <a:cubicBezTo>
                    <a:pt x="55" y="9"/>
                    <a:pt x="55" y="6"/>
                    <a:pt x="57" y="5"/>
                  </a:cubicBezTo>
                  <a:cubicBezTo>
                    <a:pt x="60" y="3"/>
                    <a:pt x="58" y="1"/>
                    <a:pt x="60" y="0"/>
                  </a:cubicBezTo>
                  <a:cubicBezTo>
                    <a:pt x="61" y="0"/>
                    <a:pt x="61" y="5"/>
                    <a:pt x="66" y="5"/>
                  </a:cubicBezTo>
                  <a:cubicBezTo>
                    <a:pt x="70" y="3"/>
                    <a:pt x="73" y="3"/>
                    <a:pt x="75" y="11"/>
                  </a:cubicBezTo>
                  <a:cubicBezTo>
                    <a:pt x="77" y="5"/>
                    <a:pt x="78" y="3"/>
                    <a:pt x="80" y="3"/>
                  </a:cubicBezTo>
                  <a:cubicBezTo>
                    <a:pt x="83" y="3"/>
                    <a:pt x="84" y="3"/>
                    <a:pt x="86" y="3"/>
                  </a:cubicBezTo>
                  <a:cubicBezTo>
                    <a:pt x="87" y="3"/>
                    <a:pt x="87" y="5"/>
                    <a:pt x="89" y="6"/>
                  </a:cubicBezTo>
                  <a:cubicBezTo>
                    <a:pt x="90" y="8"/>
                    <a:pt x="90" y="6"/>
                    <a:pt x="92" y="11"/>
                  </a:cubicBezTo>
                  <a:cubicBezTo>
                    <a:pt x="95" y="17"/>
                    <a:pt x="99" y="17"/>
                    <a:pt x="101" y="20"/>
                  </a:cubicBezTo>
                  <a:cubicBezTo>
                    <a:pt x="102" y="23"/>
                    <a:pt x="107" y="22"/>
                    <a:pt x="112" y="26"/>
                  </a:cubicBezTo>
                  <a:cubicBezTo>
                    <a:pt x="118" y="31"/>
                    <a:pt x="121" y="33"/>
                    <a:pt x="124" y="33"/>
                  </a:cubicBezTo>
                  <a:cubicBezTo>
                    <a:pt x="125" y="33"/>
                    <a:pt x="130" y="37"/>
                    <a:pt x="128" y="39"/>
                  </a:cubicBezTo>
                  <a:cubicBezTo>
                    <a:pt x="125" y="43"/>
                    <a:pt x="128" y="43"/>
                    <a:pt x="125" y="45"/>
                  </a:cubicBezTo>
                  <a:cubicBezTo>
                    <a:pt x="122" y="46"/>
                    <a:pt x="125" y="48"/>
                    <a:pt x="124" y="51"/>
                  </a:cubicBezTo>
                  <a:cubicBezTo>
                    <a:pt x="122" y="54"/>
                    <a:pt x="119" y="54"/>
                    <a:pt x="121" y="56"/>
                  </a:cubicBezTo>
                  <a:cubicBezTo>
                    <a:pt x="121" y="59"/>
                    <a:pt x="121" y="57"/>
                    <a:pt x="125" y="57"/>
                  </a:cubicBezTo>
                  <a:cubicBezTo>
                    <a:pt x="131" y="57"/>
                    <a:pt x="134" y="62"/>
                    <a:pt x="139" y="59"/>
                  </a:cubicBezTo>
                  <a:cubicBezTo>
                    <a:pt x="142" y="54"/>
                    <a:pt x="144" y="62"/>
                    <a:pt x="145" y="57"/>
                  </a:cubicBezTo>
                  <a:cubicBezTo>
                    <a:pt x="145" y="53"/>
                    <a:pt x="150" y="53"/>
                    <a:pt x="151" y="48"/>
                  </a:cubicBezTo>
                  <a:cubicBezTo>
                    <a:pt x="151" y="43"/>
                    <a:pt x="153" y="45"/>
                    <a:pt x="151" y="39"/>
                  </a:cubicBezTo>
                  <a:cubicBezTo>
                    <a:pt x="154" y="40"/>
                    <a:pt x="156" y="34"/>
                    <a:pt x="159" y="42"/>
                  </a:cubicBezTo>
                  <a:cubicBezTo>
                    <a:pt x="160" y="48"/>
                    <a:pt x="160" y="54"/>
                    <a:pt x="156" y="57"/>
                  </a:cubicBezTo>
                  <a:cubicBezTo>
                    <a:pt x="151" y="60"/>
                    <a:pt x="145" y="64"/>
                    <a:pt x="140" y="71"/>
                  </a:cubicBezTo>
                  <a:cubicBezTo>
                    <a:pt x="134" y="79"/>
                    <a:pt x="134" y="82"/>
                    <a:pt x="133" y="82"/>
                  </a:cubicBezTo>
                  <a:cubicBezTo>
                    <a:pt x="130" y="84"/>
                    <a:pt x="130" y="85"/>
                    <a:pt x="128" y="87"/>
                  </a:cubicBezTo>
                  <a:close/>
                  <a:moveTo>
                    <a:pt x="42" y="366"/>
                  </a:moveTo>
                  <a:cubicBezTo>
                    <a:pt x="45" y="366"/>
                    <a:pt x="42" y="365"/>
                    <a:pt x="45" y="366"/>
                  </a:cubicBezTo>
                  <a:cubicBezTo>
                    <a:pt x="48" y="366"/>
                    <a:pt x="54" y="366"/>
                    <a:pt x="57" y="368"/>
                  </a:cubicBezTo>
                  <a:cubicBezTo>
                    <a:pt x="60" y="370"/>
                    <a:pt x="58" y="368"/>
                    <a:pt x="60" y="368"/>
                  </a:cubicBezTo>
                  <a:cubicBezTo>
                    <a:pt x="63" y="368"/>
                    <a:pt x="63" y="365"/>
                    <a:pt x="64" y="366"/>
                  </a:cubicBezTo>
                  <a:cubicBezTo>
                    <a:pt x="64" y="368"/>
                    <a:pt x="64" y="366"/>
                    <a:pt x="66" y="366"/>
                  </a:cubicBezTo>
                  <a:cubicBezTo>
                    <a:pt x="67" y="366"/>
                    <a:pt x="67" y="366"/>
                    <a:pt x="67" y="365"/>
                  </a:cubicBezTo>
                  <a:cubicBezTo>
                    <a:pt x="69" y="363"/>
                    <a:pt x="67" y="363"/>
                    <a:pt x="66" y="363"/>
                  </a:cubicBezTo>
                  <a:cubicBezTo>
                    <a:pt x="63" y="365"/>
                    <a:pt x="63" y="363"/>
                    <a:pt x="60" y="362"/>
                  </a:cubicBezTo>
                  <a:cubicBezTo>
                    <a:pt x="58" y="362"/>
                    <a:pt x="57" y="359"/>
                    <a:pt x="54" y="357"/>
                  </a:cubicBezTo>
                  <a:cubicBezTo>
                    <a:pt x="51" y="356"/>
                    <a:pt x="46" y="351"/>
                    <a:pt x="46" y="349"/>
                  </a:cubicBezTo>
                  <a:cubicBezTo>
                    <a:pt x="45" y="348"/>
                    <a:pt x="46" y="346"/>
                    <a:pt x="43" y="346"/>
                  </a:cubicBezTo>
                  <a:cubicBezTo>
                    <a:pt x="42" y="346"/>
                    <a:pt x="42" y="346"/>
                    <a:pt x="42" y="345"/>
                  </a:cubicBezTo>
                  <a:cubicBezTo>
                    <a:pt x="43" y="343"/>
                    <a:pt x="43" y="343"/>
                    <a:pt x="43" y="345"/>
                  </a:cubicBezTo>
                  <a:cubicBezTo>
                    <a:pt x="45" y="345"/>
                    <a:pt x="45" y="345"/>
                    <a:pt x="45" y="345"/>
                  </a:cubicBezTo>
                  <a:cubicBezTo>
                    <a:pt x="45" y="343"/>
                    <a:pt x="43" y="342"/>
                    <a:pt x="42" y="338"/>
                  </a:cubicBezTo>
                  <a:cubicBezTo>
                    <a:pt x="42" y="366"/>
                    <a:pt x="42" y="366"/>
                    <a:pt x="42" y="366"/>
                  </a:cubicBezTo>
                  <a:close/>
                  <a:moveTo>
                    <a:pt x="73" y="366"/>
                  </a:moveTo>
                  <a:cubicBezTo>
                    <a:pt x="75" y="365"/>
                    <a:pt x="75" y="366"/>
                    <a:pt x="77" y="366"/>
                  </a:cubicBezTo>
                  <a:cubicBezTo>
                    <a:pt x="78" y="365"/>
                    <a:pt x="77" y="366"/>
                    <a:pt x="78" y="365"/>
                  </a:cubicBezTo>
                  <a:cubicBezTo>
                    <a:pt x="80" y="365"/>
                    <a:pt x="80" y="363"/>
                    <a:pt x="78" y="365"/>
                  </a:cubicBezTo>
                  <a:cubicBezTo>
                    <a:pt x="77" y="365"/>
                    <a:pt x="77" y="363"/>
                    <a:pt x="73" y="365"/>
                  </a:cubicBezTo>
                  <a:cubicBezTo>
                    <a:pt x="73" y="365"/>
                    <a:pt x="70" y="365"/>
                    <a:pt x="72" y="366"/>
                  </a:cubicBezTo>
                  <a:cubicBezTo>
                    <a:pt x="73" y="366"/>
                    <a:pt x="73" y="366"/>
                    <a:pt x="73" y="366"/>
                  </a:cubicBezTo>
                  <a:close/>
                  <a:moveTo>
                    <a:pt x="48" y="371"/>
                  </a:moveTo>
                  <a:cubicBezTo>
                    <a:pt x="49" y="371"/>
                    <a:pt x="48" y="370"/>
                    <a:pt x="49" y="370"/>
                  </a:cubicBezTo>
                  <a:cubicBezTo>
                    <a:pt x="51" y="370"/>
                    <a:pt x="49" y="371"/>
                    <a:pt x="51" y="371"/>
                  </a:cubicBezTo>
                  <a:cubicBezTo>
                    <a:pt x="52" y="371"/>
                    <a:pt x="52" y="371"/>
                    <a:pt x="54" y="370"/>
                  </a:cubicBezTo>
                  <a:cubicBezTo>
                    <a:pt x="54" y="368"/>
                    <a:pt x="52" y="368"/>
                    <a:pt x="51" y="368"/>
                  </a:cubicBezTo>
                  <a:cubicBezTo>
                    <a:pt x="49" y="368"/>
                    <a:pt x="48" y="366"/>
                    <a:pt x="45" y="366"/>
                  </a:cubicBezTo>
                  <a:cubicBezTo>
                    <a:pt x="43" y="366"/>
                    <a:pt x="43" y="368"/>
                    <a:pt x="45" y="368"/>
                  </a:cubicBezTo>
                  <a:cubicBezTo>
                    <a:pt x="45" y="368"/>
                    <a:pt x="45" y="368"/>
                    <a:pt x="45" y="371"/>
                  </a:cubicBezTo>
                  <a:cubicBezTo>
                    <a:pt x="45" y="371"/>
                    <a:pt x="46" y="371"/>
                    <a:pt x="48" y="371"/>
                  </a:cubicBezTo>
                  <a:close/>
                  <a:moveTo>
                    <a:pt x="54" y="371"/>
                  </a:moveTo>
                  <a:cubicBezTo>
                    <a:pt x="54" y="371"/>
                    <a:pt x="55" y="370"/>
                    <a:pt x="55" y="371"/>
                  </a:cubicBezTo>
                  <a:cubicBezTo>
                    <a:pt x="55" y="373"/>
                    <a:pt x="54" y="373"/>
                    <a:pt x="54" y="371"/>
                  </a:cubicBezTo>
                  <a:close/>
                  <a:moveTo>
                    <a:pt x="57" y="371"/>
                  </a:moveTo>
                  <a:cubicBezTo>
                    <a:pt x="55" y="371"/>
                    <a:pt x="57" y="370"/>
                    <a:pt x="58" y="370"/>
                  </a:cubicBezTo>
                  <a:cubicBezTo>
                    <a:pt x="58" y="371"/>
                    <a:pt x="58" y="371"/>
                    <a:pt x="57" y="37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234"/>
            <p:cNvSpPr>
              <a:spLocks/>
            </p:cNvSpPr>
            <p:nvPr/>
          </p:nvSpPr>
          <p:spPr bwMode="auto">
            <a:xfrm>
              <a:off x="3576991" y="7203132"/>
              <a:ext cx="27132" cy="21047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6" y="2"/>
                </a:cxn>
                <a:cxn ang="0">
                  <a:pos x="1" y="4"/>
                </a:cxn>
              </a:cxnLst>
              <a:rect l="0" t="0" r="r" b="b"/>
              <a:pathLst>
                <a:path w="9" h="7">
                  <a:moveTo>
                    <a:pt x="1" y="4"/>
                  </a:moveTo>
                  <a:cubicBezTo>
                    <a:pt x="0" y="2"/>
                    <a:pt x="3" y="0"/>
                    <a:pt x="6" y="2"/>
                  </a:cubicBezTo>
                  <a:cubicBezTo>
                    <a:pt x="9" y="4"/>
                    <a:pt x="3" y="7"/>
                    <a:pt x="1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239"/>
            <p:cNvSpPr>
              <a:spLocks noEditPoints="1"/>
            </p:cNvSpPr>
            <p:nvPr/>
          </p:nvSpPr>
          <p:spPr bwMode="auto">
            <a:xfrm>
              <a:off x="2997625" y="4289040"/>
              <a:ext cx="154817" cy="197511"/>
            </a:xfrm>
            <a:custGeom>
              <a:avLst/>
              <a:gdLst/>
              <a:ahLst/>
              <a:cxnLst>
                <a:cxn ang="0">
                  <a:pos x="42" y="61"/>
                </a:cxn>
                <a:cxn ang="0">
                  <a:pos x="47" y="59"/>
                </a:cxn>
                <a:cxn ang="0">
                  <a:pos x="45" y="63"/>
                </a:cxn>
                <a:cxn ang="0">
                  <a:pos x="42" y="61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9" y="19"/>
                </a:cxn>
                <a:cxn ang="0">
                  <a:pos x="7" y="23"/>
                </a:cxn>
                <a:cxn ang="0">
                  <a:pos x="9" y="27"/>
                </a:cxn>
                <a:cxn ang="0">
                  <a:pos x="11" y="27"/>
                </a:cxn>
                <a:cxn ang="0">
                  <a:pos x="12" y="33"/>
                </a:cxn>
                <a:cxn ang="0">
                  <a:pos x="12" y="30"/>
                </a:cxn>
                <a:cxn ang="0">
                  <a:pos x="11" y="28"/>
                </a:cxn>
                <a:cxn ang="0">
                  <a:pos x="11" y="31"/>
                </a:cxn>
                <a:cxn ang="0">
                  <a:pos x="12" y="33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4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6" y="3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5" y="5"/>
                </a:cxn>
                <a:cxn ang="0">
                  <a:pos x="15" y="8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48" y="49"/>
                </a:cxn>
                <a:cxn ang="0">
                  <a:pos x="50" y="49"/>
                </a:cxn>
                <a:cxn ang="0">
                  <a:pos x="47" y="47"/>
                </a:cxn>
                <a:cxn ang="0">
                  <a:pos x="48" y="49"/>
                </a:cxn>
                <a:cxn ang="0">
                  <a:pos x="23" y="19"/>
                </a:cxn>
                <a:cxn ang="0">
                  <a:pos x="21" y="23"/>
                </a:cxn>
                <a:cxn ang="0">
                  <a:pos x="23" y="25"/>
                </a:cxn>
                <a:cxn ang="0">
                  <a:pos x="23" y="23"/>
                </a:cxn>
                <a:cxn ang="0">
                  <a:pos x="23" y="17"/>
                </a:cxn>
                <a:cxn ang="0">
                  <a:pos x="18" y="16"/>
                </a:cxn>
                <a:cxn ang="0">
                  <a:pos x="23" y="19"/>
                </a:cxn>
                <a:cxn ang="0">
                  <a:pos x="39" y="47"/>
                </a:cxn>
                <a:cxn ang="0">
                  <a:pos x="39" y="49"/>
                </a:cxn>
                <a:cxn ang="0">
                  <a:pos x="41" y="44"/>
                </a:cxn>
                <a:cxn ang="0">
                  <a:pos x="38" y="42"/>
                </a:cxn>
                <a:cxn ang="0">
                  <a:pos x="39" y="45"/>
                </a:cxn>
                <a:cxn ang="0">
                  <a:pos x="39" y="47"/>
                </a:cxn>
                <a:cxn ang="0">
                  <a:pos x="26" y="36"/>
                </a:cxn>
                <a:cxn ang="0">
                  <a:pos x="26" y="36"/>
                </a:cxn>
                <a:cxn ang="0">
                  <a:pos x="24" y="34"/>
                </a:cxn>
                <a:cxn ang="0">
                  <a:pos x="26" y="36"/>
                </a:cxn>
                <a:cxn ang="0">
                  <a:pos x="29" y="28"/>
                </a:cxn>
                <a:cxn ang="0">
                  <a:pos x="27" y="23"/>
                </a:cxn>
                <a:cxn ang="0">
                  <a:pos x="27" y="25"/>
                </a:cxn>
                <a:cxn ang="0">
                  <a:pos x="29" y="28"/>
                </a:cxn>
                <a:cxn ang="0">
                  <a:pos x="29" y="30"/>
                </a:cxn>
                <a:cxn ang="0">
                  <a:pos x="29" y="28"/>
                </a:cxn>
                <a:cxn ang="0">
                  <a:pos x="33" y="42"/>
                </a:cxn>
                <a:cxn ang="0">
                  <a:pos x="33" y="41"/>
                </a:cxn>
                <a:cxn ang="0">
                  <a:pos x="32" y="39"/>
                </a:cxn>
                <a:cxn ang="0">
                  <a:pos x="30" y="34"/>
                </a:cxn>
                <a:cxn ang="0">
                  <a:pos x="32" y="38"/>
                </a:cxn>
                <a:cxn ang="0">
                  <a:pos x="32" y="41"/>
                </a:cxn>
                <a:cxn ang="0">
                  <a:pos x="33" y="42"/>
                </a:cxn>
              </a:cxnLst>
              <a:rect l="0" t="0" r="r" b="b"/>
              <a:pathLst>
                <a:path w="50" h="63">
                  <a:moveTo>
                    <a:pt x="42" y="61"/>
                  </a:moveTo>
                  <a:cubicBezTo>
                    <a:pt x="45" y="58"/>
                    <a:pt x="47" y="61"/>
                    <a:pt x="47" y="59"/>
                  </a:cubicBezTo>
                  <a:cubicBezTo>
                    <a:pt x="48" y="56"/>
                    <a:pt x="50" y="61"/>
                    <a:pt x="45" y="63"/>
                  </a:cubicBezTo>
                  <a:cubicBezTo>
                    <a:pt x="42" y="63"/>
                    <a:pt x="42" y="63"/>
                    <a:pt x="42" y="61"/>
                  </a:cubicBezTo>
                  <a:close/>
                  <a:moveTo>
                    <a:pt x="11" y="27"/>
                  </a:moveTo>
                  <a:cubicBezTo>
                    <a:pt x="12" y="25"/>
                    <a:pt x="12" y="23"/>
                    <a:pt x="11" y="22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7" y="19"/>
                    <a:pt x="7" y="20"/>
                    <a:pt x="7" y="23"/>
                  </a:cubicBezTo>
                  <a:cubicBezTo>
                    <a:pt x="6" y="25"/>
                    <a:pt x="6" y="25"/>
                    <a:pt x="9" y="27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12" y="33"/>
                  </a:moveTo>
                  <a:cubicBezTo>
                    <a:pt x="13" y="33"/>
                    <a:pt x="13" y="33"/>
                    <a:pt x="12" y="30"/>
                  </a:cubicBezTo>
                  <a:cubicBezTo>
                    <a:pt x="12" y="27"/>
                    <a:pt x="12" y="30"/>
                    <a:pt x="11" y="28"/>
                  </a:cubicBezTo>
                  <a:cubicBezTo>
                    <a:pt x="9" y="27"/>
                    <a:pt x="9" y="30"/>
                    <a:pt x="11" y="31"/>
                  </a:cubicBezTo>
                  <a:cubicBezTo>
                    <a:pt x="12" y="33"/>
                    <a:pt x="11" y="33"/>
                    <a:pt x="12" y="33"/>
                  </a:cubicBezTo>
                  <a:close/>
                  <a:moveTo>
                    <a:pt x="6" y="3"/>
                  </a:moveTo>
                  <a:cubicBezTo>
                    <a:pt x="9" y="3"/>
                    <a:pt x="9" y="5"/>
                    <a:pt x="9" y="3"/>
                  </a:cubicBezTo>
                  <a:cubicBezTo>
                    <a:pt x="11" y="2"/>
                    <a:pt x="7" y="3"/>
                    <a:pt x="4" y="2"/>
                  </a:cubicBezTo>
                  <a:cubicBezTo>
                    <a:pt x="1" y="2"/>
                    <a:pt x="6" y="5"/>
                    <a:pt x="3" y="3"/>
                  </a:cubicBezTo>
                  <a:cubicBezTo>
                    <a:pt x="1" y="3"/>
                    <a:pt x="0" y="3"/>
                    <a:pt x="3" y="5"/>
                  </a:cubicBezTo>
                  <a:cubicBezTo>
                    <a:pt x="3" y="5"/>
                    <a:pt x="3" y="5"/>
                    <a:pt x="6" y="3"/>
                  </a:cubicBezTo>
                  <a:close/>
                  <a:moveTo>
                    <a:pt x="17" y="8"/>
                  </a:moveTo>
                  <a:cubicBezTo>
                    <a:pt x="17" y="8"/>
                    <a:pt x="17" y="5"/>
                    <a:pt x="15" y="5"/>
                  </a:cubicBezTo>
                  <a:cubicBezTo>
                    <a:pt x="13" y="3"/>
                    <a:pt x="13" y="0"/>
                    <a:pt x="11" y="0"/>
                  </a:cubicBezTo>
                  <a:cubicBezTo>
                    <a:pt x="7" y="0"/>
                    <a:pt x="11" y="0"/>
                    <a:pt x="12" y="2"/>
                  </a:cubicBezTo>
                  <a:cubicBezTo>
                    <a:pt x="13" y="2"/>
                    <a:pt x="13" y="3"/>
                    <a:pt x="15" y="5"/>
                  </a:cubicBezTo>
                  <a:cubicBezTo>
                    <a:pt x="17" y="6"/>
                    <a:pt x="15" y="5"/>
                    <a:pt x="15" y="8"/>
                  </a:cubicBezTo>
                  <a:cubicBezTo>
                    <a:pt x="15" y="11"/>
                    <a:pt x="12" y="8"/>
                    <a:pt x="15" y="11"/>
                  </a:cubicBezTo>
                  <a:cubicBezTo>
                    <a:pt x="15" y="13"/>
                    <a:pt x="15" y="8"/>
                    <a:pt x="17" y="8"/>
                  </a:cubicBezTo>
                  <a:close/>
                  <a:moveTo>
                    <a:pt x="48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47"/>
                    <a:pt x="47" y="47"/>
                    <a:pt x="47" y="47"/>
                  </a:cubicBezTo>
                  <a:cubicBezTo>
                    <a:pt x="47" y="47"/>
                    <a:pt x="47" y="49"/>
                    <a:pt x="48" y="49"/>
                  </a:cubicBezTo>
                  <a:close/>
                  <a:moveTo>
                    <a:pt x="23" y="19"/>
                  </a:moveTo>
                  <a:cubicBezTo>
                    <a:pt x="24" y="22"/>
                    <a:pt x="21" y="22"/>
                    <a:pt x="21" y="23"/>
                  </a:cubicBezTo>
                  <a:cubicBezTo>
                    <a:pt x="23" y="23"/>
                    <a:pt x="23" y="27"/>
                    <a:pt x="23" y="25"/>
                  </a:cubicBezTo>
                  <a:cubicBezTo>
                    <a:pt x="24" y="25"/>
                    <a:pt x="23" y="25"/>
                    <a:pt x="23" y="23"/>
                  </a:cubicBezTo>
                  <a:cubicBezTo>
                    <a:pt x="23" y="20"/>
                    <a:pt x="24" y="20"/>
                    <a:pt x="23" y="17"/>
                  </a:cubicBezTo>
                  <a:cubicBezTo>
                    <a:pt x="21" y="16"/>
                    <a:pt x="18" y="14"/>
                    <a:pt x="18" y="16"/>
                  </a:cubicBezTo>
                  <a:cubicBezTo>
                    <a:pt x="18" y="16"/>
                    <a:pt x="21" y="17"/>
                    <a:pt x="23" y="19"/>
                  </a:cubicBezTo>
                  <a:close/>
                  <a:moveTo>
                    <a:pt x="39" y="47"/>
                  </a:moveTo>
                  <a:cubicBezTo>
                    <a:pt x="38" y="49"/>
                    <a:pt x="38" y="50"/>
                    <a:pt x="39" y="49"/>
                  </a:cubicBezTo>
                  <a:cubicBezTo>
                    <a:pt x="42" y="47"/>
                    <a:pt x="42" y="45"/>
                    <a:pt x="41" y="44"/>
                  </a:cubicBezTo>
                  <a:cubicBezTo>
                    <a:pt x="41" y="42"/>
                    <a:pt x="41" y="44"/>
                    <a:pt x="38" y="42"/>
                  </a:cubicBezTo>
                  <a:cubicBezTo>
                    <a:pt x="36" y="42"/>
                    <a:pt x="38" y="45"/>
                    <a:pt x="39" y="45"/>
                  </a:cubicBezTo>
                  <a:cubicBezTo>
                    <a:pt x="41" y="44"/>
                    <a:pt x="41" y="45"/>
                    <a:pt x="39" y="47"/>
                  </a:cubicBezTo>
                  <a:close/>
                  <a:moveTo>
                    <a:pt x="26" y="36"/>
                  </a:moveTo>
                  <a:cubicBezTo>
                    <a:pt x="27" y="38"/>
                    <a:pt x="27" y="36"/>
                    <a:pt x="26" y="36"/>
                  </a:cubicBezTo>
                  <a:cubicBezTo>
                    <a:pt x="26" y="34"/>
                    <a:pt x="24" y="33"/>
                    <a:pt x="24" y="34"/>
                  </a:cubicBezTo>
                  <a:cubicBezTo>
                    <a:pt x="24" y="36"/>
                    <a:pt x="24" y="34"/>
                    <a:pt x="26" y="36"/>
                  </a:cubicBezTo>
                  <a:close/>
                  <a:moveTo>
                    <a:pt x="29" y="28"/>
                  </a:moveTo>
                  <a:cubicBezTo>
                    <a:pt x="29" y="27"/>
                    <a:pt x="29" y="25"/>
                    <a:pt x="27" y="23"/>
                  </a:cubicBezTo>
                  <a:cubicBezTo>
                    <a:pt x="26" y="23"/>
                    <a:pt x="26" y="23"/>
                    <a:pt x="27" y="25"/>
                  </a:cubicBezTo>
                  <a:cubicBezTo>
                    <a:pt x="27" y="25"/>
                    <a:pt x="27" y="27"/>
                    <a:pt x="29" y="28"/>
                  </a:cubicBezTo>
                  <a:cubicBezTo>
                    <a:pt x="30" y="30"/>
                    <a:pt x="27" y="31"/>
                    <a:pt x="29" y="30"/>
                  </a:cubicBezTo>
                  <a:cubicBezTo>
                    <a:pt x="30" y="30"/>
                    <a:pt x="30" y="28"/>
                    <a:pt x="29" y="28"/>
                  </a:cubicBezTo>
                  <a:close/>
                  <a:moveTo>
                    <a:pt x="33" y="42"/>
                  </a:moveTo>
                  <a:cubicBezTo>
                    <a:pt x="33" y="42"/>
                    <a:pt x="35" y="42"/>
                    <a:pt x="33" y="41"/>
                  </a:cubicBezTo>
                  <a:cubicBezTo>
                    <a:pt x="33" y="39"/>
                    <a:pt x="32" y="39"/>
                    <a:pt x="32" y="39"/>
                  </a:cubicBezTo>
                  <a:cubicBezTo>
                    <a:pt x="32" y="38"/>
                    <a:pt x="30" y="34"/>
                    <a:pt x="30" y="34"/>
                  </a:cubicBezTo>
                  <a:cubicBezTo>
                    <a:pt x="29" y="33"/>
                    <a:pt x="30" y="36"/>
                    <a:pt x="32" y="38"/>
                  </a:cubicBezTo>
                  <a:cubicBezTo>
                    <a:pt x="32" y="41"/>
                    <a:pt x="30" y="38"/>
                    <a:pt x="32" y="41"/>
                  </a:cubicBezTo>
                  <a:cubicBezTo>
                    <a:pt x="32" y="41"/>
                    <a:pt x="33" y="41"/>
                    <a:pt x="33" y="4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240"/>
            <p:cNvSpPr>
              <a:spLocks noEditPoints="1"/>
            </p:cNvSpPr>
            <p:nvPr/>
          </p:nvSpPr>
          <p:spPr bwMode="auto">
            <a:xfrm>
              <a:off x="2855577" y="4407222"/>
              <a:ext cx="266541" cy="116564"/>
            </a:xfrm>
            <a:custGeom>
              <a:avLst/>
              <a:gdLst/>
              <a:ahLst/>
              <a:cxnLst>
                <a:cxn ang="0">
                  <a:pos x="8" y="13"/>
                </a:cxn>
                <a:cxn ang="0">
                  <a:pos x="3" y="15"/>
                </a:cxn>
                <a:cxn ang="0">
                  <a:pos x="0" y="13"/>
                </a:cxn>
                <a:cxn ang="0">
                  <a:pos x="4" y="10"/>
                </a:cxn>
                <a:cxn ang="0">
                  <a:pos x="17" y="3"/>
                </a:cxn>
                <a:cxn ang="0">
                  <a:pos x="24" y="1"/>
                </a:cxn>
                <a:cxn ang="0">
                  <a:pos x="30" y="1"/>
                </a:cxn>
                <a:cxn ang="0">
                  <a:pos x="35" y="3"/>
                </a:cxn>
                <a:cxn ang="0">
                  <a:pos x="42" y="6"/>
                </a:cxn>
                <a:cxn ang="0">
                  <a:pos x="50" y="10"/>
                </a:cxn>
                <a:cxn ang="0">
                  <a:pos x="58" y="13"/>
                </a:cxn>
                <a:cxn ang="0">
                  <a:pos x="59" y="15"/>
                </a:cxn>
                <a:cxn ang="0">
                  <a:pos x="62" y="18"/>
                </a:cxn>
                <a:cxn ang="0">
                  <a:pos x="65" y="20"/>
                </a:cxn>
                <a:cxn ang="0">
                  <a:pos x="70" y="21"/>
                </a:cxn>
                <a:cxn ang="0">
                  <a:pos x="74" y="23"/>
                </a:cxn>
                <a:cxn ang="0">
                  <a:pos x="76" y="26"/>
                </a:cxn>
                <a:cxn ang="0">
                  <a:pos x="82" y="29"/>
                </a:cxn>
                <a:cxn ang="0">
                  <a:pos x="85" y="32"/>
                </a:cxn>
                <a:cxn ang="0">
                  <a:pos x="79" y="34"/>
                </a:cxn>
                <a:cxn ang="0">
                  <a:pos x="64" y="34"/>
                </a:cxn>
                <a:cxn ang="0">
                  <a:pos x="61" y="30"/>
                </a:cxn>
                <a:cxn ang="0">
                  <a:pos x="56" y="26"/>
                </a:cxn>
                <a:cxn ang="0">
                  <a:pos x="50" y="20"/>
                </a:cxn>
                <a:cxn ang="0">
                  <a:pos x="42" y="17"/>
                </a:cxn>
                <a:cxn ang="0">
                  <a:pos x="32" y="12"/>
                </a:cxn>
                <a:cxn ang="0">
                  <a:pos x="23" y="10"/>
                </a:cxn>
                <a:cxn ang="0">
                  <a:pos x="26" y="7"/>
                </a:cxn>
                <a:cxn ang="0">
                  <a:pos x="15" y="9"/>
                </a:cxn>
                <a:cxn ang="0">
                  <a:pos x="8" y="13"/>
                </a:cxn>
                <a:cxn ang="0">
                  <a:pos x="18" y="18"/>
                </a:cxn>
                <a:cxn ang="0">
                  <a:pos x="15" y="13"/>
                </a:cxn>
                <a:cxn ang="0">
                  <a:pos x="18" y="18"/>
                </a:cxn>
                <a:cxn ang="0">
                  <a:pos x="50" y="9"/>
                </a:cxn>
                <a:cxn ang="0">
                  <a:pos x="51" y="7"/>
                </a:cxn>
                <a:cxn ang="0">
                  <a:pos x="50" y="9"/>
                </a:cxn>
                <a:cxn ang="0">
                  <a:pos x="53" y="9"/>
                </a:cxn>
                <a:cxn ang="0">
                  <a:pos x="55" y="10"/>
                </a:cxn>
                <a:cxn ang="0">
                  <a:pos x="53" y="9"/>
                </a:cxn>
              </a:cxnLst>
              <a:rect l="0" t="0" r="r" b="b"/>
              <a:pathLst>
                <a:path w="86" h="37">
                  <a:moveTo>
                    <a:pt x="8" y="13"/>
                  </a:moveTo>
                  <a:cubicBezTo>
                    <a:pt x="4" y="13"/>
                    <a:pt x="3" y="17"/>
                    <a:pt x="3" y="15"/>
                  </a:cubicBezTo>
                  <a:cubicBezTo>
                    <a:pt x="3" y="13"/>
                    <a:pt x="0" y="15"/>
                    <a:pt x="0" y="13"/>
                  </a:cubicBezTo>
                  <a:cubicBezTo>
                    <a:pt x="0" y="12"/>
                    <a:pt x="4" y="13"/>
                    <a:pt x="4" y="10"/>
                  </a:cubicBezTo>
                  <a:cubicBezTo>
                    <a:pt x="3" y="9"/>
                    <a:pt x="8" y="4"/>
                    <a:pt x="17" y="3"/>
                  </a:cubicBezTo>
                  <a:cubicBezTo>
                    <a:pt x="21" y="3"/>
                    <a:pt x="20" y="0"/>
                    <a:pt x="24" y="1"/>
                  </a:cubicBezTo>
                  <a:cubicBezTo>
                    <a:pt x="30" y="3"/>
                    <a:pt x="29" y="0"/>
                    <a:pt x="30" y="1"/>
                  </a:cubicBezTo>
                  <a:cubicBezTo>
                    <a:pt x="32" y="3"/>
                    <a:pt x="33" y="0"/>
                    <a:pt x="35" y="3"/>
                  </a:cubicBezTo>
                  <a:cubicBezTo>
                    <a:pt x="36" y="4"/>
                    <a:pt x="39" y="1"/>
                    <a:pt x="42" y="6"/>
                  </a:cubicBezTo>
                  <a:cubicBezTo>
                    <a:pt x="45" y="10"/>
                    <a:pt x="45" y="6"/>
                    <a:pt x="50" y="10"/>
                  </a:cubicBezTo>
                  <a:cubicBezTo>
                    <a:pt x="56" y="13"/>
                    <a:pt x="58" y="12"/>
                    <a:pt x="58" y="13"/>
                  </a:cubicBezTo>
                  <a:cubicBezTo>
                    <a:pt x="56" y="15"/>
                    <a:pt x="59" y="17"/>
                    <a:pt x="59" y="15"/>
                  </a:cubicBezTo>
                  <a:cubicBezTo>
                    <a:pt x="58" y="13"/>
                    <a:pt x="61" y="15"/>
                    <a:pt x="62" y="18"/>
                  </a:cubicBezTo>
                  <a:cubicBezTo>
                    <a:pt x="65" y="20"/>
                    <a:pt x="65" y="18"/>
                    <a:pt x="65" y="20"/>
                  </a:cubicBezTo>
                  <a:cubicBezTo>
                    <a:pt x="67" y="23"/>
                    <a:pt x="68" y="20"/>
                    <a:pt x="70" y="21"/>
                  </a:cubicBezTo>
                  <a:cubicBezTo>
                    <a:pt x="71" y="23"/>
                    <a:pt x="73" y="20"/>
                    <a:pt x="74" y="23"/>
                  </a:cubicBezTo>
                  <a:cubicBezTo>
                    <a:pt x="74" y="26"/>
                    <a:pt x="70" y="24"/>
                    <a:pt x="76" y="26"/>
                  </a:cubicBezTo>
                  <a:cubicBezTo>
                    <a:pt x="80" y="26"/>
                    <a:pt x="80" y="27"/>
                    <a:pt x="82" y="29"/>
                  </a:cubicBezTo>
                  <a:cubicBezTo>
                    <a:pt x="83" y="30"/>
                    <a:pt x="86" y="29"/>
                    <a:pt x="85" y="32"/>
                  </a:cubicBezTo>
                  <a:cubicBezTo>
                    <a:pt x="83" y="34"/>
                    <a:pt x="83" y="30"/>
                    <a:pt x="79" y="34"/>
                  </a:cubicBezTo>
                  <a:cubicBezTo>
                    <a:pt x="73" y="37"/>
                    <a:pt x="76" y="32"/>
                    <a:pt x="64" y="34"/>
                  </a:cubicBezTo>
                  <a:cubicBezTo>
                    <a:pt x="51" y="35"/>
                    <a:pt x="58" y="34"/>
                    <a:pt x="61" y="30"/>
                  </a:cubicBezTo>
                  <a:cubicBezTo>
                    <a:pt x="64" y="27"/>
                    <a:pt x="61" y="26"/>
                    <a:pt x="56" y="26"/>
                  </a:cubicBezTo>
                  <a:cubicBezTo>
                    <a:pt x="51" y="26"/>
                    <a:pt x="51" y="23"/>
                    <a:pt x="50" y="20"/>
                  </a:cubicBezTo>
                  <a:cubicBezTo>
                    <a:pt x="48" y="15"/>
                    <a:pt x="47" y="18"/>
                    <a:pt x="42" y="17"/>
                  </a:cubicBezTo>
                  <a:cubicBezTo>
                    <a:pt x="36" y="15"/>
                    <a:pt x="38" y="12"/>
                    <a:pt x="32" y="12"/>
                  </a:cubicBezTo>
                  <a:cubicBezTo>
                    <a:pt x="26" y="12"/>
                    <a:pt x="26" y="12"/>
                    <a:pt x="23" y="10"/>
                  </a:cubicBezTo>
                  <a:cubicBezTo>
                    <a:pt x="21" y="9"/>
                    <a:pt x="27" y="7"/>
                    <a:pt x="26" y="7"/>
                  </a:cubicBezTo>
                  <a:cubicBezTo>
                    <a:pt x="24" y="6"/>
                    <a:pt x="18" y="4"/>
                    <a:pt x="15" y="9"/>
                  </a:cubicBezTo>
                  <a:cubicBezTo>
                    <a:pt x="11" y="12"/>
                    <a:pt x="8" y="10"/>
                    <a:pt x="8" y="13"/>
                  </a:cubicBezTo>
                  <a:close/>
                  <a:moveTo>
                    <a:pt x="18" y="18"/>
                  </a:moveTo>
                  <a:cubicBezTo>
                    <a:pt x="14" y="20"/>
                    <a:pt x="14" y="13"/>
                    <a:pt x="15" y="13"/>
                  </a:cubicBezTo>
                  <a:cubicBezTo>
                    <a:pt x="18" y="13"/>
                    <a:pt x="20" y="18"/>
                    <a:pt x="18" y="18"/>
                  </a:cubicBezTo>
                  <a:close/>
                  <a:moveTo>
                    <a:pt x="50" y="9"/>
                  </a:moveTo>
                  <a:cubicBezTo>
                    <a:pt x="48" y="7"/>
                    <a:pt x="50" y="7"/>
                    <a:pt x="51" y="7"/>
                  </a:cubicBezTo>
                  <a:cubicBezTo>
                    <a:pt x="51" y="9"/>
                    <a:pt x="51" y="9"/>
                    <a:pt x="50" y="9"/>
                  </a:cubicBezTo>
                  <a:close/>
                  <a:moveTo>
                    <a:pt x="53" y="9"/>
                  </a:moveTo>
                  <a:cubicBezTo>
                    <a:pt x="53" y="9"/>
                    <a:pt x="56" y="10"/>
                    <a:pt x="55" y="10"/>
                  </a:cubicBezTo>
                  <a:cubicBezTo>
                    <a:pt x="53" y="10"/>
                    <a:pt x="51" y="10"/>
                    <a:pt x="53" y="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241"/>
            <p:cNvSpPr>
              <a:spLocks/>
            </p:cNvSpPr>
            <p:nvPr/>
          </p:nvSpPr>
          <p:spPr bwMode="auto">
            <a:xfrm>
              <a:off x="3138078" y="4543213"/>
              <a:ext cx="14364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5" y="3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2"/>
                    <a:pt x="5" y="3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242"/>
            <p:cNvSpPr>
              <a:spLocks/>
            </p:cNvSpPr>
            <p:nvPr/>
          </p:nvSpPr>
          <p:spPr bwMode="auto">
            <a:xfrm>
              <a:off x="3237033" y="4747201"/>
              <a:ext cx="17557" cy="17808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3" y="3"/>
                </a:cxn>
              </a:cxnLst>
              <a:rect l="0" t="0" r="r" b="b"/>
              <a:pathLst>
                <a:path w="6" h="6">
                  <a:moveTo>
                    <a:pt x="3" y="3"/>
                  </a:moveTo>
                  <a:cubicBezTo>
                    <a:pt x="2" y="2"/>
                    <a:pt x="0" y="0"/>
                    <a:pt x="2" y="2"/>
                  </a:cubicBezTo>
                  <a:cubicBezTo>
                    <a:pt x="3" y="2"/>
                    <a:pt x="2" y="3"/>
                    <a:pt x="3" y="3"/>
                  </a:cubicBezTo>
                  <a:cubicBezTo>
                    <a:pt x="5" y="3"/>
                    <a:pt x="6" y="6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243"/>
            <p:cNvSpPr>
              <a:spLocks/>
            </p:cNvSpPr>
            <p:nvPr/>
          </p:nvSpPr>
          <p:spPr bwMode="auto">
            <a:xfrm>
              <a:off x="3254589" y="4753676"/>
              <a:ext cx="9577" cy="11332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3"/>
                </a:cxn>
                <a:cxn ang="0">
                  <a:pos x="2" y="1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3" y="1"/>
                    <a:pt x="3" y="4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244"/>
            <p:cNvSpPr>
              <a:spLocks/>
            </p:cNvSpPr>
            <p:nvPr/>
          </p:nvSpPr>
          <p:spPr bwMode="auto">
            <a:xfrm>
              <a:off x="3359929" y="4787673"/>
              <a:ext cx="19152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0" y="2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cubicBezTo>
                    <a:pt x="0" y="0"/>
                    <a:pt x="2" y="3"/>
                    <a:pt x="3" y="2"/>
                  </a:cubicBezTo>
                  <a:cubicBezTo>
                    <a:pt x="5" y="0"/>
                    <a:pt x="6" y="2"/>
                    <a:pt x="5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0" y="3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245"/>
            <p:cNvSpPr>
              <a:spLocks/>
            </p:cNvSpPr>
            <p:nvPr/>
          </p:nvSpPr>
          <p:spPr bwMode="auto">
            <a:xfrm>
              <a:off x="3441328" y="4857288"/>
              <a:ext cx="3192" cy="323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246"/>
            <p:cNvSpPr>
              <a:spLocks/>
            </p:cNvSpPr>
            <p:nvPr/>
          </p:nvSpPr>
          <p:spPr bwMode="auto">
            <a:xfrm>
              <a:off x="3434943" y="4860526"/>
              <a:ext cx="9577" cy="485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0"/>
                </a:cxn>
                <a:cxn ang="0">
                  <a:pos x="2" y="2"/>
                </a:cxn>
                <a:cxn ang="0">
                  <a:pos x="2" y="2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2"/>
                    <a:pt x="2" y="2"/>
                  </a:cubicBezTo>
                  <a:cubicBezTo>
                    <a:pt x="2" y="2"/>
                    <a:pt x="0" y="2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247"/>
            <p:cNvSpPr>
              <a:spLocks/>
            </p:cNvSpPr>
            <p:nvPr/>
          </p:nvSpPr>
          <p:spPr bwMode="auto">
            <a:xfrm>
              <a:off x="3444520" y="4865383"/>
              <a:ext cx="4788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0" y="0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248"/>
            <p:cNvSpPr>
              <a:spLocks/>
            </p:cNvSpPr>
            <p:nvPr/>
          </p:nvSpPr>
          <p:spPr bwMode="auto">
            <a:xfrm>
              <a:off x="3441328" y="4857288"/>
              <a:ext cx="3192" cy="3238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1" y="0"/>
                </a:cxn>
                <a:cxn ang="0">
                  <a:pos x="1" y="1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249"/>
            <p:cNvSpPr>
              <a:spLocks/>
            </p:cNvSpPr>
            <p:nvPr/>
          </p:nvSpPr>
          <p:spPr bwMode="auto">
            <a:xfrm>
              <a:off x="3444520" y="4777960"/>
              <a:ext cx="7980" cy="1619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2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2"/>
                    <a:pt x="3" y="0"/>
                    <a:pt x="3" y="2"/>
                  </a:cubicBezTo>
                  <a:cubicBezTo>
                    <a:pt x="3" y="3"/>
                    <a:pt x="0" y="5"/>
                    <a:pt x="0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250"/>
            <p:cNvSpPr>
              <a:spLocks/>
            </p:cNvSpPr>
            <p:nvPr/>
          </p:nvSpPr>
          <p:spPr bwMode="auto">
            <a:xfrm>
              <a:off x="3415791" y="4797388"/>
              <a:ext cx="33517" cy="24284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1" y="8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6" y="8"/>
                </a:cxn>
              </a:cxnLst>
              <a:rect l="0" t="0" r="r" b="b"/>
              <a:pathLst>
                <a:path w="11" h="8">
                  <a:moveTo>
                    <a:pt x="6" y="8"/>
                  </a:moveTo>
                  <a:cubicBezTo>
                    <a:pt x="1" y="8"/>
                    <a:pt x="0" y="8"/>
                    <a:pt x="1" y="8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2"/>
                    <a:pt x="1" y="2"/>
                    <a:pt x="4" y="2"/>
                  </a:cubicBezTo>
                  <a:cubicBezTo>
                    <a:pt x="9" y="0"/>
                    <a:pt x="11" y="0"/>
                    <a:pt x="9" y="2"/>
                  </a:cubicBezTo>
                  <a:cubicBezTo>
                    <a:pt x="8" y="3"/>
                    <a:pt x="11" y="8"/>
                    <a:pt x="6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251"/>
            <p:cNvSpPr>
              <a:spLocks/>
            </p:cNvSpPr>
            <p:nvPr/>
          </p:nvSpPr>
          <p:spPr bwMode="auto">
            <a:xfrm>
              <a:off x="3418983" y="4753676"/>
              <a:ext cx="12769" cy="8095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252"/>
            <p:cNvSpPr>
              <a:spLocks/>
            </p:cNvSpPr>
            <p:nvPr/>
          </p:nvSpPr>
          <p:spPr bwMode="auto">
            <a:xfrm>
              <a:off x="3434943" y="4718059"/>
              <a:ext cx="6384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0"/>
                    <a:pt x="2" y="3"/>
                    <a:pt x="0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253"/>
            <p:cNvSpPr>
              <a:spLocks/>
            </p:cNvSpPr>
            <p:nvPr/>
          </p:nvSpPr>
          <p:spPr bwMode="auto">
            <a:xfrm>
              <a:off x="3441328" y="4697013"/>
              <a:ext cx="7980" cy="1295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0" y="4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1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254"/>
            <p:cNvSpPr>
              <a:spLocks/>
            </p:cNvSpPr>
            <p:nvPr/>
          </p:nvSpPr>
          <p:spPr bwMode="auto">
            <a:xfrm>
              <a:off x="3431751" y="4650064"/>
              <a:ext cx="3192" cy="1457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1" h="5">
                  <a:moveTo>
                    <a:pt x="1" y="3"/>
                  </a:moveTo>
                  <a:cubicBezTo>
                    <a:pt x="0" y="5"/>
                    <a:pt x="1" y="3"/>
                    <a:pt x="0" y="2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255"/>
            <p:cNvSpPr>
              <a:spLocks/>
            </p:cNvSpPr>
            <p:nvPr/>
          </p:nvSpPr>
          <p:spPr bwMode="auto">
            <a:xfrm>
              <a:off x="3471652" y="4718059"/>
              <a:ext cx="9577" cy="1619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3" y="3"/>
                </a:cxn>
              </a:cxnLst>
              <a:rect l="0" t="0" r="r" b="b"/>
              <a:pathLst>
                <a:path w="3" h="5">
                  <a:moveTo>
                    <a:pt x="3" y="3"/>
                  </a:moveTo>
                  <a:cubicBezTo>
                    <a:pt x="2" y="5"/>
                    <a:pt x="0" y="3"/>
                    <a:pt x="2" y="2"/>
                  </a:cubicBezTo>
                  <a:cubicBezTo>
                    <a:pt x="2" y="0"/>
                    <a:pt x="2" y="0"/>
                    <a:pt x="2" y="2"/>
                  </a:cubicBezTo>
                  <a:cubicBezTo>
                    <a:pt x="3" y="2"/>
                    <a:pt x="3" y="2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256"/>
            <p:cNvSpPr>
              <a:spLocks/>
            </p:cNvSpPr>
            <p:nvPr/>
          </p:nvSpPr>
          <p:spPr bwMode="auto">
            <a:xfrm>
              <a:off x="3332796" y="4567498"/>
              <a:ext cx="3192" cy="6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257"/>
            <p:cNvSpPr>
              <a:spLocks/>
            </p:cNvSpPr>
            <p:nvPr/>
          </p:nvSpPr>
          <p:spPr bwMode="auto">
            <a:xfrm>
              <a:off x="3343969" y="4583687"/>
              <a:ext cx="12769" cy="32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cubicBezTo>
                    <a:pt x="0" y="0"/>
                    <a:pt x="2" y="0"/>
                    <a:pt x="4" y="0"/>
                  </a:cubicBezTo>
                  <a:cubicBezTo>
                    <a:pt x="4" y="0"/>
                    <a:pt x="0" y="1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58"/>
            <p:cNvSpPr>
              <a:spLocks/>
            </p:cNvSpPr>
            <p:nvPr/>
          </p:nvSpPr>
          <p:spPr bwMode="auto">
            <a:xfrm>
              <a:off x="3434943" y="4667872"/>
              <a:ext cx="14364" cy="22665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7"/>
                </a:cxn>
                <a:cxn ang="0">
                  <a:pos x="3" y="5"/>
                </a:cxn>
              </a:cxnLst>
              <a:rect l="0" t="0" r="r" b="b"/>
              <a:pathLst>
                <a:path w="5" h="7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0" y="2"/>
                    <a:pt x="2" y="0"/>
                    <a:pt x="3" y="2"/>
                  </a:cubicBezTo>
                  <a:cubicBezTo>
                    <a:pt x="5" y="3"/>
                    <a:pt x="5" y="7"/>
                    <a:pt x="5" y="7"/>
                  </a:cubicBezTo>
                  <a:cubicBezTo>
                    <a:pt x="3" y="7"/>
                    <a:pt x="5" y="5"/>
                    <a:pt x="3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59"/>
            <p:cNvSpPr>
              <a:spLocks/>
            </p:cNvSpPr>
            <p:nvPr/>
          </p:nvSpPr>
          <p:spPr bwMode="auto">
            <a:xfrm>
              <a:off x="3418983" y="4620923"/>
              <a:ext cx="12769" cy="1942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5"/>
                </a:cxn>
              </a:cxnLst>
              <a:rect l="0" t="0" r="r" b="b"/>
              <a:pathLst>
                <a:path w="4" h="6">
                  <a:moveTo>
                    <a:pt x="2" y="5"/>
                  </a:moveTo>
                  <a:cubicBezTo>
                    <a:pt x="2" y="6"/>
                    <a:pt x="0" y="5"/>
                    <a:pt x="0" y="2"/>
                  </a:cubicBezTo>
                  <a:cubicBezTo>
                    <a:pt x="2" y="0"/>
                    <a:pt x="4" y="3"/>
                    <a:pt x="2" y="3"/>
                  </a:cubicBezTo>
                  <a:cubicBezTo>
                    <a:pt x="2" y="5"/>
                    <a:pt x="4" y="5"/>
                    <a:pt x="2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60"/>
            <p:cNvSpPr>
              <a:spLocks/>
            </p:cNvSpPr>
            <p:nvPr/>
          </p:nvSpPr>
          <p:spPr bwMode="auto">
            <a:xfrm>
              <a:off x="3425367" y="4620923"/>
              <a:ext cx="15960" cy="971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3"/>
                </a:cxn>
                <a:cxn ang="0">
                  <a:pos x="1" y="3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0"/>
                    <a:pt x="1" y="0"/>
                    <a:pt x="3" y="2"/>
                  </a:cubicBezTo>
                  <a:cubicBezTo>
                    <a:pt x="3" y="2"/>
                    <a:pt x="3" y="2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61"/>
            <p:cNvSpPr>
              <a:spLocks/>
            </p:cNvSpPr>
            <p:nvPr/>
          </p:nvSpPr>
          <p:spPr bwMode="auto">
            <a:xfrm>
              <a:off x="3434943" y="4637112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2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62"/>
            <p:cNvSpPr>
              <a:spLocks/>
            </p:cNvSpPr>
            <p:nvPr/>
          </p:nvSpPr>
          <p:spPr bwMode="auto">
            <a:xfrm>
              <a:off x="3388658" y="4573973"/>
              <a:ext cx="6384" cy="323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0"/>
                </a:cxn>
                <a:cxn ang="0">
                  <a:pos x="2" y="1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63"/>
            <p:cNvSpPr>
              <a:spLocks/>
            </p:cNvSpPr>
            <p:nvPr/>
          </p:nvSpPr>
          <p:spPr bwMode="auto">
            <a:xfrm>
              <a:off x="3388658" y="4561022"/>
              <a:ext cx="6384" cy="1295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2" y="2"/>
                    <a:pt x="0" y="4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64"/>
            <p:cNvSpPr>
              <a:spLocks/>
            </p:cNvSpPr>
            <p:nvPr/>
          </p:nvSpPr>
          <p:spPr bwMode="auto">
            <a:xfrm>
              <a:off x="3409406" y="4611210"/>
              <a:ext cx="6384" cy="6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65"/>
            <p:cNvSpPr>
              <a:spLocks/>
            </p:cNvSpPr>
            <p:nvPr/>
          </p:nvSpPr>
          <p:spPr bwMode="auto">
            <a:xfrm>
              <a:off x="3403022" y="4596638"/>
              <a:ext cx="3192" cy="64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2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266"/>
            <p:cNvSpPr>
              <a:spLocks/>
            </p:cNvSpPr>
            <p:nvPr/>
          </p:nvSpPr>
          <p:spPr bwMode="auto">
            <a:xfrm>
              <a:off x="3396638" y="4593400"/>
              <a:ext cx="6384" cy="9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3"/>
                    <a:pt x="0" y="1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267"/>
            <p:cNvSpPr>
              <a:spLocks/>
            </p:cNvSpPr>
            <p:nvPr/>
          </p:nvSpPr>
          <p:spPr bwMode="auto">
            <a:xfrm>
              <a:off x="3418983" y="4603115"/>
              <a:ext cx="6384" cy="323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2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268"/>
            <p:cNvSpPr>
              <a:spLocks/>
            </p:cNvSpPr>
            <p:nvPr/>
          </p:nvSpPr>
          <p:spPr bwMode="auto">
            <a:xfrm>
              <a:off x="3418983" y="4583687"/>
              <a:ext cx="6384" cy="97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1"/>
                    <a:pt x="2" y="3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269"/>
            <p:cNvSpPr>
              <a:spLocks noEditPoints="1"/>
            </p:cNvSpPr>
            <p:nvPr/>
          </p:nvSpPr>
          <p:spPr bwMode="auto">
            <a:xfrm>
              <a:off x="1478186" y="2007953"/>
              <a:ext cx="2173820" cy="1777597"/>
            </a:xfrm>
            <a:custGeom>
              <a:avLst/>
              <a:gdLst/>
              <a:ahLst/>
              <a:cxnLst>
                <a:cxn ang="0">
                  <a:pos x="116" y="479"/>
                </a:cxn>
                <a:cxn ang="0">
                  <a:pos x="70" y="434"/>
                </a:cxn>
                <a:cxn ang="0">
                  <a:pos x="70" y="438"/>
                </a:cxn>
                <a:cxn ang="0">
                  <a:pos x="66" y="435"/>
                </a:cxn>
                <a:cxn ang="0">
                  <a:pos x="86" y="426"/>
                </a:cxn>
                <a:cxn ang="0">
                  <a:pos x="93" y="432"/>
                </a:cxn>
                <a:cxn ang="0">
                  <a:pos x="177" y="170"/>
                </a:cxn>
                <a:cxn ang="0">
                  <a:pos x="121" y="179"/>
                </a:cxn>
                <a:cxn ang="0">
                  <a:pos x="306" y="213"/>
                </a:cxn>
                <a:cxn ang="0">
                  <a:pos x="264" y="187"/>
                </a:cxn>
                <a:cxn ang="0">
                  <a:pos x="182" y="177"/>
                </a:cxn>
                <a:cxn ang="0">
                  <a:pos x="215" y="221"/>
                </a:cxn>
                <a:cxn ang="0">
                  <a:pos x="284" y="168"/>
                </a:cxn>
                <a:cxn ang="0">
                  <a:pos x="501" y="281"/>
                </a:cxn>
                <a:cxn ang="0">
                  <a:pos x="606" y="303"/>
                </a:cxn>
                <a:cxn ang="0">
                  <a:pos x="612" y="249"/>
                </a:cxn>
                <a:cxn ang="0">
                  <a:pos x="510" y="171"/>
                </a:cxn>
                <a:cxn ang="0">
                  <a:pos x="404" y="184"/>
                </a:cxn>
                <a:cxn ang="0">
                  <a:pos x="463" y="297"/>
                </a:cxn>
                <a:cxn ang="0">
                  <a:pos x="500" y="168"/>
                </a:cxn>
                <a:cxn ang="0">
                  <a:pos x="483" y="140"/>
                </a:cxn>
                <a:cxn ang="0">
                  <a:pos x="352" y="109"/>
                </a:cxn>
                <a:cxn ang="0">
                  <a:pos x="370" y="180"/>
                </a:cxn>
                <a:cxn ang="0">
                  <a:pos x="316" y="160"/>
                </a:cxn>
                <a:cxn ang="0">
                  <a:pos x="287" y="73"/>
                </a:cxn>
                <a:cxn ang="0">
                  <a:pos x="498" y="96"/>
                </a:cxn>
                <a:cxn ang="0">
                  <a:pos x="602" y="5"/>
                </a:cxn>
                <a:cxn ang="0">
                  <a:pos x="405" y="22"/>
                </a:cxn>
                <a:cxn ang="0">
                  <a:pos x="431" y="53"/>
                </a:cxn>
                <a:cxn ang="0">
                  <a:pos x="418" y="114"/>
                </a:cxn>
                <a:cxn ang="0">
                  <a:pos x="431" y="72"/>
                </a:cxn>
                <a:cxn ang="0">
                  <a:pos x="338" y="76"/>
                </a:cxn>
                <a:cxn ang="0">
                  <a:pos x="244" y="112"/>
                </a:cxn>
                <a:cxn ang="0">
                  <a:pos x="215" y="143"/>
                </a:cxn>
                <a:cxn ang="0">
                  <a:pos x="157" y="120"/>
                </a:cxn>
                <a:cxn ang="0">
                  <a:pos x="249" y="87"/>
                </a:cxn>
                <a:cxn ang="0">
                  <a:pos x="303" y="126"/>
                </a:cxn>
                <a:cxn ang="0">
                  <a:pos x="640" y="522"/>
                </a:cxn>
                <a:cxn ang="0">
                  <a:pos x="687" y="501"/>
                </a:cxn>
                <a:cxn ang="0">
                  <a:pos x="678" y="456"/>
                </a:cxn>
                <a:cxn ang="0">
                  <a:pos x="401" y="494"/>
                </a:cxn>
                <a:cxn ang="0">
                  <a:pos x="448" y="508"/>
                </a:cxn>
                <a:cxn ang="0">
                  <a:pos x="472" y="529"/>
                </a:cxn>
                <a:cxn ang="0">
                  <a:pos x="492" y="554"/>
                </a:cxn>
                <a:cxn ang="0">
                  <a:pos x="561" y="521"/>
                </a:cxn>
                <a:cxn ang="0">
                  <a:pos x="602" y="530"/>
                </a:cxn>
                <a:cxn ang="0">
                  <a:pos x="649" y="463"/>
                </a:cxn>
                <a:cxn ang="0">
                  <a:pos x="609" y="350"/>
                </a:cxn>
                <a:cxn ang="0">
                  <a:pos x="501" y="356"/>
                </a:cxn>
                <a:cxn ang="0">
                  <a:pos x="379" y="367"/>
                </a:cxn>
                <a:cxn ang="0">
                  <a:pos x="462" y="258"/>
                </a:cxn>
                <a:cxn ang="0">
                  <a:pos x="408" y="222"/>
                </a:cxn>
                <a:cxn ang="0">
                  <a:pos x="361" y="240"/>
                </a:cxn>
                <a:cxn ang="0">
                  <a:pos x="204" y="238"/>
                </a:cxn>
                <a:cxn ang="0">
                  <a:pos x="52" y="227"/>
                </a:cxn>
                <a:cxn ang="0">
                  <a:pos x="48" y="356"/>
                </a:cxn>
                <a:cxn ang="0">
                  <a:pos x="96" y="432"/>
                </a:cxn>
                <a:cxn ang="0">
                  <a:pos x="119" y="466"/>
                </a:cxn>
                <a:cxn ang="0">
                  <a:pos x="484" y="317"/>
                </a:cxn>
                <a:cxn ang="0">
                  <a:pos x="183" y="120"/>
                </a:cxn>
                <a:cxn ang="0">
                  <a:pos x="305" y="115"/>
                </a:cxn>
                <a:cxn ang="0">
                  <a:pos x="471" y="437"/>
                </a:cxn>
                <a:cxn ang="0">
                  <a:pos x="494" y="398"/>
                </a:cxn>
              </a:cxnLst>
              <a:rect l="0" t="0" r="r" b="b"/>
              <a:pathLst>
                <a:path w="702" h="566">
                  <a:moveTo>
                    <a:pt x="99" y="463"/>
                  </a:moveTo>
                  <a:cubicBezTo>
                    <a:pt x="102" y="462"/>
                    <a:pt x="107" y="463"/>
                    <a:pt x="108" y="465"/>
                  </a:cubicBezTo>
                  <a:cubicBezTo>
                    <a:pt x="110" y="466"/>
                    <a:pt x="122" y="468"/>
                    <a:pt x="124" y="470"/>
                  </a:cubicBezTo>
                  <a:cubicBezTo>
                    <a:pt x="125" y="474"/>
                    <a:pt x="128" y="476"/>
                    <a:pt x="128" y="476"/>
                  </a:cubicBezTo>
                  <a:cubicBezTo>
                    <a:pt x="127" y="477"/>
                    <a:pt x="130" y="480"/>
                    <a:pt x="133" y="480"/>
                  </a:cubicBezTo>
                  <a:cubicBezTo>
                    <a:pt x="136" y="482"/>
                    <a:pt x="136" y="485"/>
                    <a:pt x="137" y="485"/>
                  </a:cubicBezTo>
                  <a:cubicBezTo>
                    <a:pt x="139" y="487"/>
                    <a:pt x="137" y="488"/>
                    <a:pt x="139" y="488"/>
                  </a:cubicBezTo>
                  <a:cubicBezTo>
                    <a:pt x="140" y="490"/>
                    <a:pt x="140" y="493"/>
                    <a:pt x="139" y="491"/>
                  </a:cubicBezTo>
                  <a:cubicBezTo>
                    <a:pt x="139" y="491"/>
                    <a:pt x="139" y="493"/>
                    <a:pt x="136" y="493"/>
                  </a:cubicBezTo>
                  <a:cubicBezTo>
                    <a:pt x="133" y="491"/>
                    <a:pt x="133" y="490"/>
                    <a:pt x="130" y="490"/>
                  </a:cubicBezTo>
                  <a:cubicBezTo>
                    <a:pt x="127" y="490"/>
                    <a:pt x="125" y="487"/>
                    <a:pt x="125" y="485"/>
                  </a:cubicBezTo>
                  <a:cubicBezTo>
                    <a:pt x="127" y="485"/>
                    <a:pt x="125" y="485"/>
                    <a:pt x="124" y="485"/>
                  </a:cubicBezTo>
                  <a:cubicBezTo>
                    <a:pt x="122" y="485"/>
                    <a:pt x="119" y="484"/>
                    <a:pt x="121" y="482"/>
                  </a:cubicBezTo>
                  <a:cubicBezTo>
                    <a:pt x="121" y="480"/>
                    <a:pt x="119" y="482"/>
                    <a:pt x="119" y="480"/>
                  </a:cubicBezTo>
                  <a:cubicBezTo>
                    <a:pt x="118" y="479"/>
                    <a:pt x="118" y="479"/>
                    <a:pt x="116" y="479"/>
                  </a:cubicBezTo>
                  <a:cubicBezTo>
                    <a:pt x="113" y="480"/>
                    <a:pt x="113" y="477"/>
                    <a:pt x="115" y="477"/>
                  </a:cubicBezTo>
                  <a:cubicBezTo>
                    <a:pt x="118" y="476"/>
                    <a:pt x="115" y="477"/>
                    <a:pt x="113" y="474"/>
                  </a:cubicBezTo>
                  <a:cubicBezTo>
                    <a:pt x="113" y="471"/>
                    <a:pt x="110" y="476"/>
                    <a:pt x="110" y="474"/>
                  </a:cubicBezTo>
                  <a:cubicBezTo>
                    <a:pt x="108" y="473"/>
                    <a:pt x="110" y="471"/>
                    <a:pt x="110" y="471"/>
                  </a:cubicBezTo>
                  <a:cubicBezTo>
                    <a:pt x="108" y="470"/>
                    <a:pt x="107" y="474"/>
                    <a:pt x="107" y="471"/>
                  </a:cubicBezTo>
                  <a:cubicBezTo>
                    <a:pt x="107" y="470"/>
                    <a:pt x="104" y="473"/>
                    <a:pt x="104" y="471"/>
                  </a:cubicBezTo>
                  <a:cubicBezTo>
                    <a:pt x="102" y="471"/>
                    <a:pt x="105" y="470"/>
                    <a:pt x="104" y="470"/>
                  </a:cubicBezTo>
                  <a:cubicBezTo>
                    <a:pt x="102" y="468"/>
                    <a:pt x="104" y="466"/>
                    <a:pt x="107" y="466"/>
                  </a:cubicBezTo>
                  <a:cubicBezTo>
                    <a:pt x="108" y="466"/>
                    <a:pt x="105" y="465"/>
                    <a:pt x="104" y="466"/>
                  </a:cubicBezTo>
                  <a:cubicBezTo>
                    <a:pt x="101" y="466"/>
                    <a:pt x="98" y="463"/>
                    <a:pt x="99" y="463"/>
                  </a:cubicBezTo>
                  <a:close/>
                  <a:moveTo>
                    <a:pt x="64" y="431"/>
                  </a:moveTo>
                  <a:cubicBezTo>
                    <a:pt x="66" y="431"/>
                    <a:pt x="67" y="432"/>
                    <a:pt x="66" y="432"/>
                  </a:cubicBezTo>
                  <a:cubicBezTo>
                    <a:pt x="64" y="431"/>
                    <a:pt x="64" y="432"/>
                    <a:pt x="66" y="432"/>
                  </a:cubicBezTo>
                  <a:cubicBezTo>
                    <a:pt x="67" y="434"/>
                    <a:pt x="64" y="434"/>
                    <a:pt x="67" y="434"/>
                  </a:cubicBezTo>
                  <a:cubicBezTo>
                    <a:pt x="70" y="434"/>
                    <a:pt x="67" y="434"/>
                    <a:pt x="70" y="434"/>
                  </a:cubicBezTo>
                  <a:cubicBezTo>
                    <a:pt x="72" y="432"/>
                    <a:pt x="70" y="428"/>
                    <a:pt x="72" y="426"/>
                  </a:cubicBezTo>
                  <a:cubicBezTo>
                    <a:pt x="73" y="425"/>
                    <a:pt x="73" y="421"/>
                    <a:pt x="72" y="423"/>
                  </a:cubicBezTo>
                  <a:cubicBezTo>
                    <a:pt x="70" y="425"/>
                    <a:pt x="69" y="423"/>
                    <a:pt x="69" y="425"/>
                  </a:cubicBezTo>
                  <a:cubicBezTo>
                    <a:pt x="70" y="426"/>
                    <a:pt x="70" y="428"/>
                    <a:pt x="67" y="428"/>
                  </a:cubicBezTo>
                  <a:cubicBezTo>
                    <a:pt x="66" y="429"/>
                    <a:pt x="64" y="428"/>
                    <a:pt x="66" y="428"/>
                  </a:cubicBezTo>
                  <a:cubicBezTo>
                    <a:pt x="69" y="426"/>
                    <a:pt x="70" y="426"/>
                    <a:pt x="69" y="423"/>
                  </a:cubicBezTo>
                  <a:cubicBezTo>
                    <a:pt x="67" y="421"/>
                    <a:pt x="67" y="423"/>
                    <a:pt x="66" y="423"/>
                  </a:cubicBezTo>
                  <a:cubicBezTo>
                    <a:pt x="64" y="421"/>
                    <a:pt x="64" y="423"/>
                    <a:pt x="64" y="421"/>
                  </a:cubicBezTo>
                  <a:cubicBezTo>
                    <a:pt x="63" y="421"/>
                    <a:pt x="61" y="421"/>
                    <a:pt x="61" y="423"/>
                  </a:cubicBezTo>
                  <a:cubicBezTo>
                    <a:pt x="63" y="425"/>
                    <a:pt x="61" y="425"/>
                    <a:pt x="63" y="428"/>
                  </a:cubicBezTo>
                  <a:cubicBezTo>
                    <a:pt x="64" y="429"/>
                    <a:pt x="61" y="428"/>
                    <a:pt x="63" y="431"/>
                  </a:cubicBezTo>
                  <a:cubicBezTo>
                    <a:pt x="64" y="431"/>
                    <a:pt x="63" y="431"/>
                    <a:pt x="64" y="431"/>
                  </a:cubicBezTo>
                  <a:close/>
                  <a:moveTo>
                    <a:pt x="69" y="435"/>
                  </a:moveTo>
                  <a:cubicBezTo>
                    <a:pt x="69" y="435"/>
                    <a:pt x="70" y="437"/>
                    <a:pt x="69" y="437"/>
                  </a:cubicBezTo>
                  <a:cubicBezTo>
                    <a:pt x="67" y="437"/>
                    <a:pt x="69" y="438"/>
                    <a:pt x="70" y="438"/>
                  </a:cubicBezTo>
                  <a:cubicBezTo>
                    <a:pt x="72" y="438"/>
                    <a:pt x="70" y="440"/>
                    <a:pt x="70" y="440"/>
                  </a:cubicBezTo>
                  <a:cubicBezTo>
                    <a:pt x="70" y="440"/>
                    <a:pt x="70" y="442"/>
                    <a:pt x="73" y="443"/>
                  </a:cubicBezTo>
                  <a:cubicBezTo>
                    <a:pt x="75" y="445"/>
                    <a:pt x="73" y="445"/>
                    <a:pt x="75" y="445"/>
                  </a:cubicBezTo>
                  <a:cubicBezTo>
                    <a:pt x="75" y="446"/>
                    <a:pt x="75" y="446"/>
                    <a:pt x="77" y="446"/>
                  </a:cubicBezTo>
                  <a:cubicBezTo>
                    <a:pt x="78" y="448"/>
                    <a:pt x="78" y="446"/>
                    <a:pt x="78" y="445"/>
                  </a:cubicBezTo>
                  <a:cubicBezTo>
                    <a:pt x="77" y="445"/>
                    <a:pt x="77" y="445"/>
                    <a:pt x="77" y="445"/>
                  </a:cubicBezTo>
                  <a:cubicBezTo>
                    <a:pt x="77" y="443"/>
                    <a:pt x="77" y="443"/>
                    <a:pt x="77" y="443"/>
                  </a:cubicBezTo>
                  <a:cubicBezTo>
                    <a:pt x="75" y="445"/>
                    <a:pt x="75" y="443"/>
                    <a:pt x="75" y="443"/>
                  </a:cubicBezTo>
                  <a:cubicBezTo>
                    <a:pt x="73" y="443"/>
                    <a:pt x="72" y="440"/>
                    <a:pt x="72" y="440"/>
                  </a:cubicBezTo>
                  <a:cubicBezTo>
                    <a:pt x="73" y="438"/>
                    <a:pt x="72" y="440"/>
                    <a:pt x="72" y="438"/>
                  </a:cubicBezTo>
                  <a:cubicBezTo>
                    <a:pt x="70" y="437"/>
                    <a:pt x="73" y="438"/>
                    <a:pt x="73" y="437"/>
                  </a:cubicBezTo>
                  <a:cubicBezTo>
                    <a:pt x="73" y="437"/>
                    <a:pt x="73" y="437"/>
                    <a:pt x="73" y="435"/>
                  </a:cubicBezTo>
                  <a:cubicBezTo>
                    <a:pt x="73" y="435"/>
                    <a:pt x="72" y="435"/>
                    <a:pt x="72" y="434"/>
                  </a:cubicBezTo>
                  <a:cubicBezTo>
                    <a:pt x="72" y="434"/>
                    <a:pt x="72" y="432"/>
                    <a:pt x="70" y="434"/>
                  </a:cubicBezTo>
                  <a:cubicBezTo>
                    <a:pt x="69" y="435"/>
                    <a:pt x="66" y="435"/>
                    <a:pt x="66" y="435"/>
                  </a:cubicBezTo>
                  <a:cubicBezTo>
                    <a:pt x="67" y="437"/>
                    <a:pt x="67" y="435"/>
                    <a:pt x="69" y="435"/>
                  </a:cubicBezTo>
                  <a:close/>
                  <a:moveTo>
                    <a:pt x="78" y="418"/>
                  </a:moveTo>
                  <a:cubicBezTo>
                    <a:pt x="78" y="417"/>
                    <a:pt x="80" y="415"/>
                    <a:pt x="81" y="417"/>
                  </a:cubicBezTo>
                  <a:cubicBezTo>
                    <a:pt x="81" y="417"/>
                    <a:pt x="80" y="420"/>
                    <a:pt x="78" y="418"/>
                  </a:cubicBezTo>
                  <a:close/>
                  <a:moveTo>
                    <a:pt x="112" y="474"/>
                  </a:moveTo>
                  <a:cubicBezTo>
                    <a:pt x="113" y="474"/>
                    <a:pt x="115" y="476"/>
                    <a:pt x="113" y="477"/>
                  </a:cubicBezTo>
                  <a:cubicBezTo>
                    <a:pt x="113" y="477"/>
                    <a:pt x="110" y="476"/>
                    <a:pt x="112" y="474"/>
                  </a:cubicBezTo>
                  <a:close/>
                  <a:moveTo>
                    <a:pt x="86" y="434"/>
                  </a:moveTo>
                  <a:cubicBezTo>
                    <a:pt x="87" y="435"/>
                    <a:pt x="89" y="434"/>
                    <a:pt x="87" y="432"/>
                  </a:cubicBezTo>
                  <a:cubicBezTo>
                    <a:pt x="87" y="431"/>
                    <a:pt x="86" y="431"/>
                    <a:pt x="84" y="429"/>
                  </a:cubicBezTo>
                  <a:cubicBezTo>
                    <a:pt x="81" y="428"/>
                    <a:pt x="83" y="429"/>
                    <a:pt x="83" y="431"/>
                  </a:cubicBezTo>
                  <a:cubicBezTo>
                    <a:pt x="84" y="432"/>
                    <a:pt x="86" y="432"/>
                    <a:pt x="86" y="434"/>
                  </a:cubicBezTo>
                  <a:close/>
                  <a:moveTo>
                    <a:pt x="90" y="434"/>
                  </a:moveTo>
                  <a:cubicBezTo>
                    <a:pt x="90" y="432"/>
                    <a:pt x="90" y="432"/>
                    <a:pt x="90" y="431"/>
                  </a:cubicBezTo>
                  <a:cubicBezTo>
                    <a:pt x="89" y="429"/>
                    <a:pt x="87" y="428"/>
                    <a:pt x="86" y="426"/>
                  </a:cubicBezTo>
                  <a:cubicBezTo>
                    <a:pt x="84" y="425"/>
                    <a:pt x="84" y="426"/>
                    <a:pt x="84" y="428"/>
                  </a:cubicBezTo>
                  <a:cubicBezTo>
                    <a:pt x="86" y="428"/>
                    <a:pt x="86" y="429"/>
                    <a:pt x="87" y="429"/>
                  </a:cubicBezTo>
                  <a:cubicBezTo>
                    <a:pt x="87" y="429"/>
                    <a:pt x="87" y="431"/>
                    <a:pt x="89" y="434"/>
                  </a:cubicBezTo>
                  <a:cubicBezTo>
                    <a:pt x="90" y="434"/>
                    <a:pt x="90" y="434"/>
                    <a:pt x="90" y="434"/>
                  </a:cubicBezTo>
                  <a:close/>
                  <a:moveTo>
                    <a:pt x="83" y="425"/>
                  </a:moveTo>
                  <a:cubicBezTo>
                    <a:pt x="83" y="426"/>
                    <a:pt x="83" y="426"/>
                    <a:pt x="84" y="426"/>
                  </a:cubicBezTo>
                  <a:cubicBezTo>
                    <a:pt x="86" y="425"/>
                    <a:pt x="84" y="423"/>
                    <a:pt x="83" y="423"/>
                  </a:cubicBezTo>
                  <a:cubicBezTo>
                    <a:pt x="81" y="423"/>
                    <a:pt x="81" y="425"/>
                    <a:pt x="81" y="426"/>
                  </a:cubicBezTo>
                  <a:cubicBezTo>
                    <a:pt x="81" y="428"/>
                    <a:pt x="81" y="425"/>
                    <a:pt x="83" y="425"/>
                  </a:cubicBezTo>
                  <a:close/>
                  <a:moveTo>
                    <a:pt x="95" y="437"/>
                  </a:moveTo>
                  <a:cubicBezTo>
                    <a:pt x="96" y="437"/>
                    <a:pt x="93" y="438"/>
                    <a:pt x="93" y="438"/>
                  </a:cubicBezTo>
                  <a:cubicBezTo>
                    <a:pt x="93" y="440"/>
                    <a:pt x="95" y="442"/>
                    <a:pt x="96" y="440"/>
                  </a:cubicBezTo>
                  <a:cubicBezTo>
                    <a:pt x="96" y="437"/>
                    <a:pt x="96" y="442"/>
                    <a:pt x="96" y="442"/>
                  </a:cubicBezTo>
                  <a:cubicBezTo>
                    <a:pt x="98" y="442"/>
                    <a:pt x="98" y="440"/>
                    <a:pt x="98" y="437"/>
                  </a:cubicBezTo>
                  <a:cubicBezTo>
                    <a:pt x="98" y="435"/>
                    <a:pt x="95" y="432"/>
                    <a:pt x="93" y="432"/>
                  </a:cubicBezTo>
                  <a:cubicBezTo>
                    <a:pt x="93" y="432"/>
                    <a:pt x="95" y="435"/>
                    <a:pt x="93" y="435"/>
                  </a:cubicBezTo>
                  <a:cubicBezTo>
                    <a:pt x="93" y="435"/>
                    <a:pt x="92" y="438"/>
                    <a:pt x="93" y="437"/>
                  </a:cubicBezTo>
                  <a:cubicBezTo>
                    <a:pt x="95" y="437"/>
                    <a:pt x="95" y="435"/>
                    <a:pt x="95" y="437"/>
                  </a:cubicBezTo>
                  <a:close/>
                  <a:moveTo>
                    <a:pt x="95" y="440"/>
                  </a:moveTo>
                  <a:cubicBezTo>
                    <a:pt x="93" y="440"/>
                    <a:pt x="92" y="438"/>
                    <a:pt x="92" y="440"/>
                  </a:cubicBezTo>
                  <a:cubicBezTo>
                    <a:pt x="92" y="440"/>
                    <a:pt x="93" y="442"/>
                    <a:pt x="95" y="443"/>
                  </a:cubicBezTo>
                  <a:cubicBezTo>
                    <a:pt x="95" y="445"/>
                    <a:pt x="95" y="442"/>
                    <a:pt x="95" y="440"/>
                  </a:cubicBezTo>
                  <a:close/>
                  <a:moveTo>
                    <a:pt x="98" y="445"/>
                  </a:moveTo>
                  <a:cubicBezTo>
                    <a:pt x="96" y="445"/>
                    <a:pt x="96" y="443"/>
                    <a:pt x="96" y="443"/>
                  </a:cubicBezTo>
                  <a:cubicBezTo>
                    <a:pt x="98" y="443"/>
                    <a:pt x="98" y="445"/>
                    <a:pt x="98" y="445"/>
                  </a:cubicBezTo>
                  <a:close/>
                  <a:moveTo>
                    <a:pt x="142" y="194"/>
                  </a:moveTo>
                  <a:cubicBezTo>
                    <a:pt x="143" y="196"/>
                    <a:pt x="148" y="193"/>
                    <a:pt x="151" y="190"/>
                  </a:cubicBezTo>
                  <a:cubicBezTo>
                    <a:pt x="156" y="188"/>
                    <a:pt x="154" y="191"/>
                    <a:pt x="160" y="190"/>
                  </a:cubicBezTo>
                  <a:cubicBezTo>
                    <a:pt x="166" y="187"/>
                    <a:pt x="160" y="179"/>
                    <a:pt x="168" y="177"/>
                  </a:cubicBezTo>
                  <a:cubicBezTo>
                    <a:pt x="174" y="177"/>
                    <a:pt x="169" y="173"/>
                    <a:pt x="177" y="170"/>
                  </a:cubicBezTo>
                  <a:cubicBezTo>
                    <a:pt x="186" y="166"/>
                    <a:pt x="191" y="162"/>
                    <a:pt x="197" y="162"/>
                  </a:cubicBezTo>
                  <a:cubicBezTo>
                    <a:pt x="207" y="159"/>
                    <a:pt x="203" y="156"/>
                    <a:pt x="200" y="156"/>
                  </a:cubicBezTo>
                  <a:cubicBezTo>
                    <a:pt x="195" y="154"/>
                    <a:pt x="192" y="146"/>
                    <a:pt x="182" y="146"/>
                  </a:cubicBezTo>
                  <a:cubicBezTo>
                    <a:pt x="172" y="146"/>
                    <a:pt x="177" y="149"/>
                    <a:pt x="174" y="151"/>
                  </a:cubicBezTo>
                  <a:cubicBezTo>
                    <a:pt x="172" y="151"/>
                    <a:pt x="174" y="149"/>
                    <a:pt x="172" y="148"/>
                  </a:cubicBezTo>
                  <a:cubicBezTo>
                    <a:pt x="171" y="146"/>
                    <a:pt x="171" y="148"/>
                    <a:pt x="166" y="146"/>
                  </a:cubicBezTo>
                  <a:cubicBezTo>
                    <a:pt x="157" y="145"/>
                    <a:pt x="159" y="140"/>
                    <a:pt x="150" y="143"/>
                  </a:cubicBezTo>
                  <a:cubicBezTo>
                    <a:pt x="142" y="145"/>
                    <a:pt x="127" y="145"/>
                    <a:pt x="130" y="146"/>
                  </a:cubicBezTo>
                  <a:cubicBezTo>
                    <a:pt x="131" y="148"/>
                    <a:pt x="130" y="151"/>
                    <a:pt x="134" y="152"/>
                  </a:cubicBezTo>
                  <a:cubicBezTo>
                    <a:pt x="139" y="154"/>
                    <a:pt x="134" y="156"/>
                    <a:pt x="134" y="157"/>
                  </a:cubicBezTo>
                  <a:cubicBezTo>
                    <a:pt x="134" y="160"/>
                    <a:pt x="131" y="157"/>
                    <a:pt x="131" y="160"/>
                  </a:cubicBezTo>
                  <a:cubicBezTo>
                    <a:pt x="131" y="163"/>
                    <a:pt x="127" y="165"/>
                    <a:pt x="128" y="165"/>
                  </a:cubicBezTo>
                  <a:cubicBezTo>
                    <a:pt x="131" y="166"/>
                    <a:pt x="133" y="168"/>
                    <a:pt x="128" y="168"/>
                  </a:cubicBezTo>
                  <a:cubicBezTo>
                    <a:pt x="125" y="168"/>
                    <a:pt x="125" y="168"/>
                    <a:pt x="127" y="171"/>
                  </a:cubicBezTo>
                  <a:cubicBezTo>
                    <a:pt x="127" y="173"/>
                    <a:pt x="121" y="176"/>
                    <a:pt x="121" y="179"/>
                  </a:cubicBezTo>
                  <a:cubicBezTo>
                    <a:pt x="121" y="180"/>
                    <a:pt x="119" y="180"/>
                    <a:pt x="121" y="182"/>
                  </a:cubicBezTo>
                  <a:cubicBezTo>
                    <a:pt x="122" y="182"/>
                    <a:pt x="124" y="182"/>
                    <a:pt x="133" y="185"/>
                  </a:cubicBezTo>
                  <a:cubicBezTo>
                    <a:pt x="139" y="188"/>
                    <a:pt x="139" y="193"/>
                    <a:pt x="142" y="194"/>
                  </a:cubicBezTo>
                  <a:close/>
                  <a:moveTo>
                    <a:pt x="274" y="221"/>
                  </a:moveTo>
                  <a:cubicBezTo>
                    <a:pt x="274" y="226"/>
                    <a:pt x="274" y="221"/>
                    <a:pt x="282" y="224"/>
                  </a:cubicBezTo>
                  <a:cubicBezTo>
                    <a:pt x="290" y="226"/>
                    <a:pt x="280" y="224"/>
                    <a:pt x="285" y="227"/>
                  </a:cubicBezTo>
                  <a:cubicBezTo>
                    <a:pt x="290" y="229"/>
                    <a:pt x="288" y="226"/>
                    <a:pt x="294" y="227"/>
                  </a:cubicBezTo>
                  <a:cubicBezTo>
                    <a:pt x="300" y="229"/>
                    <a:pt x="297" y="227"/>
                    <a:pt x="300" y="227"/>
                  </a:cubicBezTo>
                  <a:cubicBezTo>
                    <a:pt x="303" y="229"/>
                    <a:pt x="305" y="226"/>
                    <a:pt x="308" y="226"/>
                  </a:cubicBezTo>
                  <a:cubicBezTo>
                    <a:pt x="309" y="226"/>
                    <a:pt x="312" y="222"/>
                    <a:pt x="309" y="221"/>
                  </a:cubicBezTo>
                  <a:cubicBezTo>
                    <a:pt x="308" y="219"/>
                    <a:pt x="311" y="219"/>
                    <a:pt x="308" y="218"/>
                  </a:cubicBezTo>
                  <a:cubicBezTo>
                    <a:pt x="305" y="218"/>
                    <a:pt x="299" y="222"/>
                    <a:pt x="300" y="219"/>
                  </a:cubicBezTo>
                  <a:cubicBezTo>
                    <a:pt x="303" y="216"/>
                    <a:pt x="296" y="216"/>
                    <a:pt x="297" y="215"/>
                  </a:cubicBezTo>
                  <a:cubicBezTo>
                    <a:pt x="299" y="215"/>
                    <a:pt x="303" y="218"/>
                    <a:pt x="305" y="216"/>
                  </a:cubicBezTo>
                  <a:cubicBezTo>
                    <a:pt x="308" y="215"/>
                    <a:pt x="302" y="216"/>
                    <a:pt x="306" y="213"/>
                  </a:cubicBezTo>
                  <a:cubicBezTo>
                    <a:pt x="309" y="212"/>
                    <a:pt x="309" y="216"/>
                    <a:pt x="312" y="215"/>
                  </a:cubicBezTo>
                  <a:cubicBezTo>
                    <a:pt x="314" y="213"/>
                    <a:pt x="312" y="216"/>
                    <a:pt x="316" y="216"/>
                  </a:cubicBezTo>
                  <a:cubicBezTo>
                    <a:pt x="319" y="216"/>
                    <a:pt x="319" y="212"/>
                    <a:pt x="317" y="210"/>
                  </a:cubicBezTo>
                  <a:cubicBezTo>
                    <a:pt x="317" y="207"/>
                    <a:pt x="312" y="210"/>
                    <a:pt x="312" y="207"/>
                  </a:cubicBezTo>
                  <a:cubicBezTo>
                    <a:pt x="312" y="205"/>
                    <a:pt x="311" y="208"/>
                    <a:pt x="303" y="202"/>
                  </a:cubicBezTo>
                  <a:cubicBezTo>
                    <a:pt x="300" y="201"/>
                    <a:pt x="299" y="201"/>
                    <a:pt x="300" y="202"/>
                  </a:cubicBezTo>
                  <a:cubicBezTo>
                    <a:pt x="300" y="204"/>
                    <a:pt x="294" y="202"/>
                    <a:pt x="293" y="199"/>
                  </a:cubicBezTo>
                  <a:cubicBezTo>
                    <a:pt x="291" y="194"/>
                    <a:pt x="287" y="196"/>
                    <a:pt x="290" y="193"/>
                  </a:cubicBezTo>
                  <a:cubicBezTo>
                    <a:pt x="291" y="190"/>
                    <a:pt x="291" y="187"/>
                    <a:pt x="288" y="184"/>
                  </a:cubicBezTo>
                  <a:cubicBezTo>
                    <a:pt x="285" y="182"/>
                    <a:pt x="285" y="173"/>
                    <a:pt x="280" y="168"/>
                  </a:cubicBezTo>
                  <a:cubicBezTo>
                    <a:pt x="277" y="163"/>
                    <a:pt x="279" y="166"/>
                    <a:pt x="273" y="162"/>
                  </a:cubicBezTo>
                  <a:cubicBezTo>
                    <a:pt x="267" y="159"/>
                    <a:pt x="271" y="165"/>
                    <a:pt x="264" y="162"/>
                  </a:cubicBezTo>
                  <a:cubicBezTo>
                    <a:pt x="261" y="160"/>
                    <a:pt x="258" y="162"/>
                    <a:pt x="259" y="166"/>
                  </a:cubicBezTo>
                  <a:cubicBezTo>
                    <a:pt x="262" y="171"/>
                    <a:pt x="261" y="177"/>
                    <a:pt x="267" y="182"/>
                  </a:cubicBezTo>
                  <a:cubicBezTo>
                    <a:pt x="270" y="184"/>
                    <a:pt x="265" y="185"/>
                    <a:pt x="264" y="187"/>
                  </a:cubicBezTo>
                  <a:cubicBezTo>
                    <a:pt x="264" y="187"/>
                    <a:pt x="262" y="187"/>
                    <a:pt x="259" y="180"/>
                  </a:cubicBezTo>
                  <a:cubicBezTo>
                    <a:pt x="256" y="176"/>
                    <a:pt x="258" y="171"/>
                    <a:pt x="252" y="170"/>
                  </a:cubicBezTo>
                  <a:cubicBezTo>
                    <a:pt x="245" y="168"/>
                    <a:pt x="252" y="168"/>
                    <a:pt x="247" y="166"/>
                  </a:cubicBezTo>
                  <a:cubicBezTo>
                    <a:pt x="241" y="165"/>
                    <a:pt x="236" y="165"/>
                    <a:pt x="241" y="168"/>
                  </a:cubicBezTo>
                  <a:cubicBezTo>
                    <a:pt x="245" y="170"/>
                    <a:pt x="241" y="171"/>
                    <a:pt x="244" y="171"/>
                  </a:cubicBezTo>
                  <a:cubicBezTo>
                    <a:pt x="247" y="171"/>
                    <a:pt x="250" y="174"/>
                    <a:pt x="242" y="173"/>
                  </a:cubicBezTo>
                  <a:cubicBezTo>
                    <a:pt x="236" y="171"/>
                    <a:pt x="239" y="179"/>
                    <a:pt x="236" y="176"/>
                  </a:cubicBezTo>
                  <a:cubicBezTo>
                    <a:pt x="232" y="173"/>
                    <a:pt x="241" y="171"/>
                    <a:pt x="232" y="168"/>
                  </a:cubicBezTo>
                  <a:cubicBezTo>
                    <a:pt x="223" y="166"/>
                    <a:pt x="221" y="166"/>
                    <a:pt x="218" y="168"/>
                  </a:cubicBezTo>
                  <a:cubicBezTo>
                    <a:pt x="215" y="170"/>
                    <a:pt x="223" y="170"/>
                    <a:pt x="212" y="173"/>
                  </a:cubicBezTo>
                  <a:cubicBezTo>
                    <a:pt x="206" y="174"/>
                    <a:pt x="215" y="170"/>
                    <a:pt x="213" y="168"/>
                  </a:cubicBezTo>
                  <a:cubicBezTo>
                    <a:pt x="213" y="165"/>
                    <a:pt x="217" y="163"/>
                    <a:pt x="212" y="160"/>
                  </a:cubicBezTo>
                  <a:cubicBezTo>
                    <a:pt x="207" y="159"/>
                    <a:pt x="198" y="165"/>
                    <a:pt x="192" y="166"/>
                  </a:cubicBezTo>
                  <a:cubicBezTo>
                    <a:pt x="188" y="166"/>
                    <a:pt x="185" y="170"/>
                    <a:pt x="180" y="173"/>
                  </a:cubicBezTo>
                  <a:cubicBezTo>
                    <a:pt x="174" y="176"/>
                    <a:pt x="182" y="176"/>
                    <a:pt x="182" y="177"/>
                  </a:cubicBezTo>
                  <a:cubicBezTo>
                    <a:pt x="182" y="179"/>
                    <a:pt x="178" y="177"/>
                    <a:pt x="175" y="180"/>
                  </a:cubicBezTo>
                  <a:cubicBezTo>
                    <a:pt x="172" y="185"/>
                    <a:pt x="172" y="188"/>
                    <a:pt x="175" y="187"/>
                  </a:cubicBezTo>
                  <a:cubicBezTo>
                    <a:pt x="178" y="185"/>
                    <a:pt x="178" y="188"/>
                    <a:pt x="180" y="190"/>
                  </a:cubicBezTo>
                  <a:cubicBezTo>
                    <a:pt x="182" y="191"/>
                    <a:pt x="191" y="190"/>
                    <a:pt x="194" y="188"/>
                  </a:cubicBezTo>
                  <a:cubicBezTo>
                    <a:pt x="195" y="188"/>
                    <a:pt x="203" y="190"/>
                    <a:pt x="188" y="193"/>
                  </a:cubicBezTo>
                  <a:cubicBezTo>
                    <a:pt x="178" y="194"/>
                    <a:pt x="177" y="196"/>
                    <a:pt x="182" y="199"/>
                  </a:cubicBezTo>
                  <a:cubicBezTo>
                    <a:pt x="186" y="202"/>
                    <a:pt x="186" y="202"/>
                    <a:pt x="192" y="201"/>
                  </a:cubicBezTo>
                  <a:cubicBezTo>
                    <a:pt x="198" y="201"/>
                    <a:pt x="195" y="202"/>
                    <a:pt x="203" y="202"/>
                  </a:cubicBezTo>
                  <a:cubicBezTo>
                    <a:pt x="210" y="202"/>
                    <a:pt x="212" y="199"/>
                    <a:pt x="218" y="202"/>
                  </a:cubicBezTo>
                  <a:cubicBezTo>
                    <a:pt x="226" y="204"/>
                    <a:pt x="224" y="201"/>
                    <a:pt x="227" y="204"/>
                  </a:cubicBezTo>
                  <a:cubicBezTo>
                    <a:pt x="230" y="205"/>
                    <a:pt x="236" y="207"/>
                    <a:pt x="232" y="207"/>
                  </a:cubicBezTo>
                  <a:cubicBezTo>
                    <a:pt x="226" y="207"/>
                    <a:pt x="230" y="208"/>
                    <a:pt x="221" y="207"/>
                  </a:cubicBezTo>
                  <a:cubicBezTo>
                    <a:pt x="213" y="205"/>
                    <a:pt x="200" y="207"/>
                    <a:pt x="191" y="208"/>
                  </a:cubicBezTo>
                  <a:cubicBezTo>
                    <a:pt x="183" y="210"/>
                    <a:pt x="189" y="215"/>
                    <a:pt x="194" y="218"/>
                  </a:cubicBezTo>
                  <a:cubicBezTo>
                    <a:pt x="197" y="222"/>
                    <a:pt x="212" y="221"/>
                    <a:pt x="215" y="221"/>
                  </a:cubicBezTo>
                  <a:cubicBezTo>
                    <a:pt x="220" y="221"/>
                    <a:pt x="215" y="227"/>
                    <a:pt x="218" y="229"/>
                  </a:cubicBezTo>
                  <a:cubicBezTo>
                    <a:pt x="220" y="232"/>
                    <a:pt x="220" y="233"/>
                    <a:pt x="224" y="232"/>
                  </a:cubicBezTo>
                  <a:cubicBezTo>
                    <a:pt x="232" y="232"/>
                    <a:pt x="235" y="233"/>
                    <a:pt x="236" y="232"/>
                  </a:cubicBezTo>
                  <a:cubicBezTo>
                    <a:pt x="239" y="230"/>
                    <a:pt x="252" y="230"/>
                    <a:pt x="256" y="227"/>
                  </a:cubicBezTo>
                  <a:cubicBezTo>
                    <a:pt x="261" y="224"/>
                    <a:pt x="262" y="227"/>
                    <a:pt x="267" y="224"/>
                  </a:cubicBezTo>
                  <a:cubicBezTo>
                    <a:pt x="271" y="221"/>
                    <a:pt x="267" y="221"/>
                    <a:pt x="271" y="219"/>
                  </a:cubicBezTo>
                  <a:cubicBezTo>
                    <a:pt x="273" y="218"/>
                    <a:pt x="274" y="218"/>
                    <a:pt x="274" y="221"/>
                  </a:cubicBezTo>
                  <a:close/>
                  <a:moveTo>
                    <a:pt x="284" y="168"/>
                  </a:moveTo>
                  <a:cubicBezTo>
                    <a:pt x="284" y="166"/>
                    <a:pt x="285" y="166"/>
                    <a:pt x="287" y="163"/>
                  </a:cubicBezTo>
                  <a:cubicBezTo>
                    <a:pt x="288" y="160"/>
                    <a:pt x="291" y="157"/>
                    <a:pt x="288" y="157"/>
                  </a:cubicBezTo>
                  <a:cubicBezTo>
                    <a:pt x="285" y="156"/>
                    <a:pt x="287" y="154"/>
                    <a:pt x="279" y="154"/>
                  </a:cubicBezTo>
                  <a:cubicBezTo>
                    <a:pt x="270" y="156"/>
                    <a:pt x="267" y="159"/>
                    <a:pt x="271" y="159"/>
                  </a:cubicBezTo>
                  <a:cubicBezTo>
                    <a:pt x="276" y="160"/>
                    <a:pt x="276" y="162"/>
                    <a:pt x="276" y="162"/>
                  </a:cubicBezTo>
                  <a:cubicBezTo>
                    <a:pt x="276" y="163"/>
                    <a:pt x="279" y="165"/>
                    <a:pt x="282" y="168"/>
                  </a:cubicBezTo>
                  <a:cubicBezTo>
                    <a:pt x="284" y="168"/>
                    <a:pt x="284" y="168"/>
                    <a:pt x="284" y="168"/>
                  </a:cubicBezTo>
                  <a:close/>
                  <a:moveTo>
                    <a:pt x="474" y="213"/>
                  </a:moveTo>
                  <a:cubicBezTo>
                    <a:pt x="480" y="218"/>
                    <a:pt x="480" y="216"/>
                    <a:pt x="475" y="212"/>
                  </a:cubicBezTo>
                  <a:cubicBezTo>
                    <a:pt x="471" y="207"/>
                    <a:pt x="483" y="212"/>
                    <a:pt x="491" y="212"/>
                  </a:cubicBezTo>
                  <a:cubicBezTo>
                    <a:pt x="498" y="213"/>
                    <a:pt x="491" y="202"/>
                    <a:pt x="495" y="205"/>
                  </a:cubicBezTo>
                  <a:cubicBezTo>
                    <a:pt x="498" y="210"/>
                    <a:pt x="501" y="204"/>
                    <a:pt x="503" y="210"/>
                  </a:cubicBezTo>
                  <a:cubicBezTo>
                    <a:pt x="503" y="216"/>
                    <a:pt x="504" y="215"/>
                    <a:pt x="513" y="218"/>
                  </a:cubicBezTo>
                  <a:cubicBezTo>
                    <a:pt x="521" y="221"/>
                    <a:pt x="518" y="224"/>
                    <a:pt x="513" y="224"/>
                  </a:cubicBezTo>
                  <a:cubicBezTo>
                    <a:pt x="509" y="224"/>
                    <a:pt x="507" y="230"/>
                    <a:pt x="513" y="229"/>
                  </a:cubicBezTo>
                  <a:cubicBezTo>
                    <a:pt x="521" y="227"/>
                    <a:pt x="530" y="230"/>
                    <a:pt x="532" y="233"/>
                  </a:cubicBezTo>
                  <a:cubicBezTo>
                    <a:pt x="533" y="236"/>
                    <a:pt x="539" y="235"/>
                    <a:pt x="541" y="241"/>
                  </a:cubicBezTo>
                  <a:cubicBezTo>
                    <a:pt x="541" y="247"/>
                    <a:pt x="547" y="250"/>
                    <a:pt x="542" y="252"/>
                  </a:cubicBezTo>
                  <a:cubicBezTo>
                    <a:pt x="539" y="255"/>
                    <a:pt x="538" y="258"/>
                    <a:pt x="530" y="263"/>
                  </a:cubicBezTo>
                  <a:cubicBezTo>
                    <a:pt x="524" y="268"/>
                    <a:pt x="539" y="277"/>
                    <a:pt x="533" y="274"/>
                  </a:cubicBezTo>
                  <a:cubicBezTo>
                    <a:pt x="526" y="272"/>
                    <a:pt x="527" y="280"/>
                    <a:pt x="512" y="277"/>
                  </a:cubicBezTo>
                  <a:cubicBezTo>
                    <a:pt x="497" y="272"/>
                    <a:pt x="509" y="277"/>
                    <a:pt x="501" y="281"/>
                  </a:cubicBezTo>
                  <a:cubicBezTo>
                    <a:pt x="494" y="285"/>
                    <a:pt x="503" y="295"/>
                    <a:pt x="513" y="289"/>
                  </a:cubicBezTo>
                  <a:cubicBezTo>
                    <a:pt x="524" y="285"/>
                    <a:pt x="523" y="294"/>
                    <a:pt x="527" y="289"/>
                  </a:cubicBezTo>
                  <a:cubicBezTo>
                    <a:pt x="532" y="285"/>
                    <a:pt x="530" y="294"/>
                    <a:pt x="532" y="291"/>
                  </a:cubicBezTo>
                  <a:cubicBezTo>
                    <a:pt x="533" y="288"/>
                    <a:pt x="532" y="285"/>
                    <a:pt x="541" y="294"/>
                  </a:cubicBezTo>
                  <a:cubicBezTo>
                    <a:pt x="548" y="305"/>
                    <a:pt x="545" y="295"/>
                    <a:pt x="551" y="300"/>
                  </a:cubicBezTo>
                  <a:cubicBezTo>
                    <a:pt x="556" y="305"/>
                    <a:pt x="541" y="299"/>
                    <a:pt x="550" y="306"/>
                  </a:cubicBezTo>
                  <a:cubicBezTo>
                    <a:pt x="555" y="313"/>
                    <a:pt x="564" y="309"/>
                    <a:pt x="567" y="314"/>
                  </a:cubicBezTo>
                  <a:cubicBezTo>
                    <a:pt x="571" y="319"/>
                    <a:pt x="582" y="320"/>
                    <a:pt x="590" y="323"/>
                  </a:cubicBezTo>
                  <a:cubicBezTo>
                    <a:pt x="597" y="327"/>
                    <a:pt x="596" y="319"/>
                    <a:pt x="590" y="314"/>
                  </a:cubicBezTo>
                  <a:cubicBezTo>
                    <a:pt x="583" y="308"/>
                    <a:pt x="570" y="302"/>
                    <a:pt x="571" y="299"/>
                  </a:cubicBezTo>
                  <a:cubicBezTo>
                    <a:pt x="573" y="295"/>
                    <a:pt x="580" y="306"/>
                    <a:pt x="580" y="302"/>
                  </a:cubicBezTo>
                  <a:cubicBezTo>
                    <a:pt x="582" y="299"/>
                    <a:pt x="586" y="308"/>
                    <a:pt x="594" y="309"/>
                  </a:cubicBezTo>
                  <a:cubicBezTo>
                    <a:pt x="600" y="309"/>
                    <a:pt x="603" y="322"/>
                    <a:pt x="603" y="314"/>
                  </a:cubicBezTo>
                  <a:cubicBezTo>
                    <a:pt x="602" y="306"/>
                    <a:pt x="605" y="316"/>
                    <a:pt x="603" y="306"/>
                  </a:cubicBezTo>
                  <a:cubicBezTo>
                    <a:pt x="603" y="299"/>
                    <a:pt x="605" y="311"/>
                    <a:pt x="606" y="303"/>
                  </a:cubicBezTo>
                  <a:cubicBezTo>
                    <a:pt x="608" y="295"/>
                    <a:pt x="600" y="300"/>
                    <a:pt x="603" y="295"/>
                  </a:cubicBezTo>
                  <a:cubicBezTo>
                    <a:pt x="606" y="292"/>
                    <a:pt x="597" y="295"/>
                    <a:pt x="600" y="291"/>
                  </a:cubicBezTo>
                  <a:cubicBezTo>
                    <a:pt x="603" y="288"/>
                    <a:pt x="602" y="286"/>
                    <a:pt x="593" y="283"/>
                  </a:cubicBezTo>
                  <a:cubicBezTo>
                    <a:pt x="585" y="280"/>
                    <a:pt x="588" y="271"/>
                    <a:pt x="583" y="272"/>
                  </a:cubicBezTo>
                  <a:cubicBezTo>
                    <a:pt x="577" y="274"/>
                    <a:pt x="576" y="269"/>
                    <a:pt x="582" y="269"/>
                  </a:cubicBezTo>
                  <a:cubicBezTo>
                    <a:pt x="588" y="268"/>
                    <a:pt x="577" y="261"/>
                    <a:pt x="582" y="263"/>
                  </a:cubicBezTo>
                  <a:cubicBezTo>
                    <a:pt x="588" y="264"/>
                    <a:pt x="585" y="257"/>
                    <a:pt x="590" y="263"/>
                  </a:cubicBezTo>
                  <a:cubicBezTo>
                    <a:pt x="593" y="268"/>
                    <a:pt x="594" y="263"/>
                    <a:pt x="596" y="268"/>
                  </a:cubicBezTo>
                  <a:cubicBezTo>
                    <a:pt x="596" y="271"/>
                    <a:pt x="599" y="268"/>
                    <a:pt x="599" y="272"/>
                  </a:cubicBezTo>
                  <a:cubicBezTo>
                    <a:pt x="599" y="275"/>
                    <a:pt x="618" y="289"/>
                    <a:pt x="615" y="278"/>
                  </a:cubicBezTo>
                  <a:cubicBezTo>
                    <a:pt x="614" y="268"/>
                    <a:pt x="626" y="275"/>
                    <a:pt x="625" y="271"/>
                  </a:cubicBezTo>
                  <a:cubicBezTo>
                    <a:pt x="622" y="266"/>
                    <a:pt x="628" y="269"/>
                    <a:pt x="625" y="266"/>
                  </a:cubicBezTo>
                  <a:cubicBezTo>
                    <a:pt x="623" y="263"/>
                    <a:pt x="634" y="264"/>
                    <a:pt x="629" y="257"/>
                  </a:cubicBezTo>
                  <a:cubicBezTo>
                    <a:pt x="625" y="247"/>
                    <a:pt x="615" y="260"/>
                    <a:pt x="618" y="252"/>
                  </a:cubicBezTo>
                  <a:cubicBezTo>
                    <a:pt x="620" y="244"/>
                    <a:pt x="609" y="254"/>
                    <a:pt x="612" y="249"/>
                  </a:cubicBezTo>
                  <a:cubicBezTo>
                    <a:pt x="614" y="244"/>
                    <a:pt x="611" y="246"/>
                    <a:pt x="605" y="241"/>
                  </a:cubicBezTo>
                  <a:cubicBezTo>
                    <a:pt x="599" y="236"/>
                    <a:pt x="590" y="241"/>
                    <a:pt x="588" y="235"/>
                  </a:cubicBezTo>
                  <a:cubicBezTo>
                    <a:pt x="588" y="229"/>
                    <a:pt x="571" y="235"/>
                    <a:pt x="579" y="230"/>
                  </a:cubicBezTo>
                  <a:cubicBezTo>
                    <a:pt x="586" y="226"/>
                    <a:pt x="573" y="221"/>
                    <a:pt x="580" y="222"/>
                  </a:cubicBezTo>
                  <a:cubicBezTo>
                    <a:pt x="588" y="224"/>
                    <a:pt x="594" y="219"/>
                    <a:pt x="582" y="218"/>
                  </a:cubicBezTo>
                  <a:cubicBezTo>
                    <a:pt x="568" y="216"/>
                    <a:pt x="580" y="216"/>
                    <a:pt x="585" y="213"/>
                  </a:cubicBezTo>
                  <a:cubicBezTo>
                    <a:pt x="590" y="210"/>
                    <a:pt x="579" y="205"/>
                    <a:pt x="576" y="207"/>
                  </a:cubicBezTo>
                  <a:cubicBezTo>
                    <a:pt x="574" y="208"/>
                    <a:pt x="564" y="208"/>
                    <a:pt x="571" y="205"/>
                  </a:cubicBezTo>
                  <a:cubicBezTo>
                    <a:pt x="579" y="204"/>
                    <a:pt x="579" y="204"/>
                    <a:pt x="570" y="199"/>
                  </a:cubicBezTo>
                  <a:cubicBezTo>
                    <a:pt x="559" y="194"/>
                    <a:pt x="558" y="204"/>
                    <a:pt x="558" y="198"/>
                  </a:cubicBezTo>
                  <a:cubicBezTo>
                    <a:pt x="559" y="190"/>
                    <a:pt x="553" y="196"/>
                    <a:pt x="553" y="193"/>
                  </a:cubicBezTo>
                  <a:cubicBezTo>
                    <a:pt x="553" y="188"/>
                    <a:pt x="545" y="184"/>
                    <a:pt x="541" y="190"/>
                  </a:cubicBezTo>
                  <a:cubicBezTo>
                    <a:pt x="535" y="194"/>
                    <a:pt x="535" y="188"/>
                    <a:pt x="532" y="182"/>
                  </a:cubicBezTo>
                  <a:cubicBezTo>
                    <a:pt x="529" y="176"/>
                    <a:pt x="527" y="184"/>
                    <a:pt x="524" y="177"/>
                  </a:cubicBezTo>
                  <a:cubicBezTo>
                    <a:pt x="519" y="171"/>
                    <a:pt x="513" y="174"/>
                    <a:pt x="510" y="171"/>
                  </a:cubicBezTo>
                  <a:cubicBezTo>
                    <a:pt x="507" y="170"/>
                    <a:pt x="498" y="166"/>
                    <a:pt x="495" y="174"/>
                  </a:cubicBezTo>
                  <a:cubicBezTo>
                    <a:pt x="492" y="182"/>
                    <a:pt x="488" y="170"/>
                    <a:pt x="483" y="174"/>
                  </a:cubicBezTo>
                  <a:cubicBezTo>
                    <a:pt x="478" y="180"/>
                    <a:pt x="474" y="180"/>
                    <a:pt x="477" y="177"/>
                  </a:cubicBezTo>
                  <a:cubicBezTo>
                    <a:pt x="481" y="173"/>
                    <a:pt x="480" y="165"/>
                    <a:pt x="475" y="163"/>
                  </a:cubicBezTo>
                  <a:cubicBezTo>
                    <a:pt x="471" y="162"/>
                    <a:pt x="475" y="156"/>
                    <a:pt x="471" y="156"/>
                  </a:cubicBezTo>
                  <a:cubicBezTo>
                    <a:pt x="465" y="154"/>
                    <a:pt x="443" y="157"/>
                    <a:pt x="442" y="163"/>
                  </a:cubicBezTo>
                  <a:cubicBezTo>
                    <a:pt x="442" y="171"/>
                    <a:pt x="433" y="162"/>
                    <a:pt x="439" y="173"/>
                  </a:cubicBezTo>
                  <a:cubicBezTo>
                    <a:pt x="445" y="184"/>
                    <a:pt x="433" y="176"/>
                    <a:pt x="437" y="182"/>
                  </a:cubicBezTo>
                  <a:cubicBezTo>
                    <a:pt x="443" y="190"/>
                    <a:pt x="446" y="182"/>
                    <a:pt x="446" y="188"/>
                  </a:cubicBezTo>
                  <a:cubicBezTo>
                    <a:pt x="448" y="193"/>
                    <a:pt x="428" y="185"/>
                    <a:pt x="433" y="177"/>
                  </a:cubicBezTo>
                  <a:cubicBezTo>
                    <a:pt x="437" y="170"/>
                    <a:pt x="427" y="174"/>
                    <a:pt x="434" y="165"/>
                  </a:cubicBezTo>
                  <a:cubicBezTo>
                    <a:pt x="442" y="156"/>
                    <a:pt x="445" y="157"/>
                    <a:pt x="445" y="154"/>
                  </a:cubicBezTo>
                  <a:cubicBezTo>
                    <a:pt x="445" y="152"/>
                    <a:pt x="428" y="151"/>
                    <a:pt x="418" y="159"/>
                  </a:cubicBezTo>
                  <a:cubicBezTo>
                    <a:pt x="405" y="165"/>
                    <a:pt x="411" y="166"/>
                    <a:pt x="408" y="170"/>
                  </a:cubicBezTo>
                  <a:cubicBezTo>
                    <a:pt x="404" y="173"/>
                    <a:pt x="405" y="176"/>
                    <a:pt x="404" y="184"/>
                  </a:cubicBezTo>
                  <a:cubicBezTo>
                    <a:pt x="402" y="191"/>
                    <a:pt x="404" y="191"/>
                    <a:pt x="414" y="193"/>
                  </a:cubicBezTo>
                  <a:cubicBezTo>
                    <a:pt x="425" y="193"/>
                    <a:pt x="428" y="198"/>
                    <a:pt x="419" y="196"/>
                  </a:cubicBezTo>
                  <a:cubicBezTo>
                    <a:pt x="410" y="196"/>
                    <a:pt x="405" y="196"/>
                    <a:pt x="414" y="204"/>
                  </a:cubicBezTo>
                  <a:cubicBezTo>
                    <a:pt x="422" y="212"/>
                    <a:pt x="428" y="204"/>
                    <a:pt x="433" y="208"/>
                  </a:cubicBezTo>
                  <a:cubicBezTo>
                    <a:pt x="439" y="213"/>
                    <a:pt x="445" y="210"/>
                    <a:pt x="446" y="210"/>
                  </a:cubicBezTo>
                  <a:cubicBezTo>
                    <a:pt x="456" y="213"/>
                    <a:pt x="454" y="208"/>
                    <a:pt x="463" y="213"/>
                  </a:cubicBezTo>
                  <a:cubicBezTo>
                    <a:pt x="471" y="215"/>
                    <a:pt x="468" y="207"/>
                    <a:pt x="474" y="213"/>
                  </a:cubicBezTo>
                  <a:close/>
                  <a:moveTo>
                    <a:pt x="515" y="250"/>
                  </a:moveTo>
                  <a:cubicBezTo>
                    <a:pt x="527" y="249"/>
                    <a:pt x="521" y="244"/>
                    <a:pt x="523" y="238"/>
                  </a:cubicBezTo>
                  <a:cubicBezTo>
                    <a:pt x="524" y="233"/>
                    <a:pt x="510" y="232"/>
                    <a:pt x="507" y="240"/>
                  </a:cubicBezTo>
                  <a:cubicBezTo>
                    <a:pt x="504" y="246"/>
                    <a:pt x="503" y="250"/>
                    <a:pt x="515" y="250"/>
                  </a:cubicBezTo>
                  <a:close/>
                  <a:moveTo>
                    <a:pt x="439" y="302"/>
                  </a:moveTo>
                  <a:cubicBezTo>
                    <a:pt x="439" y="308"/>
                    <a:pt x="445" y="309"/>
                    <a:pt x="448" y="303"/>
                  </a:cubicBezTo>
                  <a:cubicBezTo>
                    <a:pt x="449" y="299"/>
                    <a:pt x="453" y="303"/>
                    <a:pt x="454" y="297"/>
                  </a:cubicBezTo>
                  <a:cubicBezTo>
                    <a:pt x="456" y="292"/>
                    <a:pt x="463" y="294"/>
                    <a:pt x="463" y="297"/>
                  </a:cubicBezTo>
                  <a:cubicBezTo>
                    <a:pt x="465" y="302"/>
                    <a:pt x="466" y="299"/>
                    <a:pt x="472" y="300"/>
                  </a:cubicBezTo>
                  <a:cubicBezTo>
                    <a:pt x="477" y="303"/>
                    <a:pt x="483" y="300"/>
                    <a:pt x="480" y="295"/>
                  </a:cubicBezTo>
                  <a:cubicBezTo>
                    <a:pt x="475" y="291"/>
                    <a:pt x="477" y="295"/>
                    <a:pt x="472" y="294"/>
                  </a:cubicBezTo>
                  <a:cubicBezTo>
                    <a:pt x="468" y="292"/>
                    <a:pt x="471" y="286"/>
                    <a:pt x="463" y="285"/>
                  </a:cubicBezTo>
                  <a:cubicBezTo>
                    <a:pt x="456" y="281"/>
                    <a:pt x="451" y="272"/>
                    <a:pt x="446" y="277"/>
                  </a:cubicBezTo>
                  <a:cubicBezTo>
                    <a:pt x="443" y="280"/>
                    <a:pt x="442" y="268"/>
                    <a:pt x="437" y="269"/>
                  </a:cubicBezTo>
                  <a:cubicBezTo>
                    <a:pt x="434" y="271"/>
                    <a:pt x="431" y="283"/>
                    <a:pt x="433" y="291"/>
                  </a:cubicBezTo>
                  <a:cubicBezTo>
                    <a:pt x="434" y="297"/>
                    <a:pt x="424" y="295"/>
                    <a:pt x="427" y="300"/>
                  </a:cubicBezTo>
                  <a:cubicBezTo>
                    <a:pt x="428" y="303"/>
                    <a:pt x="440" y="297"/>
                    <a:pt x="439" y="302"/>
                  </a:cubicBezTo>
                  <a:close/>
                  <a:moveTo>
                    <a:pt x="453" y="319"/>
                  </a:moveTo>
                  <a:cubicBezTo>
                    <a:pt x="448" y="314"/>
                    <a:pt x="463" y="306"/>
                    <a:pt x="468" y="309"/>
                  </a:cubicBezTo>
                  <a:cubicBezTo>
                    <a:pt x="472" y="311"/>
                    <a:pt x="457" y="323"/>
                    <a:pt x="453" y="319"/>
                  </a:cubicBezTo>
                  <a:close/>
                  <a:moveTo>
                    <a:pt x="480" y="162"/>
                  </a:moveTo>
                  <a:cubicBezTo>
                    <a:pt x="483" y="163"/>
                    <a:pt x="478" y="166"/>
                    <a:pt x="486" y="170"/>
                  </a:cubicBezTo>
                  <a:cubicBezTo>
                    <a:pt x="492" y="171"/>
                    <a:pt x="492" y="166"/>
                    <a:pt x="500" y="168"/>
                  </a:cubicBezTo>
                  <a:cubicBezTo>
                    <a:pt x="507" y="170"/>
                    <a:pt x="516" y="170"/>
                    <a:pt x="513" y="166"/>
                  </a:cubicBezTo>
                  <a:cubicBezTo>
                    <a:pt x="509" y="162"/>
                    <a:pt x="506" y="156"/>
                    <a:pt x="495" y="156"/>
                  </a:cubicBezTo>
                  <a:cubicBezTo>
                    <a:pt x="484" y="157"/>
                    <a:pt x="477" y="151"/>
                    <a:pt x="477" y="157"/>
                  </a:cubicBezTo>
                  <a:cubicBezTo>
                    <a:pt x="477" y="160"/>
                    <a:pt x="475" y="160"/>
                    <a:pt x="480" y="162"/>
                  </a:cubicBezTo>
                  <a:close/>
                  <a:moveTo>
                    <a:pt x="352" y="109"/>
                  </a:moveTo>
                  <a:cubicBezTo>
                    <a:pt x="357" y="114"/>
                    <a:pt x="360" y="112"/>
                    <a:pt x="361" y="115"/>
                  </a:cubicBezTo>
                  <a:cubicBezTo>
                    <a:pt x="361" y="118"/>
                    <a:pt x="369" y="117"/>
                    <a:pt x="375" y="115"/>
                  </a:cubicBezTo>
                  <a:cubicBezTo>
                    <a:pt x="383" y="114"/>
                    <a:pt x="381" y="118"/>
                    <a:pt x="387" y="121"/>
                  </a:cubicBezTo>
                  <a:cubicBezTo>
                    <a:pt x="392" y="125"/>
                    <a:pt x="381" y="129"/>
                    <a:pt x="386" y="132"/>
                  </a:cubicBezTo>
                  <a:cubicBezTo>
                    <a:pt x="390" y="134"/>
                    <a:pt x="386" y="137"/>
                    <a:pt x="390" y="140"/>
                  </a:cubicBezTo>
                  <a:cubicBezTo>
                    <a:pt x="396" y="143"/>
                    <a:pt x="393" y="138"/>
                    <a:pt x="402" y="142"/>
                  </a:cubicBezTo>
                  <a:cubicBezTo>
                    <a:pt x="411" y="146"/>
                    <a:pt x="416" y="135"/>
                    <a:pt x="416" y="140"/>
                  </a:cubicBezTo>
                  <a:cubicBezTo>
                    <a:pt x="414" y="146"/>
                    <a:pt x="421" y="143"/>
                    <a:pt x="440" y="143"/>
                  </a:cubicBezTo>
                  <a:cubicBezTo>
                    <a:pt x="462" y="145"/>
                    <a:pt x="457" y="135"/>
                    <a:pt x="459" y="140"/>
                  </a:cubicBezTo>
                  <a:cubicBezTo>
                    <a:pt x="460" y="145"/>
                    <a:pt x="483" y="145"/>
                    <a:pt x="483" y="140"/>
                  </a:cubicBezTo>
                  <a:cubicBezTo>
                    <a:pt x="483" y="135"/>
                    <a:pt x="492" y="138"/>
                    <a:pt x="486" y="135"/>
                  </a:cubicBezTo>
                  <a:cubicBezTo>
                    <a:pt x="481" y="132"/>
                    <a:pt x="489" y="132"/>
                    <a:pt x="486" y="128"/>
                  </a:cubicBezTo>
                  <a:cubicBezTo>
                    <a:pt x="483" y="123"/>
                    <a:pt x="477" y="126"/>
                    <a:pt x="475" y="123"/>
                  </a:cubicBezTo>
                  <a:cubicBezTo>
                    <a:pt x="472" y="120"/>
                    <a:pt x="463" y="123"/>
                    <a:pt x="448" y="125"/>
                  </a:cubicBezTo>
                  <a:cubicBezTo>
                    <a:pt x="431" y="126"/>
                    <a:pt x="439" y="131"/>
                    <a:pt x="430" y="128"/>
                  </a:cubicBezTo>
                  <a:cubicBezTo>
                    <a:pt x="422" y="125"/>
                    <a:pt x="422" y="131"/>
                    <a:pt x="416" y="126"/>
                  </a:cubicBezTo>
                  <a:cubicBezTo>
                    <a:pt x="411" y="121"/>
                    <a:pt x="414" y="129"/>
                    <a:pt x="411" y="128"/>
                  </a:cubicBezTo>
                  <a:cubicBezTo>
                    <a:pt x="407" y="126"/>
                    <a:pt x="411" y="125"/>
                    <a:pt x="407" y="121"/>
                  </a:cubicBezTo>
                  <a:cubicBezTo>
                    <a:pt x="404" y="117"/>
                    <a:pt x="401" y="121"/>
                    <a:pt x="401" y="118"/>
                  </a:cubicBezTo>
                  <a:cubicBezTo>
                    <a:pt x="399" y="115"/>
                    <a:pt x="411" y="120"/>
                    <a:pt x="410" y="117"/>
                  </a:cubicBezTo>
                  <a:cubicBezTo>
                    <a:pt x="410" y="114"/>
                    <a:pt x="404" y="115"/>
                    <a:pt x="399" y="112"/>
                  </a:cubicBezTo>
                  <a:cubicBezTo>
                    <a:pt x="393" y="109"/>
                    <a:pt x="392" y="109"/>
                    <a:pt x="384" y="111"/>
                  </a:cubicBezTo>
                  <a:cubicBezTo>
                    <a:pt x="378" y="112"/>
                    <a:pt x="376" y="104"/>
                    <a:pt x="372" y="104"/>
                  </a:cubicBezTo>
                  <a:cubicBezTo>
                    <a:pt x="369" y="106"/>
                    <a:pt x="360" y="103"/>
                    <a:pt x="351" y="103"/>
                  </a:cubicBezTo>
                  <a:cubicBezTo>
                    <a:pt x="347" y="103"/>
                    <a:pt x="347" y="106"/>
                    <a:pt x="352" y="109"/>
                  </a:cubicBezTo>
                  <a:close/>
                  <a:moveTo>
                    <a:pt x="357" y="137"/>
                  </a:moveTo>
                  <a:cubicBezTo>
                    <a:pt x="364" y="138"/>
                    <a:pt x="361" y="142"/>
                    <a:pt x="372" y="142"/>
                  </a:cubicBezTo>
                  <a:cubicBezTo>
                    <a:pt x="381" y="142"/>
                    <a:pt x="378" y="134"/>
                    <a:pt x="373" y="129"/>
                  </a:cubicBezTo>
                  <a:cubicBezTo>
                    <a:pt x="367" y="123"/>
                    <a:pt x="360" y="125"/>
                    <a:pt x="355" y="131"/>
                  </a:cubicBezTo>
                  <a:cubicBezTo>
                    <a:pt x="354" y="134"/>
                    <a:pt x="351" y="137"/>
                    <a:pt x="357" y="137"/>
                  </a:cubicBezTo>
                  <a:close/>
                  <a:moveTo>
                    <a:pt x="373" y="177"/>
                  </a:moveTo>
                  <a:cubicBezTo>
                    <a:pt x="373" y="174"/>
                    <a:pt x="378" y="176"/>
                    <a:pt x="375" y="171"/>
                  </a:cubicBezTo>
                  <a:cubicBezTo>
                    <a:pt x="372" y="165"/>
                    <a:pt x="387" y="174"/>
                    <a:pt x="390" y="166"/>
                  </a:cubicBezTo>
                  <a:cubicBezTo>
                    <a:pt x="395" y="159"/>
                    <a:pt x="407" y="154"/>
                    <a:pt x="398" y="151"/>
                  </a:cubicBezTo>
                  <a:cubicBezTo>
                    <a:pt x="390" y="148"/>
                    <a:pt x="390" y="152"/>
                    <a:pt x="386" y="151"/>
                  </a:cubicBezTo>
                  <a:cubicBezTo>
                    <a:pt x="381" y="148"/>
                    <a:pt x="379" y="146"/>
                    <a:pt x="367" y="149"/>
                  </a:cubicBezTo>
                  <a:cubicBezTo>
                    <a:pt x="357" y="151"/>
                    <a:pt x="364" y="154"/>
                    <a:pt x="361" y="154"/>
                  </a:cubicBezTo>
                  <a:cubicBezTo>
                    <a:pt x="358" y="154"/>
                    <a:pt x="358" y="154"/>
                    <a:pt x="358" y="163"/>
                  </a:cubicBezTo>
                  <a:cubicBezTo>
                    <a:pt x="358" y="171"/>
                    <a:pt x="363" y="171"/>
                    <a:pt x="363" y="176"/>
                  </a:cubicBezTo>
                  <a:cubicBezTo>
                    <a:pt x="361" y="182"/>
                    <a:pt x="366" y="177"/>
                    <a:pt x="370" y="180"/>
                  </a:cubicBezTo>
                  <a:cubicBezTo>
                    <a:pt x="372" y="180"/>
                    <a:pt x="372" y="180"/>
                    <a:pt x="373" y="177"/>
                  </a:cubicBezTo>
                  <a:close/>
                  <a:moveTo>
                    <a:pt x="317" y="162"/>
                  </a:moveTo>
                  <a:cubicBezTo>
                    <a:pt x="323" y="163"/>
                    <a:pt x="323" y="168"/>
                    <a:pt x="319" y="170"/>
                  </a:cubicBezTo>
                  <a:cubicBezTo>
                    <a:pt x="312" y="173"/>
                    <a:pt x="308" y="160"/>
                    <a:pt x="303" y="166"/>
                  </a:cubicBezTo>
                  <a:cubicBezTo>
                    <a:pt x="300" y="170"/>
                    <a:pt x="308" y="176"/>
                    <a:pt x="317" y="179"/>
                  </a:cubicBezTo>
                  <a:cubicBezTo>
                    <a:pt x="328" y="182"/>
                    <a:pt x="329" y="191"/>
                    <a:pt x="335" y="191"/>
                  </a:cubicBezTo>
                  <a:cubicBezTo>
                    <a:pt x="341" y="193"/>
                    <a:pt x="337" y="185"/>
                    <a:pt x="341" y="187"/>
                  </a:cubicBezTo>
                  <a:cubicBezTo>
                    <a:pt x="344" y="188"/>
                    <a:pt x="352" y="185"/>
                    <a:pt x="352" y="179"/>
                  </a:cubicBezTo>
                  <a:cubicBezTo>
                    <a:pt x="352" y="174"/>
                    <a:pt x="355" y="177"/>
                    <a:pt x="354" y="171"/>
                  </a:cubicBezTo>
                  <a:cubicBezTo>
                    <a:pt x="352" y="166"/>
                    <a:pt x="351" y="174"/>
                    <a:pt x="347" y="168"/>
                  </a:cubicBezTo>
                  <a:cubicBezTo>
                    <a:pt x="343" y="163"/>
                    <a:pt x="335" y="163"/>
                    <a:pt x="344" y="162"/>
                  </a:cubicBezTo>
                  <a:cubicBezTo>
                    <a:pt x="352" y="160"/>
                    <a:pt x="341" y="159"/>
                    <a:pt x="347" y="157"/>
                  </a:cubicBezTo>
                  <a:cubicBezTo>
                    <a:pt x="352" y="154"/>
                    <a:pt x="346" y="151"/>
                    <a:pt x="338" y="154"/>
                  </a:cubicBezTo>
                  <a:cubicBezTo>
                    <a:pt x="331" y="157"/>
                    <a:pt x="326" y="149"/>
                    <a:pt x="320" y="152"/>
                  </a:cubicBezTo>
                  <a:cubicBezTo>
                    <a:pt x="314" y="156"/>
                    <a:pt x="308" y="157"/>
                    <a:pt x="316" y="160"/>
                  </a:cubicBezTo>
                  <a:cubicBezTo>
                    <a:pt x="317" y="162"/>
                    <a:pt x="317" y="162"/>
                    <a:pt x="317" y="162"/>
                  </a:cubicBezTo>
                  <a:close/>
                  <a:moveTo>
                    <a:pt x="341" y="230"/>
                  </a:moveTo>
                  <a:cubicBezTo>
                    <a:pt x="347" y="230"/>
                    <a:pt x="351" y="235"/>
                    <a:pt x="355" y="232"/>
                  </a:cubicBezTo>
                  <a:cubicBezTo>
                    <a:pt x="360" y="227"/>
                    <a:pt x="360" y="232"/>
                    <a:pt x="363" y="229"/>
                  </a:cubicBezTo>
                  <a:cubicBezTo>
                    <a:pt x="364" y="224"/>
                    <a:pt x="360" y="229"/>
                    <a:pt x="357" y="224"/>
                  </a:cubicBezTo>
                  <a:cubicBezTo>
                    <a:pt x="354" y="218"/>
                    <a:pt x="354" y="222"/>
                    <a:pt x="347" y="216"/>
                  </a:cubicBezTo>
                  <a:cubicBezTo>
                    <a:pt x="341" y="210"/>
                    <a:pt x="340" y="212"/>
                    <a:pt x="335" y="219"/>
                  </a:cubicBezTo>
                  <a:cubicBezTo>
                    <a:pt x="331" y="226"/>
                    <a:pt x="325" y="221"/>
                    <a:pt x="329" y="226"/>
                  </a:cubicBezTo>
                  <a:cubicBezTo>
                    <a:pt x="331" y="229"/>
                    <a:pt x="335" y="229"/>
                    <a:pt x="341" y="230"/>
                  </a:cubicBezTo>
                  <a:close/>
                  <a:moveTo>
                    <a:pt x="326" y="81"/>
                  </a:moveTo>
                  <a:cubicBezTo>
                    <a:pt x="331" y="79"/>
                    <a:pt x="331" y="75"/>
                    <a:pt x="322" y="75"/>
                  </a:cubicBezTo>
                  <a:cubicBezTo>
                    <a:pt x="312" y="73"/>
                    <a:pt x="320" y="73"/>
                    <a:pt x="312" y="70"/>
                  </a:cubicBezTo>
                  <a:cubicBezTo>
                    <a:pt x="305" y="67"/>
                    <a:pt x="306" y="75"/>
                    <a:pt x="303" y="70"/>
                  </a:cubicBezTo>
                  <a:cubicBezTo>
                    <a:pt x="302" y="65"/>
                    <a:pt x="282" y="61"/>
                    <a:pt x="280" y="68"/>
                  </a:cubicBezTo>
                  <a:cubicBezTo>
                    <a:pt x="279" y="75"/>
                    <a:pt x="287" y="67"/>
                    <a:pt x="287" y="73"/>
                  </a:cubicBezTo>
                  <a:cubicBezTo>
                    <a:pt x="285" y="78"/>
                    <a:pt x="290" y="70"/>
                    <a:pt x="293" y="75"/>
                  </a:cubicBezTo>
                  <a:cubicBezTo>
                    <a:pt x="297" y="81"/>
                    <a:pt x="290" y="78"/>
                    <a:pt x="285" y="79"/>
                  </a:cubicBezTo>
                  <a:cubicBezTo>
                    <a:pt x="284" y="79"/>
                    <a:pt x="285" y="86"/>
                    <a:pt x="296" y="82"/>
                  </a:cubicBezTo>
                  <a:cubicBezTo>
                    <a:pt x="308" y="79"/>
                    <a:pt x="297" y="84"/>
                    <a:pt x="309" y="82"/>
                  </a:cubicBezTo>
                  <a:cubicBezTo>
                    <a:pt x="320" y="81"/>
                    <a:pt x="312" y="93"/>
                    <a:pt x="328" y="90"/>
                  </a:cubicBezTo>
                  <a:cubicBezTo>
                    <a:pt x="340" y="89"/>
                    <a:pt x="323" y="81"/>
                    <a:pt x="326" y="81"/>
                  </a:cubicBezTo>
                  <a:close/>
                  <a:moveTo>
                    <a:pt x="418" y="114"/>
                  </a:moveTo>
                  <a:cubicBezTo>
                    <a:pt x="421" y="117"/>
                    <a:pt x="427" y="114"/>
                    <a:pt x="430" y="112"/>
                  </a:cubicBezTo>
                  <a:cubicBezTo>
                    <a:pt x="433" y="111"/>
                    <a:pt x="434" y="115"/>
                    <a:pt x="443" y="115"/>
                  </a:cubicBezTo>
                  <a:cubicBezTo>
                    <a:pt x="453" y="115"/>
                    <a:pt x="446" y="111"/>
                    <a:pt x="456" y="114"/>
                  </a:cubicBezTo>
                  <a:cubicBezTo>
                    <a:pt x="466" y="117"/>
                    <a:pt x="478" y="107"/>
                    <a:pt x="477" y="114"/>
                  </a:cubicBezTo>
                  <a:cubicBezTo>
                    <a:pt x="474" y="120"/>
                    <a:pt x="484" y="117"/>
                    <a:pt x="491" y="114"/>
                  </a:cubicBezTo>
                  <a:cubicBezTo>
                    <a:pt x="495" y="111"/>
                    <a:pt x="500" y="115"/>
                    <a:pt x="501" y="107"/>
                  </a:cubicBezTo>
                  <a:cubicBezTo>
                    <a:pt x="501" y="101"/>
                    <a:pt x="491" y="107"/>
                    <a:pt x="491" y="103"/>
                  </a:cubicBezTo>
                  <a:cubicBezTo>
                    <a:pt x="491" y="98"/>
                    <a:pt x="494" y="100"/>
                    <a:pt x="498" y="96"/>
                  </a:cubicBezTo>
                  <a:cubicBezTo>
                    <a:pt x="504" y="93"/>
                    <a:pt x="491" y="86"/>
                    <a:pt x="504" y="89"/>
                  </a:cubicBezTo>
                  <a:cubicBezTo>
                    <a:pt x="515" y="90"/>
                    <a:pt x="524" y="84"/>
                    <a:pt x="521" y="81"/>
                  </a:cubicBezTo>
                  <a:cubicBezTo>
                    <a:pt x="518" y="78"/>
                    <a:pt x="532" y="78"/>
                    <a:pt x="519" y="73"/>
                  </a:cubicBezTo>
                  <a:cubicBezTo>
                    <a:pt x="509" y="67"/>
                    <a:pt x="529" y="75"/>
                    <a:pt x="527" y="70"/>
                  </a:cubicBezTo>
                  <a:cubicBezTo>
                    <a:pt x="524" y="65"/>
                    <a:pt x="521" y="67"/>
                    <a:pt x="516" y="67"/>
                  </a:cubicBezTo>
                  <a:cubicBezTo>
                    <a:pt x="510" y="67"/>
                    <a:pt x="501" y="68"/>
                    <a:pt x="504" y="65"/>
                  </a:cubicBezTo>
                  <a:cubicBezTo>
                    <a:pt x="507" y="64"/>
                    <a:pt x="526" y="64"/>
                    <a:pt x="533" y="62"/>
                  </a:cubicBezTo>
                  <a:cubicBezTo>
                    <a:pt x="542" y="62"/>
                    <a:pt x="535" y="56"/>
                    <a:pt x="539" y="59"/>
                  </a:cubicBezTo>
                  <a:cubicBezTo>
                    <a:pt x="544" y="61"/>
                    <a:pt x="551" y="61"/>
                    <a:pt x="556" y="56"/>
                  </a:cubicBezTo>
                  <a:cubicBezTo>
                    <a:pt x="561" y="50"/>
                    <a:pt x="571" y="45"/>
                    <a:pt x="591" y="37"/>
                  </a:cubicBezTo>
                  <a:cubicBezTo>
                    <a:pt x="611" y="30"/>
                    <a:pt x="611" y="28"/>
                    <a:pt x="594" y="30"/>
                  </a:cubicBezTo>
                  <a:cubicBezTo>
                    <a:pt x="579" y="31"/>
                    <a:pt x="591" y="28"/>
                    <a:pt x="600" y="25"/>
                  </a:cubicBezTo>
                  <a:cubicBezTo>
                    <a:pt x="611" y="23"/>
                    <a:pt x="634" y="19"/>
                    <a:pt x="634" y="16"/>
                  </a:cubicBezTo>
                  <a:cubicBezTo>
                    <a:pt x="634" y="11"/>
                    <a:pt x="617" y="14"/>
                    <a:pt x="617" y="9"/>
                  </a:cubicBezTo>
                  <a:cubicBezTo>
                    <a:pt x="618" y="6"/>
                    <a:pt x="605" y="5"/>
                    <a:pt x="602" y="5"/>
                  </a:cubicBezTo>
                  <a:cubicBezTo>
                    <a:pt x="597" y="6"/>
                    <a:pt x="597" y="5"/>
                    <a:pt x="591" y="8"/>
                  </a:cubicBezTo>
                  <a:cubicBezTo>
                    <a:pt x="583" y="11"/>
                    <a:pt x="571" y="9"/>
                    <a:pt x="579" y="8"/>
                  </a:cubicBezTo>
                  <a:cubicBezTo>
                    <a:pt x="585" y="8"/>
                    <a:pt x="594" y="5"/>
                    <a:pt x="583" y="5"/>
                  </a:cubicBezTo>
                  <a:cubicBezTo>
                    <a:pt x="571" y="5"/>
                    <a:pt x="568" y="0"/>
                    <a:pt x="559" y="2"/>
                  </a:cubicBezTo>
                  <a:cubicBezTo>
                    <a:pt x="550" y="3"/>
                    <a:pt x="548" y="0"/>
                    <a:pt x="539" y="3"/>
                  </a:cubicBezTo>
                  <a:cubicBezTo>
                    <a:pt x="532" y="6"/>
                    <a:pt x="523" y="0"/>
                    <a:pt x="503" y="5"/>
                  </a:cubicBezTo>
                  <a:cubicBezTo>
                    <a:pt x="494" y="8"/>
                    <a:pt x="488" y="2"/>
                    <a:pt x="481" y="5"/>
                  </a:cubicBezTo>
                  <a:cubicBezTo>
                    <a:pt x="475" y="8"/>
                    <a:pt x="468" y="3"/>
                    <a:pt x="474" y="8"/>
                  </a:cubicBezTo>
                  <a:cubicBezTo>
                    <a:pt x="480" y="14"/>
                    <a:pt x="466" y="6"/>
                    <a:pt x="465" y="11"/>
                  </a:cubicBezTo>
                  <a:cubicBezTo>
                    <a:pt x="463" y="16"/>
                    <a:pt x="460" y="16"/>
                    <a:pt x="451" y="14"/>
                  </a:cubicBezTo>
                  <a:cubicBezTo>
                    <a:pt x="442" y="14"/>
                    <a:pt x="453" y="13"/>
                    <a:pt x="442" y="11"/>
                  </a:cubicBezTo>
                  <a:cubicBezTo>
                    <a:pt x="431" y="11"/>
                    <a:pt x="446" y="16"/>
                    <a:pt x="434" y="16"/>
                  </a:cubicBezTo>
                  <a:cubicBezTo>
                    <a:pt x="422" y="17"/>
                    <a:pt x="445" y="19"/>
                    <a:pt x="439" y="20"/>
                  </a:cubicBezTo>
                  <a:cubicBezTo>
                    <a:pt x="433" y="22"/>
                    <a:pt x="430" y="17"/>
                    <a:pt x="419" y="19"/>
                  </a:cubicBezTo>
                  <a:cubicBezTo>
                    <a:pt x="408" y="20"/>
                    <a:pt x="413" y="23"/>
                    <a:pt x="405" y="22"/>
                  </a:cubicBezTo>
                  <a:cubicBezTo>
                    <a:pt x="398" y="20"/>
                    <a:pt x="389" y="25"/>
                    <a:pt x="390" y="28"/>
                  </a:cubicBezTo>
                  <a:cubicBezTo>
                    <a:pt x="393" y="33"/>
                    <a:pt x="395" y="28"/>
                    <a:pt x="399" y="31"/>
                  </a:cubicBezTo>
                  <a:cubicBezTo>
                    <a:pt x="402" y="33"/>
                    <a:pt x="408" y="30"/>
                    <a:pt x="405" y="33"/>
                  </a:cubicBezTo>
                  <a:cubicBezTo>
                    <a:pt x="401" y="36"/>
                    <a:pt x="401" y="39"/>
                    <a:pt x="408" y="41"/>
                  </a:cubicBezTo>
                  <a:cubicBezTo>
                    <a:pt x="416" y="42"/>
                    <a:pt x="421" y="47"/>
                    <a:pt x="428" y="42"/>
                  </a:cubicBezTo>
                  <a:cubicBezTo>
                    <a:pt x="436" y="37"/>
                    <a:pt x="445" y="37"/>
                    <a:pt x="439" y="39"/>
                  </a:cubicBezTo>
                  <a:cubicBezTo>
                    <a:pt x="433" y="41"/>
                    <a:pt x="421" y="45"/>
                    <a:pt x="440" y="47"/>
                  </a:cubicBezTo>
                  <a:cubicBezTo>
                    <a:pt x="459" y="48"/>
                    <a:pt x="453" y="41"/>
                    <a:pt x="459" y="44"/>
                  </a:cubicBezTo>
                  <a:cubicBezTo>
                    <a:pt x="463" y="47"/>
                    <a:pt x="480" y="44"/>
                    <a:pt x="492" y="36"/>
                  </a:cubicBezTo>
                  <a:cubicBezTo>
                    <a:pt x="506" y="30"/>
                    <a:pt x="488" y="39"/>
                    <a:pt x="500" y="41"/>
                  </a:cubicBezTo>
                  <a:cubicBezTo>
                    <a:pt x="512" y="41"/>
                    <a:pt x="501" y="42"/>
                    <a:pt x="478" y="47"/>
                  </a:cubicBezTo>
                  <a:cubicBezTo>
                    <a:pt x="457" y="51"/>
                    <a:pt x="457" y="48"/>
                    <a:pt x="466" y="54"/>
                  </a:cubicBezTo>
                  <a:cubicBezTo>
                    <a:pt x="474" y="61"/>
                    <a:pt x="484" y="61"/>
                    <a:pt x="475" y="62"/>
                  </a:cubicBezTo>
                  <a:cubicBezTo>
                    <a:pt x="468" y="64"/>
                    <a:pt x="468" y="58"/>
                    <a:pt x="460" y="53"/>
                  </a:cubicBezTo>
                  <a:cubicBezTo>
                    <a:pt x="453" y="50"/>
                    <a:pt x="431" y="47"/>
                    <a:pt x="431" y="53"/>
                  </a:cubicBezTo>
                  <a:cubicBezTo>
                    <a:pt x="431" y="58"/>
                    <a:pt x="431" y="58"/>
                    <a:pt x="439" y="59"/>
                  </a:cubicBezTo>
                  <a:cubicBezTo>
                    <a:pt x="446" y="62"/>
                    <a:pt x="453" y="68"/>
                    <a:pt x="448" y="68"/>
                  </a:cubicBezTo>
                  <a:cubicBezTo>
                    <a:pt x="445" y="70"/>
                    <a:pt x="445" y="72"/>
                    <a:pt x="453" y="73"/>
                  </a:cubicBezTo>
                  <a:cubicBezTo>
                    <a:pt x="462" y="73"/>
                    <a:pt x="465" y="76"/>
                    <a:pt x="457" y="75"/>
                  </a:cubicBezTo>
                  <a:cubicBezTo>
                    <a:pt x="448" y="73"/>
                    <a:pt x="430" y="75"/>
                    <a:pt x="427" y="78"/>
                  </a:cubicBezTo>
                  <a:cubicBezTo>
                    <a:pt x="422" y="81"/>
                    <a:pt x="421" y="87"/>
                    <a:pt x="428" y="86"/>
                  </a:cubicBezTo>
                  <a:cubicBezTo>
                    <a:pt x="436" y="84"/>
                    <a:pt x="431" y="87"/>
                    <a:pt x="439" y="86"/>
                  </a:cubicBezTo>
                  <a:cubicBezTo>
                    <a:pt x="445" y="84"/>
                    <a:pt x="437" y="87"/>
                    <a:pt x="442" y="93"/>
                  </a:cubicBezTo>
                  <a:cubicBezTo>
                    <a:pt x="446" y="100"/>
                    <a:pt x="457" y="93"/>
                    <a:pt x="462" y="87"/>
                  </a:cubicBezTo>
                  <a:cubicBezTo>
                    <a:pt x="466" y="82"/>
                    <a:pt x="457" y="100"/>
                    <a:pt x="446" y="100"/>
                  </a:cubicBezTo>
                  <a:cubicBezTo>
                    <a:pt x="437" y="98"/>
                    <a:pt x="437" y="89"/>
                    <a:pt x="427" y="89"/>
                  </a:cubicBezTo>
                  <a:cubicBezTo>
                    <a:pt x="418" y="89"/>
                    <a:pt x="416" y="90"/>
                    <a:pt x="419" y="95"/>
                  </a:cubicBezTo>
                  <a:cubicBezTo>
                    <a:pt x="424" y="98"/>
                    <a:pt x="431" y="103"/>
                    <a:pt x="422" y="103"/>
                  </a:cubicBezTo>
                  <a:cubicBezTo>
                    <a:pt x="411" y="103"/>
                    <a:pt x="404" y="107"/>
                    <a:pt x="408" y="112"/>
                  </a:cubicBezTo>
                  <a:cubicBezTo>
                    <a:pt x="411" y="114"/>
                    <a:pt x="413" y="111"/>
                    <a:pt x="418" y="114"/>
                  </a:cubicBezTo>
                  <a:close/>
                  <a:moveTo>
                    <a:pt x="369" y="37"/>
                  </a:moveTo>
                  <a:cubicBezTo>
                    <a:pt x="364" y="37"/>
                    <a:pt x="363" y="37"/>
                    <a:pt x="361" y="42"/>
                  </a:cubicBezTo>
                  <a:cubicBezTo>
                    <a:pt x="360" y="45"/>
                    <a:pt x="357" y="44"/>
                    <a:pt x="354" y="48"/>
                  </a:cubicBezTo>
                  <a:cubicBezTo>
                    <a:pt x="351" y="53"/>
                    <a:pt x="369" y="51"/>
                    <a:pt x="367" y="53"/>
                  </a:cubicBezTo>
                  <a:cubicBezTo>
                    <a:pt x="366" y="58"/>
                    <a:pt x="351" y="50"/>
                    <a:pt x="351" y="54"/>
                  </a:cubicBezTo>
                  <a:cubicBezTo>
                    <a:pt x="349" y="58"/>
                    <a:pt x="354" y="59"/>
                    <a:pt x="361" y="65"/>
                  </a:cubicBezTo>
                  <a:cubicBezTo>
                    <a:pt x="367" y="70"/>
                    <a:pt x="373" y="62"/>
                    <a:pt x="372" y="65"/>
                  </a:cubicBezTo>
                  <a:cubicBezTo>
                    <a:pt x="369" y="70"/>
                    <a:pt x="387" y="62"/>
                    <a:pt x="384" y="65"/>
                  </a:cubicBezTo>
                  <a:cubicBezTo>
                    <a:pt x="383" y="70"/>
                    <a:pt x="367" y="70"/>
                    <a:pt x="372" y="73"/>
                  </a:cubicBezTo>
                  <a:cubicBezTo>
                    <a:pt x="375" y="75"/>
                    <a:pt x="378" y="79"/>
                    <a:pt x="383" y="82"/>
                  </a:cubicBezTo>
                  <a:cubicBezTo>
                    <a:pt x="389" y="84"/>
                    <a:pt x="401" y="89"/>
                    <a:pt x="401" y="84"/>
                  </a:cubicBezTo>
                  <a:cubicBezTo>
                    <a:pt x="401" y="79"/>
                    <a:pt x="408" y="87"/>
                    <a:pt x="407" y="82"/>
                  </a:cubicBezTo>
                  <a:cubicBezTo>
                    <a:pt x="404" y="76"/>
                    <a:pt x="407" y="79"/>
                    <a:pt x="411" y="84"/>
                  </a:cubicBezTo>
                  <a:cubicBezTo>
                    <a:pt x="416" y="89"/>
                    <a:pt x="413" y="78"/>
                    <a:pt x="416" y="79"/>
                  </a:cubicBezTo>
                  <a:cubicBezTo>
                    <a:pt x="421" y="79"/>
                    <a:pt x="425" y="75"/>
                    <a:pt x="431" y="72"/>
                  </a:cubicBezTo>
                  <a:cubicBezTo>
                    <a:pt x="437" y="68"/>
                    <a:pt x="448" y="67"/>
                    <a:pt x="443" y="65"/>
                  </a:cubicBezTo>
                  <a:cubicBezTo>
                    <a:pt x="437" y="62"/>
                    <a:pt x="439" y="59"/>
                    <a:pt x="428" y="61"/>
                  </a:cubicBezTo>
                  <a:cubicBezTo>
                    <a:pt x="419" y="64"/>
                    <a:pt x="434" y="59"/>
                    <a:pt x="427" y="54"/>
                  </a:cubicBezTo>
                  <a:cubicBezTo>
                    <a:pt x="421" y="51"/>
                    <a:pt x="428" y="48"/>
                    <a:pt x="419" y="47"/>
                  </a:cubicBezTo>
                  <a:cubicBezTo>
                    <a:pt x="410" y="47"/>
                    <a:pt x="418" y="54"/>
                    <a:pt x="413" y="51"/>
                  </a:cubicBezTo>
                  <a:cubicBezTo>
                    <a:pt x="407" y="50"/>
                    <a:pt x="414" y="47"/>
                    <a:pt x="405" y="45"/>
                  </a:cubicBezTo>
                  <a:cubicBezTo>
                    <a:pt x="396" y="45"/>
                    <a:pt x="389" y="31"/>
                    <a:pt x="373" y="31"/>
                  </a:cubicBezTo>
                  <a:cubicBezTo>
                    <a:pt x="363" y="33"/>
                    <a:pt x="379" y="37"/>
                    <a:pt x="369" y="37"/>
                  </a:cubicBezTo>
                  <a:close/>
                  <a:moveTo>
                    <a:pt x="344" y="84"/>
                  </a:moveTo>
                  <a:cubicBezTo>
                    <a:pt x="351" y="86"/>
                    <a:pt x="338" y="87"/>
                    <a:pt x="344" y="87"/>
                  </a:cubicBezTo>
                  <a:cubicBezTo>
                    <a:pt x="351" y="89"/>
                    <a:pt x="344" y="93"/>
                    <a:pt x="351" y="90"/>
                  </a:cubicBezTo>
                  <a:cubicBezTo>
                    <a:pt x="357" y="89"/>
                    <a:pt x="366" y="89"/>
                    <a:pt x="364" y="86"/>
                  </a:cubicBezTo>
                  <a:cubicBezTo>
                    <a:pt x="361" y="82"/>
                    <a:pt x="370" y="82"/>
                    <a:pt x="364" y="81"/>
                  </a:cubicBezTo>
                  <a:cubicBezTo>
                    <a:pt x="357" y="78"/>
                    <a:pt x="358" y="81"/>
                    <a:pt x="352" y="76"/>
                  </a:cubicBezTo>
                  <a:cubicBezTo>
                    <a:pt x="346" y="73"/>
                    <a:pt x="335" y="73"/>
                    <a:pt x="338" y="76"/>
                  </a:cubicBezTo>
                  <a:cubicBezTo>
                    <a:pt x="340" y="81"/>
                    <a:pt x="332" y="79"/>
                    <a:pt x="338" y="82"/>
                  </a:cubicBezTo>
                  <a:cubicBezTo>
                    <a:pt x="341" y="82"/>
                    <a:pt x="338" y="82"/>
                    <a:pt x="344" y="84"/>
                  </a:cubicBezTo>
                  <a:close/>
                  <a:moveTo>
                    <a:pt x="329" y="58"/>
                  </a:moveTo>
                  <a:cubicBezTo>
                    <a:pt x="332" y="61"/>
                    <a:pt x="335" y="61"/>
                    <a:pt x="335" y="56"/>
                  </a:cubicBezTo>
                  <a:cubicBezTo>
                    <a:pt x="334" y="51"/>
                    <a:pt x="323" y="50"/>
                    <a:pt x="323" y="54"/>
                  </a:cubicBezTo>
                  <a:cubicBezTo>
                    <a:pt x="325" y="58"/>
                    <a:pt x="326" y="56"/>
                    <a:pt x="329" y="58"/>
                  </a:cubicBezTo>
                  <a:close/>
                  <a:moveTo>
                    <a:pt x="238" y="142"/>
                  </a:moveTo>
                  <a:cubicBezTo>
                    <a:pt x="245" y="138"/>
                    <a:pt x="250" y="134"/>
                    <a:pt x="256" y="135"/>
                  </a:cubicBezTo>
                  <a:cubicBezTo>
                    <a:pt x="262" y="138"/>
                    <a:pt x="259" y="134"/>
                    <a:pt x="265" y="135"/>
                  </a:cubicBezTo>
                  <a:cubicBezTo>
                    <a:pt x="271" y="137"/>
                    <a:pt x="276" y="135"/>
                    <a:pt x="282" y="128"/>
                  </a:cubicBezTo>
                  <a:cubicBezTo>
                    <a:pt x="288" y="120"/>
                    <a:pt x="274" y="118"/>
                    <a:pt x="270" y="120"/>
                  </a:cubicBezTo>
                  <a:cubicBezTo>
                    <a:pt x="267" y="121"/>
                    <a:pt x="262" y="125"/>
                    <a:pt x="264" y="121"/>
                  </a:cubicBezTo>
                  <a:cubicBezTo>
                    <a:pt x="265" y="117"/>
                    <a:pt x="258" y="120"/>
                    <a:pt x="261" y="117"/>
                  </a:cubicBezTo>
                  <a:cubicBezTo>
                    <a:pt x="264" y="114"/>
                    <a:pt x="258" y="117"/>
                    <a:pt x="258" y="109"/>
                  </a:cubicBezTo>
                  <a:cubicBezTo>
                    <a:pt x="258" y="103"/>
                    <a:pt x="252" y="107"/>
                    <a:pt x="244" y="112"/>
                  </a:cubicBezTo>
                  <a:cubicBezTo>
                    <a:pt x="236" y="117"/>
                    <a:pt x="255" y="117"/>
                    <a:pt x="249" y="120"/>
                  </a:cubicBezTo>
                  <a:cubicBezTo>
                    <a:pt x="242" y="125"/>
                    <a:pt x="256" y="123"/>
                    <a:pt x="255" y="126"/>
                  </a:cubicBezTo>
                  <a:cubicBezTo>
                    <a:pt x="253" y="131"/>
                    <a:pt x="249" y="125"/>
                    <a:pt x="241" y="126"/>
                  </a:cubicBezTo>
                  <a:cubicBezTo>
                    <a:pt x="232" y="128"/>
                    <a:pt x="239" y="126"/>
                    <a:pt x="229" y="118"/>
                  </a:cubicBezTo>
                  <a:cubicBezTo>
                    <a:pt x="217" y="111"/>
                    <a:pt x="217" y="121"/>
                    <a:pt x="213" y="115"/>
                  </a:cubicBezTo>
                  <a:cubicBezTo>
                    <a:pt x="210" y="109"/>
                    <a:pt x="206" y="112"/>
                    <a:pt x="197" y="117"/>
                  </a:cubicBezTo>
                  <a:cubicBezTo>
                    <a:pt x="188" y="120"/>
                    <a:pt x="198" y="117"/>
                    <a:pt x="191" y="123"/>
                  </a:cubicBezTo>
                  <a:cubicBezTo>
                    <a:pt x="185" y="128"/>
                    <a:pt x="194" y="125"/>
                    <a:pt x="188" y="128"/>
                  </a:cubicBezTo>
                  <a:cubicBezTo>
                    <a:pt x="182" y="132"/>
                    <a:pt x="188" y="132"/>
                    <a:pt x="195" y="135"/>
                  </a:cubicBezTo>
                  <a:cubicBezTo>
                    <a:pt x="203" y="137"/>
                    <a:pt x="203" y="132"/>
                    <a:pt x="204" y="134"/>
                  </a:cubicBezTo>
                  <a:cubicBezTo>
                    <a:pt x="206" y="137"/>
                    <a:pt x="209" y="138"/>
                    <a:pt x="212" y="134"/>
                  </a:cubicBezTo>
                  <a:cubicBezTo>
                    <a:pt x="215" y="129"/>
                    <a:pt x="217" y="129"/>
                    <a:pt x="215" y="132"/>
                  </a:cubicBezTo>
                  <a:cubicBezTo>
                    <a:pt x="213" y="135"/>
                    <a:pt x="218" y="135"/>
                    <a:pt x="230" y="132"/>
                  </a:cubicBezTo>
                  <a:cubicBezTo>
                    <a:pt x="242" y="131"/>
                    <a:pt x="236" y="135"/>
                    <a:pt x="227" y="135"/>
                  </a:cubicBezTo>
                  <a:cubicBezTo>
                    <a:pt x="218" y="137"/>
                    <a:pt x="204" y="140"/>
                    <a:pt x="215" y="143"/>
                  </a:cubicBezTo>
                  <a:cubicBezTo>
                    <a:pt x="221" y="146"/>
                    <a:pt x="229" y="143"/>
                    <a:pt x="238" y="142"/>
                  </a:cubicBezTo>
                  <a:close/>
                  <a:moveTo>
                    <a:pt x="288" y="96"/>
                  </a:moveTo>
                  <a:cubicBezTo>
                    <a:pt x="284" y="92"/>
                    <a:pt x="276" y="90"/>
                    <a:pt x="277" y="93"/>
                  </a:cubicBezTo>
                  <a:cubicBezTo>
                    <a:pt x="279" y="96"/>
                    <a:pt x="280" y="103"/>
                    <a:pt x="288" y="103"/>
                  </a:cubicBezTo>
                  <a:cubicBezTo>
                    <a:pt x="291" y="101"/>
                    <a:pt x="293" y="101"/>
                    <a:pt x="288" y="96"/>
                  </a:cubicBezTo>
                  <a:close/>
                  <a:moveTo>
                    <a:pt x="192" y="111"/>
                  </a:moveTo>
                  <a:cubicBezTo>
                    <a:pt x="198" y="111"/>
                    <a:pt x="204" y="107"/>
                    <a:pt x="197" y="104"/>
                  </a:cubicBezTo>
                  <a:cubicBezTo>
                    <a:pt x="191" y="100"/>
                    <a:pt x="207" y="100"/>
                    <a:pt x="198" y="96"/>
                  </a:cubicBezTo>
                  <a:cubicBezTo>
                    <a:pt x="192" y="93"/>
                    <a:pt x="191" y="95"/>
                    <a:pt x="189" y="98"/>
                  </a:cubicBezTo>
                  <a:cubicBezTo>
                    <a:pt x="188" y="101"/>
                    <a:pt x="180" y="92"/>
                    <a:pt x="168" y="103"/>
                  </a:cubicBezTo>
                  <a:cubicBezTo>
                    <a:pt x="157" y="111"/>
                    <a:pt x="162" y="106"/>
                    <a:pt x="156" y="111"/>
                  </a:cubicBezTo>
                  <a:cubicBezTo>
                    <a:pt x="150" y="117"/>
                    <a:pt x="150" y="109"/>
                    <a:pt x="145" y="115"/>
                  </a:cubicBezTo>
                  <a:cubicBezTo>
                    <a:pt x="139" y="120"/>
                    <a:pt x="147" y="117"/>
                    <a:pt x="145" y="120"/>
                  </a:cubicBezTo>
                  <a:cubicBezTo>
                    <a:pt x="143" y="121"/>
                    <a:pt x="147" y="121"/>
                    <a:pt x="150" y="120"/>
                  </a:cubicBezTo>
                  <a:cubicBezTo>
                    <a:pt x="153" y="117"/>
                    <a:pt x="153" y="121"/>
                    <a:pt x="157" y="120"/>
                  </a:cubicBezTo>
                  <a:cubicBezTo>
                    <a:pt x="160" y="120"/>
                    <a:pt x="159" y="115"/>
                    <a:pt x="162" y="120"/>
                  </a:cubicBezTo>
                  <a:cubicBezTo>
                    <a:pt x="163" y="125"/>
                    <a:pt x="169" y="125"/>
                    <a:pt x="169" y="118"/>
                  </a:cubicBezTo>
                  <a:cubicBezTo>
                    <a:pt x="169" y="112"/>
                    <a:pt x="171" y="125"/>
                    <a:pt x="177" y="114"/>
                  </a:cubicBezTo>
                  <a:cubicBezTo>
                    <a:pt x="180" y="107"/>
                    <a:pt x="175" y="111"/>
                    <a:pt x="182" y="107"/>
                  </a:cubicBezTo>
                  <a:cubicBezTo>
                    <a:pt x="188" y="104"/>
                    <a:pt x="178" y="114"/>
                    <a:pt x="186" y="115"/>
                  </a:cubicBezTo>
                  <a:cubicBezTo>
                    <a:pt x="195" y="117"/>
                    <a:pt x="188" y="111"/>
                    <a:pt x="192" y="111"/>
                  </a:cubicBezTo>
                  <a:close/>
                  <a:moveTo>
                    <a:pt x="232" y="82"/>
                  </a:moveTo>
                  <a:cubicBezTo>
                    <a:pt x="236" y="84"/>
                    <a:pt x="232" y="82"/>
                    <a:pt x="241" y="82"/>
                  </a:cubicBezTo>
                  <a:cubicBezTo>
                    <a:pt x="250" y="84"/>
                    <a:pt x="256" y="81"/>
                    <a:pt x="247" y="78"/>
                  </a:cubicBezTo>
                  <a:cubicBezTo>
                    <a:pt x="236" y="73"/>
                    <a:pt x="236" y="78"/>
                    <a:pt x="227" y="79"/>
                  </a:cubicBezTo>
                  <a:cubicBezTo>
                    <a:pt x="218" y="81"/>
                    <a:pt x="218" y="84"/>
                    <a:pt x="224" y="82"/>
                  </a:cubicBezTo>
                  <a:cubicBezTo>
                    <a:pt x="226" y="82"/>
                    <a:pt x="226" y="82"/>
                    <a:pt x="232" y="82"/>
                  </a:cubicBezTo>
                  <a:close/>
                  <a:moveTo>
                    <a:pt x="239" y="96"/>
                  </a:moveTo>
                  <a:cubicBezTo>
                    <a:pt x="247" y="95"/>
                    <a:pt x="249" y="92"/>
                    <a:pt x="241" y="90"/>
                  </a:cubicBezTo>
                  <a:cubicBezTo>
                    <a:pt x="235" y="90"/>
                    <a:pt x="247" y="90"/>
                    <a:pt x="249" y="87"/>
                  </a:cubicBezTo>
                  <a:cubicBezTo>
                    <a:pt x="250" y="84"/>
                    <a:pt x="239" y="86"/>
                    <a:pt x="229" y="87"/>
                  </a:cubicBezTo>
                  <a:cubicBezTo>
                    <a:pt x="218" y="89"/>
                    <a:pt x="218" y="90"/>
                    <a:pt x="220" y="95"/>
                  </a:cubicBezTo>
                  <a:cubicBezTo>
                    <a:pt x="223" y="100"/>
                    <a:pt x="232" y="98"/>
                    <a:pt x="239" y="96"/>
                  </a:cubicBezTo>
                  <a:close/>
                  <a:moveTo>
                    <a:pt x="335" y="135"/>
                  </a:moveTo>
                  <a:cubicBezTo>
                    <a:pt x="340" y="135"/>
                    <a:pt x="344" y="135"/>
                    <a:pt x="343" y="131"/>
                  </a:cubicBezTo>
                  <a:cubicBezTo>
                    <a:pt x="341" y="128"/>
                    <a:pt x="341" y="125"/>
                    <a:pt x="344" y="128"/>
                  </a:cubicBezTo>
                  <a:cubicBezTo>
                    <a:pt x="347" y="131"/>
                    <a:pt x="347" y="128"/>
                    <a:pt x="344" y="125"/>
                  </a:cubicBezTo>
                  <a:cubicBezTo>
                    <a:pt x="341" y="120"/>
                    <a:pt x="346" y="114"/>
                    <a:pt x="338" y="109"/>
                  </a:cubicBezTo>
                  <a:cubicBezTo>
                    <a:pt x="331" y="106"/>
                    <a:pt x="334" y="114"/>
                    <a:pt x="331" y="111"/>
                  </a:cubicBezTo>
                  <a:cubicBezTo>
                    <a:pt x="326" y="109"/>
                    <a:pt x="323" y="109"/>
                    <a:pt x="319" y="111"/>
                  </a:cubicBezTo>
                  <a:cubicBezTo>
                    <a:pt x="314" y="112"/>
                    <a:pt x="320" y="114"/>
                    <a:pt x="326" y="121"/>
                  </a:cubicBezTo>
                  <a:cubicBezTo>
                    <a:pt x="312" y="115"/>
                    <a:pt x="320" y="114"/>
                    <a:pt x="312" y="112"/>
                  </a:cubicBezTo>
                  <a:cubicBezTo>
                    <a:pt x="305" y="112"/>
                    <a:pt x="306" y="114"/>
                    <a:pt x="311" y="120"/>
                  </a:cubicBezTo>
                  <a:cubicBezTo>
                    <a:pt x="316" y="125"/>
                    <a:pt x="311" y="120"/>
                    <a:pt x="308" y="121"/>
                  </a:cubicBezTo>
                  <a:cubicBezTo>
                    <a:pt x="306" y="125"/>
                    <a:pt x="300" y="123"/>
                    <a:pt x="303" y="126"/>
                  </a:cubicBezTo>
                  <a:cubicBezTo>
                    <a:pt x="305" y="129"/>
                    <a:pt x="323" y="125"/>
                    <a:pt x="329" y="125"/>
                  </a:cubicBezTo>
                  <a:cubicBezTo>
                    <a:pt x="334" y="125"/>
                    <a:pt x="317" y="126"/>
                    <a:pt x="320" y="131"/>
                  </a:cubicBezTo>
                  <a:cubicBezTo>
                    <a:pt x="323" y="134"/>
                    <a:pt x="320" y="138"/>
                    <a:pt x="326" y="135"/>
                  </a:cubicBezTo>
                  <a:cubicBezTo>
                    <a:pt x="329" y="134"/>
                    <a:pt x="329" y="135"/>
                    <a:pt x="335" y="135"/>
                  </a:cubicBezTo>
                  <a:close/>
                  <a:moveTo>
                    <a:pt x="623" y="518"/>
                  </a:moveTo>
                  <a:cubicBezTo>
                    <a:pt x="623" y="515"/>
                    <a:pt x="626" y="515"/>
                    <a:pt x="625" y="515"/>
                  </a:cubicBezTo>
                  <a:cubicBezTo>
                    <a:pt x="625" y="513"/>
                    <a:pt x="618" y="515"/>
                    <a:pt x="612" y="513"/>
                  </a:cubicBezTo>
                  <a:cubicBezTo>
                    <a:pt x="608" y="512"/>
                    <a:pt x="611" y="505"/>
                    <a:pt x="608" y="510"/>
                  </a:cubicBezTo>
                  <a:cubicBezTo>
                    <a:pt x="605" y="515"/>
                    <a:pt x="609" y="512"/>
                    <a:pt x="608" y="515"/>
                  </a:cubicBezTo>
                  <a:cubicBezTo>
                    <a:pt x="608" y="516"/>
                    <a:pt x="611" y="515"/>
                    <a:pt x="612" y="516"/>
                  </a:cubicBezTo>
                  <a:cubicBezTo>
                    <a:pt x="614" y="518"/>
                    <a:pt x="614" y="516"/>
                    <a:pt x="622" y="519"/>
                  </a:cubicBezTo>
                  <a:cubicBezTo>
                    <a:pt x="623" y="521"/>
                    <a:pt x="623" y="521"/>
                    <a:pt x="623" y="518"/>
                  </a:cubicBezTo>
                  <a:close/>
                  <a:moveTo>
                    <a:pt x="635" y="521"/>
                  </a:moveTo>
                  <a:cubicBezTo>
                    <a:pt x="635" y="518"/>
                    <a:pt x="637" y="518"/>
                    <a:pt x="637" y="522"/>
                  </a:cubicBezTo>
                  <a:cubicBezTo>
                    <a:pt x="635" y="527"/>
                    <a:pt x="637" y="526"/>
                    <a:pt x="640" y="522"/>
                  </a:cubicBezTo>
                  <a:cubicBezTo>
                    <a:pt x="643" y="521"/>
                    <a:pt x="646" y="518"/>
                    <a:pt x="643" y="518"/>
                  </a:cubicBezTo>
                  <a:cubicBezTo>
                    <a:pt x="640" y="516"/>
                    <a:pt x="638" y="516"/>
                    <a:pt x="640" y="512"/>
                  </a:cubicBezTo>
                  <a:cubicBezTo>
                    <a:pt x="640" y="507"/>
                    <a:pt x="638" y="507"/>
                    <a:pt x="635" y="512"/>
                  </a:cubicBezTo>
                  <a:cubicBezTo>
                    <a:pt x="632" y="516"/>
                    <a:pt x="629" y="519"/>
                    <a:pt x="631" y="524"/>
                  </a:cubicBezTo>
                  <a:cubicBezTo>
                    <a:pt x="632" y="527"/>
                    <a:pt x="634" y="526"/>
                    <a:pt x="635" y="521"/>
                  </a:cubicBezTo>
                  <a:close/>
                  <a:moveTo>
                    <a:pt x="611" y="474"/>
                  </a:moveTo>
                  <a:cubicBezTo>
                    <a:pt x="600" y="473"/>
                    <a:pt x="609" y="476"/>
                    <a:pt x="612" y="479"/>
                  </a:cubicBezTo>
                  <a:cubicBezTo>
                    <a:pt x="615" y="482"/>
                    <a:pt x="626" y="487"/>
                    <a:pt x="629" y="484"/>
                  </a:cubicBezTo>
                  <a:cubicBezTo>
                    <a:pt x="629" y="480"/>
                    <a:pt x="620" y="476"/>
                    <a:pt x="611" y="474"/>
                  </a:cubicBezTo>
                  <a:close/>
                  <a:moveTo>
                    <a:pt x="655" y="501"/>
                  </a:moveTo>
                  <a:cubicBezTo>
                    <a:pt x="660" y="498"/>
                    <a:pt x="660" y="502"/>
                    <a:pt x="669" y="501"/>
                  </a:cubicBezTo>
                  <a:cubicBezTo>
                    <a:pt x="679" y="499"/>
                    <a:pt x="669" y="504"/>
                    <a:pt x="678" y="502"/>
                  </a:cubicBezTo>
                  <a:cubicBezTo>
                    <a:pt x="687" y="501"/>
                    <a:pt x="673" y="507"/>
                    <a:pt x="673" y="508"/>
                  </a:cubicBezTo>
                  <a:cubicBezTo>
                    <a:pt x="673" y="512"/>
                    <a:pt x="678" y="512"/>
                    <a:pt x="681" y="507"/>
                  </a:cubicBezTo>
                  <a:cubicBezTo>
                    <a:pt x="684" y="501"/>
                    <a:pt x="685" y="505"/>
                    <a:pt x="687" y="501"/>
                  </a:cubicBezTo>
                  <a:cubicBezTo>
                    <a:pt x="690" y="496"/>
                    <a:pt x="692" y="499"/>
                    <a:pt x="690" y="504"/>
                  </a:cubicBezTo>
                  <a:cubicBezTo>
                    <a:pt x="689" y="508"/>
                    <a:pt x="687" y="512"/>
                    <a:pt x="690" y="508"/>
                  </a:cubicBezTo>
                  <a:cubicBezTo>
                    <a:pt x="695" y="505"/>
                    <a:pt x="692" y="512"/>
                    <a:pt x="696" y="512"/>
                  </a:cubicBezTo>
                  <a:cubicBezTo>
                    <a:pt x="702" y="512"/>
                    <a:pt x="698" y="510"/>
                    <a:pt x="701" y="502"/>
                  </a:cubicBezTo>
                  <a:cubicBezTo>
                    <a:pt x="702" y="494"/>
                    <a:pt x="695" y="502"/>
                    <a:pt x="699" y="496"/>
                  </a:cubicBezTo>
                  <a:cubicBezTo>
                    <a:pt x="702" y="491"/>
                    <a:pt x="696" y="494"/>
                    <a:pt x="693" y="499"/>
                  </a:cubicBezTo>
                  <a:cubicBezTo>
                    <a:pt x="692" y="504"/>
                    <a:pt x="692" y="496"/>
                    <a:pt x="695" y="493"/>
                  </a:cubicBezTo>
                  <a:cubicBezTo>
                    <a:pt x="699" y="491"/>
                    <a:pt x="699" y="488"/>
                    <a:pt x="696" y="490"/>
                  </a:cubicBezTo>
                  <a:cubicBezTo>
                    <a:pt x="693" y="491"/>
                    <a:pt x="689" y="488"/>
                    <a:pt x="693" y="485"/>
                  </a:cubicBezTo>
                  <a:cubicBezTo>
                    <a:pt x="696" y="480"/>
                    <a:pt x="692" y="477"/>
                    <a:pt x="684" y="480"/>
                  </a:cubicBezTo>
                  <a:cubicBezTo>
                    <a:pt x="676" y="482"/>
                    <a:pt x="682" y="477"/>
                    <a:pt x="678" y="479"/>
                  </a:cubicBezTo>
                  <a:cubicBezTo>
                    <a:pt x="673" y="480"/>
                    <a:pt x="673" y="474"/>
                    <a:pt x="676" y="474"/>
                  </a:cubicBezTo>
                  <a:cubicBezTo>
                    <a:pt x="679" y="474"/>
                    <a:pt x="675" y="468"/>
                    <a:pt x="670" y="474"/>
                  </a:cubicBezTo>
                  <a:cubicBezTo>
                    <a:pt x="666" y="479"/>
                    <a:pt x="669" y="471"/>
                    <a:pt x="672" y="465"/>
                  </a:cubicBezTo>
                  <a:cubicBezTo>
                    <a:pt x="672" y="465"/>
                    <a:pt x="676" y="459"/>
                    <a:pt x="678" y="456"/>
                  </a:cubicBezTo>
                  <a:cubicBezTo>
                    <a:pt x="679" y="454"/>
                    <a:pt x="678" y="451"/>
                    <a:pt x="672" y="454"/>
                  </a:cubicBezTo>
                  <a:cubicBezTo>
                    <a:pt x="666" y="457"/>
                    <a:pt x="669" y="460"/>
                    <a:pt x="666" y="462"/>
                  </a:cubicBezTo>
                  <a:cubicBezTo>
                    <a:pt x="663" y="463"/>
                    <a:pt x="660" y="474"/>
                    <a:pt x="655" y="484"/>
                  </a:cubicBezTo>
                  <a:cubicBezTo>
                    <a:pt x="650" y="491"/>
                    <a:pt x="653" y="485"/>
                    <a:pt x="650" y="488"/>
                  </a:cubicBezTo>
                  <a:cubicBezTo>
                    <a:pt x="647" y="491"/>
                    <a:pt x="647" y="491"/>
                    <a:pt x="652" y="491"/>
                  </a:cubicBezTo>
                  <a:cubicBezTo>
                    <a:pt x="657" y="493"/>
                    <a:pt x="644" y="496"/>
                    <a:pt x="647" y="499"/>
                  </a:cubicBezTo>
                  <a:cubicBezTo>
                    <a:pt x="649" y="501"/>
                    <a:pt x="649" y="502"/>
                    <a:pt x="655" y="501"/>
                  </a:cubicBezTo>
                  <a:close/>
                  <a:moveTo>
                    <a:pt x="363" y="485"/>
                  </a:moveTo>
                  <a:cubicBezTo>
                    <a:pt x="364" y="485"/>
                    <a:pt x="363" y="479"/>
                    <a:pt x="364" y="480"/>
                  </a:cubicBezTo>
                  <a:cubicBezTo>
                    <a:pt x="366" y="480"/>
                    <a:pt x="366" y="482"/>
                    <a:pt x="367" y="485"/>
                  </a:cubicBezTo>
                  <a:cubicBezTo>
                    <a:pt x="367" y="490"/>
                    <a:pt x="372" y="487"/>
                    <a:pt x="373" y="490"/>
                  </a:cubicBezTo>
                  <a:cubicBezTo>
                    <a:pt x="375" y="491"/>
                    <a:pt x="375" y="487"/>
                    <a:pt x="381" y="490"/>
                  </a:cubicBezTo>
                  <a:cubicBezTo>
                    <a:pt x="387" y="491"/>
                    <a:pt x="384" y="494"/>
                    <a:pt x="386" y="493"/>
                  </a:cubicBezTo>
                  <a:cubicBezTo>
                    <a:pt x="389" y="491"/>
                    <a:pt x="390" y="498"/>
                    <a:pt x="393" y="494"/>
                  </a:cubicBezTo>
                  <a:cubicBezTo>
                    <a:pt x="399" y="493"/>
                    <a:pt x="396" y="496"/>
                    <a:pt x="401" y="494"/>
                  </a:cubicBezTo>
                  <a:cubicBezTo>
                    <a:pt x="405" y="494"/>
                    <a:pt x="402" y="496"/>
                    <a:pt x="407" y="496"/>
                  </a:cubicBezTo>
                  <a:cubicBezTo>
                    <a:pt x="408" y="496"/>
                    <a:pt x="408" y="496"/>
                    <a:pt x="408" y="496"/>
                  </a:cubicBezTo>
                  <a:cubicBezTo>
                    <a:pt x="410" y="494"/>
                    <a:pt x="410" y="493"/>
                    <a:pt x="410" y="491"/>
                  </a:cubicBezTo>
                  <a:cubicBezTo>
                    <a:pt x="411" y="490"/>
                    <a:pt x="414" y="488"/>
                    <a:pt x="413" y="491"/>
                  </a:cubicBezTo>
                  <a:cubicBezTo>
                    <a:pt x="411" y="493"/>
                    <a:pt x="414" y="491"/>
                    <a:pt x="416" y="488"/>
                  </a:cubicBezTo>
                  <a:cubicBezTo>
                    <a:pt x="416" y="484"/>
                    <a:pt x="418" y="487"/>
                    <a:pt x="416" y="488"/>
                  </a:cubicBezTo>
                  <a:cubicBezTo>
                    <a:pt x="414" y="491"/>
                    <a:pt x="416" y="491"/>
                    <a:pt x="418" y="490"/>
                  </a:cubicBezTo>
                  <a:cubicBezTo>
                    <a:pt x="421" y="488"/>
                    <a:pt x="418" y="485"/>
                    <a:pt x="419" y="485"/>
                  </a:cubicBezTo>
                  <a:cubicBezTo>
                    <a:pt x="421" y="484"/>
                    <a:pt x="424" y="487"/>
                    <a:pt x="427" y="487"/>
                  </a:cubicBezTo>
                  <a:cubicBezTo>
                    <a:pt x="430" y="487"/>
                    <a:pt x="428" y="488"/>
                    <a:pt x="431" y="487"/>
                  </a:cubicBezTo>
                  <a:cubicBezTo>
                    <a:pt x="434" y="487"/>
                    <a:pt x="433" y="494"/>
                    <a:pt x="437" y="496"/>
                  </a:cubicBezTo>
                  <a:cubicBezTo>
                    <a:pt x="440" y="498"/>
                    <a:pt x="446" y="494"/>
                    <a:pt x="443" y="499"/>
                  </a:cubicBezTo>
                  <a:cubicBezTo>
                    <a:pt x="443" y="501"/>
                    <a:pt x="445" y="502"/>
                    <a:pt x="446" y="504"/>
                  </a:cubicBezTo>
                  <a:cubicBezTo>
                    <a:pt x="448" y="505"/>
                    <a:pt x="445" y="507"/>
                    <a:pt x="446" y="508"/>
                  </a:cubicBezTo>
                  <a:cubicBezTo>
                    <a:pt x="448" y="510"/>
                    <a:pt x="446" y="508"/>
                    <a:pt x="448" y="508"/>
                  </a:cubicBezTo>
                  <a:cubicBezTo>
                    <a:pt x="449" y="510"/>
                    <a:pt x="446" y="508"/>
                    <a:pt x="446" y="512"/>
                  </a:cubicBezTo>
                  <a:cubicBezTo>
                    <a:pt x="446" y="515"/>
                    <a:pt x="451" y="512"/>
                    <a:pt x="451" y="515"/>
                  </a:cubicBezTo>
                  <a:cubicBezTo>
                    <a:pt x="451" y="516"/>
                    <a:pt x="453" y="515"/>
                    <a:pt x="456" y="516"/>
                  </a:cubicBezTo>
                  <a:cubicBezTo>
                    <a:pt x="459" y="518"/>
                    <a:pt x="463" y="518"/>
                    <a:pt x="466" y="518"/>
                  </a:cubicBezTo>
                  <a:cubicBezTo>
                    <a:pt x="469" y="518"/>
                    <a:pt x="471" y="518"/>
                    <a:pt x="471" y="519"/>
                  </a:cubicBezTo>
                  <a:cubicBezTo>
                    <a:pt x="471" y="521"/>
                    <a:pt x="472" y="519"/>
                    <a:pt x="475" y="519"/>
                  </a:cubicBezTo>
                  <a:cubicBezTo>
                    <a:pt x="478" y="519"/>
                    <a:pt x="480" y="527"/>
                    <a:pt x="481" y="527"/>
                  </a:cubicBezTo>
                  <a:cubicBezTo>
                    <a:pt x="483" y="526"/>
                    <a:pt x="483" y="526"/>
                    <a:pt x="483" y="529"/>
                  </a:cubicBezTo>
                  <a:cubicBezTo>
                    <a:pt x="483" y="530"/>
                    <a:pt x="486" y="532"/>
                    <a:pt x="486" y="533"/>
                  </a:cubicBezTo>
                  <a:cubicBezTo>
                    <a:pt x="486" y="535"/>
                    <a:pt x="483" y="532"/>
                    <a:pt x="483" y="533"/>
                  </a:cubicBezTo>
                  <a:cubicBezTo>
                    <a:pt x="481" y="533"/>
                    <a:pt x="484" y="536"/>
                    <a:pt x="483" y="536"/>
                  </a:cubicBezTo>
                  <a:cubicBezTo>
                    <a:pt x="481" y="538"/>
                    <a:pt x="478" y="533"/>
                    <a:pt x="477" y="535"/>
                  </a:cubicBezTo>
                  <a:cubicBezTo>
                    <a:pt x="475" y="536"/>
                    <a:pt x="477" y="533"/>
                    <a:pt x="475" y="533"/>
                  </a:cubicBezTo>
                  <a:cubicBezTo>
                    <a:pt x="474" y="533"/>
                    <a:pt x="477" y="532"/>
                    <a:pt x="474" y="532"/>
                  </a:cubicBezTo>
                  <a:cubicBezTo>
                    <a:pt x="472" y="532"/>
                    <a:pt x="474" y="529"/>
                    <a:pt x="472" y="529"/>
                  </a:cubicBezTo>
                  <a:cubicBezTo>
                    <a:pt x="471" y="529"/>
                    <a:pt x="471" y="527"/>
                    <a:pt x="469" y="527"/>
                  </a:cubicBezTo>
                  <a:cubicBezTo>
                    <a:pt x="469" y="529"/>
                    <a:pt x="472" y="530"/>
                    <a:pt x="474" y="533"/>
                  </a:cubicBezTo>
                  <a:cubicBezTo>
                    <a:pt x="474" y="538"/>
                    <a:pt x="469" y="538"/>
                    <a:pt x="469" y="544"/>
                  </a:cubicBezTo>
                  <a:cubicBezTo>
                    <a:pt x="471" y="550"/>
                    <a:pt x="469" y="550"/>
                    <a:pt x="465" y="554"/>
                  </a:cubicBezTo>
                  <a:cubicBezTo>
                    <a:pt x="465" y="555"/>
                    <a:pt x="463" y="555"/>
                    <a:pt x="463" y="557"/>
                  </a:cubicBezTo>
                  <a:cubicBezTo>
                    <a:pt x="463" y="558"/>
                    <a:pt x="463" y="558"/>
                    <a:pt x="463" y="558"/>
                  </a:cubicBezTo>
                  <a:cubicBezTo>
                    <a:pt x="466" y="560"/>
                    <a:pt x="463" y="561"/>
                    <a:pt x="460" y="561"/>
                  </a:cubicBezTo>
                  <a:cubicBezTo>
                    <a:pt x="457" y="561"/>
                    <a:pt x="459" y="564"/>
                    <a:pt x="460" y="564"/>
                  </a:cubicBezTo>
                  <a:cubicBezTo>
                    <a:pt x="463" y="564"/>
                    <a:pt x="463" y="566"/>
                    <a:pt x="463" y="564"/>
                  </a:cubicBezTo>
                  <a:cubicBezTo>
                    <a:pt x="465" y="563"/>
                    <a:pt x="466" y="563"/>
                    <a:pt x="468" y="563"/>
                  </a:cubicBezTo>
                  <a:cubicBezTo>
                    <a:pt x="469" y="561"/>
                    <a:pt x="471" y="557"/>
                    <a:pt x="477" y="558"/>
                  </a:cubicBezTo>
                  <a:cubicBezTo>
                    <a:pt x="484" y="560"/>
                    <a:pt x="480" y="558"/>
                    <a:pt x="480" y="557"/>
                  </a:cubicBezTo>
                  <a:cubicBezTo>
                    <a:pt x="481" y="557"/>
                    <a:pt x="483" y="555"/>
                    <a:pt x="486" y="555"/>
                  </a:cubicBezTo>
                  <a:cubicBezTo>
                    <a:pt x="489" y="555"/>
                    <a:pt x="491" y="555"/>
                    <a:pt x="491" y="555"/>
                  </a:cubicBezTo>
                  <a:cubicBezTo>
                    <a:pt x="491" y="554"/>
                    <a:pt x="492" y="554"/>
                    <a:pt x="492" y="554"/>
                  </a:cubicBezTo>
                  <a:cubicBezTo>
                    <a:pt x="489" y="552"/>
                    <a:pt x="489" y="552"/>
                    <a:pt x="489" y="552"/>
                  </a:cubicBezTo>
                  <a:cubicBezTo>
                    <a:pt x="488" y="552"/>
                    <a:pt x="484" y="552"/>
                    <a:pt x="486" y="549"/>
                  </a:cubicBezTo>
                  <a:cubicBezTo>
                    <a:pt x="488" y="546"/>
                    <a:pt x="489" y="547"/>
                    <a:pt x="489" y="546"/>
                  </a:cubicBezTo>
                  <a:cubicBezTo>
                    <a:pt x="491" y="544"/>
                    <a:pt x="494" y="544"/>
                    <a:pt x="498" y="543"/>
                  </a:cubicBezTo>
                  <a:cubicBezTo>
                    <a:pt x="503" y="541"/>
                    <a:pt x="501" y="541"/>
                    <a:pt x="504" y="543"/>
                  </a:cubicBezTo>
                  <a:cubicBezTo>
                    <a:pt x="509" y="546"/>
                    <a:pt x="507" y="543"/>
                    <a:pt x="509" y="541"/>
                  </a:cubicBezTo>
                  <a:cubicBezTo>
                    <a:pt x="512" y="540"/>
                    <a:pt x="513" y="538"/>
                    <a:pt x="516" y="536"/>
                  </a:cubicBezTo>
                  <a:cubicBezTo>
                    <a:pt x="519" y="533"/>
                    <a:pt x="524" y="530"/>
                    <a:pt x="526" y="530"/>
                  </a:cubicBezTo>
                  <a:cubicBezTo>
                    <a:pt x="526" y="532"/>
                    <a:pt x="527" y="530"/>
                    <a:pt x="529" y="530"/>
                  </a:cubicBezTo>
                  <a:cubicBezTo>
                    <a:pt x="551" y="530"/>
                    <a:pt x="551" y="530"/>
                    <a:pt x="551" y="530"/>
                  </a:cubicBezTo>
                  <a:cubicBezTo>
                    <a:pt x="551" y="527"/>
                    <a:pt x="551" y="527"/>
                    <a:pt x="553" y="527"/>
                  </a:cubicBezTo>
                  <a:cubicBezTo>
                    <a:pt x="555" y="529"/>
                    <a:pt x="555" y="527"/>
                    <a:pt x="555" y="527"/>
                  </a:cubicBezTo>
                  <a:cubicBezTo>
                    <a:pt x="556" y="529"/>
                    <a:pt x="556" y="526"/>
                    <a:pt x="558" y="526"/>
                  </a:cubicBezTo>
                  <a:cubicBezTo>
                    <a:pt x="559" y="526"/>
                    <a:pt x="555" y="526"/>
                    <a:pt x="558" y="524"/>
                  </a:cubicBezTo>
                  <a:cubicBezTo>
                    <a:pt x="561" y="521"/>
                    <a:pt x="558" y="522"/>
                    <a:pt x="561" y="521"/>
                  </a:cubicBezTo>
                  <a:cubicBezTo>
                    <a:pt x="562" y="519"/>
                    <a:pt x="559" y="518"/>
                    <a:pt x="562" y="515"/>
                  </a:cubicBezTo>
                  <a:cubicBezTo>
                    <a:pt x="564" y="513"/>
                    <a:pt x="561" y="513"/>
                    <a:pt x="564" y="510"/>
                  </a:cubicBezTo>
                  <a:cubicBezTo>
                    <a:pt x="565" y="507"/>
                    <a:pt x="568" y="502"/>
                    <a:pt x="568" y="502"/>
                  </a:cubicBezTo>
                  <a:cubicBezTo>
                    <a:pt x="568" y="502"/>
                    <a:pt x="570" y="502"/>
                    <a:pt x="570" y="504"/>
                  </a:cubicBezTo>
                  <a:cubicBezTo>
                    <a:pt x="570" y="505"/>
                    <a:pt x="571" y="505"/>
                    <a:pt x="573" y="505"/>
                  </a:cubicBezTo>
                  <a:cubicBezTo>
                    <a:pt x="574" y="504"/>
                    <a:pt x="576" y="502"/>
                    <a:pt x="577" y="505"/>
                  </a:cubicBezTo>
                  <a:cubicBezTo>
                    <a:pt x="580" y="507"/>
                    <a:pt x="580" y="507"/>
                    <a:pt x="580" y="510"/>
                  </a:cubicBezTo>
                  <a:cubicBezTo>
                    <a:pt x="580" y="512"/>
                    <a:pt x="580" y="519"/>
                    <a:pt x="580" y="521"/>
                  </a:cubicBezTo>
                  <a:cubicBezTo>
                    <a:pt x="580" y="522"/>
                    <a:pt x="579" y="522"/>
                    <a:pt x="580" y="522"/>
                  </a:cubicBezTo>
                  <a:cubicBezTo>
                    <a:pt x="582" y="524"/>
                    <a:pt x="582" y="524"/>
                    <a:pt x="582" y="524"/>
                  </a:cubicBezTo>
                  <a:cubicBezTo>
                    <a:pt x="583" y="524"/>
                    <a:pt x="583" y="524"/>
                    <a:pt x="583" y="526"/>
                  </a:cubicBezTo>
                  <a:cubicBezTo>
                    <a:pt x="583" y="527"/>
                    <a:pt x="583" y="529"/>
                    <a:pt x="585" y="529"/>
                  </a:cubicBezTo>
                  <a:cubicBezTo>
                    <a:pt x="591" y="532"/>
                    <a:pt x="594" y="529"/>
                    <a:pt x="600" y="526"/>
                  </a:cubicBezTo>
                  <a:cubicBezTo>
                    <a:pt x="606" y="522"/>
                    <a:pt x="599" y="527"/>
                    <a:pt x="609" y="526"/>
                  </a:cubicBezTo>
                  <a:cubicBezTo>
                    <a:pt x="617" y="526"/>
                    <a:pt x="608" y="527"/>
                    <a:pt x="602" y="530"/>
                  </a:cubicBezTo>
                  <a:cubicBezTo>
                    <a:pt x="596" y="533"/>
                    <a:pt x="591" y="540"/>
                    <a:pt x="594" y="546"/>
                  </a:cubicBezTo>
                  <a:cubicBezTo>
                    <a:pt x="597" y="552"/>
                    <a:pt x="602" y="547"/>
                    <a:pt x="606" y="540"/>
                  </a:cubicBezTo>
                  <a:cubicBezTo>
                    <a:pt x="612" y="533"/>
                    <a:pt x="612" y="540"/>
                    <a:pt x="620" y="533"/>
                  </a:cubicBezTo>
                  <a:cubicBezTo>
                    <a:pt x="626" y="529"/>
                    <a:pt x="635" y="530"/>
                    <a:pt x="632" y="527"/>
                  </a:cubicBezTo>
                  <a:cubicBezTo>
                    <a:pt x="629" y="524"/>
                    <a:pt x="628" y="521"/>
                    <a:pt x="625" y="522"/>
                  </a:cubicBezTo>
                  <a:cubicBezTo>
                    <a:pt x="622" y="524"/>
                    <a:pt x="611" y="521"/>
                    <a:pt x="611" y="519"/>
                  </a:cubicBezTo>
                  <a:cubicBezTo>
                    <a:pt x="612" y="516"/>
                    <a:pt x="606" y="519"/>
                    <a:pt x="605" y="512"/>
                  </a:cubicBezTo>
                  <a:cubicBezTo>
                    <a:pt x="602" y="502"/>
                    <a:pt x="608" y="496"/>
                    <a:pt x="602" y="498"/>
                  </a:cubicBezTo>
                  <a:cubicBezTo>
                    <a:pt x="593" y="501"/>
                    <a:pt x="599" y="498"/>
                    <a:pt x="605" y="493"/>
                  </a:cubicBezTo>
                  <a:cubicBezTo>
                    <a:pt x="609" y="490"/>
                    <a:pt x="611" y="487"/>
                    <a:pt x="605" y="484"/>
                  </a:cubicBezTo>
                  <a:cubicBezTo>
                    <a:pt x="600" y="479"/>
                    <a:pt x="574" y="487"/>
                    <a:pt x="568" y="494"/>
                  </a:cubicBezTo>
                  <a:cubicBezTo>
                    <a:pt x="561" y="508"/>
                    <a:pt x="551" y="513"/>
                    <a:pt x="556" y="508"/>
                  </a:cubicBezTo>
                  <a:cubicBezTo>
                    <a:pt x="561" y="504"/>
                    <a:pt x="568" y="487"/>
                    <a:pt x="579" y="482"/>
                  </a:cubicBezTo>
                  <a:cubicBezTo>
                    <a:pt x="593" y="477"/>
                    <a:pt x="577" y="473"/>
                    <a:pt x="599" y="470"/>
                  </a:cubicBezTo>
                  <a:cubicBezTo>
                    <a:pt x="626" y="465"/>
                    <a:pt x="631" y="480"/>
                    <a:pt x="649" y="463"/>
                  </a:cubicBezTo>
                  <a:cubicBezTo>
                    <a:pt x="666" y="448"/>
                    <a:pt x="663" y="460"/>
                    <a:pt x="667" y="454"/>
                  </a:cubicBezTo>
                  <a:cubicBezTo>
                    <a:pt x="673" y="448"/>
                    <a:pt x="679" y="449"/>
                    <a:pt x="675" y="442"/>
                  </a:cubicBezTo>
                  <a:cubicBezTo>
                    <a:pt x="672" y="434"/>
                    <a:pt x="678" y="438"/>
                    <a:pt x="675" y="432"/>
                  </a:cubicBezTo>
                  <a:cubicBezTo>
                    <a:pt x="672" y="426"/>
                    <a:pt x="669" y="431"/>
                    <a:pt x="664" y="425"/>
                  </a:cubicBezTo>
                  <a:cubicBezTo>
                    <a:pt x="660" y="418"/>
                    <a:pt x="655" y="423"/>
                    <a:pt x="647" y="429"/>
                  </a:cubicBezTo>
                  <a:cubicBezTo>
                    <a:pt x="638" y="435"/>
                    <a:pt x="637" y="428"/>
                    <a:pt x="644" y="426"/>
                  </a:cubicBezTo>
                  <a:cubicBezTo>
                    <a:pt x="652" y="425"/>
                    <a:pt x="650" y="421"/>
                    <a:pt x="658" y="420"/>
                  </a:cubicBezTo>
                  <a:cubicBezTo>
                    <a:pt x="666" y="418"/>
                    <a:pt x="663" y="415"/>
                    <a:pt x="655" y="414"/>
                  </a:cubicBezTo>
                  <a:cubicBezTo>
                    <a:pt x="647" y="414"/>
                    <a:pt x="653" y="411"/>
                    <a:pt x="644" y="409"/>
                  </a:cubicBezTo>
                  <a:cubicBezTo>
                    <a:pt x="635" y="407"/>
                    <a:pt x="643" y="404"/>
                    <a:pt x="637" y="401"/>
                  </a:cubicBezTo>
                  <a:cubicBezTo>
                    <a:pt x="631" y="398"/>
                    <a:pt x="626" y="395"/>
                    <a:pt x="631" y="389"/>
                  </a:cubicBezTo>
                  <a:cubicBezTo>
                    <a:pt x="634" y="381"/>
                    <a:pt x="622" y="384"/>
                    <a:pt x="626" y="379"/>
                  </a:cubicBezTo>
                  <a:cubicBezTo>
                    <a:pt x="629" y="375"/>
                    <a:pt x="622" y="375"/>
                    <a:pt x="620" y="367"/>
                  </a:cubicBezTo>
                  <a:cubicBezTo>
                    <a:pt x="620" y="361"/>
                    <a:pt x="618" y="365"/>
                    <a:pt x="617" y="361"/>
                  </a:cubicBezTo>
                  <a:cubicBezTo>
                    <a:pt x="615" y="355"/>
                    <a:pt x="614" y="359"/>
                    <a:pt x="609" y="350"/>
                  </a:cubicBezTo>
                  <a:cubicBezTo>
                    <a:pt x="605" y="341"/>
                    <a:pt x="605" y="344"/>
                    <a:pt x="600" y="350"/>
                  </a:cubicBezTo>
                  <a:cubicBezTo>
                    <a:pt x="596" y="355"/>
                    <a:pt x="599" y="365"/>
                    <a:pt x="593" y="364"/>
                  </a:cubicBezTo>
                  <a:cubicBezTo>
                    <a:pt x="585" y="362"/>
                    <a:pt x="593" y="365"/>
                    <a:pt x="585" y="369"/>
                  </a:cubicBezTo>
                  <a:cubicBezTo>
                    <a:pt x="576" y="372"/>
                    <a:pt x="579" y="362"/>
                    <a:pt x="570" y="362"/>
                  </a:cubicBezTo>
                  <a:cubicBezTo>
                    <a:pt x="562" y="362"/>
                    <a:pt x="571" y="359"/>
                    <a:pt x="567" y="358"/>
                  </a:cubicBezTo>
                  <a:cubicBezTo>
                    <a:pt x="562" y="355"/>
                    <a:pt x="568" y="355"/>
                    <a:pt x="565" y="348"/>
                  </a:cubicBezTo>
                  <a:cubicBezTo>
                    <a:pt x="562" y="344"/>
                    <a:pt x="570" y="337"/>
                    <a:pt x="567" y="334"/>
                  </a:cubicBezTo>
                  <a:cubicBezTo>
                    <a:pt x="564" y="331"/>
                    <a:pt x="564" y="339"/>
                    <a:pt x="562" y="336"/>
                  </a:cubicBezTo>
                  <a:cubicBezTo>
                    <a:pt x="561" y="333"/>
                    <a:pt x="550" y="333"/>
                    <a:pt x="550" y="330"/>
                  </a:cubicBezTo>
                  <a:cubicBezTo>
                    <a:pt x="551" y="325"/>
                    <a:pt x="545" y="323"/>
                    <a:pt x="538" y="317"/>
                  </a:cubicBezTo>
                  <a:cubicBezTo>
                    <a:pt x="526" y="309"/>
                    <a:pt x="536" y="327"/>
                    <a:pt x="509" y="314"/>
                  </a:cubicBezTo>
                  <a:cubicBezTo>
                    <a:pt x="497" y="309"/>
                    <a:pt x="497" y="323"/>
                    <a:pt x="500" y="325"/>
                  </a:cubicBezTo>
                  <a:cubicBezTo>
                    <a:pt x="503" y="328"/>
                    <a:pt x="501" y="333"/>
                    <a:pt x="500" y="336"/>
                  </a:cubicBezTo>
                  <a:cubicBezTo>
                    <a:pt x="497" y="339"/>
                    <a:pt x="500" y="337"/>
                    <a:pt x="503" y="345"/>
                  </a:cubicBezTo>
                  <a:cubicBezTo>
                    <a:pt x="506" y="351"/>
                    <a:pt x="503" y="351"/>
                    <a:pt x="501" y="356"/>
                  </a:cubicBezTo>
                  <a:cubicBezTo>
                    <a:pt x="500" y="361"/>
                    <a:pt x="497" y="358"/>
                    <a:pt x="495" y="364"/>
                  </a:cubicBezTo>
                  <a:cubicBezTo>
                    <a:pt x="494" y="370"/>
                    <a:pt x="506" y="367"/>
                    <a:pt x="510" y="384"/>
                  </a:cubicBezTo>
                  <a:cubicBezTo>
                    <a:pt x="515" y="401"/>
                    <a:pt x="500" y="411"/>
                    <a:pt x="491" y="414"/>
                  </a:cubicBezTo>
                  <a:cubicBezTo>
                    <a:pt x="480" y="418"/>
                    <a:pt x="491" y="418"/>
                    <a:pt x="491" y="428"/>
                  </a:cubicBezTo>
                  <a:cubicBezTo>
                    <a:pt x="491" y="435"/>
                    <a:pt x="498" y="446"/>
                    <a:pt x="494" y="448"/>
                  </a:cubicBezTo>
                  <a:cubicBezTo>
                    <a:pt x="489" y="451"/>
                    <a:pt x="497" y="459"/>
                    <a:pt x="491" y="454"/>
                  </a:cubicBezTo>
                  <a:cubicBezTo>
                    <a:pt x="483" y="449"/>
                    <a:pt x="489" y="463"/>
                    <a:pt x="483" y="459"/>
                  </a:cubicBezTo>
                  <a:cubicBezTo>
                    <a:pt x="477" y="454"/>
                    <a:pt x="481" y="452"/>
                    <a:pt x="469" y="442"/>
                  </a:cubicBezTo>
                  <a:cubicBezTo>
                    <a:pt x="462" y="435"/>
                    <a:pt x="468" y="431"/>
                    <a:pt x="465" y="425"/>
                  </a:cubicBezTo>
                  <a:cubicBezTo>
                    <a:pt x="462" y="415"/>
                    <a:pt x="471" y="412"/>
                    <a:pt x="462" y="411"/>
                  </a:cubicBezTo>
                  <a:cubicBezTo>
                    <a:pt x="446" y="406"/>
                    <a:pt x="446" y="411"/>
                    <a:pt x="443" y="409"/>
                  </a:cubicBezTo>
                  <a:cubicBezTo>
                    <a:pt x="439" y="407"/>
                    <a:pt x="442" y="404"/>
                    <a:pt x="428" y="401"/>
                  </a:cubicBezTo>
                  <a:cubicBezTo>
                    <a:pt x="414" y="397"/>
                    <a:pt x="430" y="395"/>
                    <a:pt x="408" y="387"/>
                  </a:cubicBezTo>
                  <a:cubicBezTo>
                    <a:pt x="387" y="378"/>
                    <a:pt x="384" y="395"/>
                    <a:pt x="384" y="384"/>
                  </a:cubicBezTo>
                  <a:cubicBezTo>
                    <a:pt x="384" y="373"/>
                    <a:pt x="381" y="375"/>
                    <a:pt x="379" y="367"/>
                  </a:cubicBezTo>
                  <a:cubicBezTo>
                    <a:pt x="379" y="361"/>
                    <a:pt x="367" y="370"/>
                    <a:pt x="366" y="356"/>
                  </a:cubicBezTo>
                  <a:cubicBezTo>
                    <a:pt x="364" y="341"/>
                    <a:pt x="379" y="319"/>
                    <a:pt x="383" y="320"/>
                  </a:cubicBezTo>
                  <a:cubicBezTo>
                    <a:pt x="386" y="320"/>
                    <a:pt x="383" y="311"/>
                    <a:pt x="390" y="311"/>
                  </a:cubicBezTo>
                  <a:cubicBezTo>
                    <a:pt x="396" y="311"/>
                    <a:pt x="404" y="309"/>
                    <a:pt x="396" y="303"/>
                  </a:cubicBezTo>
                  <a:cubicBezTo>
                    <a:pt x="390" y="297"/>
                    <a:pt x="404" y="303"/>
                    <a:pt x="405" y="295"/>
                  </a:cubicBezTo>
                  <a:cubicBezTo>
                    <a:pt x="407" y="288"/>
                    <a:pt x="413" y="305"/>
                    <a:pt x="421" y="291"/>
                  </a:cubicBezTo>
                  <a:cubicBezTo>
                    <a:pt x="428" y="277"/>
                    <a:pt x="431" y="281"/>
                    <a:pt x="416" y="277"/>
                  </a:cubicBezTo>
                  <a:cubicBezTo>
                    <a:pt x="405" y="275"/>
                    <a:pt x="410" y="272"/>
                    <a:pt x="402" y="269"/>
                  </a:cubicBezTo>
                  <a:cubicBezTo>
                    <a:pt x="411" y="268"/>
                    <a:pt x="421" y="283"/>
                    <a:pt x="430" y="274"/>
                  </a:cubicBezTo>
                  <a:cubicBezTo>
                    <a:pt x="437" y="264"/>
                    <a:pt x="437" y="266"/>
                    <a:pt x="431" y="261"/>
                  </a:cubicBezTo>
                  <a:cubicBezTo>
                    <a:pt x="424" y="258"/>
                    <a:pt x="439" y="258"/>
                    <a:pt x="442" y="261"/>
                  </a:cubicBezTo>
                  <a:cubicBezTo>
                    <a:pt x="445" y="264"/>
                    <a:pt x="448" y="266"/>
                    <a:pt x="449" y="269"/>
                  </a:cubicBezTo>
                  <a:cubicBezTo>
                    <a:pt x="451" y="272"/>
                    <a:pt x="453" y="274"/>
                    <a:pt x="457" y="272"/>
                  </a:cubicBezTo>
                  <a:cubicBezTo>
                    <a:pt x="460" y="271"/>
                    <a:pt x="448" y="268"/>
                    <a:pt x="453" y="264"/>
                  </a:cubicBezTo>
                  <a:cubicBezTo>
                    <a:pt x="457" y="263"/>
                    <a:pt x="459" y="258"/>
                    <a:pt x="462" y="258"/>
                  </a:cubicBezTo>
                  <a:cubicBezTo>
                    <a:pt x="466" y="260"/>
                    <a:pt x="466" y="254"/>
                    <a:pt x="471" y="254"/>
                  </a:cubicBezTo>
                  <a:cubicBezTo>
                    <a:pt x="474" y="254"/>
                    <a:pt x="475" y="247"/>
                    <a:pt x="469" y="243"/>
                  </a:cubicBezTo>
                  <a:cubicBezTo>
                    <a:pt x="463" y="238"/>
                    <a:pt x="471" y="240"/>
                    <a:pt x="466" y="235"/>
                  </a:cubicBezTo>
                  <a:cubicBezTo>
                    <a:pt x="462" y="230"/>
                    <a:pt x="472" y="235"/>
                    <a:pt x="474" y="230"/>
                  </a:cubicBezTo>
                  <a:cubicBezTo>
                    <a:pt x="475" y="224"/>
                    <a:pt x="469" y="229"/>
                    <a:pt x="472" y="224"/>
                  </a:cubicBezTo>
                  <a:cubicBezTo>
                    <a:pt x="475" y="219"/>
                    <a:pt x="466" y="224"/>
                    <a:pt x="465" y="218"/>
                  </a:cubicBezTo>
                  <a:cubicBezTo>
                    <a:pt x="465" y="213"/>
                    <a:pt x="457" y="216"/>
                    <a:pt x="451" y="213"/>
                  </a:cubicBezTo>
                  <a:cubicBezTo>
                    <a:pt x="443" y="210"/>
                    <a:pt x="448" y="213"/>
                    <a:pt x="442" y="213"/>
                  </a:cubicBezTo>
                  <a:cubicBezTo>
                    <a:pt x="436" y="213"/>
                    <a:pt x="439" y="222"/>
                    <a:pt x="442" y="224"/>
                  </a:cubicBezTo>
                  <a:cubicBezTo>
                    <a:pt x="446" y="226"/>
                    <a:pt x="443" y="229"/>
                    <a:pt x="440" y="229"/>
                  </a:cubicBezTo>
                  <a:cubicBezTo>
                    <a:pt x="437" y="227"/>
                    <a:pt x="440" y="236"/>
                    <a:pt x="434" y="241"/>
                  </a:cubicBezTo>
                  <a:cubicBezTo>
                    <a:pt x="430" y="244"/>
                    <a:pt x="434" y="247"/>
                    <a:pt x="428" y="250"/>
                  </a:cubicBezTo>
                  <a:cubicBezTo>
                    <a:pt x="422" y="252"/>
                    <a:pt x="425" y="249"/>
                    <a:pt x="419" y="244"/>
                  </a:cubicBezTo>
                  <a:cubicBezTo>
                    <a:pt x="413" y="238"/>
                    <a:pt x="422" y="240"/>
                    <a:pt x="422" y="235"/>
                  </a:cubicBezTo>
                  <a:cubicBezTo>
                    <a:pt x="422" y="232"/>
                    <a:pt x="414" y="218"/>
                    <a:pt x="408" y="222"/>
                  </a:cubicBezTo>
                  <a:cubicBezTo>
                    <a:pt x="404" y="227"/>
                    <a:pt x="407" y="240"/>
                    <a:pt x="401" y="233"/>
                  </a:cubicBezTo>
                  <a:cubicBezTo>
                    <a:pt x="396" y="229"/>
                    <a:pt x="404" y="230"/>
                    <a:pt x="399" y="224"/>
                  </a:cubicBezTo>
                  <a:cubicBezTo>
                    <a:pt x="393" y="219"/>
                    <a:pt x="405" y="221"/>
                    <a:pt x="399" y="218"/>
                  </a:cubicBezTo>
                  <a:cubicBezTo>
                    <a:pt x="392" y="213"/>
                    <a:pt x="392" y="219"/>
                    <a:pt x="387" y="216"/>
                  </a:cubicBezTo>
                  <a:cubicBezTo>
                    <a:pt x="381" y="213"/>
                    <a:pt x="395" y="208"/>
                    <a:pt x="392" y="207"/>
                  </a:cubicBezTo>
                  <a:cubicBezTo>
                    <a:pt x="389" y="204"/>
                    <a:pt x="381" y="201"/>
                    <a:pt x="381" y="194"/>
                  </a:cubicBezTo>
                  <a:cubicBezTo>
                    <a:pt x="381" y="188"/>
                    <a:pt x="370" y="182"/>
                    <a:pt x="366" y="182"/>
                  </a:cubicBezTo>
                  <a:cubicBezTo>
                    <a:pt x="360" y="180"/>
                    <a:pt x="364" y="185"/>
                    <a:pt x="360" y="185"/>
                  </a:cubicBezTo>
                  <a:cubicBezTo>
                    <a:pt x="354" y="187"/>
                    <a:pt x="360" y="188"/>
                    <a:pt x="354" y="191"/>
                  </a:cubicBezTo>
                  <a:cubicBezTo>
                    <a:pt x="347" y="194"/>
                    <a:pt x="355" y="201"/>
                    <a:pt x="354" y="204"/>
                  </a:cubicBezTo>
                  <a:cubicBezTo>
                    <a:pt x="352" y="208"/>
                    <a:pt x="352" y="212"/>
                    <a:pt x="361" y="215"/>
                  </a:cubicBezTo>
                  <a:cubicBezTo>
                    <a:pt x="370" y="218"/>
                    <a:pt x="373" y="222"/>
                    <a:pt x="369" y="226"/>
                  </a:cubicBezTo>
                  <a:cubicBezTo>
                    <a:pt x="364" y="227"/>
                    <a:pt x="367" y="230"/>
                    <a:pt x="372" y="229"/>
                  </a:cubicBezTo>
                  <a:cubicBezTo>
                    <a:pt x="376" y="226"/>
                    <a:pt x="376" y="230"/>
                    <a:pt x="370" y="236"/>
                  </a:cubicBezTo>
                  <a:cubicBezTo>
                    <a:pt x="363" y="241"/>
                    <a:pt x="363" y="235"/>
                    <a:pt x="361" y="240"/>
                  </a:cubicBezTo>
                  <a:cubicBezTo>
                    <a:pt x="358" y="244"/>
                    <a:pt x="367" y="255"/>
                    <a:pt x="360" y="250"/>
                  </a:cubicBezTo>
                  <a:cubicBezTo>
                    <a:pt x="354" y="246"/>
                    <a:pt x="354" y="246"/>
                    <a:pt x="355" y="241"/>
                  </a:cubicBezTo>
                  <a:cubicBezTo>
                    <a:pt x="357" y="238"/>
                    <a:pt x="357" y="235"/>
                    <a:pt x="352" y="235"/>
                  </a:cubicBezTo>
                  <a:cubicBezTo>
                    <a:pt x="346" y="236"/>
                    <a:pt x="344" y="230"/>
                    <a:pt x="338" y="233"/>
                  </a:cubicBezTo>
                  <a:cubicBezTo>
                    <a:pt x="332" y="236"/>
                    <a:pt x="340" y="241"/>
                    <a:pt x="334" y="243"/>
                  </a:cubicBezTo>
                  <a:cubicBezTo>
                    <a:pt x="329" y="244"/>
                    <a:pt x="331" y="240"/>
                    <a:pt x="319" y="243"/>
                  </a:cubicBezTo>
                  <a:cubicBezTo>
                    <a:pt x="302" y="246"/>
                    <a:pt x="300" y="236"/>
                    <a:pt x="296" y="238"/>
                  </a:cubicBezTo>
                  <a:cubicBezTo>
                    <a:pt x="285" y="243"/>
                    <a:pt x="282" y="226"/>
                    <a:pt x="274" y="227"/>
                  </a:cubicBezTo>
                  <a:cubicBezTo>
                    <a:pt x="268" y="227"/>
                    <a:pt x="253" y="230"/>
                    <a:pt x="256" y="236"/>
                  </a:cubicBezTo>
                  <a:cubicBezTo>
                    <a:pt x="259" y="241"/>
                    <a:pt x="268" y="232"/>
                    <a:pt x="271" y="235"/>
                  </a:cubicBezTo>
                  <a:cubicBezTo>
                    <a:pt x="276" y="236"/>
                    <a:pt x="264" y="236"/>
                    <a:pt x="262" y="241"/>
                  </a:cubicBezTo>
                  <a:cubicBezTo>
                    <a:pt x="261" y="246"/>
                    <a:pt x="273" y="258"/>
                    <a:pt x="261" y="249"/>
                  </a:cubicBezTo>
                  <a:cubicBezTo>
                    <a:pt x="249" y="241"/>
                    <a:pt x="250" y="246"/>
                    <a:pt x="245" y="241"/>
                  </a:cubicBezTo>
                  <a:cubicBezTo>
                    <a:pt x="241" y="235"/>
                    <a:pt x="245" y="243"/>
                    <a:pt x="230" y="243"/>
                  </a:cubicBezTo>
                  <a:cubicBezTo>
                    <a:pt x="217" y="244"/>
                    <a:pt x="198" y="243"/>
                    <a:pt x="204" y="238"/>
                  </a:cubicBezTo>
                  <a:cubicBezTo>
                    <a:pt x="210" y="233"/>
                    <a:pt x="218" y="238"/>
                    <a:pt x="212" y="233"/>
                  </a:cubicBezTo>
                  <a:cubicBezTo>
                    <a:pt x="207" y="229"/>
                    <a:pt x="204" y="224"/>
                    <a:pt x="195" y="226"/>
                  </a:cubicBezTo>
                  <a:cubicBezTo>
                    <a:pt x="186" y="227"/>
                    <a:pt x="177" y="222"/>
                    <a:pt x="169" y="221"/>
                  </a:cubicBezTo>
                  <a:cubicBezTo>
                    <a:pt x="160" y="218"/>
                    <a:pt x="154" y="212"/>
                    <a:pt x="147" y="213"/>
                  </a:cubicBezTo>
                  <a:cubicBezTo>
                    <a:pt x="137" y="213"/>
                    <a:pt x="143" y="221"/>
                    <a:pt x="136" y="219"/>
                  </a:cubicBezTo>
                  <a:cubicBezTo>
                    <a:pt x="128" y="218"/>
                    <a:pt x="137" y="207"/>
                    <a:pt x="127" y="208"/>
                  </a:cubicBezTo>
                  <a:cubicBezTo>
                    <a:pt x="122" y="210"/>
                    <a:pt x="128" y="224"/>
                    <a:pt x="118" y="218"/>
                  </a:cubicBezTo>
                  <a:cubicBezTo>
                    <a:pt x="112" y="215"/>
                    <a:pt x="108" y="198"/>
                    <a:pt x="102" y="202"/>
                  </a:cubicBezTo>
                  <a:cubicBezTo>
                    <a:pt x="95" y="208"/>
                    <a:pt x="112" y="204"/>
                    <a:pt x="99" y="212"/>
                  </a:cubicBezTo>
                  <a:cubicBezTo>
                    <a:pt x="90" y="216"/>
                    <a:pt x="101" y="208"/>
                    <a:pt x="86" y="215"/>
                  </a:cubicBezTo>
                  <a:cubicBezTo>
                    <a:pt x="69" y="221"/>
                    <a:pt x="77" y="216"/>
                    <a:pt x="86" y="212"/>
                  </a:cubicBezTo>
                  <a:cubicBezTo>
                    <a:pt x="95" y="207"/>
                    <a:pt x="93" y="207"/>
                    <a:pt x="89" y="208"/>
                  </a:cubicBezTo>
                  <a:cubicBezTo>
                    <a:pt x="83" y="210"/>
                    <a:pt x="84" y="205"/>
                    <a:pt x="75" y="212"/>
                  </a:cubicBezTo>
                  <a:cubicBezTo>
                    <a:pt x="67" y="216"/>
                    <a:pt x="72" y="210"/>
                    <a:pt x="63" y="218"/>
                  </a:cubicBezTo>
                  <a:cubicBezTo>
                    <a:pt x="54" y="224"/>
                    <a:pt x="49" y="224"/>
                    <a:pt x="52" y="227"/>
                  </a:cubicBezTo>
                  <a:cubicBezTo>
                    <a:pt x="54" y="230"/>
                    <a:pt x="48" y="226"/>
                    <a:pt x="43" y="229"/>
                  </a:cubicBezTo>
                  <a:cubicBezTo>
                    <a:pt x="38" y="230"/>
                    <a:pt x="42" y="226"/>
                    <a:pt x="32" y="226"/>
                  </a:cubicBezTo>
                  <a:cubicBezTo>
                    <a:pt x="22" y="226"/>
                    <a:pt x="14" y="215"/>
                    <a:pt x="0" y="216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6" y="347"/>
                    <a:pt x="3" y="342"/>
                    <a:pt x="5" y="344"/>
                  </a:cubicBezTo>
                  <a:cubicBezTo>
                    <a:pt x="8" y="345"/>
                    <a:pt x="8" y="345"/>
                    <a:pt x="10" y="345"/>
                  </a:cubicBezTo>
                  <a:cubicBezTo>
                    <a:pt x="11" y="344"/>
                    <a:pt x="16" y="342"/>
                    <a:pt x="16" y="345"/>
                  </a:cubicBezTo>
                  <a:cubicBezTo>
                    <a:pt x="14" y="347"/>
                    <a:pt x="13" y="347"/>
                    <a:pt x="16" y="348"/>
                  </a:cubicBezTo>
                  <a:cubicBezTo>
                    <a:pt x="20" y="350"/>
                    <a:pt x="16" y="351"/>
                    <a:pt x="23" y="355"/>
                  </a:cubicBezTo>
                  <a:cubicBezTo>
                    <a:pt x="29" y="359"/>
                    <a:pt x="26" y="361"/>
                    <a:pt x="28" y="361"/>
                  </a:cubicBezTo>
                  <a:cubicBezTo>
                    <a:pt x="29" y="362"/>
                    <a:pt x="29" y="359"/>
                    <a:pt x="34" y="359"/>
                  </a:cubicBezTo>
                  <a:cubicBezTo>
                    <a:pt x="38" y="358"/>
                    <a:pt x="34" y="356"/>
                    <a:pt x="37" y="355"/>
                  </a:cubicBezTo>
                  <a:cubicBezTo>
                    <a:pt x="40" y="355"/>
                    <a:pt x="35" y="353"/>
                    <a:pt x="38" y="353"/>
                  </a:cubicBezTo>
                  <a:cubicBezTo>
                    <a:pt x="45" y="350"/>
                    <a:pt x="45" y="350"/>
                    <a:pt x="46" y="353"/>
                  </a:cubicBezTo>
                  <a:cubicBezTo>
                    <a:pt x="49" y="356"/>
                    <a:pt x="46" y="355"/>
                    <a:pt x="48" y="356"/>
                  </a:cubicBezTo>
                  <a:cubicBezTo>
                    <a:pt x="49" y="359"/>
                    <a:pt x="51" y="358"/>
                    <a:pt x="52" y="361"/>
                  </a:cubicBezTo>
                  <a:cubicBezTo>
                    <a:pt x="54" y="365"/>
                    <a:pt x="57" y="362"/>
                    <a:pt x="58" y="367"/>
                  </a:cubicBezTo>
                  <a:cubicBezTo>
                    <a:pt x="61" y="370"/>
                    <a:pt x="67" y="381"/>
                    <a:pt x="69" y="383"/>
                  </a:cubicBezTo>
                  <a:cubicBezTo>
                    <a:pt x="70" y="386"/>
                    <a:pt x="67" y="386"/>
                    <a:pt x="70" y="386"/>
                  </a:cubicBezTo>
                  <a:cubicBezTo>
                    <a:pt x="72" y="386"/>
                    <a:pt x="69" y="389"/>
                    <a:pt x="72" y="389"/>
                  </a:cubicBezTo>
                  <a:cubicBezTo>
                    <a:pt x="73" y="389"/>
                    <a:pt x="70" y="392"/>
                    <a:pt x="73" y="392"/>
                  </a:cubicBezTo>
                  <a:cubicBezTo>
                    <a:pt x="77" y="390"/>
                    <a:pt x="75" y="393"/>
                    <a:pt x="81" y="395"/>
                  </a:cubicBezTo>
                  <a:cubicBezTo>
                    <a:pt x="86" y="397"/>
                    <a:pt x="83" y="398"/>
                    <a:pt x="86" y="398"/>
                  </a:cubicBezTo>
                  <a:cubicBezTo>
                    <a:pt x="87" y="398"/>
                    <a:pt x="87" y="400"/>
                    <a:pt x="87" y="400"/>
                  </a:cubicBezTo>
                  <a:cubicBezTo>
                    <a:pt x="86" y="404"/>
                    <a:pt x="89" y="407"/>
                    <a:pt x="87" y="411"/>
                  </a:cubicBezTo>
                  <a:cubicBezTo>
                    <a:pt x="84" y="412"/>
                    <a:pt x="87" y="414"/>
                    <a:pt x="86" y="415"/>
                  </a:cubicBezTo>
                  <a:cubicBezTo>
                    <a:pt x="81" y="420"/>
                    <a:pt x="84" y="420"/>
                    <a:pt x="86" y="421"/>
                  </a:cubicBezTo>
                  <a:cubicBezTo>
                    <a:pt x="86" y="425"/>
                    <a:pt x="89" y="428"/>
                    <a:pt x="92" y="431"/>
                  </a:cubicBezTo>
                  <a:cubicBezTo>
                    <a:pt x="93" y="434"/>
                    <a:pt x="90" y="426"/>
                    <a:pt x="98" y="426"/>
                  </a:cubicBezTo>
                  <a:cubicBezTo>
                    <a:pt x="102" y="425"/>
                    <a:pt x="93" y="428"/>
                    <a:pt x="96" y="432"/>
                  </a:cubicBezTo>
                  <a:cubicBezTo>
                    <a:pt x="98" y="435"/>
                    <a:pt x="98" y="432"/>
                    <a:pt x="98" y="437"/>
                  </a:cubicBezTo>
                  <a:cubicBezTo>
                    <a:pt x="99" y="442"/>
                    <a:pt x="104" y="434"/>
                    <a:pt x="101" y="440"/>
                  </a:cubicBezTo>
                  <a:cubicBezTo>
                    <a:pt x="99" y="446"/>
                    <a:pt x="99" y="448"/>
                    <a:pt x="101" y="446"/>
                  </a:cubicBezTo>
                  <a:cubicBezTo>
                    <a:pt x="101" y="446"/>
                    <a:pt x="99" y="449"/>
                    <a:pt x="102" y="451"/>
                  </a:cubicBezTo>
                  <a:cubicBezTo>
                    <a:pt x="104" y="451"/>
                    <a:pt x="102" y="446"/>
                    <a:pt x="105" y="445"/>
                  </a:cubicBezTo>
                  <a:cubicBezTo>
                    <a:pt x="107" y="445"/>
                    <a:pt x="108" y="442"/>
                    <a:pt x="108" y="443"/>
                  </a:cubicBezTo>
                  <a:cubicBezTo>
                    <a:pt x="110" y="445"/>
                    <a:pt x="113" y="443"/>
                    <a:pt x="113" y="445"/>
                  </a:cubicBezTo>
                  <a:cubicBezTo>
                    <a:pt x="112" y="448"/>
                    <a:pt x="112" y="443"/>
                    <a:pt x="107" y="446"/>
                  </a:cubicBezTo>
                  <a:cubicBezTo>
                    <a:pt x="102" y="449"/>
                    <a:pt x="104" y="449"/>
                    <a:pt x="104" y="452"/>
                  </a:cubicBezTo>
                  <a:cubicBezTo>
                    <a:pt x="104" y="456"/>
                    <a:pt x="107" y="454"/>
                    <a:pt x="105" y="456"/>
                  </a:cubicBezTo>
                  <a:cubicBezTo>
                    <a:pt x="104" y="457"/>
                    <a:pt x="107" y="457"/>
                    <a:pt x="105" y="457"/>
                  </a:cubicBezTo>
                  <a:cubicBezTo>
                    <a:pt x="102" y="459"/>
                    <a:pt x="105" y="460"/>
                    <a:pt x="108" y="462"/>
                  </a:cubicBezTo>
                  <a:cubicBezTo>
                    <a:pt x="112" y="463"/>
                    <a:pt x="112" y="460"/>
                    <a:pt x="115" y="462"/>
                  </a:cubicBezTo>
                  <a:cubicBezTo>
                    <a:pt x="118" y="462"/>
                    <a:pt x="113" y="463"/>
                    <a:pt x="116" y="463"/>
                  </a:cubicBezTo>
                  <a:cubicBezTo>
                    <a:pt x="121" y="462"/>
                    <a:pt x="115" y="468"/>
                    <a:pt x="119" y="466"/>
                  </a:cubicBezTo>
                  <a:cubicBezTo>
                    <a:pt x="121" y="466"/>
                    <a:pt x="119" y="468"/>
                    <a:pt x="122" y="466"/>
                  </a:cubicBezTo>
                  <a:cubicBezTo>
                    <a:pt x="125" y="466"/>
                    <a:pt x="127" y="470"/>
                    <a:pt x="128" y="468"/>
                  </a:cubicBezTo>
                  <a:cubicBezTo>
                    <a:pt x="130" y="466"/>
                    <a:pt x="131" y="471"/>
                    <a:pt x="128" y="471"/>
                  </a:cubicBezTo>
                  <a:cubicBezTo>
                    <a:pt x="127" y="473"/>
                    <a:pt x="131" y="476"/>
                    <a:pt x="133" y="476"/>
                  </a:cubicBezTo>
                  <a:cubicBezTo>
                    <a:pt x="136" y="474"/>
                    <a:pt x="136" y="471"/>
                    <a:pt x="136" y="474"/>
                  </a:cubicBezTo>
                  <a:cubicBezTo>
                    <a:pt x="136" y="477"/>
                    <a:pt x="137" y="476"/>
                    <a:pt x="137" y="477"/>
                  </a:cubicBezTo>
                  <a:cubicBezTo>
                    <a:pt x="136" y="479"/>
                    <a:pt x="136" y="474"/>
                    <a:pt x="134" y="476"/>
                  </a:cubicBezTo>
                  <a:cubicBezTo>
                    <a:pt x="133" y="477"/>
                    <a:pt x="139" y="480"/>
                    <a:pt x="139" y="479"/>
                  </a:cubicBezTo>
                  <a:cubicBezTo>
                    <a:pt x="139" y="477"/>
                    <a:pt x="140" y="476"/>
                    <a:pt x="140" y="479"/>
                  </a:cubicBezTo>
                  <a:cubicBezTo>
                    <a:pt x="140" y="480"/>
                    <a:pt x="142" y="482"/>
                    <a:pt x="142" y="484"/>
                  </a:cubicBezTo>
                  <a:cubicBezTo>
                    <a:pt x="140" y="485"/>
                    <a:pt x="142" y="485"/>
                    <a:pt x="143" y="484"/>
                  </a:cubicBezTo>
                  <a:cubicBezTo>
                    <a:pt x="143" y="482"/>
                    <a:pt x="143" y="484"/>
                    <a:pt x="143" y="485"/>
                  </a:cubicBezTo>
                  <a:cubicBezTo>
                    <a:pt x="363" y="485"/>
                    <a:pt x="363" y="485"/>
                    <a:pt x="363" y="485"/>
                  </a:cubicBezTo>
                  <a:close/>
                  <a:moveTo>
                    <a:pt x="484" y="328"/>
                  </a:moveTo>
                  <a:cubicBezTo>
                    <a:pt x="488" y="327"/>
                    <a:pt x="491" y="316"/>
                    <a:pt x="484" y="317"/>
                  </a:cubicBezTo>
                  <a:cubicBezTo>
                    <a:pt x="478" y="319"/>
                    <a:pt x="483" y="328"/>
                    <a:pt x="484" y="328"/>
                  </a:cubicBezTo>
                  <a:close/>
                  <a:moveTo>
                    <a:pt x="600" y="325"/>
                  </a:moveTo>
                  <a:cubicBezTo>
                    <a:pt x="603" y="325"/>
                    <a:pt x="606" y="327"/>
                    <a:pt x="605" y="330"/>
                  </a:cubicBezTo>
                  <a:cubicBezTo>
                    <a:pt x="603" y="333"/>
                    <a:pt x="596" y="327"/>
                    <a:pt x="600" y="325"/>
                  </a:cubicBezTo>
                  <a:close/>
                  <a:moveTo>
                    <a:pt x="431" y="235"/>
                  </a:moveTo>
                  <a:cubicBezTo>
                    <a:pt x="431" y="233"/>
                    <a:pt x="425" y="236"/>
                    <a:pt x="428" y="241"/>
                  </a:cubicBezTo>
                  <a:cubicBezTo>
                    <a:pt x="433" y="247"/>
                    <a:pt x="433" y="236"/>
                    <a:pt x="431" y="235"/>
                  </a:cubicBezTo>
                  <a:close/>
                  <a:moveTo>
                    <a:pt x="372" y="96"/>
                  </a:moveTo>
                  <a:cubicBezTo>
                    <a:pt x="383" y="96"/>
                    <a:pt x="379" y="92"/>
                    <a:pt x="370" y="92"/>
                  </a:cubicBezTo>
                  <a:cubicBezTo>
                    <a:pt x="360" y="90"/>
                    <a:pt x="354" y="92"/>
                    <a:pt x="354" y="95"/>
                  </a:cubicBezTo>
                  <a:cubicBezTo>
                    <a:pt x="354" y="98"/>
                    <a:pt x="361" y="96"/>
                    <a:pt x="372" y="96"/>
                  </a:cubicBezTo>
                  <a:close/>
                  <a:moveTo>
                    <a:pt x="296" y="132"/>
                  </a:moveTo>
                  <a:cubicBezTo>
                    <a:pt x="294" y="129"/>
                    <a:pt x="287" y="126"/>
                    <a:pt x="287" y="132"/>
                  </a:cubicBezTo>
                  <a:cubicBezTo>
                    <a:pt x="287" y="137"/>
                    <a:pt x="297" y="135"/>
                    <a:pt x="296" y="132"/>
                  </a:cubicBezTo>
                  <a:close/>
                  <a:moveTo>
                    <a:pt x="183" y="120"/>
                  </a:moveTo>
                  <a:cubicBezTo>
                    <a:pt x="177" y="121"/>
                    <a:pt x="166" y="126"/>
                    <a:pt x="175" y="128"/>
                  </a:cubicBezTo>
                  <a:cubicBezTo>
                    <a:pt x="182" y="128"/>
                    <a:pt x="188" y="117"/>
                    <a:pt x="183" y="120"/>
                  </a:cubicBezTo>
                  <a:close/>
                  <a:moveTo>
                    <a:pt x="207" y="107"/>
                  </a:moveTo>
                  <a:cubicBezTo>
                    <a:pt x="209" y="104"/>
                    <a:pt x="221" y="106"/>
                    <a:pt x="218" y="107"/>
                  </a:cubicBezTo>
                  <a:cubicBezTo>
                    <a:pt x="215" y="109"/>
                    <a:pt x="206" y="109"/>
                    <a:pt x="207" y="107"/>
                  </a:cubicBezTo>
                  <a:close/>
                  <a:moveTo>
                    <a:pt x="213" y="89"/>
                  </a:moveTo>
                  <a:cubicBezTo>
                    <a:pt x="210" y="86"/>
                    <a:pt x="207" y="87"/>
                    <a:pt x="206" y="89"/>
                  </a:cubicBezTo>
                  <a:cubicBezTo>
                    <a:pt x="204" y="89"/>
                    <a:pt x="209" y="92"/>
                    <a:pt x="215" y="92"/>
                  </a:cubicBezTo>
                  <a:cubicBezTo>
                    <a:pt x="218" y="92"/>
                    <a:pt x="218" y="92"/>
                    <a:pt x="213" y="89"/>
                  </a:cubicBezTo>
                  <a:close/>
                  <a:moveTo>
                    <a:pt x="290" y="114"/>
                  </a:moveTo>
                  <a:cubicBezTo>
                    <a:pt x="293" y="117"/>
                    <a:pt x="306" y="112"/>
                    <a:pt x="300" y="112"/>
                  </a:cubicBezTo>
                  <a:cubicBezTo>
                    <a:pt x="294" y="111"/>
                    <a:pt x="296" y="106"/>
                    <a:pt x="290" y="109"/>
                  </a:cubicBezTo>
                  <a:cubicBezTo>
                    <a:pt x="288" y="111"/>
                    <a:pt x="287" y="111"/>
                    <a:pt x="290" y="114"/>
                  </a:cubicBezTo>
                  <a:close/>
                  <a:moveTo>
                    <a:pt x="290" y="118"/>
                  </a:moveTo>
                  <a:cubicBezTo>
                    <a:pt x="288" y="117"/>
                    <a:pt x="302" y="114"/>
                    <a:pt x="305" y="115"/>
                  </a:cubicBezTo>
                  <a:cubicBezTo>
                    <a:pt x="306" y="117"/>
                    <a:pt x="293" y="120"/>
                    <a:pt x="290" y="118"/>
                  </a:cubicBezTo>
                  <a:close/>
                  <a:moveTo>
                    <a:pt x="296" y="121"/>
                  </a:moveTo>
                  <a:cubicBezTo>
                    <a:pt x="293" y="120"/>
                    <a:pt x="303" y="118"/>
                    <a:pt x="305" y="118"/>
                  </a:cubicBezTo>
                  <a:cubicBezTo>
                    <a:pt x="308" y="120"/>
                    <a:pt x="297" y="123"/>
                    <a:pt x="296" y="121"/>
                  </a:cubicBezTo>
                  <a:close/>
                  <a:moveTo>
                    <a:pt x="299" y="125"/>
                  </a:moveTo>
                  <a:cubicBezTo>
                    <a:pt x="297" y="123"/>
                    <a:pt x="306" y="120"/>
                    <a:pt x="308" y="120"/>
                  </a:cubicBezTo>
                  <a:cubicBezTo>
                    <a:pt x="309" y="120"/>
                    <a:pt x="302" y="125"/>
                    <a:pt x="299" y="125"/>
                  </a:cubicBezTo>
                  <a:close/>
                  <a:moveTo>
                    <a:pt x="433" y="73"/>
                  </a:moveTo>
                  <a:cubicBezTo>
                    <a:pt x="436" y="70"/>
                    <a:pt x="443" y="68"/>
                    <a:pt x="443" y="72"/>
                  </a:cubicBezTo>
                  <a:cubicBezTo>
                    <a:pt x="442" y="73"/>
                    <a:pt x="430" y="75"/>
                    <a:pt x="433" y="73"/>
                  </a:cubicBezTo>
                  <a:close/>
                  <a:moveTo>
                    <a:pt x="471" y="437"/>
                  </a:moveTo>
                  <a:cubicBezTo>
                    <a:pt x="474" y="438"/>
                    <a:pt x="477" y="440"/>
                    <a:pt x="478" y="440"/>
                  </a:cubicBezTo>
                  <a:cubicBezTo>
                    <a:pt x="480" y="438"/>
                    <a:pt x="475" y="435"/>
                    <a:pt x="475" y="434"/>
                  </a:cubicBezTo>
                  <a:cubicBezTo>
                    <a:pt x="474" y="432"/>
                    <a:pt x="469" y="432"/>
                    <a:pt x="468" y="435"/>
                  </a:cubicBezTo>
                  <a:cubicBezTo>
                    <a:pt x="466" y="435"/>
                    <a:pt x="468" y="435"/>
                    <a:pt x="471" y="437"/>
                  </a:cubicBezTo>
                  <a:close/>
                  <a:moveTo>
                    <a:pt x="486" y="400"/>
                  </a:moveTo>
                  <a:cubicBezTo>
                    <a:pt x="486" y="398"/>
                    <a:pt x="488" y="397"/>
                    <a:pt x="486" y="400"/>
                  </a:cubicBezTo>
                  <a:cubicBezTo>
                    <a:pt x="484" y="403"/>
                    <a:pt x="484" y="401"/>
                    <a:pt x="486" y="401"/>
                  </a:cubicBezTo>
                  <a:cubicBezTo>
                    <a:pt x="488" y="401"/>
                    <a:pt x="489" y="397"/>
                    <a:pt x="489" y="397"/>
                  </a:cubicBezTo>
                  <a:cubicBezTo>
                    <a:pt x="491" y="397"/>
                    <a:pt x="488" y="401"/>
                    <a:pt x="489" y="401"/>
                  </a:cubicBezTo>
                  <a:cubicBezTo>
                    <a:pt x="491" y="401"/>
                    <a:pt x="491" y="400"/>
                    <a:pt x="491" y="397"/>
                  </a:cubicBezTo>
                  <a:cubicBezTo>
                    <a:pt x="492" y="393"/>
                    <a:pt x="492" y="395"/>
                    <a:pt x="491" y="393"/>
                  </a:cubicBezTo>
                  <a:cubicBezTo>
                    <a:pt x="489" y="392"/>
                    <a:pt x="489" y="392"/>
                    <a:pt x="489" y="393"/>
                  </a:cubicBezTo>
                  <a:cubicBezTo>
                    <a:pt x="488" y="395"/>
                    <a:pt x="488" y="397"/>
                    <a:pt x="488" y="395"/>
                  </a:cubicBezTo>
                  <a:cubicBezTo>
                    <a:pt x="488" y="393"/>
                    <a:pt x="488" y="392"/>
                    <a:pt x="488" y="393"/>
                  </a:cubicBezTo>
                  <a:cubicBezTo>
                    <a:pt x="486" y="393"/>
                    <a:pt x="488" y="393"/>
                    <a:pt x="488" y="395"/>
                  </a:cubicBezTo>
                  <a:cubicBezTo>
                    <a:pt x="486" y="397"/>
                    <a:pt x="486" y="397"/>
                    <a:pt x="484" y="398"/>
                  </a:cubicBezTo>
                  <a:cubicBezTo>
                    <a:pt x="483" y="400"/>
                    <a:pt x="483" y="400"/>
                    <a:pt x="483" y="401"/>
                  </a:cubicBezTo>
                  <a:cubicBezTo>
                    <a:pt x="484" y="403"/>
                    <a:pt x="484" y="401"/>
                    <a:pt x="486" y="400"/>
                  </a:cubicBezTo>
                  <a:close/>
                  <a:moveTo>
                    <a:pt x="494" y="398"/>
                  </a:moveTo>
                  <a:cubicBezTo>
                    <a:pt x="494" y="397"/>
                    <a:pt x="494" y="393"/>
                    <a:pt x="494" y="393"/>
                  </a:cubicBezTo>
                  <a:cubicBezTo>
                    <a:pt x="492" y="393"/>
                    <a:pt x="492" y="395"/>
                    <a:pt x="492" y="398"/>
                  </a:cubicBezTo>
                  <a:cubicBezTo>
                    <a:pt x="491" y="398"/>
                    <a:pt x="492" y="398"/>
                    <a:pt x="494" y="398"/>
                  </a:cubicBezTo>
                  <a:close/>
                  <a:moveTo>
                    <a:pt x="484" y="397"/>
                  </a:moveTo>
                  <a:cubicBezTo>
                    <a:pt x="486" y="395"/>
                    <a:pt x="486" y="393"/>
                    <a:pt x="486" y="393"/>
                  </a:cubicBezTo>
                  <a:cubicBezTo>
                    <a:pt x="484" y="395"/>
                    <a:pt x="483" y="395"/>
                    <a:pt x="483" y="397"/>
                  </a:cubicBezTo>
                  <a:cubicBezTo>
                    <a:pt x="481" y="398"/>
                    <a:pt x="483" y="398"/>
                    <a:pt x="484" y="397"/>
                  </a:cubicBezTo>
                  <a:close/>
                  <a:moveTo>
                    <a:pt x="577" y="345"/>
                  </a:moveTo>
                  <a:cubicBezTo>
                    <a:pt x="574" y="345"/>
                    <a:pt x="577" y="339"/>
                    <a:pt x="579" y="341"/>
                  </a:cubicBezTo>
                  <a:cubicBezTo>
                    <a:pt x="582" y="342"/>
                    <a:pt x="579" y="345"/>
                    <a:pt x="577" y="345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70"/>
            <p:cNvSpPr>
              <a:spLocks/>
            </p:cNvSpPr>
            <p:nvPr/>
          </p:nvSpPr>
          <p:spPr bwMode="auto">
            <a:xfrm>
              <a:off x="4301598" y="3921541"/>
              <a:ext cx="23941" cy="1133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2"/>
                </a:cxn>
                <a:cxn ang="0">
                  <a:pos x="0" y="2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cubicBezTo>
                    <a:pt x="2" y="0"/>
                    <a:pt x="8" y="2"/>
                    <a:pt x="6" y="2"/>
                  </a:cubicBezTo>
                  <a:cubicBezTo>
                    <a:pt x="5" y="4"/>
                    <a:pt x="0" y="4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271"/>
            <p:cNvSpPr>
              <a:spLocks/>
            </p:cNvSpPr>
            <p:nvPr/>
          </p:nvSpPr>
          <p:spPr bwMode="auto">
            <a:xfrm>
              <a:off x="4264889" y="3892400"/>
              <a:ext cx="14364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0"/>
                    <a:pt x="5" y="0"/>
                    <a:pt x="3" y="2"/>
                  </a:cubicBezTo>
                  <a:cubicBezTo>
                    <a:pt x="3" y="3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272"/>
            <p:cNvSpPr>
              <a:spLocks/>
            </p:cNvSpPr>
            <p:nvPr/>
          </p:nvSpPr>
          <p:spPr bwMode="auto">
            <a:xfrm>
              <a:off x="4236160" y="3895637"/>
              <a:ext cx="19152" cy="1295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4"/>
                </a:cxn>
                <a:cxn ang="0">
                  <a:pos x="0" y="2"/>
                </a:cxn>
              </a:cxnLst>
              <a:rect l="0" t="0" r="r" b="b"/>
              <a:pathLst>
                <a:path w="6" h="4">
                  <a:moveTo>
                    <a:pt x="0" y="2"/>
                  </a:moveTo>
                  <a:cubicBezTo>
                    <a:pt x="1" y="0"/>
                    <a:pt x="6" y="4"/>
                    <a:pt x="4" y="4"/>
                  </a:cubicBezTo>
                  <a:cubicBezTo>
                    <a:pt x="1" y="4"/>
                    <a:pt x="0" y="4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289"/>
            <p:cNvSpPr>
              <a:spLocks noEditPoints="1"/>
            </p:cNvSpPr>
            <p:nvPr/>
          </p:nvSpPr>
          <p:spPr bwMode="auto">
            <a:xfrm>
              <a:off x="806250" y="2598867"/>
              <a:ext cx="2529738" cy="1978345"/>
            </a:xfrm>
            <a:custGeom>
              <a:avLst/>
              <a:gdLst/>
              <a:ahLst/>
              <a:cxnLst>
                <a:cxn ang="0">
                  <a:pos x="124" y="195"/>
                </a:cxn>
                <a:cxn ang="0">
                  <a:pos x="127" y="181"/>
                </a:cxn>
                <a:cxn ang="0">
                  <a:pos x="161" y="164"/>
                </a:cxn>
                <a:cxn ang="0">
                  <a:pos x="271" y="185"/>
                </a:cxn>
                <a:cxn ang="0">
                  <a:pos x="262" y="193"/>
                </a:cxn>
                <a:cxn ang="0">
                  <a:pos x="257" y="198"/>
                </a:cxn>
                <a:cxn ang="0">
                  <a:pos x="255" y="193"/>
                </a:cxn>
                <a:cxn ang="0">
                  <a:pos x="271" y="209"/>
                </a:cxn>
                <a:cxn ang="0">
                  <a:pos x="300" y="227"/>
                </a:cxn>
                <a:cxn ang="0">
                  <a:pos x="277" y="212"/>
                </a:cxn>
                <a:cxn ang="0">
                  <a:pos x="278" y="216"/>
                </a:cxn>
                <a:cxn ang="0">
                  <a:pos x="287" y="224"/>
                </a:cxn>
                <a:cxn ang="0">
                  <a:pos x="278" y="207"/>
                </a:cxn>
                <a:cxn ang="0">
                  <a:pos x="278" y="221"/>
                </a:cxn>
                <a:cxn ang="0">
                  <a:pos x="100" y="6"/>
                </a:cxn>
                <a:cxn ang="0">
                  <a:pos x="56" y="76"/>
                </a:cxn>
                <a:cxn ang="0">
                  <a:pos x="59" y="97"/>
                </a:cxn>
                <a:cxn ang="0">
                  <a:pos x="50" y="168"/>
                </a:cxn>
                <a:cxn ang="0">
                  <a:pos x="53" y="212"/>
                </a:cxn>
                <a:cxn ang="0">
                  <a:pos x="100" y="192"/>
                </a:cxn>
                <a:cxn ang="0">
                  <a:pos x="143" y="167"/>
                </a:cxn>
                <a:cxn ang="0">
                  <a:pos x="227" y="165"/>
                </a:cxn>
                <a:cxn ang="0">
                  <a:pos x="278" y="198"/>
                </a:cxn>
                <a:cxn ang="0">
                  <a:pos x="304" y="212"/>
                </a:cxn>
                <a:cxn ang="0">
                  <a:pos x="265" y="168"/>
                </a:cxn>
                <a:cxn ang="0">
                  <a:pos x="227" y="157"/>
                </a:cxn>
                <a:cxn ang="0">
                  <a:pos x="727" y="361"/>
                </a:cxn>
                <a:cxn ang="0">
                  <a:pos x="679" y="381"/>
                </a:cxn>
                <a:cxn ang="0">
                  <a:pos x="671" y="355"/>
                </a:cxn>
                <a:cxn ang="0">
                  <a:pos x="651" y="349"/>
                </a:cxn>
                <a:cxn ang="0">
                  <a:pos x="638" y="349"/>
                </a:cxn>
                <a:cxn ang="0">
                  <a:pos x="667" y="327"/>
                </a:cxn>
                <a:cxn ang="0">
                  <a:pos x="615" y="325"/>
                </a:cxn>
                <a:cxn ang="0">
                  <a:pos x="590" y="302"/>
                </a:cxn>
                <a:cxn ang="0">
                  <a:pos x="348" y="305"/>
                </a:cxn>
                <a:cxn ang="0">
                  <a:pos x="374" y="448"/>
                </a:cxn>
                <a:cxn ang="0">
                  <a:pos x="478" y="489"/>
                </a:cxn>
                <a:cxn ang="0">
                  <a:pos x="563" y="535"/>
                </a:cxn>
                <a:cxn ang="0">
                  <a:pos x="607" y="512"/>
                </a:cxn>
                <a:cxn ang="0">
                  <a:pos x="625" y="512"/>
                </a:cxn>
                <a:cxn ang="0">
                  <a:pos x="639" y="504"/>
                </a:cxn>
                <a:cxn ang="0">
                  <a:pos x="680" y="532"/>
                </a:cxn>
                <a:cxn ang="0">
                  <a:pos x="700" y="543"/>
                </a:cxn>
                <a:cxn ang="0">
                  <a:pos x="730" y="453"/>
                </a:cxn>
                <a:cxn ang="0">
                  <a:pos x="730" y="442"/>
                </a:cxn>
                <a:cxn ang="0">
                  <a:pos x="729" y="411"/>
                </a:cxn>
                <a:cxn ang="0">
                  <a:pos x="738" y="420"/>
                </a:cxn>
                <a:cxn ang="0">
                  <a:pos x="758" y="386"/>
                </a:cxn>
                <a:cxn ang="0">
                  <a:pos x="773" y="374"/>
                </a:cxn>
                <a:cxn ang="0">
                  <a:pos x="802" y="347"/>
                </a:cxn>
                <a:cxn ang="0">
                  <a:pos x="787" y="316"/>
                </a:cxn>
                <a:cxn ang="0">
                  <a:pos x="769" y="342"/>
                </a:cxn>
                <a:cxn ang="0">
                  <a:pos x="100" y="619"/>
                </a:cxn>
                <a:cxn ang="0">
                  <a:pos x="99" y="610"/>
                </a:cxn>
                <a:cxn ang="0">
                  <a:pos x="92" y="599"/>
                </a:cxn>
                <a:cxn ang="0">
                  <a:pos x="82" y="596"/>
                </a:cxn>
                <a:cxn ang="0">
                  <a:pos x="67" y="590"/>
                </a:cxn>
                <a:cxn ang="0">
                  <a:pos x="89" y="597"/>
                </a:cxn>
                <a:cxn ang="0">
                  <a:pos x="64" y="591"/>
                </a:cxn>
              </a:cxnLst>
              <a:rect l="0" t="0" r="r" b="b"/>
              <a:pathLst>
                <a:path w="817" h="630">
                  <a:moveTo>
                    <a:pt x="108" y="199"/>
                  </a:moveTo>
                  <a:cubicBezTo>
                    <a:pt x="108" y="196"/>
                    <a:pt x="105" y="195"/>
                    <a:pt x="108" y="192"/>
                  </a:cubicBezTo>
                  <a:cubicBezTo>
                    <a:pt x="112" y="190"/>
                    <a:pt x="114" y="193"/>
                    <a:pt x="114" y="190"/>
                  </a:cubicBezTo>
                  <a:cubicBezTo>
                    <a:pt x="114" y="188"/>
                    <a:pt x="114" y="187"/>
                    <a:pt x="115" y="188"/>
                  </a:cubicBezTo>
                  <a:cubicBezTo>
                    <a:pt x="117" y="190"/>
                    <a:pt x="120" y="188"/>
                    <a:pt x="118" y="187"/>
                  </a:cubicBezTo>
                  <a:cubicBezTo>
                    <a:pt x="118" y="185"/>
                    <a:pt x="120" y="187"/>
                    <a:pt x="121" y="187"/>
                  </a:cubicBezTo>
                  <a:cubicBezTo>
                    <a:pt x="123" y="188"/>
                    <a:pt x="124" y="187"/>
                    <a:pt x="124" y="188"/>
                  </a:cubicBezTo>
                  <a:cubicBezTo>
                    <a:pt x="126" y="190"/>
                    <a:pt x="124" y="190"/>
                    <a:pt x="126" y="190"/>
                  </a:cubicBezTo>
                  <a:cubicBezTo>
                    <a:pt x="127" y="192"/>
                    <a:pt x="126" y="193"/>
                    <a:pt x="124" y="195"/>
                  </a:cubicBezTo>
                  <a:cubicBezTo>
                    <a:pt x="123" y="196"/>
                    <a:pt x="123" y="196"/>
                    <a:pt x="120" y="196"/>
                  </a:cubicBezTo>
                  <a:cubicBezTo>
                    <a:pt x="117" y="196"/>
                    <a:pt x="115" y="198"/>
                    <a:pt x="115" y="199"/>
                  </a:cubicBezTo>
                  <a:cubicBezTo>
                    <a:pt x="115" y="201"/>
                    <a:pt x="115" y="199"/>
                    <a:pt x="114" y="201"/>
                  </a:cubicBezTo>
                  <a:cubicBezTo>
                    <a:pt x="112" y="202"/>
                    <a:pt x="111" y="202"/>
                    <a:pt x="112" y="201"/>
                  </a:cubicBezTo>
                  <a:cubicBezTo>
                    <a:pt x="115" y="198"/>
                    <a:pt x="111" y="199"/>
                    <a:pt x="111" y="199"/>
                  </a:cubicBezTo>
                  <a:cubicBezTo>
                    <a:pt x="111" y="201"/>
                    <a:pt x="109" y="201"/>
                    <a:pt x="108" y="199"/>
                  </a:cubicBezTo>
                  <a:close/>
                  <a:moveTo>
                    <a:pt x="123" y="185"/>
                  </a:moveTo>
                  <a:cubicBezTo>
                    <a:pt x="124" y="184"/>
                    <a:pt x="124" y="184"/>
                    <a:pt x="126" y="184"/>
                  </a:cubicBezTo>
                  <a:cubicBezTo>
                    <a:pt x="127" y="184"/>
                    <a:pt x="129" y="184"/>
                    <a:pt x="127" y="181"/>
                  </a:cubicBezTo>
                  <a:cubicBezTo>
                    <a:pt x="126" y="179"/>
                    <a:pt x="126" y="182"/>
                    <a:pt x="124" y="181"/>
                  </a:cubicBezTo>
                  <a:cubicBezTo>
                    <a:pt x="124" y="181"/>
                    <a:pt x="121" y="179"/>
                    <a:pt x="121" y="182"/>
                  </a:cubicBezTo>
                  <a:cubicBezTo>
                    <a:pt x="123" y="184"/>
                    <a:pt x="121" y="182"/>
                    <a:pt x="120" y="182"/>
                  </a:cubicBezTo>
                  <a:cubicBezTo>
                    <a:pt x="118" y="184"/>
                    <a:pt x="118" y="185"/>
                    <a:pt x="120" y="185"/>
                  </a:cubicBezTo>
                  <a:cubicBezTo>
                    <a:pt x="121" y="187"/>
                    <a:pt x="121" y="187"/>
                    <a:pt x="123" y="185"/>
                  </a:cubicBezTo>
                  <a:close/>
                  <a:moveTo>
                    <a:pt x="164" y="164"/>
                  </a:moveTo>
                  <a:cubicBezTo>
                    <a:pt x="166" y="162"/>
                    <a:pt x="164" y="162"/>
                    <a:pt x="167" y="159"/>
                  </a:cubicBezTo>
                  <a:cubicBezTo>
                    <a:pt x="169" y="156"/>
                    <a:pt x="167" y="156"/>
                    <a:pt x="166" y="157"/>
                  </a:cubicBezTo>
                  <a:cubicBezTo>
                    <a:pt x="166" y="159"/>
                    <a:pt x="163" y="160"/>
                    <a:pt x="161" y="164"/>
                  </a:cubicBezTo>
                  <a:cubicBezTo>
                    <a:pt x="159" y="164"/>
                    <a:pt x="163" y="164"/>
                    <a:pt x="164" y="164"/>
                  </a:cubicBezTo>
                  <a:close/>
                  <a:moveTo>
                    <a:pt x="173" y="156"/>
                  </a:moveTo>
                  <a:cubicBezTo>
                    <a:pt x="175" y="156"/>
                    <a:pt x="175" y="156"/>
                    <a:pt x="173" y="154"/>
                  </a:cubicBezTo>
                  <a:cubicBezTo>
                    <a:pt x="170" y="154"/>
                    <a:pt x="170" y="156"/>
                    <a:pt x="170" y="157"/>
                  </a:cubicBezTo>
                  <a:cubicBezTo>
                    <a:pt x="170" y="159"/>
                    <a:pt x="172" y="157"/>
                    <a:pt x="173" y="156"/>
                  </a:cubicBezTo>
                  <a:close/>
                  <a:moveTo>
                    <a:pt x="269" y="198"/>
                  </a:moveTo>
                  <a:cubicBezTo>
                    <a:pt x="272" y="196"/>
                    <a:pt x="269" y="195"/>
                    <a:pt x="272" y="195"/>
                  </a:cubicBezTo>
                  <a:cubicBezTo>
                    <a:pt x="274" y="195"/>
                    <a:pt x="271" y="192"/>
                    <a:pt x="272" y="192"/>
                  </a:cubicBezTo>
                  <a:cubicBezTo>
                    <a:pt x="274" y="192"/>
                    <a:pt x="272" y="187"/>
                    <a:pt x="271" y="185"/>
                  </a:cubicBezTo>
                  <a:cubicBezTo>
                    <a:pt x="269" y="182"/>
                    <a:pt x="268" y="185"/>
                    <a:pt x="266" y="182"/>
                  </a:cubicBezTo>
                  <a:cubicBezTo>
                    <a:pt x="263" y="181"/>
                    <a:pt x="265" y="182"/>
                    <a:pt x="265" y="185"/>
                  </a:cubicBezTo>
                  <a:cubicBezTo>
                    <a:pt x="266" y="188"/>
                    <a:pt x="266" y="190"/>
                    <a:pt x="268" y="193"/>
                  </a:cubicBezTo>
                  <a:cubicBezTo>
                    <a:pt x="269" y="196"/>
                    <a:pt x="266" y="193"/>
                    <a:pt x="266" y="198"/>
                  </a:cubicBezTo>
                  <a:cubicBezTo>
                    <a:pt x="266" y="199"/>
                    <a:pt x="268" y="198"/>
                    <a:pt x="269" y="198"/>
                  </a:cubicBezTo>
                  <a:close/>
                  <a:moveTo>
                    <a:pt x="265" y="207"/>
                  </a:moveTo>
                  <a:cubicBezTo>
                    <a:pt x="268" y="212"/>
                    <a:pt x="266" y="209"/>
                    <a:pt x="266" y="206"/>
                  </a:cubicBezTo>
                  <a:cubicBezTo>
                    <a:pt x="266" y="204"/>
                    <a:pt x="268" y="206"/>
                    <a:pt x="266" y="201"/>
                  </a:cubicBezTo>
                  <a:cubicBezTo>
                    <a:pt x="265" y="196"/>
                    <a:pt x="265" y="195"/>
                    <a:pt x="262" y="193"/>
                  </a:cubicBezTo>
                  <a:cubicBezTo>
                    <a:pt x="258" y="190"/>
                    <a:pt x="258" y="195"/>
                    <a:pt x="258" y="196"/>
                  </a:cubicBezTo>
                  <a:cubicBezTo>
                    <a:pt x="260" y="196"/>
                    <a:pt x="262" y="198"/>
                    <a:pt x="260" y="199"/>
                  </a:cubicBezTo>
                  <a:cubicBezTo>
                    <a:pt x="260" y="202"/>
                    <a:pt x="263" y="201"/>
                    <a:pt x="263" y="202"/>
                  </a:cubicBezTo>
                  <a:cubicBezTo>
                    <a:pt x="262" y="206"/>
                    <a:pt x="263" y="202"/>
                    <a:pt x="263" y="206"/>
                  </a:cubicBezTo>
                  <a:cubicBezTo>
                    <a:pt x="263" y="207"/>
                    <a:pt x="265" y="207"/>
                    <a:pt x="265" y="207"/>
                  </a:cubicBezTo>
                  <a:close/>
                  <a:moveTo>
                    <a:pt x="257" y="198"/>
                  </a:moveTo>
                  <a:cubicBezTo>
                    <a:pt x="257" y="198"/>
                    <a:pt x="257" y="199"/>
                    <a:pt x="258" y="199"/>
                  </a:cubicBezTo>
                  <a:cubicBezTo>
                    <a:pt x="258" y="198"/>
                    <a:pt x="257" y="193"/>
                    <a:pt x="257" y="195"/>
                  </a:cubicBezTo>
                  <a:cubicBezTo>
                    <a:pt x="257" y="195"/>
                    <a:pt x="257" y="196"/>
                    <a:pt x="257" y="198"/>
                  </a:cubicBezTo>
                  <a:close/>
                  <a:moveTo>
                    <a:pt x="258" y="190"/>
                  </a:moveTo>
                  <a:cubicBezTo>
                    <a:pt x="257" y="188"/>
                    <a:pt x="258" y="188"/>
                    <a:pt x="262" y="192"/>
                  </a:cubicBezTo>
                  <a:cubicBezTo>
                    <a:pt x="265" y="193"/>
                    <a:pt x="266" y="193"/>
                    <a:pt x="265" y="190"/>
                  </a:cubicBezTo>
                  <a:cubicBezTo>
                    <a:pt x="265" y="188"/>
                    <a:pt x="263" y="188"/>
                    <a:pt x="265" y="187"/>
                  </a:cubicBezTo>
                  <a:cubicBezTo>
                    <a:pt x="265" y="185"/>
                    <a:pt x="260" y="184"/>
                    <a:pt x="258" y="182"/>
                  </a:cubicBezTo>
                  <a:cubicBezTo>
                    <a:pt x="257" y="182"/>
                    <a:pt x="255" y="184"/>
                    <a:pt x="254" y="184"/>
                  </a:cubicBezTo>
                  <a:cubicBezTo>
                    <a:pt x="252" y="182"/>
                    <a:pt x="252" y="184"/>
                    <a:pt x="252" y="185"/>
                  </a:cubicBezTo>
                  <a:cubicBezTo>
                    <a:pt x="251" y="187"/>
                    <a:pt x="251" y="187"/>
                    <a:pt x="254" y="188"/>
                  </a:cubicBezTo>
                  <a:cubicBezTo>
                    <a:pt x="255" y="190"/>
                    <a:pt x="252" y="190"/>
                    <a:pt x="255" y="193"/>
                  </a:cubicBezTo>
                  <a:cubicBezTo>
                    <a:pt x="257" y="193"/>
                    <a:pt x="260" y="192"/>
                    <a:pt x="258" y="190"/>
                  </a:cubicBezTo>
                  <a:close/>
                  <a:moveTo>
                    <a:pt x="278" y="204"/>
                  </a:moveTo>
                  <a:cubicBezTo>
                    <a:pt x="280" y="202"/>
                    <a:pt x="280" y="201"/>
                    <a:pt x="280" y="199"/>
                  </a:cubicBezTo>
                  <a:cubicBezTo>
                    <a:pt x="278" y="198"/>
                    <a:pt x="278" y="199"/>
                    <a:pt x="275" y="198"/>
                  </a:cubicBezTo>
                  <a:cubicBezTo>
                    <a:pt x="274" y="198"/>
                    <a:pt x="272" y="198"/>
                    <a:pt x="272" y="199"/>
                  </a:cubicBezTo>
                  <a:cubicBezTo>
                    <a:pt x="272" y="202"/>
                    <a:pt x="275" y="199"/>
                    <a:pt x="275" y="202"/>
                  </a:cubicBezTo>
                  <a:cubicBezTo>
                    <a:pt x="274" y="207"/>
                    <a:pt x="275" y="206"/>
                    <a:pt x="278" y="206"/>
                  </a:cubicBezTo>
                  <a:cubicBezTo>
                    <a:pt x="280" y="207"/>
                    <a:pt x="278" y="204"/>
                    <a:pt x="278" y="204"/>
                  </a:cubicBezTo>
                  <a:close/>
                  <a:moveTo>
                    <a:pt x="271" y="209"/>
                  </a:moveTo>
                  <a:cubicBezTo>
                    <a:pt x="272" y="212"/>
                    <a:pt x="272" y="210"/>
                    <a:pt x="272" y="209"/>
                  </a:cubicBezTo>
                  <a:cubicBezTo>
                    <a:pt x="274" y="207"/>
                    <a:pt x="272" y="207"/>
                    <a:pt x="274" y="204"/>
                  </a:cubicBezTo>
                  <a:cubicBezTo>
                    <a:pt x="274" y="201"/>
                    <a:pt x="272" y="202"/>
                    <a:pt x="272" y="201"/>
                  </a:cubicBezTo>
                  <a:cubicBezTo>
                    <a:pt x="271" y="199"/>
                    <a:pt x="271" y="199"/>
                    <a:pt x="269" y="199"/>
                  </a:cubicBezTo>
                  <a:cubicBezTo>
                    <a:pt x="268" y="201"/>
                    <a:pt x="268" y="201"/>
                    <a:pt x="269" y="204"/>
                  </a:cubicBezTo>
                  <a:cubicBezTo>
                    <a:pt x="271" y="206"/>
                    <a:pt x="272" y="207"/>
                    <a:pt x="271" y="207"/>
                  </a:cubicBezTo>
                  <a:cubicBezTo>
                    <a:pt x="269" y="206"/>
                    <a:pt x="269" y="207"/>
                    <a:pt x="269" y="210"/>
                  </a:cubicBezTo>
                  <a:cubicBezTo>
                    <a:pt x="271" y="213"/>
                    <a:pt x="271" y="207"/>
                    <a:pt x="271" y="209"/>
                  </a:cubicBezTo>
                  <a:close/>
                  <a:moveTo>
                    <a:pt x="300" y="227"/>
                  </a:moveTo>
                  <a:cubicBezTo>
                    <a:pt x="301" y="226"/>
                    <a:pt x="301" y="226"/>
                    <a:pt x="303" y="224"/>
                  </a:cubicBezTo>
                  <a:cubicBezTo>
                    <a:pt x="303" y="224"/>
                    <a:pt x="301" y="224"/>
                    <a:pt x="301" y="226"/>
                  </a:cubicBezTo>
                  <a:cubicBezTo>
                    <a:pt x="300" y="226"/>
                    <a:pt x="298" y="227"/>
                    <a:pt x="300" y="227"/>
                  </a:cubicBezTo>
                  <a:cubicBezTo>
                    <a:pt x="300" y="227"/>
                    <a:pt x="300" y="227"/>
                    <a:pt x="300" y="227"/>
                  </a:cubicBezTo>
                  <a:close/>
                  <a:moveTo>
                    <a:pt x="293" y="224"/>
                  </a:moveTo>
                  <a:cubicBezTo>
                    <a:pt x="293" y="224"/>
                    <a:pt x="293" y="224"/>
                    <a:pt x="292" y="224"/>
                  </a:cubicBezTo>
                  <a:cubicBezTo>
                    <a:pt x="292" y="224"/>
                    <a:pt x="292" y="224"/>
                    <a:pt x="292" y="226"/>
                  </a:cubicBezTo>
                  <a:cubicBezTo>
                    <a:pt x="293" y="226"/>
                    <a:pt x="293" y="226"/>
                    <a:pt x="293" y="224"/>
                  </a:cubicBezTo>
                  <a:close/>
                  <a:moveTo>
                    <a:pt x="277" y="212"/>
                  </a:moveTo>
                  <a:cubicBezTo>
                    <a:pt x="278" y="212"/>
                    <a:pt x="278" y="210"/>
                    <a:pt x="277" y="210"/>
                  </a:cubicBezTo>
                  <a:cubicBezTo>
                    <a:pt x="275" y="209"/>
                    <a:pt x="274" y="210"/>
                    <a:pt x="275" y="210"/>
                  </a:cubicBezTo>
                  <a:cubicBezTo>
                    <a:pt x="275" y="210"/>
                    <a:pt x="274" y="210"/>
                    <a:pt x="274" y="212"/>
                  </a:cubicBezTo>
                  <a:cubicBezTo>
                    <a:pt x="274" y="212"/>
                    <a:pt x="272" y="213"/>
                    <a:pt x="275" y="212"/>
                  </a:cubicBezTo>
                  <a:cubicBezTo>
                    <a:pt x="275" y="212"/>
                    <a:pt x="275" y="212"/>
                    <a:pt x="277" y="212"/>
                  </a:cubicBezTo>
                  <a:close/>
                  <a:moveTo>
                    <a:pt x="278" y="212"/>
                  </a:moveTo>
                  <a:cubicBezTo>
                    <a:pt x="277" y="213"/>
                    <a:pt x="278" y="212"/>
                    <a:pt x="278" y="213"/>
                  </a:cubicBezTo>
                  <a:cubicBezTo>
                    <a:pt x="278" y="215"/>
                    <a:pt x="277" y="213"/>
                    <a:pt x="277" y="215"/>
                  </a:cubicBezTo>
                  <a:cubicBezTo>
                    <a:pt x="277" y="216"/>
                    <a:pt x="277" y="216"/>
                    <a:pt x="278" y="216"/>
                  </a:cubicBezTo>
                  <a:cubicBezTo>
                    <a:pt x="280" y="216"/>
                    <a:pt x="278" y="216"/>
                    <a:pt x="280" y="218"/>
                  </a:cubicBezTo>
                  <a:cubicBezTo>
                    <a:pt x="280" y="220"/>
                    <a:pt x="277" y="220"/>
                    <a:pt x="277" y="220"/>
                  </a:cubicBezTo>
                  <a:cubicBezTo>
                    <a:pt x="278" y="221"/>
                    <a:pt x="278" y="221"/>
                    <a:pt x="280" y="221"/>
                  </a:cubicBezTo>
                  <a:cubicBezTo>
                    <a:pt x="280" y="220"/>
                    <a:pt x="280" y="221"/>
                    <a:pt x="280" y="221"/>
                  </a:cubicBezTo>
                  <a:cubicBezTo>
                    <a:pt x="281" y="221"/>
                    <a:pt x="281" y="221"/>
                    <a:pt x="283" y="223"/>
                  </a:cubicBezTo>
                  <a:cubicBezTo>
                    <a:pt x="284" y="224"/>
                    <a:pt x="283" y="224"/>
                    <a:pt x="283" y="224"/>
                  </a:cubicBezTo>
                  <a:cubicBezTo>
                    <a:pt x="284" y="226"/>
                    <a:pt x="284" y="223"/>
                    <a:pt x="284" y="226"/>
                  </a:cubicBezTo>
                  <a:cubicBezTo>
                    <a:pt x="284" y="227"/>
                    <a:pt x="287" y="229"/>
                    <a:pt x="287" y="227"/>
                  </a:cubicBezTo>
                  <a:cubicBezTo>
                    <a:pt x="289" y="226"/>
                    <a:pt x="287" y="226"/>
                    <a:pt x="287" y="224"/>
                  </a:cubicBezTo>
                  <a:cubicBezTo>
                    <a:pt x="287" y="223"/>
                    <a:pt x="287" y="224"/>
                    <a:pt x="287" y="221"/>
                  </a:cubicBezTo>
                  <a:cubicBezTo>
                    <a:pt x="289" y="220"/>
                    <a:pt x="287" y="221"/>
                    <a:pt x="286" y="220"/>
                  </a:cubicBezTo>
                  <a:cubicBezTo>
                    <a:pt x="286" y="218"/>
                    <a:pt x="286" y="220"/>
                    <a:pt x="284" y="218"/>
                  </a:cubicBezTo>
                  <a:cubicBezTo>
                    <a:pt x="284" y="218"/>
                    <a:pt x="283" y="220"/>
                    <a:pt x="283" y="218"/>
                  </a:cubicBezTo>
                  <a:cubicBezTo>
                    <a:pt x="281" y="218"/>
                    <a:pt x="283" y="216"/>
                    <a:pt x="284" y="218"/>
                  </a:cubicBezTo>
                  <a:cubicBezTo>
                    <a:pt x="287" y="220"/>
                    <a:pt x="286" y="218"/>
                    <a:pt x="284" y="216"/>
                  </a:cubicBezTo>
                  <a:cubicBezTo>
                    <a:pt x="283" y="215"/>
                    <a:pt x="283" y="213"/>
                    <a:pt x="283" y="212"/>
                  </a:cubicBezTo>
                  <a:cubicBezTo>
                    <a:pt x="281" y="210"/>
                    <a:pt x="280" y="212"/>
                    <a:pt x="278" y="210"/>
                  </a:cubicBezTo>
                  <a:cubicBezTo>
                    <a:pt x="278" y="210"/>
                    <a:pt x="280" y="209"/>
                    <a:pt x="278" y="207"/>
                  </a:cubicBezTo>
                  <a:cubicBezTo>
                    <a:pt x="278" y="206"/>
                    <a:pt x="278" y="207"/>
                    <a:pt x="277" y="207"/>
                  </a:cubicBezTo>
                  <a:cubicBezTo>
                    <a:pt x="274" y="207"/>
                    <a:pt x="275" y="207"/>
                    <a:pt x="275" y="207"/>
                  </a:cubicBezTo>
                  <a:cubicBezTo>
                    <a:pt x="274" y="209"/>
                    <a:pt x="274" y="209"/>
                    <a:pt x="275" y="209"/>
                  </a:cubicBezTo>
                  <a:cubicBezTo>
                    <a:pt x="277" y="209"/>
                    <a:pt x="278" y="209"/>
                    <a:pt x="278" y="212"/>
                  </a:cubicBezTo>
                  <a:close/>
                  <a:moveTo>
                    <a:pt x="280" y="227"/>
                  </a:moveTo>
                  <a:cubicBezTo>
                    <a:pt x="281" y="229"/>
                    <a:pt x="283" y="229"/>
                    <a:pt x="281" y="227"/>
                  </a:cubicBezTo>
                  <a:cubicBezTo>
                    <a:pt x="281" y="226"/>
                    <a:pt x="281" y="226"/>
                    <a:pt x="280" y="224"/>
                  </a:cubicBezTo>
                  <a:cubicBezTo>
                    <a:pt x="278" y="223"/>
                    <a:pt x="280" y="223"/>
                    <a:pt x="280" y="223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7" y="223"/>
                    <a:pt x="278" y="223"/>
                    <a:pt x="278" y="224"/>
                  </a:cubicBezTo>
                  <a:cubicBezTo>
                    <a:pt x="278" y="224"/>
                    <a:pt x="278" y="224"/>
                    <a:pt x="280" y="227"/>
                  </a:cubicBezTo>
                  <a:close/>
                  <a:moveTo>
                    <a:pt x="199" y="22"/>
                  </a:moveTo>
                  <a:cubicBezTo>
                    <a:pt x="190" y="20"/>
                    <a:pt x="188" y="25"/>
                    <a:pt x="182" y="22"/>
                  </a:cubicBezTo>
                  <a:cubicBezTo>
                    <a:pt x="176" y="19"/>
                    <a:pt x="166" y="20"/>
                    <a:pt x="155" y="16"/>
                  </a:cubicBezTo>
                  <a:cubicBezTo>
                    <a:pt x="144" y="13"/>
                    <a:pt x="144" y="19"/>
                    <a:pt x="134" y="16"/>
                  </a:cubicBezTo>
                  <a:cubicBezTo>
                    <a:pt x="123" y="13"/>
                    <a:pt x="134" y="10"/>
                    <a:pt x="121" y="10"/>
                  </a:cubicBezTo>
                  <a:cubicBezTo>
                    <a:pt x="109" y="10"/>
                    <a:pt x="112" y="11"/>
                    <a:pt x="109" y="8"/>
                  </a:cubicBezTo>
                  <a:cubicBezTo>
                    <a:pt x="105" y="5"/>
                    <a:pt x="105" y="10"/>
                    <a:pt x="100" y="6"/>
                  </a:cubicBezTo>
                  <a:cubicBezTo>
                    <a:pt x="97" y="5"/>
                    <a:pt x="96" y="0"/>
                    <a:pt x="88" y="6"/>
                  </a:cubicBezTo>
                  <a:cubicBezTo>
                    <a:pt x="80" y="14"/>
                    <a:pt x="76" y="5"/>
                    <a:pt x="64" y="14"/>
                  </a:cubicBezTo>
                  <a:cubicBezTo>
                    <a:pt x="51" y="24"/>
                    <a:pt x="50" y="11"/>
                    <a:pt x="44" y="24"/>
                  </a:cubicBezTo>
                  <a:cubicBezTo>
                    <a:pt x="39" y="36"/>
                    <a:pt x="36" y="39"/>
                    <a:pt x="21" y="39"/>
                  </a:cubicBezTo>
                  <a:cubicBezTo>
                    <a:pt x="13" y="39"/>
                    <a:pt x="21" y="44"/>
                    <a:pt x="13" y="45"/>
                  </a:cubicBezTo>
                  <a:cubicBezTo>
                    <a:pt x="7" y="47"/>
                    <a:pt x="32" y="52"/>
                    <a:pt x="36" y="61"/>
                  </a:cubicBezTo>
                  <a:cubicBezTo>
                    <a:pt x="41" y="69"/>
                    <a:pt x="47" y="61"/>
                    <a:pt x="45" y="67"/>
                  </a:cubicBezTo>
                  <a:cubicBezTo>
                    <a:pt x="45" y="72"/>
                    <a:pt x="50" y="67"/>
                    <a:pt x="50" y="72"/>
                  </a:cubicBezTo>
                  <a:cubicBezTo>
                    <a:pt x="51" y="76"/>
                    <a:pt x="57" y="72"/>
                    <a:pt x="56" y="76"/>
                  </a:cubicBezTo>
                  <a:cubicBezTo>
                    <a:pt x="56" y="80"/>
                    <a:pt x="56" y="75"/>
                    <a:pt x="51" y="78"/>
                  </a:cubicBezTo>
                  <a:cubicBezTo>
                    <a:pt x="51" y="80"/>
                    <a:pt x="51" y="76"/>
                    <a:pt x="41" y="78"/>
                  </a:cubicBezTo>
                  <a:cubicBezTo>
                    <a:pt x="30" y="80"/>
                    <a:pt x="44" y="67"/>
                    <a:pt x="30" y="72"/>
                  </a:cubicBezTo>
                  <a:cubicBezTo>
                    <a:pt x="16" y="76"/>
                    <a:pt x="9" y="83"/>
                    <a:pt x="4" y="83"/>
                  </a:cubicBezTo>
                  <a:cubicBezTo>
                    <a:pt x="0" y="84"/>
                    <a:pt x="3" y="89"/>
                    <a:pt x="10" y="89"/>
                  </a:cubicBezTo>
                  <a:cubicBezTo>
                    <a:pt x="19" y="89"/>
                    <a:pt x="9" y="92"/>
                    <a:pt x="13" y="94"/>
                  </a:cubicBezTo>
                  <a:cubicBezTo>
                    <a:pt x="18" y="97"/>
                    <a:pt x="12" y="100"/>
                    <a:pt x="21" y="101"/>
                  </a:cubicBezTo>
                  <a:cubicBezTo>
                    <a:pt x="30" y="101"/>
                    <a:pt x="33" y="97"/>
                    <a:pt x="39" y="100"/>
                  </a:cubicBezTo>
                  <a:cubicBezTo>
                    <a:pt x="47" y="104"/>
                    <a:pt x="54" y="90"/>
                    <a:pt x="59" y="97"/>
                  </a:cubicBezTo>
                  <a:cubicBezTo>
                    <a:pt x="64" y="101"/>
                    <a:pt x="48" y="98"/>
                    <a:pt x="56" y="103"/>
                  </a:cubicBezTo>
                  <a:cubicBezTo>
                    <a:pt x="65" y="108"/>
                    <a:pt x="57" y="115"/>
                    <a:pt x="51" y="114"/>
                  </a:cubicBezTo>
                  <a:cubicBezTo>
                    <a:pt x="44" y="112"/>
                    <a:pt x="45" y="123"/>
                    <a:pt x="38" y="118"/>
                  </a:cubicBezTo>
                  <a:cubicBezTo>
                    <a:pt x="30" y="114"/>
                    <a:pt x="29" y="126"/>
                    <a:pt x="24" y="128"/>
                  </a:cubicBezTo>
                  <a:cubicBezTo>
                    <a:pt x="21" y="129"/>
                    <a:pt x="22" y="134"/>
                    <a:pt x="18" y="137"/>
                  </a:cubicBezTo>
                  <a:cubicBezTo>
                    <a:pt x="15" y="139"/>
                    <a:pt x="18" y="140"/>
                    <a:pt x="24" y="145"/>
                  </a:cubicBezTo>
                  <a:cubicBezTo>
                    <a:pt x="30" y="150"/>
                    <a:pt x="22" y="153"/>
                    <a:pt x="25" y="154"/>
                  </a:cubicBezTo>
                  <a:cubicBezTo>
                    <a:pt x="29" y="157"/>
                    <a:pt x="33" y="165"/>
                    <a:pt x="41" y="162"/>
                  </a:cubicBezTo>
                  <a:cubicBezTo>
                    <a:pt x="48" y="159"/>
                    <a:pt x="51" y="162"/>
                    <a:pt x="50" y="168"/>
                  </a:cubicBezTo>
                  <a:cubicBezTo>
                    <a:pt x="47" y="174"/>
                    <a:pt x="53" y="170"/>
                    <a:pt x="50" y="176"/>
                  </a:cubicBezTo>
                  <a:cubicBezTo>
                    <a:pt x="48" y="181"/>
                    <a:pt x="56" y="179"/>
                    <a:pt x="59" y="174"/>
                  </a:cubicBezTo>
                  <a:cubicBezTo>
                    <a:pt x="62" y="171"/>
                    <a:pt x="68" y="176"/>
                    <a:pt x="71" y="179"/>
                  </a:cubicBezTo>
                  <a:cubicBezTo>
                    <a:pt x="76" y="184"/>
                    <a:pt x="76" y="176"/>
                    <a:pt x="79" y="178"/>
                  </a:cubicBezTo>
                  <a:cubicBezTo>
                    <a:pt x="82" y="181"/>
                    <a:pt x="91" y="173"/>
                    <a:pt x="86" y="178"/>
                  </a:cubicBezTo>
                  <a:cubicBezTo>
                    <a:pt x="83" y="182"/>
                    <a:pt x="83" y="185"/>
                    <a:pt x="83" y="190"/>
                  </a:cubicBezTo>
                  <a:cubicBezTo>
                    <a:pt x="83" y="195"/>
                    <a:pt x="79" y="192"/>
                    <a:pt x="76" y="198"/>
                  </a:cubicBezTo>
                  <a:cubicBezTo>
                    <a:pt x="73" y="204"/>
                    <a:pt x="67" y="202"/>
                    <a:pt x="64" y="209"/>
                  </a:cubicBezTo>
                  <a:cubicBezTo>
                    <a:pt x="59" y="216"/>
                    <a:pt x="61" y="210"/>
                    <a:pt x="53" y="212"/>
                  </a:cubicBezTo>
                  <a:cubicBezTo>
                    <a:pt x="45" y="215"/>
                    <a:pt x="50" y="218"/>
                    <a:pt x="44" y="220"/>
                  </a:cubicBezTo>
                  <a:cubicBezTo>
                    <a:pt x="39" y="223"/>
                    <a:pt x="38" y="227"/>
                    <a:pt x="44" y="224"/>
                  </a:cubicBezTo>
                  <a:cubicBezTo>
                    <a:pt x="51" y="221"/>
                    <a:pt x="53" y="215"/>
                    <a:pt x="54" y="218"/>
                  </a:cubicBezTo>
                  <a:cubicBezTo>
                    <a:pt x="56" y="221"/>
                    <a:pt x="59" y="216"/>
                    <a:pt x="59" y="220"/>
                  </a:cubicBezTo>
                  <a:cubicBezTo>
                    <a:pt x="61" y="224"/>
                    <a:pt x="64" y="221"/>
                    <a:pt x="64" y="218"/>
                  </a:cubicBezTo>
                  <a:cubicBezTo>
                    <a:pt x="62" y="215"/>
                    <a:pt x="68" y="213"/>
                    <a:pt x="68" y="216"/>
                  </a:cubicBezTo>
                  <a:cubicBezTo>
                    <a:pt x="68" y="220"/>
                    <a:pt x="74" y="210"/>
                    <a:pt x="79" y="210"/>
                  </a:cubicBezTo>
                  <a:cubicBezTo>
                    <a:pt x="83" y="210"/>
                    <a:pt x="76" y="209"/>
                    <a:pt x="86" y="202"/>
                  </a:cubicBezTo>
                  <a:cubicBezTo>
                    <a:pt x="96" y="198"/>
                    <a:pt x="94" y="195"/>
                    <a:pt x="100" y="192"/>
                  </a:cubicBezTo>
                  <a:cubicBezTo>
                    <a:pt x="105" y="188"/>
                    <a:pt x="112" y="185"/>
                    <a:pt x="114" y="181"/>
                  </a:cubicBezTo>
                  <a:cubicBezTo>
                    <a:pt x="115" y="176"/>
                    <a:pt x="118" y="178"/>
                    <a:pt x="120" y="174"/>
                  </a:cubicBezTo>
                  <a:cubicBezTo>
                    <a:pt x="120" y="170"/>
                    <a:pt x="105" y="176"/>
                    <a:pt x="114" y="168"/>
                  </a:cubicBezTo>
                  <a:cubicBezTo>
                    <a:pt x="124" y="160"/>
                    <a:pt x="126" y="159"/>
                    <a:pt x="129" y="151"/>
                  </a:cubicBezTo>
                  <a:cubicBezTo>
                    <a:pt x="134" y="145"/>
                    <a:pt x="144" y="140"/>
                    <a:pt x="152" y="148"/>
                  </a:cubicBezTo>
                  <a:cubicBezTo>
                    <a:pt x="159" y="156"/>
                    <a:pt x="146" y="143"/>
                    <a:pt x="138" y="148"/>
                  </a:cubicBezTo>
                  <a:cubicBezTo>
                    <a:pt x="132" y="153"/>
                    <a:pt x="138" y="154"/>
                    <a:pt x="132" y="159"/>
                  </a:cubicBezTo>
                  <a:cubicBezTo>
                    <a:pt x="126" y="165"/>
                    <a:pt x="137" y="165"/>
                    <a:pt x="132" y="167"/>
                  </a:cubicBezTo>
                  <a:cubicBezTo>
                    <a:pt x="124" y="171"/>
                    <a:pt x="137" y="173"/>
                    <a:pt x="143" y="167"/>
                  </a:cubicBezTo>
                  <a:cubicBezTo>
                    <a:pt x="149" y="162"/>
                    <a:pt x="150" y="160"/>
                    <a:pt x="155" y="160"/>
                  </a:cubicBezTo>
                  <a:cubicBezTo>
                    <a:pt x="161" y="160"/>
                    <a:pt x="155" y="157"/>
                    <a:pt x="159" y="156"/>
                  </a:cubicBezTo>
                  <a:cubicBezTo>
                    <a:pt x="164" y="154"/>
                    <a:pt x="156" y="150"/>
                    <a:pt x="163" y="150"/>
                  </a:cubicBezTo>
                  <a:cubicBezTo>
                    <a:pt x="169" y="148"/>
                    <a:pt x="172" y="145"/>
                    <a:pt x="172" y="148"/>
                  </a:cubicBezTo>
                  <a:cubicBezTo>
                    <a:pt x="172" y="153"/>
                    <a:pt x="176" y="151"/>
                    <a:pt x="181" y="154"/>
                  </a:cubicBezTo>
                  <a:cubicBezTo>
                    <a:pt x="185" y="157"/>
                    <a:pt x="184" y="151"/>
                    <a:pt x="187" y="156"/>
                  </a:cubicBezTo>
                  <a:cubicBezTo>
                    <a:pt x="191" y="162"/>
                    <a:pt x="199" y="159"/>
                    <a:pt x="204" y="159"/>
                  </a:cubicBezTo>
                  <a:cubicBezTo>
                    <a:pt x="210" y="159"/>
                    <a:pt x="219" y="167"/>
                    <a:pt x="223" y="164"/>
                  </a:cubicBezTo>
                  <a:cubicBezTo>
                    <a:pt x="230" y="160"/>
                    <a:pt x="230" y="164"/>
                    <a:pt x="227" y="165"/>
                  </a:cubicBezTo>
                  <a:cubicBezTo>
                    <a:pt x="223" y="167"/>
                    <a:pt x="233" y="170"/>
                    <a:pt x="237" y="173"/>
                  </a:cubicBezTo>
                  <a:cubicBezTo>
                    <a:pt x="242" y="174"/>
                    <a:pt x="242" y="178"/>
                    <a:pt x="248" y="181"/>
                  </a:cubicBezTo>
                  <a:cubicBezTo>
                    <a:pt x="252" y="184"/>
                    <a:pt x="257" y="182"/>
                    <a:pt x="254" y="179"/>
                  </a:cubicBezTo>
                  <a:cubicBezTo>
                    <a:pt x="251" y="176"/>
                    <a:pt x="251" y="173"/>
                    <a:pt x="255" y="176"/>
                  </a:cubicBezTo>
                  <a:cubicBezTo>
                    <a:pt x="258" y="181"/>
                    <a:pt x="265" y="185"/>
                    <a:pt x="263" y="181"/>
                  </a:cubicBezTo>
                  <a:cubicBezTo>
                    <a:pt x="263" y="176"/>
                    <a:pt x="262" y="173"/>
                    <a:pt x="265" y="179"/>
                  </a:cubicBezTo>
                  <a:cubicBezTo>
                    <a:pt x="268" y="184"/>
                    <a:pt x="271" y="179"/>
                    <a:pt x="272" y="184"/>
                  </a:cubicBezTo>
                  <a:cubicBezTo>
                    <a:pt x="275" y="190"/>
                    <a:pt x="274" y="190"/>
                    <a:pt x="277" y="192"/>
                  </a:cubicBezTo>
                  <a:cubicBezTo>
                    <a:pt x="278" y="193"/>
                    <a:pt x="274" y="196"/>
                    <a:pt x="278" y="198"/>
                  </a:cubicBezTo>
                  <a:cubicBezTo>
                    <a:pt x="283" y="199"/>
                    <a:pt x="280" y="199"/>
                    <a:pt x="284" y="204"/>
                  </a:cubicBezTo>
                  <a:cubicBezTo>
                    <a:pt x="290" y="210"/>
                    <a:pt x="293" y="209"/>
                    <a:pt x="290" y="210"/>
                  </a:cubicBezTo>
                  <a:cubicBezTo>
                    <a:pt x="287" y="210"/>
                    <a:pt x="289" y="212"/>
                    <a:pt x="286" y="215"/>
                  </a:cubicBezTo>
                  <a:cubicBezTo>
                    <a:pt x="284" y="216"/>
                    <a:pt x="287" y="220"/>
                    <a:pt x="289" y="215"/>
                  </a:cubicBezTo>
                  <a:cubicBezTo>
                    <a:pt x="290" y="212"/>
                    <a:pt x="293" y="209"/>
                    <a:pt x="295" y="213"/>
                  </a:cubicBezTo>
                  <a:cubicBezTo>
                    <a:pt x="298" y="218"/>
                    <a:pt x="295" y="221"/>
                    <a:pt x="295" y="223"/>
                  </a:cubicBezTo>
                  <a:cubicBezTo>
                    <a:pt x="297" y="226"/>
                    <a:pt x="297" y="229"/>
                    <a:pt x="300" y="226"/>
                  </a:cubicBezTo>
                  <a:cubicBezTo>
                    <a:pt x="301" y="223"/>
                    <a:pt x="304" y="223"/>
                    <a:pt x="303" y="218"/>
                  </a:cubicBezTo>
                  <a:cubicBezTo>
                    <a:pt x="301" y="213"/>
                    <a:pt x="303" y="213"/>
                    <a:pt x="304" y="212"/>
                  </a:cubicBezTo>
                  <a:cubicBezTo>
                    <a:pt x="304" y="212"/>
                    <a:pt x="304" y="210"/>
                    <a:pt x="303" y="210"/>
                  </a:cubicBezTo>
                  <a:cubicBezTo>
                    <a:pt x="300" y="210"/>
                    <a:pt x="303" y="209"/>
                    <a:pt x="298" y="207"/>
                  </a:cubicBezTo>
                  <a:cubicBezTo>
                    <a:pt x="292" y="206"/>
                    <a:pt x="293" y="202"/>
                    <a:pt x="290" y="204"/>
                  </a:cubicBezTo>
                  <a:cubicBezTo>
                    <a:pt x="287" y="204"/>
                    <a:pt x="290" y="201"/>
                    <a:pt x="289" y="201"/>
                  </a:cubicBezTo>
                  <a:cubicBezTo>
                    <a:pt x="286" y="201"/>
                    <a:pt x="289" y="198"/>
                    <a:pt x="287" y="198"/>
                  </a:cubicBezTo>
                  <a:cubicBezTo>
                    <a:pt x="284" y="198"/>
                    <a:pt x="287" y="198"/>
                    <a:pt x="286" y="195"/>
                  </a:cubicBezTo>
                  <a:cubicBezTo>
                    <a:pt x="284" y="193"/>
                    <a:pt x="278" y="182"/>
                    <a:pt x="275" y="179"/>
                  </a:cubicBezTo>
                  <a:cubicBezTo>
                    <a:pt x="274" y="174"/>
                    <a:pt x="271" y="178"/>
                    <a:pt x="269" y="173"/>
                  </a:cubicBezTo>
                  <a:cubicBezTo>
                    <a:pt x="268" y="170"/>
                    <a:pt x="266" y="171"/>
                    <a:pt x="265" y="168"/>
                  </a:cubicBezTo>
                  <a:cubicBezTo>
                    <a:pt x="263" y="167"/>
                    <a:pt x="266" y="168"/>
                    <a:pt x="263" y="165"/>
                  </a:cubicBezTo>
                  <a:cubicBezTo>
                    <a:pt x="262" y="162"/>
                    <a:pt x="262" y="162"/>
                    <a:pt x="255" y="165"/>
                  </a:cubicBezTo>
                  <a:cubicBezTo>
                    <a:pt x="252" y="165"/>
                    <a:pt x="257" y="167"/>
                    <a:pt x="254" y="167"/>
                  </a:cubicBezTo>
                  <a:cubicBezTo>
                    <a:pt x="251" y="168"/>
                    <a:pt x="255" y="170"/>
                    <a:pt x="251" y="171"/>
                  </a:cubicBezTo>
                  <a:cubicBezTo>
                    <a:pt x="246" y="171"/>
                    <a:pt x="246" y="174"/>
                    <a:pt x="245" y="173"/>
                  </a:cubicBezTo>
                  <a:cubicBezTo>
                    <a:pt x="243" y="173"/>
                    <a:pt x="246" y="171"/>
                    <a:pt x="240" y="167"/>
                  </a:cubicBezTo>
                  <a:cubicBezTo>
                    <a:pt x="233" y="164"/>
                    <a:pt x="237" y="162"/>
                    <a:pt x="233" y="160"/>
                  </a:cubicBezTo>
                  <a:cubicBezTo>
                    <a:pt x="230" y="159"/>
                    <a:pt x="231" y="159"/>
                    <a:pt x="233" y="157"/>
                  </a:cubicBezTo>
                  <a:cubicBezTo>
                    <a:pt x="233" y="154"/>
                    <a:pt x="228" y="156"/>
                    <a:pt x="227" y="157"/>
                  </a:cubicBezTo>
                  <a:cubicBezTo>
                    <a:pt x="225" y="157"/>
                    <a:pt x="225" y="157"/>
                    <a:pt x="222" y="156"/>
                  </a:cubicBezTo>
                  <a:cubicBezTo>
                    <a:pt x="220" y="154"/>
                    <a:pt x="223" y="159"/>
                    <a:pt x="217" y="156"/>
                  </a:cubicBezTo>
                  <a:cubicBezTo>
                    <a:pt x="217" y="28"/>
                    <a:pt x="217" y="28"/>
                    <a:pt x="217" y="28"/>
                  </a:cubicBezTo>
                  <a:cubicBezTo>
                    <a:pt x="208" y="28"/>
                    <a:pt x="208" y="22"/>
                    <a:pt x="199" y="22"/>
                  </a:cubicBezTo>
                  <a:close/>
                  <a:moveTo>
                    <a:pt x="734" y="349"/>
                  </a:moveTo>
                  <a:cubicBezTo>
                    <a:pt x="734" y="350"/>
                    <a:pt x="732" y="352"/>
                    <a:pt x="730" y="352"/>
                  </a:cubicBezTo>
                  <a:cubicBezTo>
                    <a:pt x="729" y="352"/>
                    <a:pt x="729" y="353"/>
                    <a:pt x="730" y="355"/>
                  </a:cubicBezTo>
                  <a:cubicBezTo>
                    <a:pt x="732" y="355"/>
                    <a:pt x="730" y="355"/>
                    <a:pt x="730" y="358"/>
                  </a:cubicBezTo>
                  <a:cubicBezTo>
                    <a:pt x="730" y="360"/>
                    <a:pt x="729" y="360"/>
                    <a:pt x="727" y="361"/>
                  </a:cubicBezTo>
                  <a:cubicBezTo>
                    <a:pt x="726" y="363"/>
                    <a:pt x="721" y="363"/>
                    <a:pt x="718" y="363"/>
                  </a:cubicBezTo>
                  <a:cubicBezTo>
                    <a:pt x="717" y="361"/>
                    <a:pt x="711" y="361"/>
                    <a:pt x="711" y="363"/>
                  </a:cubicBezTo>
                  <a:cubicBezTo>
                    <a:pt x="709" y="363"/>
                    <a:pt x="706" y="364"/>
                    <a:pt x="706" y="364"/>
                  </a:cubicBezTo>
                  <a:cubicBezTo>
                    <a:pt x="709" y="366"/>
                    <a:pt x="709" y="366"/>
                    <a:pt x="709" y="366"/>
                  </a:cubicBezTo>
                  <a:cubicBezTo>
                    <a:pt x="711" y="366"/>
                    <a:pt x="709" y="369"/>
                    <a:pt x="709" y="369"/>
                  </a:cubicBezTo>
                  <a:cubicBezTo>
                    <a:pt x="708" y="370"/>
                    <a:pt x="703" y="375"/>
                    <a:pt x="700" y="375"/>
                  </a:cubicBezTo>
                  <a:cubicBezTo>
                    <a:pt x="699" y="375"/>
                    <a:pt x="695" y="378"/>
                    <a:pt x="689" y="381"/>
                  </a:cubicBezTo>
                  <a:cubicBezTo>
                    <a:pt x="683" y="384"/>
                    <a:pt x="677" y="384"/>
                    <a:pt x="677" y="383"/>
                  </a:cubicBezTo>
                  <a:cubicBezTo>
                    <a:pt x="676" y="383"/>
                    <a:pt x="679" y="383"/>
                    <a:pt x="679" y="381"/>
                  </a:cubicBezTo>
                  <a:cubicBezTo>
                    <a:pt x="677" y="381"/>
                    <a:pt x="673" y="381"/>
                    <a:pt x="673" y="380"/>
                  </a:cubicBezTo>
                  <a:cubicBezTo>
                    <a:pt x="673" y="378"/>
                    <a:pt x="674" y="378"/>
                    <a:pt x="674" y="375"/>
                  </a:cubicBezTo>
                  <a:cubicBezTo>
                    <a:pt x="676" y="372"/>
                    <a:pt x="677" y="374"/>
                    <a:pt x="677" y="370"/>
                  </a:cubicBezTo>
                  <a:cubicBezTo>
                    <a:pt x="679" y="369"/>
                    <a:pt x="679" y="369"/>
                    <a:pt x="680" y="370"/>
                  </a:cubicBezTo>
                  <a:cubicBezTo>
                    <a:pt x="680" y="369"/>
                    <a:pt x="680" y="369"/>
                    <a:pt x="680" y="369"/>
                  </a:cubicBezTo>
                  <a:cubicBezTo>
                    <a:pt x="680" y="367"/>
                    <a:pt x="682" y="367"/>
                    <a:pt x="682" y="366"/>
                  </a:cubicBezTo>
                  <a:cubicBezTo>
                    <a:pt x="680" y="363"/>
                    <a:pt x="680" y="353"/>
                    <a:pt x="676" y="355"/>
                  </a:cubicBezTo>
                  <a:cubicBezTo>
                    <a:pt x="673" y="355"/>
                    <a:pt x="673" y="358"/>
                    <a:pt x="671" y="360"/>
                  </a:cubicBezTo>
                  <a:cubicBezTo>
                    <a:pt x="670" y="360"/>
                    <a:pt x="668" y="355"/>
                    <a:pt x="671" y="355"/>
                  </a:cubicBezTo>
                  <a:cubicBezTo>
                    <a:pt x="673" y="353"/>
                    <a:pt x="674" y="352"/>
                    <a:pt x="674" y="349"/>
                  </a:cubicBezTo>
                  <a:cubicBezTo>
                    <a:pt x="674" y="344"/>
                    <a:pt x="671" y="342"/>
                    <a:pt x="674" y="342"/>
                  </a:cubicBezTo>
                  <a:cubicBezTo>
                    <a:pt x="676" y="342"/>
                    <a:pt x="673" y="339"/>
                    <a:pt x="670" y="338"/>
                  </a:cubicBezTo>
                  <a:cubicBezTo>
                    <a:pt x="667" y="338"/>
                    <a:pt x="668" y="336"/>
                    <a:pt x="667" y="336"/>
                  </a:cubicBezTo>
                  <a:cubicBezTo>
                    <a:pt x="663" y="336"/>
                    <a:pt x="663" y="333"/>
                    <a:pt x="660" y="335"/>
                  </a:cubicBezTo>
                  <a:cubicBezTo>
                    <a:pt x="657" y="338"/>
                    <a:pt x="663" y="338"/>
                    <a:pt x="659" y="339"/>
                  </a:cubicBezTo>
                  <a:cubicBezTo>
                    <a:pt x="656" y="339"/>
                    <a:pt x="657" y="345"/>
                    <a:pt x="656" y="345"/>
                  </a:cubicBezTo>
                  <a:cubicBezTo>
                    <a:pt x="654" y="345"/>
                    <a:pt x="657" y="338"/>
                    <a:pt x="653" y="344"/>
                  </a:cubicBezTo>
                  <a:cubicBezTo>
                    <a:pt x="651" y="347"/>
                    <a:pt x="650" y="344"/>
                    <a:pt x="651" y="349"/>
                  </a:cubicBezTo>
                  <a:cubicBezTo>
                    <a:pt x="651" y="352"/>
                    <a:pt x="648" y="353"/>
                    <a:pt x="650" y="355"/>
                  </a:cubicBezTo>
                  <a:cubicBezTo>
                    <a:pt x="650" y="358"/>
                    <a:pt x="648" y="356"/>
                    <a:pt x="650" y="361"/>
                  </a:cubicBezTo>
                  <a:cubicBezTo>
                    <a:pt x="651" y="367"/>
                    <a:pt x="651" y="372"/>
                    <a:pt x="648" y="377"/>
                  </a:cubicBezTo>
                  <a:cubicBezTo>
                    <a:pt x="645" y="381"/>
                    <a:pt x="642" y="383"/>
                    <a:pt x="639" y="378"/>
                  </a:cubicBezTo>
                  <a:cubicBezTo>
                    <a:pt x="636" y="374"/>
                    <a:pt x="639" y="370"/>
                    <a:pt x="638" y="366"/>
                  </a:cubicBezTo>
                  <a:cubicBezTo>
                    <a:pt x="638" y="361"/>
                    <a:pt x="639" y="363"/>
                    <a:pt x="639" y="356"/>
                  </a:cubicBezTo>
                  <a:cubicBezTo>
                    <a:pt x="639" y="352"/>
                    <a:pt x="642" y="355"/>
                    <a:pt x="641" y="352"/>
                  </a:cubicBezTo>
                  <a:cubicBezTo>
                    <a:pt x="639" y="350"/>
                    <a:pt x="644" y="345"/>
                    <a:pt x="641" y="345"/>
                  </a:cubicBezTo>
                  <a:cubicBezTo>
                    <a:pt x="639" y="344"/>
                    <a:pt x="641" y="345"/>
                    <a:pt x="638" y="349"/>
                  </a:cubicBezTo>
                  <a:cubicBezTo>
                    <a:pt x="636" y="350"/>
                    <a:pt x="638" y="344"/>
                    <a:pt x="639" y="344"/>
                  </a:cubicBezTo>
                  <a:cubicBezTo>
                    <a:pt x="641" y="342"/>
                    <a:pt x="639" y="342"/>
                    <a:pt x="641" y="341"/>
                  </a:cubicBezTo>
                  <a:cubicBezTo>
                    <a:pt x="642" y="338"/>
                    <a:pt x="645" y="331"/>
                    <a:pt x="645" y="333"/>
                  </a:cubicBezTo>
                  <a:cubicBezTo>
                    <a:pt x="645" y="336"/>
                    <a:pt x="648" y="331"/>
                    <a:pt x="648" y="335"/>
                  </a:cubicBezTo>
                  <a:cubicBezTo>
                    <a:pt x="647" y="338"/>
                    <a:pt x="650" y="331"/>
                    <a:pt x="651" y="331"/>
                  </a:cubicBezTo>
                  <a:cubicBezTo>
                    <a:pt x="657" y="333"/>
                    <a:pt x="654" y="328"/>
                    <a:pt x="660" y="331"/>
                  </a:cubicBezTo>
                  <a:cubicBezTo>
                    <a:pt x="665" y="335"/>
                    <a:pt x="662" y="330"/>
                    <a:pt x="663" y="331"/>
                  </a:cubicBezTo>
                  <a:cubicBezTo>
                    <a:pt x="667" y="331"/>
                    <a:pt x="670" y="333"/>
                    <a:pt x="670" y="330"/>
                  </a:cubicBezTo>
                  <a:cubicBezTo>
                    <a:pt x="668" y="328"/>
                    <a:pt x="667" y="330"/>
                    <a:pt x="667" y="327"/>
                  </a:cubicBezTo>
                  <a:cubicBezTo>
                    <a:pt x="667" y="325"/>
                    <a:pt x="665" y="327"/>
                    <a:pt x="662" y="325"/>
                  </a:cubicBezTo>
                  <a:cubicBezTo>
                    <a:pt x="659" y="325"/>
                    <a:pt x="662" y="322"/>
                    <a:pt x="660" y="322"/>
                  </a:cubicBezTo>
                  <a:cubicBezTo>
                    <a:pt x="657" y="324"/>
                    <a:pt x="651" y="324"/>
                    <a:pt x="650" y="325"/>
                  </a:cubicBezTo>
                  <a:cubicBezTo>
                    <a:pt x="647" y="327"/>
                    <a:pt x="647" y="325"/>
                    <a:pt x="644" y="325"/>
                  </a:cubicBezTo>
                  <a:cubicBezTo>
                    <a:pt x="641" y="325"/>
                    <a:pt x="641" y="322"/>
                    <a:pt x="638" y="321"/>
                  </a:cubicBezTo>
                  <a:cubicBezTo>
                    <a:pt x="635" y="319"/>
                    <a:pt x="633" y="324"/>
                    <a:pt x="633" y="321"/>
                  </a:cubicBezTo>
                  <a:cubicBezTo>
                    <a:pt x="633" y="317"/>
                    <a:pt x="632" y="317"/>
                    <a:pt x="628" y="321"/>
                  </a:cubicBezTo>
                  <a:cubicBezTo>
                    <a:pt x="625" y="324"/>
                    <a:pt x="625" y="321"/>
                    <a:pt x="621" y="324"/>
                  </a:cubicBezTo>
                  <a:cubicBezTo>
                    <a:pt x="618" y="327"/>
                    <a:pt x="618" y="324"/>
                    <a:pt x="615" y="325"/>
                  </a:cubicBezTo>
                  <a:cubicBezTo>
                    <a:pt x="612" y="325"/>
                    <a:pt x="616" y="321"/>
                    <a:pt x="615" y="321"/>
                  </a:cubicBezTo>
                  <a:cubicBezTo>
                    <a:pt x="612" y="321"/>
                    <a:pt x="609" y="324"/>
                    <a:pt x="606" y="324"/>
                  </a:cubicBezTo>
                  <a:cubicBezTo>
                    <a:pt x="603" y="322"/>
                    <a:pt x="607" y="321"/>
                    <a:pt x="610" y="316"/>
                  </a:cubicBezTo>
                  <a:cubicBezTo>
                    <a:pt x="615" y="311"/>
                    <a:pt x="616" y="311"/>
                    <a:pt x="624" y="308"/>
                  </a:cubicBezTo>
                  <a:cubicBezTo>
                    <a:pt x="619" y="308"/>
                    <a:pt x="622" y="307"/>
                    <a:pt x="618" y="307"/>
                  </a:cubicBezTo>
                  <a:cubicBezTo>
                    <a:pt x="613" y="308"/>
                    <a:pt x="616" y="305"/>
                    <a:pt x="610" y="307"/>
                  </a:cubicBezTo>
                  <a:cubicBezTo>
                    <a:pt x="607" y="310"/>
                    <a:pt x="606" y="304"/>
                    <a:pt x="603" y="305"/>
                  </a:cubicBezTo>
                  <a:cubicBezTo>
                    <a:pt x="601" y="307"/>
                    <a:pt x="604" y="304"/>
                    <a:pt x="598" y="302"/>
                  </a:cubicBezTo>
                  <a:cubicBezTo>
                    <a:pt x="592" y="299"/>
                    <a:pt x="592" y="304"/>
                    <a:pt x="590" y="302"/>
                  </a:cubicBezTo>
                  <a:cubicBezTo>
                    <a:pt x="589" y="299"/>
                    <a:pt x="584" y="302"/>
                    <a:pt x="584" y="297"/>
                  </a:cubicBezTo>
                  <a:cubicBezTo>
                    <a:pt x="583" y="294"/>
                    <a:pt x="583" y="293"/>
                    <a:pt x="581" y="293"/>
                  </a:cubicBezTo>
                  <a:cubicBezTo>
                    <a:pt x="580" y="291"/>
                    <a:pt x="581" y="297"/>
                    <a:pt x="580" y="297"/>
                  </a:cubicBezTo>
                  <a:cubicBezTo>
                    <a:pt x="360" y="297"/>
                    <a:pt x="360" y="297"/>
                    <a:pt x="360" y="297"/>
                  </a:cubicBezTo>
                  <a:cubicBezTo>
                    <a:pt x="360" y="300"/>
                    <a:pt x="364" y="299"/>
                    <a:pt x="364" y="302"/>
                  </a:cubicBezTo>
                  <a:cubicBezTo>
                    <a:pt x="364" y="304"/>
                    <a:pt x="360" y="302"/>
                    <a:pt x="362" y="305"/>
                  </a:cubicBezTo>
                  <a:cubicBezTo>
                    <a:pt x="365" y="308"/>
                    <a:pt x="365" y="308"/>
                    <a:pt x="365" y="314"/>
                  </a:cubicBezTo>
                  <a:cubicBezTo>
                    <a:pt x="364" y="321"/>
                    <a:pt x="364" y="313"/>
                    <a:pt x="362" y="308"/>
                  </a:cubicBezTo>
                  <a:cubicBezTo>
                    <a:pt x="360" y="305"/>
                    <a:pt x="353" y="307"/>
                    <a:pt x="348" y="305"/>
                  </a:cubicBezTo>
                  <a:cubicBezTo>
                    <a:pt x="345" y="302"/>
                    <a:pt x="345" y="307"/>
                    <a:pt x="348" y="310"/>
                  </a:cubicBezTo>
                  <a:cubicBezTo>
                    <a:pt x="350" y="314"/>
                    <a:pt x="351" y="325"/>
                    <a:pt x="351" y="333"/>
                  </a:cubicBezTo>
                  <a:cubicBezTo>
                    <a:pt x="351" y="341"/>
                    <a:pt x="351" y="356"/>
                    <a:pt x="348" y="364"/>
                  </a:cubicBezTo>
                  <a:cubicBezTo>
                    <a:pt x="345" y="370"/>
                    <a:pt x="353" y="381"/>
                    <a:pt x="350" y="389"/>
                  </a:cubicBezTo>
                  <a:cubicBezTo>
                    <a:pt x="347" y="398"/>
                    <a:pt x="353" y="397"/>
                    <a:pt x="353" y="406"/>
                  </a:cubicBezTo>
                  <a:cubicBezTo>
                    <a:pt x="354" y="415"/>
                    <a:pt x="359" y="414"/>
                    <a:pt x="359" y="419"/>
                  </a:cubicBezTo>
                  <a:cubicBezTo>
                    <a:pt x="360" y="423"/>
                    <a:pt x="364" y="420"/>
                    <a:pt x="364" y="426"/>
                  </a:cubicBezTo>
                  <a:cubicBezTo>
                    <a:pt x="365" y="434"/>
                    <a:pt x="370" y="431"/>
                    <a:pt x="368" y="436"/>
                  </a:cubicBezTo>
                  <a:cubicBezTo>
                    <a:pt x="367" y="439"/>
                    <a:pt x="370" y="440"/>
                    <a:pt x="374" y="448"/>
                  </a:cubicBezTo>
                  <a:cubicBezTo>
                    <a:pt x="380" y="454"/>
                    <a:pt x="377" y="458"/>
                    <a:pt x="379" y="459"/>
                  </a:cubicBezTo>
                  <a:cubicBezTo>
                    <a:pt x="382" y="461"/>
                    <a:pt x="386" y="459"/>
                    <a:pt x="392" y="465"/>
                  </a:cubicBezTo>
                  <a:cubicBezTo>
                    <a:pt x="397" y="470"/>
                    <a:pt x="397" y="465"/>
                    <a:pt x="402" y="470"/>
                  </a:cubicBezTo>
                  <a:cubicBezTo>
                    <a:pt x="406" y="475"/>
                    <a:pt x="405" y="476"/>
                    <a:pt x="406" y="481"/>
                  </a:cubicBezTo>
                  <a:cubicBezTo>
                    <a:pt x="411" y="479"/>
                    <a:pt x="421" y="479"/>
                    <a:pt x="424" y="478"/>
                  </a:cubicBezTo>
                  <a:cubicBezTo>
                    <a:pt x="424" y="481"/>
                    <a:pt x="424" y="481"/>
                    <a:pt x="424" y="481"/>
                  </a:cubicBezTo>
                  <a:cubicBezTo>
                    <a:pt x="429" y="482"/>
                    <a:pt x="452" y="492"/>
                    <a:pt x="455" y="493"/>
                  </a:cubicBezTo>
                  <a:cubicBezTo>
                    <a:pt x="478" y="493"/>
                    <a:pt x="478" y="493"/>
                    <a:pt x="478" y="493"/>
                  </a:cubicBezTo>
                  <a:cubicBezTo>
                    <a:pt x="478" y="489"/>
                    <a:pt x="478" y="489"/>
                    <a:pt x="478" y="489"/>
                  </a:cubicBezTo>
                  <a:cubicBezTo>
                    <a:pt x="490" y="489"/>
                    <a:pt x="490" y="489"/>
                    <a:pt x="490" y="489"/>
                  </a:cubicBezTo>
                  <a:cubicBezTo>
                    <a:pt x="490" y="489"/>
                    <a:pt x="499" y="498"/>
                    <a:pt x="502" y="501"/>
                  </a:cubicBezTo>
                  <a:cubicBezTo>
                    <a:pt x="507" y="504"/>
                    <a:pt x="505" y="512"/>
                    <a:pt x="513" y="517"/>
                  </a:cubicBezTo>
                  <a:cubicBezTo>
                    <a:pt x="522" y="520"/>
                    <a:pt x="516" y="506"/>
                    <a:pt x="526" y="507"/>
                  </a:cubicBezTo>
                  <a:cubicBezTo>
                    <a:pt x="536" y="509"/>
                    <a:pt x="537" y="521"/>
                    <a:pt x="543" y="529"/>
                  </a:cubicBezTo>
                  <a:cubicBezTo>
                    <a:pt x="549" y="537"/>
                    <a:pt x="545" y="546"/>
                    <a:pt x="558" y="548"/>
                  </a:cubicBezTo>
                  <a:cubicBezTo>
                    <a:pt x="560" y="548"/>
                    <a:pt x="563" y="551"/>
                    <a:pt x="563" y="549"/>
                  </a:cubicBezTo>
                  <a:cubicBezTo>
                    <a:pt x="563" y="549"/>
                    <a:pt x="563" y="549"/>
                    <a:pt x="565" y="549"/>
                  </a:cubicBezTo>
                  <a:cubicBezTo>
                    <a:pt x="565" y="545"/>
                    <a:pt x="561" y="538"/>
                    <a:pt x="563" y="535"/>
                  </a:cubicBezTo>
                  <a:cubicBezTo>
                    <a:pt x="563" y="532"/>
                    <a:pt x="565" y="531"/>
                    <a:pt x="566" y="529"/>
                  </a:cubicBezTo>
                  <a:cubicBezTo>
                    <a:pt x="568" y="526"/>
                    <a:pt x="572" y="524"/>
                    <a:pt x="571" y="523"/>
                  </a:cubicBezTo>
                  <a:cubicBezTo>
                    <a:pt x="569" y="523"/>
                    <a:pt x="568" y="521"/>
                    <a:pt x="569" y="521"/>
                  </a:cubicBezTo>
                  <a:cubicBezTo>
                    <a:pt x="571" y="523"/>
                    <a:pt x="571" y="520"/>
                    <a:pt x="572" y="521"/>
                  </a:cubicBezTo>
                  <a:cubicBezTo>
                    <a:pt x="574" y="523"/>
                    <a:pt x="578" y="520"/>
                    <a:pt x="580" y="517"/>
                  </a:cubicBezTo>
                  <a:cubicBezTo>
                    <a:pt x="583" y="515"/>
                    <a:pt x="583" y="515"/>
                    <a:pt x="586" y="512"/>
                  </a:cubicBezTo>
                  <a:cubicBezTo>
                    <a:pt x="589" y="510"/>
                    <a:pt x="589" y="510"/>
                    <a:pt x="593" y="509"/>
                  </a:cubicBezTo>
                  <a:cubicBezTo>
                    <a:pt x="600" y="509"/>
                    <a:pt x="600" y="512"/>
                    <a:pt x="603" y="512"/>
                  </a:cubicBezTo>
                  <a:cubicBezTo>
                    <a:pt x="606" y="510"/>
                    <a:pt x="606" y="513"/>
                    <a:pt x="607" y="512"/>
                  </a:cubicBezTo>
                  <a:cubicBezTo>
                    <a:pt x="609" y="510"/>
                    <a:pt x="603" y="510"/>
                    <a:pt x="606" y="509"/>
                  </a:cubicBezTo>
                  <a:cubicBezTo>
                    <a:pt x="607" y="509"/>
                    <a:pt x="609" y="510"/>
                    <a:pt x="609" y="512"/>
                  </a:cubicBezTo>
                  <a:cubicBezTo>
                    <a:pt x="610" y="513"/>
                    <a:pt x="613" y="512"/>
                    <a:pt x="612" y="513"/>
                  </a:cubicBezTo>
                  <a:cubicBezTo>
                    <a:pt x="610" y="515"/>
                    <a:pt x="616" y="517"/>
                    <a:pt x="616" y="517"/>
                  </a:cubicBezTo>
                  <a:cubicBezTo>
                    <a:pt x="616" y="515"/>
                    <a:pt x="618" y="513"/>
                    <a:pt x="619" y="517"/>
                  </a:cubicBezTo>
                  <a:cubicBezTo>
                    <a:pt x="619" y="518"/>
                    <a:pt x="622" y="515"/>
                    <a:pt x="621" y="513"/>
                  </a:cubicBezTo>
                  <a:cubicBezTo>
                    <a:pt x="619" y="512"/>
                    <a:pt x="622" y="512"/>
                    <a:pt x="624" y="515"/>
                  </a:cubicBezTo>
                  <a:cubicBezTo>
                    <a:pt x="627" y="517"/>
                    <a:pt x="625" y="520"/>
                    <a:pt x="627" y="517"/>
                  </a:cubicBezTo>
                  <a:cubicBezTo>
                    <a:pt x="630" y="515"/>
                    <a:pt x="628" y="515"/>
                    <a:pt x="625" y="512"/>
                  </a:cubicBezTo>
                  <a:cubicBezTo>
                    <a:pt x="622" y="510"/>
                    <a:pt x="628" y="510"/>
                    <a:pt x="627" y="507"/>
                  </a:cubicBezTo>
                  <a:cubicBezTo>
                    <a:pt x="625" y="506"/>
                    <a:pt x="625" y="509"/>
                    <a:pt x="624" y="509"/>
                  </a:cubicBezTo>
                  <a:cubicBezTo>
                    <a:pt x="622" y="507"/>
                    <a:pt x="625" y="507"/>
                    <a:pt x="622" y="506"/>
                  </a:cubicBezTo>
                  <a:cubicBezTo>
                    <a:pt x="621" y="506"/>
                    <a:pt x="622" y="507"/>
                    <a:pt x="619" y="507"/>
                  </a:cubicBezTo>
                  <a:cubicBezTo>
                    <a:pt x="616" y="506"/>
                    <a:pt x="619" y="501"/>
                    <a:pt x="622" y="504"/>
                  </a:cubicBezTo>
                  <a:cubicBezTo>
                    <a:pt x="625" y="506"/>
                    <a:pt x="625" y="506"/>
                    <a:pt x="628" y="504"/>
                  </a:cubicBezTo>
                  <a:cubicBezTo>
                    <a:pt x="630" y="501"/>
                    <a:pt x="636" y="504"/>
                    <a:pt x="636" y="503"/>
                  </a:cubicBezTo>
                  <a:cubicBezTo>
                    <a:pt x="638" y="501"/>
                    <a:pt x="636" y="498"/>
                    <a:pt x="639" y="503"/>
                  </a:cubicBezTo>
                  <a:cubicBezTo>
                    <a:pt x="639" y="504"/>
                    <a:pt x="635" y="506"/>
                    <a:pt x="639" y="504"/>
                  </a:cubicBezTo>
                  <a:cubicBezTo>
                    <a:pt x="644" y="504"/>
                    <a:pt x="648" y="503"/>
                    <a:pt x="651" y="504"/>
                  </a:cubicBezTo>
                  <a:cubicBezTo>
                    <a:pt x="654" y="504"/>
                    <a:pt x="656" y="504"/>
                    <a:pt x="656" y="506"/>
                  </a:cubicBezTo>
                  <a:cubicBezTo>
                    <a:pt x="656" y="507"/>
                    <a:pt x="657" y="506"/>
                    <a:pt x="657" y="509"/>
                  </a:cubicBezTo>
                  <a:cubicBezTo>
                    <a:pt x="657" y="512"/>
                    <a:pt x="663" y="509"/>
                    <a:pt x="665" y="509"/>
                  </a:cubicBezTo>
                  <a:cubicBezTo>
                    <a:pt x="667" y="509"/>
                    <a:pt x="665" y="506"/>
                    <a:pt x="668" y="506"/>
                  </a:cubicBezTo>
                  <a:cubicBezTo>
                    <a:pt x="671" y="506"/>
                    <a:pt x="676" y="515"/>
                    <a:pt x="677" y="515"/>
                  </a:cubicBezTo>
                  <a:cubicBezTo>
                    <a:pt x="679" y="515"/>
                    <a:pt x="680" y="521"/>
                    <a:pt x="679" y="524"/>
                  </a:cubicBezTo>
                  <a:cubicBezTo>
                    <a:pt x="677" y="529"/>
                    <a:pt x="679" y="532"/>
                    <a:pt x="680" y="531"/>
                  </a:cubicBezTo>
                  <a:cubicBezTo>
                    <a:pt x="680" y="529"/>
                    <a:pt x="683" y="529"/>
                    <a:pt x="680" y="532"/>
                  </a:cubicBezTo>
                  <a:cubicBezTo>
                    <a:pt x="679" y="534"/>
                    <a:pt x="680" y="538"/>
                    <a:pt x="682" y="540"/>
                  </a:cubicBezTo>
                  <a:cubicBezTo>
                    <a:pt x="685" y="541"/>
                    <a:pt x="683" y="538"/>
                    <a:pt x="685" y="541"/>
                  </a:cubicBezTo>
                  <a:cubicBezTo>
                    <a:pt x="685" y="545"/>
                    <a:pt x="686" y="543"/>
                    <a:pt x="686" y="546"/>
                  </a:cubicBezTo>
                  <a:cubicBezTo>
                    <a:pt x="688" y="551"/>
                    <a:pt x="689" y="548"/>
                    <a:pt x="691" y="552"/>
                  </a:cubicBezTo>
                  <a:cubicBezTo>
                    <a:pt x="691" y="557"/>
                    <a:pt x="692" y="554"/>
                    <a:pt x="692" y="555"/>
                  </a:cubicBezTo>
                  <a:cubicBezTo>
                    <a:pt x="691" y="557"/>
                    <a:pt x="692" y="559"/>
                    <a:pt x="694" y="557"/>
                  </a:cubicBezTo>
                  <a:cubicBezTo>
                    <a:pt x="697" y="555"/>
                    <a:pt x="695" y="560"/>
                    <a:pt x="697" y="557"/>
                  </a:cubicBezTo>
                  <a:cubicBezTo>
                    <a:pt x="700" y="554"/>
                    <a:pt x="697" y="554"/>
                    <a:pt x="699" y="552"/>
                  </a:cubicBezTo>
                  <a:cubicBezTo>
                    <a:pt x="700" y="549"/>
                    <a:pt x="700" y="546"/>
                    <a:pt x="700" y="543"/>
                  </a:cubicBezTo>
                  <a:cubicBezTo>
                    <a:pt x="702" y="538"/>
                    <a:pt x="695" y="529"/>
                    <a:pt x="697" y="524"/>
                  </a:cubicBezTo>
                  <a:cubicBezTo>
                    <a:pt x="697" y="521"/>
                    <a:pt x="691" y="517"/>
                    <a:pt x="689" y="504"/>
                  </a:cubicBezTo>
                  <a:cubicBezTo>
                    <a:pt x="688" y="492"/>
                    <a:pt x="694" y="485"/>
                    <a:pt x="695" y="482"/>
                  </a:cubicBezTo>
                  <a:cubicBezTo>
                    <a:pt x="699" y="481"/>
                    <a:pt x="695" y="481"/>
                    <a:pt x="699" y="481"/>
                  </a:cubicBezTo>
                  <a:cubicBezTo>
                    <a:pt x="702" y="481"/>
                    <a:pt x="703" y="476"/>
                    <a:pt x="705" y="476"/>
                  </a:cubicBezTo>
                  <a:cubicBezTo>
                    <a:pt x="708" y="475"/>
                    <a:pt x="706" y="470"/>
                    <a:pt x="711" y="467"/>
                  </a:cubicBezTo>
                  <a:cubicBezTo>
                    <a:pt x="715" y="464"/>
                    <a:pt x="717" y="467"/>
                    <a:pt x="718" y="464"/>
                  </a:cubicBezTo>
                  <a:cubicBezTo>
                    <a:pt x="718" y="461"/>
                    <a:pt x="723" y="458"/>
                    <a:pt x="726" y="458"/>
                  </a:cubicBezTo>
                  <a:cubicBezTo>
                    <a:pt x="730" y="456"/>
                    <a:pt x="730" y="454"/>
                    <a:pt x="730" y="453"/>
                  </a:cubicBezTo>
                  <a:cubicBezTo>
                    <a:pt x="729" y="453"/>
                    <a:pt x="727" y="456"/>
                    <a:pt x="726" y="454"/>
                  </a:cubicBezTo>
                  <a:cubicBezTo>
                    <a:pt x="724" y="453"/>
                    <a:pt x="726" y="454"/>
                    <a:pt x="727" y="453"/>
                  </a:cubicBezTo>
                  <a:cubicBezTo>
                    <a:pt x="729" y="450"/>
                    <a:pt x="723" y="448"/>
                    <a:pt x="727" y="450"/>
                  </a:cubicBezTo>
                  <a:cubicBezTo>
                    <a:pt x="730" y="450"/>
                    <a:pt x="730" y="451"/>
                    <a:pt x="732" y="450"/>
                  </a:cubicBezTo>
                  <a:cubicBezTo>
                    <a:pt x="734" y="447"/>
                    <a:pt x="734" y="450"/>
                    <a:pt x="734" y="447"/>
                  </a:cubicBezTo>
                  <a:cubicBezTo>
                    <a:pt x="735" y="443"/>
                    <a:pt x="734" y="443"/>
                    <a:pt x="734" y="443"/>
                  </a:cubicBezTo>
                  <a:cubicBezTo>
                    <a:pt x="732" y="445"/>
                    <a:pt x="734" y="443"/>
                    <a:pt x="729" y="443"/>
                  </a:cubicBezTo>
                  <a:cubicBezTo>
                    <a:pt x="726" y="445"/>
                    <a:pt x="726" y="443"/>
                    <a:pt x="726" y="442"/>
                  </a:cubicBezTo>
                  <a:cubicBezTo>
                    <a:pt x="726" y="440"/>
                    <a:pt x="727" y="445"/>
                    <a:pt x="730" y="442"/>
                  </a:cubicBezTo>
                  <a:cubicBezTo>
                    <a:pt x="734" y="439"/>
                    <a:pt x="735" y="445"/>
                    <a:pt x="737" y="445"/>
                  </a:cubicBezTo>
                  <a:cubicBezTo>
                    <a:pt x="737" y="445"/>
                    <a:pt x="735" y="443"/>
                    <a:pt x="734" y="434"/>
                  </a:cubicBezTo>
                  <a:cubicBezTo>
                    <a:pt x="732" y="431"/>
                    <a:pt x="730" y="433"/>
                    <a:pt x="729" y="434"/>
                  </a:cubicBezTo>
                  <a:cubicBezTo>
                    <a:pt x="727" y="434"/>
                    <a:pt x="732" y="431"/>
                    <a:pt x="729" y="429"/>
                  </a:cubicBezTo>
                  <a:cubicBezTo>
                    <a:pt x="727" y="428"/>
                    <a:pt x="730" y="431"/>
                    <a:pt x="730" y="426"/>
                  </a:cubicBezTo>
                  <a:cubicBezTo>
                    <a:pt x="729" y="422"/>
                    <a:pt x="732" y="423"/>
                    <a:pt x="729" y="422"/>
                  </a:cubicBezTo>
                  <a:cubicBezTo>
                    <a:pt x="726" y="419"/>
                    <a:pt x="724" y="417"/>
                    <a:pt x="727" y="420"/>
                  </a:cubicBezTo>
                  <a:cubicBezTo>
                    <a:pt x="730" y="422"/>
                    <a:pt x="729" y="420"/>
                    <a:pt x="729" y="417"/>
                  </a:cubicBezTo>
                  <a:cubicBezTo>
                    <a:pt x="727" y="414"/>
                    <a:pt x="727" y="412"/>
                    <a:pt x="729" y="411"/>
                  </a:cubicBezTo>
                  <a:cubicBezTo>
                    <a:pt x="729" y="408"/>
                    <a:pt x="729" y="408"/>
                    <a:pt x="730" y="406"/>
                  </a:cubicBezTo>
                  <a:cubicBezTo>
                    <a:pt x="732" y="405"/>
                    <a:pt x="730" y="406"/>
                    <a:pt x="730" y="408"/>
                  </a:cubicBezTo>
                  <a:cubicBezTo>
                    <a:pt x="729" y="409"/>
                    <a:pt x="729" y="411"/>
                    <a:pt x="730" y="412"/>
                  </a:cubicBezTo>
                  <a:cubicBezTo>
                    <a:pt x="730" y="414"/>
                    <a:pt x="729" y="414"/>
                    <a:pt x="730" y="415"/>
                  </a:cubicBezTo>
                  <a:cubicBezTo>
                    <a:pt x="730" y="417"/>
                    <a:pt x="729" y="417"/>
                    <a:pt x="730" y="419"/>
                  </a:cubicBezTo>
                  <a:cubicBezTo>
                    <a:pt x="732" y="420"/>
                    <a:pt x="732" y="417"/>
                    <a:pt x="734" y="419"/>
                  </a:cubicBezTo>
                  <a:cubicBezTo>
                    <a:pt x="734" y="422"/>
                    <a:pt x="732" y="422"/>
                    <a:pt x="734" y="422"/>
                  </a:cubicBezTo>
                  <a:cubicBezTo>
                    <a:pt x="735" y="423"/>
                    <a:pt x="730" y="429"/>
                    <a:pt x="732" y="431"/>
                  </a:cubicBezTo>
                  <a:cubicBezTo>
                    <a:pt x="734" y="431"/>
                    <a:pt x="735" y="423"/>
                    <a:pt x="738" y="420"/>
                  </a:cubicBezTo>
                  <a:cubicBezTo>
                    <a:pt x="741" y="415"/>
                    <a:pt x="740" y="412"/>
                    <a:pt x="738" y="412"/>
                  </a:cubicBezTo>
                  <a:cubicBezTo>
                    <a:pt x="737" y="412"/>
                    <a:pt x="737" y="409"/>
                    <a:pt x="735" y="406"/>
                  </a:cubicBezTo>
                  <a:cubicBezTo>
                    <a:pt x="735" y="403"/>
                    <a:pt x="735" y="401"/>
                    <a:pt x="738" y="400"/>
                  </a:cubicBezTo>
                  <a:cubicBezTo>
                    <a:pt x="741" y="398"/>
                    <a:pt x="734" y="401"/>
                    <a:pt x="737" y="406"/>
                  </a:cubicBezTo>
                  <a:cubicBezTo>
                    <a:pt x="740" y="411"/>
                    <a:pt x="741" y="406"/>
                    <a:pt x="741" y="409"/>
                  </a:cubicBezTo>
                  <a:cubicBezTo>
                    <a:pt x="740" y="414"/>
                    <a:pt x="743" y="409"/>
                    <a:pt x="746" y="405"/>
                  </a:cubicBezTo>
                  <a:cubicBezTo>
                    <a:pt x="747" y="400"/>
                    <a:pt x="750" y="395"/>
                    <a:pt x="747" y="395"/>
                  </a:cubicBezTo>
                  <a:cubicBezTo>
                    <a:pt x="746" y="395"/>
                    <a:pt x="746" y="394"/>
                    <a:pt x="747" y="391"/>
                  </a:cubicBezTo>
                  <a:cubicBezTo>
                    <a:pt x="750" y="389"/>
                    <a:pt x="755" y="386"/>
                    <a:pt x="758" y="386"/>
                  </a:cubicBezTo>
                  <a:cubicBezTo>
                    <a:pt x="761" y="384"/>
                    <a:pt x="769" y="384"/>
                    <a:pt x="769" y="383"/>
                  </a:cubicBezTo>
                  <a:cubicBezTo>
                    <a:pt x="769" y="381"/>
                    <a:pt x="769" y="378"/>
                    <a:pt x="770" y="381"/>
                  </a:cubicBezTo>
                  <a:cubicBezTo>
                    <a:pt x="770" y="383"/>
                    <a:pt x="770" y="384"/>
                    <a:pt x="773" y="381"/>
                  </a:cubicBezTo>
                  <a:cubicBezTo>
                    <a:pt x="776" y="378"/>
                    <a:pt x="773" y="384"/>
                    <a:pt x="776" y="383"/>
                  </a:cubicBezTo>
                  <a:cubicBezTo>
                    <a:pt x="778" y="380"/>
                    <a:pt x="781" y="383"/>
                    <a:pt x="781" y="380"/>
                  </a:cubicBezTo>
                  <a:cubicBezTo>
                    <a:pt x="779" y="377"/>
                    <a:pt x="779" y="375"/>
                    <a:pt x="778" y="377"/>
                  </a:cubicBezTo>
                  <a:cubicBezTo>
                    <a:pt x="778" y="377"/>
                    <a:pt x="779" y="377"/>
                    <a:pt x="779" y="378"/>
                  </a:cubicBezTo>
                  <a:cubicBezTo>
                    <a:pt x="779" y="380"/>
                    <a:pt x="776" y="381"/>
                    <a:pt x="776" y="378"/>
                  </a:cubicBezTo>
                  <a:cubicBezTo>
                    <a:pt x="775" y="375"/>
                    <a:pt x="775" y="375"/>
                    <a:pt x="773" y="374"/>
                  </a:cubicBezTo>
                  <a:cubicBezTo>
                    <a:pt x="770" y="374"/>
                    <a:pt x="776" y="370"/>
                    <a:pt x="775" y="369"/>
                  </a:cubicBezTo>
                  <a:cubicBezTo>
                    <a:pt x="773" y="369"/>
                    <a:pt x="775" y="363"/>
                    <a:pt x="778" y="360"/>
                  </a:cubicBezTo>
                  <a:cubicBezTo>
                    <a:pt x="779" y="358"/>
                    <a:pt x="776" y="358"/>
                    <a:pt x="778" y="356"/>
                  </a:cubicBezTo>
                  <a:cubicBezTo>
                    <a:pt x="779" y="356"/>
                    <a:pt x="779" y="360"/>
                    <a:pt x="782" y="358"/>
                  </a:cubicBezTo>
                  <a:cubicBezTo>
                    <a:pt x="784" y="356"/>
                    <a:pt x="784" y="355"/>
                    <a:pt x="785" y="355"/>
                  </a:cubicBezTo>
                  <a:cubicBezTo>
                    <a:pt x="788" y="355"/>
                    <a:pt x="787" y="349"/>
                    <a:pt x="790" y="350"/>
                  </a:cubicBezTo>
                  <a:cubicBezTo>
                    <a:pt x="793" y="352"/>
                    <a:pt x="791" y="350"/>
                    <a:pt x="793" y="350"/>
                  </a:cubicBezTo>
                  <a:cubicBezTo>
                    <a:pt x="794" y="349"/>
                    <a:pt x="794" y="352"/>
                    <a:pt x="796" y="349"/>
                  </a:cubicBezTo>
                  <a:cubicBezTo>
                    <a:pt x="799" y="347"/>
                    <a:pt x="801" y="349"/>
                    <a:pt x="802" y="347"/>
                  </a:cubicBezTo>
                  <a:cubicBezTo>
                    <a:pt x="804" y="344"/>
                    <a:pt x="804" y="345"/>
                    <a:pt x="802" y="344"/>
                  </a:cubicBezTo>
                  <a:cubicBezTo>
                    <a:pt x="802" y="342"/>
                    <a:pt x="802" y="341"/>
                    <a:pt x="801" y="341"/>
                  </a:cubicBezTo>
                  <a:cubicBezTo>
                    <a:pt x="799" y="341"/>
                    <a:pt x="799" y="338"/>
                    <a:pt x="799" y="336"/>
                  </a:cubicBezTo>
                  <a:cubicBezTo>
                    <a:pt x="799" y="336"/>
                    <a:pt x="799" y="336"/>
                    <a:pt x="798" y="335"/>
                  </a:cubicBezTo>
                  <a:cubicBezTo>
                    <a:pt x="796" y="335"/>
                    <a:pt x="798" y="335"/>
                    <a:pt x="798" y="333"/>
                  </a:cubicBezTo>
                  <a:cubicBezTo>
                    <a:pt x="798" y="331"/>
                    <a:pt x="798" y="324"/>
                    <a:pt x="798" y="322"/>
                  </a:cubicBezTo>
                  <a:cubicBezTo>
                    <a:pt x="798" y="319"/>
                    <a:pt x="798" y="319"/>
                    <a:pt x="794" y="317"/>
                  </a:cubicBezTo>
                  <a:cubicBezTo>
                    <a:pt x="793" y="314"/>
                    <a:pt x="791" y="316"/>
                    <a:pt x="790" y="317"/>
                  </a:cubicBezTo>
                  <a:cubicBezTo>
                    <a:pt x="788" y="317"/>
                    <a:pt x="787" y="317"/>
                    <a:pt x="787" y="316"/>
                  </a:cubicBezTo>
                  <a:cubicBezTo>
                    <a:pt x="787" y="314"/>
                    <a:pt x="785" y="314"/>
                    <a:pt x="785" y="314"/>
                  </a:cubicBezTo>
                  <a:cubicBezTo>
                    <a:pt x="785" y="314"/>
                    <a:pt x="782" y="319"/>
                    <a:pt x="781" y="322"/>
                  </a:cubicBezTo>
                  <a:cubicBezTo>
                    <a:pt x="778" y="325"/>
                    <a:pt x="781" y="325"/>
                    <a:pt x="779" y="327"/>
                  </a:cubicBezTo>
                  <a:cubicBezTo>
                    <a:pt x="776" y="330"/>
                    <a:pt x="779" y="331"/>
                    <a:pt x="778" y="333"/>
                  </a:cubicBezTo>
                  <a:cubicBezTo>
                    <a:pt x="775" y="335"/>
                    <a:pt x="778" y="333"/>
                    <a:pt x="775" y="336"/>
                  </a:cubicBezTo>
                  <a:cubicBezTo>
                    <a:pt x="772" y="338"/>
                    <a:pt x="776" y="338"/>
                    <a:pt x="775" y="338"/>
                  </a:cubicBezTo>
                  <a:cubicBezTo>
                    <a:pt x="773" y="338"/>
                    <a:pt x="773" y="341"/>
                    <a:pt x="772" y="339"/>
                  </a:cubicBezTo>
                  <a:cubicBezTo>
                    <a:pt x="772" y="339"/>
                    <a:pt x="772" y="341"/>
                    <a:pt x="770" y="339"/>
                  </a:cubicBezTo>
                  <a:cubicBezTo>
                    <a:pt x="769" y="339"/>
                    <a:pt x="769" y="339"/>
                    <a:pt x="769" y="342"/>
                  </a:cubicBezTo>
                  <a:cubicBezTo>
                    <a:pt x="746" y="342"/>
                    <a:pt x="746" y="342"/>
                    <a:pt x="746" y="342"/>
                  </a:cubicBezTo>
                  <a:cubicBezTo>
                    <a:pt x="744" y="342"/>
                    <a:pt x="743" y="344"/>
                    <a:pt x="743" y="342"/>
                  </a:cubicBezTo>
                  <a:cubicBezTo>
                    <a:pt x="741" y="342"/>
                    <a:pt x="737" y="345"/>
                    <a:pt x="734" y="349"/>
                  </a:cubicBezTo>
                  <a:close/>
                  <a:moveTo>
                    <a:pt x="807" y="630"/>
                  </a:moveTo>
                  <a:cubicBezTo>
                    <a:pt x="810" y="629"/>
                    <a:pt x="808" y="630"/>
                    <a:pt x="813" y="630"/>
                  </a:cubicBezTo>
                  <a:cubicBezTo>
                    <a:pt x="816" y="629"/>
                    <a:pt x="817" y="625"/>
                    <a:pt x="811" y="625"/>
                  </a:cubicBezTo>
                  <a:cubicBezTo>
                    <a:pt x="805" y="624"/>
                    <a:pt x="802" y="624"/>
                    <a:pt x="802" y="629"/>
                  </a:cubicBezTo>
                  <a:cubicBezTo>
                    <a:pt x="804" y="630"/>
                    <a:pt x="802" y="630"/>
                    <a:pt x="807" y="630"/>
                  </a:cubicBezTo>
                  <a:close/>
                  <a:moveTo>
                    <a:pt x="100" y="619"/>
                  </a:moveTo>
                  <a:cubicBezTo>
                    <a:pt x="102" y="616"/>
                    <a:pt x="106" y="618"/>
                    <a:pt x="106" y="615"/>
                  </a:cubicBezTo>
                  <a:cubicBezTo>
                    <a:pt x="106" y="615"/>
                    <a:pt x="106" y="615"/>
                    <a:pt x="106" y="615"/>
                  </a:cubicBezTo>
                  <a:cubicBezTo>
                    <a:pt x="106" y="615"/>
                    <a:pt x="106" y="615"/>
                    <a:pt x="106" y="613"/>
                  </a:cubicBezTo>
                  <a:cubicBezTo>
                    <a:pt x="105" y="613"/>
                    <a:pt x="105" y="613"/>
                    <a:pt x="105" y="613"/>
                  </a:cubicBezTo>
                  <a:cubicBezTo>
                    <a:pt x="105" y="611"/>
                    <a:pt x="105" y="613"/>
                    <a:pt x="105" y="613"/>
                  </a:cubicBezTo>
                  <a:cubicBezTo>
                    <a:pt x="105" y="611"/>
                    <a:pt x="105" y="610"/>
                    <a:pt x="103" y="610"/>
                  </a:cubicBezTo>
                  <a:cubicBezTo>
                    <a:pt x="103" y="610"/>
                    <a:pt x="100" y="607"/>
                    <a:pt x="99" y="607"/>
                  </a:cubicBezTo>
                  <a:cubicBezTo>
                    <a:pt x="99" y="607"/>
                    <a:pt x="99" y="607"/>
                    <a:pt x="99" y="607"/>
                  </a:cubicBezTo>
                  <a:cubicBezTo>
                    <a:pt x="97" y="607"/>
                    <a:pt x="99" y="610"/>
                    <a:pt x="99" y="610"/>
                  </a:cubicBezTo>
                  <a:cubicBezTo>
                    <a:pt x="99" y="610"/>
                    <a:pt x="97" y="611"/>
                    <a:pt x="97" y="613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5"/>
                    <a:pt x="97" y="615"/>
                    <a:pt x="97" y="615"/>
                  </a:cubicBezTo>
                  <a:cubicBezTo>
                    <a:pt x="97" y="616"/>
                    <a:pt x="97" y="618"/>
                    <a:pt x="97" y="619"/>
                  </a:cubicBezTo>
                  <a:cubicBezTo>
                    <a:pt x="99" y="619"/>
                    <a:pt x="100" y="621"/>
                    <a:pt x="100" y="619"/>
                  </a:cubicBezTo>
                  <a:moveTo>
                    <a:pt x="96" y="601"/>
                  </a:moveTo>
                  <a:cubicBezTo>
                    <a:pt x="94" y="601"/>
                    <a:pt x="94" y="601"/>
                    <a:pt x="94" y="601"/>
                  </a:cubicBezTo>
                  <a:cubicBezTo>
                    <a:pt x="92" y="601"/>
                    <a:pt x="92" y="599"/>
                    <a:pt x="92" y="599"/>
                  </a:cubicBezTo>
                  <a:cubicBezTo>
                    <a:pt x="92" y="599"/>
                    <a:pt x="92" y="599"/>
                    <a:pt x="92" y="599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92" y="601"/>
                    <a:pt x="92" y="601"/>
                    <a:pt x="94" y="602"/>
                  </a:cubicBezTo>
                  <a:cubicBezTo>
                    <a:pt x="94" y="602"/>
                    <a:pt x="92" y="604"/>
                    <a:pt x="94" y="604"/>
                  </a:cubicBezTo>
                  <a:cubicBezTo>
                    <a:pt x="94" y="604"/>
                    <a:pt x="99" y="604"/>
                    <a:pt x="96" y="601"/>
                  </a:cubicBezTo>
                  <a:cubicBezTo>
                    <a:pt x="96" y="601"/>
                    <a:pt x="96" y="601"/>
                    <a:pt x="96" y="601"/>
                  </a:cubicBezTo>
                  <a:moveTo>
                    <a:pt x="82" y="593"/>
                  </a:moveTo>
                  <a:cubicBezTo>
                    <a:pt x="82" y="593"/>
                    <a:pt x="80" y="593"/>
                    <a:pt x="80" y="594"/>
                  </a:cubicBezTo>
                  <a:cubicBezTo>
                    <a:pt x="80" y="594"/>
                    <a:pt x="79" y="593"/>
                    <a:pt x="79" y="594"/>
                  </a:cubicBezTo>
                  <a:cubicBezTo>
                    <a:pt x="80" y="599"/>
                    <a:pt x="82" y="596"/>
                    <a:pt x="82" y="596"/>
                  </a:cubicBezTo>
                  <a:cubicBezTo>
                    <a:pt x="82" y="596"/>
                    <a:pt x="82" y="596"/>
                    <a:pt x="82" y="596"/>
                  </a:cubicBezTo>
                  <a:cubicBezTo>
                    <a:pt x="83" y="597"/>
                    <a:pt x="83" y="597"/>
                    <a:pt x="83" y="597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6"/>
                    <a:pt x="83" y="596"/>
                    <a:pt x="83" y="596"/>
                  </a:cubicBezTo>
                  <a:cubicBezTo>
                    <a:pt x="83" y="594"/>
                    <a:pt x="83" y="596"/>
                    <a:pt x="83" y="596"/>
                  </a:cubicBezTo>
                  <a:cubicBezTo>
                    <a:pt x="82" y="594"/>
                    <a:pt x="82" y="593"/>
                    <a:pt x="82" y="593"/>
                  </a:cubicBezTo>
                  <a:moveTo>
                    <a:pt x="71" y="590"/>
                  </a:moveTo>
                  <a:cubicBezTo>
                    <a:pt x="71" y="585"/>
                    <a:pt x="67" y="588"/>
                    <a:pt x="67" y="590"/>
                  </a:cubicBezTo>
                  <a:cubicBezTo>
                    <a:pt x="67" y="590"/>
                    <a:pt x="71" y="591"/>
                    <a:pt x="71" y="590"/>
                  </a:cubicBezTo>
                  <a:moveTo>
                    <a:pt x="89" y="601"/>
                  </a:moveTo>
                  <a:cubicBezTo>
                    <a:pt x="89" y="602"/>
                    <a:pt x="89" y="604"/>
                    <a:pt x="91" y="602"/>
                  </a:cubicBezTo>
                  <a:cubicBezTo>
                    <a:pt x="91" y="601"/>
                    <a:pt x="91" y="601"/>
                    <a:pt x="91" y="601"/>
                  </a:cubicBezTo>
                  <a:cubicBezTo>
                    <a:pt x="89" y="601"/>
                    <a:pt x="88" y="601"/>
                    <a:pt x="89" y="601"/>
                  </a:cubicBezTo>
                  <a:moveTo>
                    <a:pt x="92" y="604"/>
                  </a:moveTo>
                  <a:cubicBezTo>
                    <a:pt x="94" y="604"/>
                    <a:pt x="92" y="605"/>
                    <a:pt x="91" y="604"/>
                  </a:cubicBezTo>
                  <a:cubicBezTo>
                    <a:pt x="92" y="604"/>
                    <a:pt x="92" y="604"/>
                    <a:pt x="92" y="604"/>
                  </a:cubicBezTo>
                  <a:moveTo>
                    <a:pt x="89" y="597"/>
                  </a:moveTo>
                  <a:cubicBezTo>
                    <a:pt x="88" y="597"/>
                    <a:pt x="88" y="597"/>
                    <a:pt x="86" y="597"/>
                  </a:cubicBezTo>
                  <a:cubicBezTo>
                    <a:pt x="86" y="599"/>
                    <a:pt x="86" y="599"/>
                    <a:pt x="86" y="599"/>
                  </a:cubicBezTo>
                  <a:cubicBezTo>
                    <a:pt x="88" y="599"/>
                    <a:pt x="88" y="599"/>
                    <a:pt x="88" y="599"/>
                  </a:cubicBezTo>
                  <a:cubicBezTo>
                    <a:pt x="89" y="599"/>
                    <a:pt x="89" y="599"/>
                    <a:pt x="89" y="599"/>
                  </a:cubicBezTo>
                  <a:cubicBezTo>
                    <a:pt x="91" y="599"/>
                    <a:pt x="91" y="597"/>
                    <a:pt x="91" y="597"/>
                  </a:cubicBezTo>
                  <a:cubicBezTo>
                    <a:pt x="89" y="597"/>
                    <a:pt x="89" y="597"/>
                    <a:pt x="89" y="597"/>
                  </a:cubicBezTo>
                  <a:cubicBezTo>
                    <a:pt x="89" y="597"/>
                    <a:pt x="89" y="597"/>
                    <a:pt x="89" y="597"/>
                  </a:cubicBezTo>
                  <a:moveTo>
                    <a:pt x="65" y="590"/>
                  </a:moveTo>
                  <a:cubicBezTo>
                    <a:pt x="65" y="590"/>
                    <a:pt x="62" y="591"/>
                    <a:pt x="64" y="591"/>
                  </a:cubicBezTo>
                  <a:cubicBezTo>
                    <a:pt x="65" y="590"/>
                    <a:pt x="65" y="590"/>
                    <a:pt x="65" y="59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290"/>
            <p:cNvSpPr>
              <a:spLocks/>
            </p:cNvSpPr>
            <p:nvPr/>
          </p:nvSpPr>
          <p:spPr bwMode="auto">
            <a:xfrm>
              <a:off x="3102965" y="4967376"/>
              <a:ext cx="987954" cy="1230395"/>
            </a:xfrm>
            <a:custGeom>
              <a:avLst/>
              <a:gdLst/>
              <a:ahLst/>
              <a:cxnLst>
                <a:cxn ang="0">
                  <a:pos x="169" y="380"/>
                </a:cxn>
                <a:cxn ang="0">
                  <a:pos x="157" y="368"/>
                </a:cxn>
                <a:cxn ang="0">
                  <a:pos x="145" y="357"/>
                </a:cxn>
                <a:cxn ang="0">
                  <a:pos x="140" y="350"/>
                </a:cxn>
                <a:cxn ang="0">
                  <a:pos x="163" y="325"/>
                </a:cxn>
                <a:cxn ang="0">
                  <a:pos x="159" y="307"/>
                </a:cxn>
                <a:cxn ang="0">
                  <a:pos x="154" y="291"/>
                </a:cxn>
                <a:cxn ang="0">
                  <a:pos x="143" y="273"/>
                </a:cxn>
                <a:cxn ang="0">
                  <a:pos x="134" y="263"/>
                </a:cxn>
                <a:cxn ang="0">
                  <a:pos x="133" y="248"/>
                </a:cxn>
                <a:cxn ang="0">
                  <a:pos x="133" y="224"/>
                </a:cxn>
                <a:cxn ang="0">
                  <a:pos x="118" y="213"/>
                </a:cxn>
                <a:cxn ang="0">
                  <a:pos x="101" y="184"/>
                </a:cxn>
                <a:cxn ang="0">
                  <a:pos x="80" y="171"/>
                </a:cxn>
                <a:cxn ang="0">
                  <a:pos x="58" y="154"/>
                </a:cxn>
                <a:cxn ang="0">
                  <a:pos x="34" y="161"/>
                </a:cxn>
                <a:cxn ang="0">
                  <a:pos x="20" y="148"/>
                </a:cxn>
                <a:cxn ang="0">
                  <a:pos x="10" y="118"/>
                </a:cxn>
                <a:cxn ang="0">
                  <a:pos x="31" y="94"/>
                </a:cxn>
                <a:cxn ang="0">
                  <a:pos x="41" y="70"/>
                </a:cxn>
                <a:cxn ang="0">
                  <a:pos x="37" y="48"/>
                </a:cxn>
                <a:cxn ang="0">
                  <a:pos x="45" y="47"/>
                </a:cxn>
                <a:cxn ang="0">
                  <a:pos x="38" y="42"/>
                </a:cxn>
                <a:cxn ang="0">
                  <a:pos x="52" y="36"/>
                </a:cxn>
                <a:cxn ang="0">
                  <a:pos x="58" y="31"/>
                </a:cxn>
                <a:cxn ang="0">
                  <a:pos x="72" y="45"/>
                </a:cxn>
                <a:cxn ang="0">
                  <a:pos x="87" y="33"/>
                </a:cxn>
                <a:cxn ang="0">
                  <a:pos x="81" y="14"/>
                </a:cxn>
                <a:cxn ang="0">
                  <a:pos x="98" y="13"/>
                </a:cxn>
                <a:cxn ang="0">
                  <a:pos x="115" y="2"/>
                </a:cxn>
                <a:cxn ang="0">
                  <a:pos x="119" y="16"/>
                </a:cxn>
                <a:cxn ang="0">
                  <a:pos x="119" y="33"/>
                </a:cxn>
                <a:cxn ang="0">
                  <a:pos x="131" y="38"/>
                </a:cxn>
                <a:cxn ang="0">
                  <a:pos x="145" y="34"/>
                </a:cxn>
                <a:cxn ang="0">
                  <a:pos x="151" y="30"/>
                </a:cxn>
                <a:cxn ang="0">
                  <a:pos x="160" y="30"/>
                </a:cxn>
                <a:cxn ang="0">
                  <a:pos x="169" y="30"/>
                </a:cxn>
                <a:cxn ang="0">
                  <a:pos x="179" y="20"/>
                </a:cxn>
                <a:cxn ang="0">
                  <a:pos x="185" y="10"/>
                </a:cxn>
                <a:cxn ang="0">
                  <a:pos x="188" y="16"/>
                </a:cxn>
                <a:cxn ang="0">
                  <a:pos x="189" y="28"/>
                </a:cxn>
                <a:cxn ang="0">
                  <a:pos x="192" y="33"/>
                </a:cxn>
                <a:cxn ang="0">
                  <a:pos x="197" y="44"/>
                </a:cxn>
                <a:cxn ang="0">
                  <a:pos x="185" y="59"/>
                </a:cxn>
                <a:cxn ang="0">
                  <a:pos x="191" y="64"/>
                </a:cxn>
                <a:cxn ang="0">
                  <a:pos x="206" y="55"/>
                </a:cxn>
                <a:cxn ang="0">
                  <a:pos x="217" y="59"/>
                </a:cxn>
                <a:cxn ang="0">
                  <a:pos x="235" y="67"/>
                </a:cxn>
                <a:cxn ang="0">
                  <a:pos x="239" y="83"/>
                </a:cxn>
                <a:cxn ang="0">
                  <a:pos x="270" y="80"/>
                </a:cxn>
                <a:cxn ang="0">
                  <a:pos x="297" y="100"/>
                </a:cxn>
                <a:cxn ang="0">
                  <a:pos x="317" y="123"/>
                </a:cxn>
                <a:cxn ang="0">
                  <a:pos x="296" y="168"/>
                </a:cxn>
                <a:cxn ang="0">
                  <a:pos x="284" y="198"/>
                </a:cxn>
                <a:cxn ang="0">
                  <a:pos x="281" y="232"/>
                </a:cxn>
                <a:cxn ang="0">
                  <a:pos x="268" y="268"/>
                </a:cxn>
                <a:cxn ang="0">
                  <a:pos x="250" y="282"/>
                </a:cxn>
                <a:cxn ang="0">
                  <a:pos x="223" y="294"/>
                </a:cxn>
                <a:cxn ang="0">
                  <a:pos x="207" y="336"/>
                </a:cxn>
                <a:cxn ang="0">
                  <a:pos x="186" y="371"/>
                </a:cxn>
                <a:cxn ang="0">
                  <a:pos x="168" y="392"/>
                </a:cxn>
              </a:cxnLst>
              <a:rect l="0" t="0" r="r" b="b"/>
              <a:pathLst>
                <a:path w="319" h="392">
                  <a:moveTo>
                    <a:pt x="168" y="392"/>
                  </a:moveTo>
                  <a:cubicBezTo>
                    <a:pt x="166" y="385"/>
                    <a:pt x="174" y="386"/>
                    <a:pt x="169" y="380"/>
                  </a:cubicBezTo>
                  <a:cubicBezTo>
                    <a:pt x="166" y="375"/>
                    <a:pt x="168" y="375"/>
                    <a:pt x="163" y="374"/>
                  </a:cubicBezTo>
                  <a:cubicBezTo>
                    <a:pt x="160" y="371"/>
                    <a:pt x="162" y="371"/>
                    <a:pt x="157" y="368"/>
                  </a:cubicBezTo>
                  <a:cubicBezTo>
                    <a:pt x="153" y="366"/>
                    <a:pt x="154" y="361"/>
                    <a:pt x="151" y="364"/>
                  </a:cubicBezTo>
                  <a:cubicBezTo>
                    <a:pt x="146" y="366"/>
                    <a:pt x="150" y="361"/>
                    <a:pt x="145" y="357"/>
                  </a:cubicBezTo>
                  <a:cubicBezTo>
                    <a:pt x="139" y="352"/>
                    <a:pt x="139" y="360"/>
                    <a:pt x="136" y="355"/>
                  </a:cubicBezTo>
                  <a:cubicBezTo>
                    <a:pt x="137" y="354"/>
                    <a:pt x="137" y="352"/>
                    <a:pt x="140" y="350"/>
                  </a:cubicBezTo>
                  <a:cubicBezTo>
                    <a:pt x="142" y="350"/>
                    <a:pt x="142" y="347"/>
                    <a:pt x="148" y="340"/>
                  </a:cubicBezTo>
                  <a:cubicBezTo>
                    <a:pt x="153" y="332"/>
                    <a:pt x="159" y="329"/>
                    <a:pt x="163" y="325"/>
                  </a:cubicBezTo>
                  <a:cubicBezTo>
                    <a:pt x="168" y="322"/>
                    <a:pt x="168" y="316"/>
                    <a:pt x="166" y="310"/>
                  </a:cubicBezTo>
                  <a:cubicBezTo>
                    <a:pt x="163" y="302"/>
                    <a:pt x="162" y="308"/>
                    <a:pt x="159" y="307"/>
                  </a:cubicBezTo>
                  <a:cubicBezTo>
                    <a:pt x="162" y="305"/>
                    <a:pt x="163" y="293"/>
                    <a:pt x="160" y="290"/>
                  </a:cubicBezTo>
                  <a:cubicBezTo>
                    <a:pt x="159" y="288"/>
                    <a:pt x="157" y="291"/>
                    <a:pt x="154" y="291"/>
                  </a:cubicBezTo>
                  <a:cubicBezTo>
                    <a:pt x="151" y="291"/>
                    <a:pt x="154" y="288"/>
                    <a:pt x="151" y="276"/>
                  </a:cubicBezTo>
                  <a:cubicBezTo>
                    <a:pt x="150" y="273"/>
                    <a:pt x="145" y="271"/>
                    <a:pt x="143" y="273"/>
                  </a:cubicBezTo>
                  <a:cubicBezTo>
                    <a:pt x="143" y="274"/>
                    <a:pt x="133" y="273"/>
                    <a:pt x="133" y="271"/>
                  </a:cubicBezTo>
                  <a:cubicBezTo>
                    <a:pt x="134" y="268"/>
                    <a:pt x="133" y="268"/>
                    <a:pt x="134" y="263"/>
                  </a:cubicBezTo>
                  <a:cubicBezTo>
                    <a:pt x="136" y="260"/>
                    <a:pt x="131" y="255"/>
                    <a:pt x="131" y="252"/>
                  </a:cubicBezTo>
                  <a:cubicBezTo>
                    <a:pt x="134" y="251"/>
                    <a:pt x="134" y="251"/>
                    <a:pt x="133" y="248"/>
                  </a:cubicBezTo>
                  <a:cubicBezTo>
                    <a:pt x="133" y="246"/>
                    <a:pt x="136" y="243"/>
                    <a:pt x="134" y="240"/>
                  </a:cubicBezTo>
                  <a:cubicBezTo>
                    <a:pt x="134" y="238"/>
                    <a:pt x="140" y="227"/>
                    <a:pt x="133" y="224"/>
                  </a:cubicBezTo>
                  <a:cubicBezTo>
                    <a:pt x="128" y="223"/>
                    <a:pt x="128" y="218"/>
                    <a:pt x="130" y="215"/>
                  </a:cubicBezTo>
                  <a:cubicBezTo>
                    <a:pt x="131" y="212"/>
                    <a:pt x="122" y="213"/>
                    <a:pt x="118" y="213"/>
                  </a:cubicBezTo>
                  <a:cubicBezTo>
                    <a:pt x="113" y="212"/>
                    <a:pt x="116" y="192"/>
                    <a:pt x="111" y="187"/>
                  </a:cubicBezTo>
                  <a:cubicBezTo>
                    <a:pt x="107" y="182"/>
                    <a:pt x="105" y="189"/>
                    <a:pt x="101" y="184"/>
                  </a:cubicBezTo>
                  <a:cubicBezTo>
                    <a:pt x="98" y="181"/>
                    <a:pt x="99" y="184"/>
                    <a:pt x="95" y="179"/>
                  </a:cubicBezTo>
                  <a:cubicBezTo>
                    <a:pt x="89" y="175"/>
                    <a:pt x="86" y="178"/>
                    <a:pt x="80" y="171"/>
                  </a:cubicBezTo>
                  <a:cubicBezTo>
                    <a:pt x="73" y="165"/>
                    <a:pt x="73" y="159"/>
                    <a:pt x="75" y="151"/>
                  </a:cubicBezTo>
                  <a:cubicBezTo>
                    <a:pt x="78" y="145"/>
                    <a:pt x="66" y="148"/>
                    <a:pt x="58" y="154"/>
                  </a:cubicBezTo>
                  <a:cubicBezTo>
                    <a:pt x="49" y="162"/>
                    <a:pt x="51" y="164"/>
                    <a:pt x="41" y="161"/>
                  </a:cubicBezTo>
                  <a:cubicBezTo>
                    <a:pt x="37" y="159"/>
                    <a:pt x="37" y="162"/>
                    <a:pt x="34" y="161"/>
                  </a:cubicBezTo>
                  <a:cubicBezTo>
                    <a:pt x="31" y="161"/>
                    <a:pt x="34" y="143"/>
                    <a:pt x="31" y="148"/>
                  </a:cubicBezTo>
                  <a:cubicBezTo>
                    <a:pt x="29" y="151"/>
                    <a:pt x="19" y="156"/>
                    <a:pt x="20" y="148"/>
                  </a:cubicBezTo>
                  <a:cubicBezTo>
                    <a:pt x="20" y="142"/>
                    <a:pt x="11" y="148"/>
                    <a:pt x="13" y="143"/>
                  </a:cubicBezTo>
                  <a:cubicBezTo>
                    <a:pt x="14" y="139"/>
                    <a:pt x="0" y="126"/>
                    <a:pt x="10" y="118"/>
                  </a:cubicBezTo>
                  <a:cubicBezTo>
                    <a:pt x="16" y="115"/>
                    <a:pt x="13" y="108"/>
                    <a:pt x="17" y="101"/>
                  </a:cubicBezTo>
                  <a:cubicBezTo>
                    <a:pt x="23" y="97"/>
                    <a:pt x="25" y="98"/>
                    <a:pt x="31" y="94"/>
                  </a:cubicBezTo>
                  <a:cubicBezTo>
                    <a:pt x="37" y="90"/>
                    <a:pt x="34" y="97"/>
                    <a:pt x="38" y="94"/>
                  </a:cubicBezTo>
                  <a:cubicBezTo>
                    <a:pt x="38" y="92"/>
                    <a:pt x="40" y="76"/>
                    <a:pt x="41" y="70"/>
                  </a:cubicBezTo>
                  <a:cubicBezTo>
                    <a:pt x="43" y="62"/>
                    <a:pt x="40" y="62"/>
                    <a:pt x="41" y="59"/>
                  </a:cubicBezTo>
                  <a:cubicBezTo>
                    <a:pt x="41" y="56"/>
                    <a:pt x="38" y="61"/>
                    <a:pt x="37" y="48"/>
                  </a:cubicBezTo>
                  <a:cubicBezTo>
                    <a:pt x="37" y="45"/>
                    <a:pt x="40" y="47"/>
                    <a:pt x="41" y="45"/>
                  </a:cubicBezTo>
                  <a:cubicBezTo>
                    <a:pt x="41" y="45"/>
                    <a:pt x="43" y="47"/>
                    <a:pt x="45" y="47"/>
                  </a:cubicBezTo>
                  <a:cubicBezTo>
                    <a:pt x="45" y="48"/>
                    <a:pt x="45" y="42"/>
                    <a:pt x="43" y="42"/>
                  </a:cubicBezTo>
                  <a:cubicBezTo>
                    <a:pt x="40" y="42"/>
                    <a:pt x="38" y="42"/>
                    <a:pt x="38" y="42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4"/>
                    <a:pt x="51" y="31"/>
                    <a:pt x="54" y="34"/>
                  </a:cubicBezTo>
                  <a:cubicBezTo>
                    <a:pt x="55" y="38"/>
                    <a:pt x="57" y="31"/>
                    <a:pt x="58" y="31"/>
                  </a:cubicBezTo>
                  <a:cubicBezTo>
                    <a:pt x="63" y="38"/>
                    <a:pt x="58" y="42"/>
                    <a:pt x="63" y="41"/>
                  </a:cubicBezTo>
                  <a:cubicBezTo>
                    <a:pt x="66" y="47"/>
                    <a:pt x="69" y="44"/>
                    <a:pt x="72" y="45"/>
                  </a:cubicBezTo>
                  <a:cubicBezTo>
                    <a:pt x="76" y="47"/>
                    <a:pt x="75" y="41"/>
                    <a:pt x="81" y="39"/>
                  </a:cubicBezTo>
                  <a:cubicBezTo>
                    <a:pt x="87" y="39"/>
                    <a:pt x="83" y="34"/>
                    <a:pt x="87" y="33"/>
                  </a:cubicBezTo>
                  <a:cubicBezTo>
                    <a:pt x="92" y="30"/>
                    <a:pt x="90" y="27"/>
                    <a:pt x="87" y="28"/>
                  </a:cubicBezTo>
                  <a:cubicBezTo>
                    <a:pt x="84" y="30"/>
                    <a:pt x="84" y="19"/>
                    <a:pt x="81" y="14"/>
                  </a:cubicBezTo>
                  <a:cubicBezTo>
                    <a:pt x="78" y="10"/>
                    <a:pt x="86" y="13"/>
                    <a:pt x="92" y="16"/>
                  </a:cubicBezTo>
                  <a:cubicBezTo>
                    <a:pt x="99" y="20"/>
                    <a:pt x="93" y="11"/>
                    <a:pt x="98" y="13"/>
                  </a:cubicBezTo>
                  <a:cubicBezTo>
                    <a:pt x="102" y="13"/>
                    <a:pt x="113" y="8"/>
                    <a:pt x="111" y="2"/>
                  </a:cubicBezTo>
                  <a:cubicBezTo>
                    <a:pt x="111" y="2"/>
                    <a:pt x="113" y="2"/>
                    <a:pt x="115" y="2"/>
                  </a:cubicBezTo>
                  <a:cubicBezTo>
                    <a:pt x="116" y="0"/>
                    <a:pt x="118" y="3"/>
                    <a:pt x="116" y="6"/>
                  </a:cubicBezTo>
                  <a:cubicBezTo>
                    <a:pt x="115" y="11"/>
                    <a:pt x="122" y="10"/>
                    <a:pt x="119" y="16"/>
                  </a:cubicBezTo>
                  <a:cubicBezTo>
                    <a:pt x="119" y="19"/>
                    <a:pt x="119" y="19"/>
                    <a:pt x="118" y="25"/>
                  </a:cubicBezTo>
                  <a:cubicBezTo>
                    <a:pt x="116" y="31"/>
                    <a:pt x="119" y="28"/>
                    <a:pt x="119" y="33"/>
                  </a:cubicBezTo>
                  <a:cubicBezTo>
                    <a:pt x="119" y="38"/>
                    <a:pt x="125" y="42"/>
                    <a:pt x="127" y="41"/>
                  </a:cubicBezTo>
                  <a:cubicBezTo>
                    <a:pt x="130" y="39"/>
                    <a:pt x="128" y="38"/>
                    <a:pt x="131" y="38"/>
                  </a:cubicBezTo>
                  <a:cubicBezTo>
                    <a:pt x="134" y="39"/>
                    <a:pt x="136" y="34"/>
                    <a:pt x="139" y="33"/>
                  </a:cubicBezTo>
                  <a:cubicBezTo>
                    <a:pt x="142" y="33"/>
                    <a:pt x="140" y="34"/>
                    <a:pt x="145" y="34"/>
                  </a:cubicBezTo>
                  <a:cubicBezTo>
                    <a:pt x="146" y="33"/>
                    <a:pt x="151" y="38"/>
                    <a:pt x="150" y="33"/>
                  </a:cubicBezTo>
                  <a:cubicBezTo>
                    <a:pt x="148" y="30"/>
                    <a:pt x="148" y="28"/>
                    <a:pt x="151" y="30"/>
                  </a:cubicBezTo>
                  <a:cubicBezTo>
                    <a:pt x="153" y="31"/>
                    <a:pt x="157" y="25"/>
                    <a:pt x="157" y="28"/>
                  </a:cubicBezTo>
                  <a:cubicBezTo>
                    <a:pt x="157" y="30"/>
                    <a:pt x="159" y="28"/>
                    <a:pt x="160" y="30"/>
                  </a:cubicBezTo>
                  <a:cubicBezTo>
                    <a:pt x="162" y="33"/>
                    <a:pt x="163" y="33"/>
                    <a:pt x="165" y="31"/>
                  </a:cubicBezTo>
                  <a:cubicBezTo>
                    <a:pt x="166" y="28"/>
                    <a:pt x="166" y="33"/>
                    <a:pt x="169" y="30"/>
                  </a:cubicBezTo>
                  <a:cubicBezTo>
                    <a:pt x="171" y="28"/>
                    <a:pt x="169" y="31"/>
                    <a:pt x="172" y="31"/>
                  </a:cubicBezTo>
                  <a:cubicBezTo>
                    <a:pt x="175" y="31"/>
                    <a:pt x="177" y="24"/>
                    <a:pt x="179" y="20"/>
                  </a:cubicBezTo>
                  <a:cubicBezTo>
                    <a:pt x="182" y="16"/>
                    <a:pt x="182" y="16"/>
                    <a:pt x="183" y="14"/>
                  </a:cubicBezTo>
                  <a:cubicBezTo>
                    <a:pt x="185" y="11"/>
                    <a:pt x="183" y="11"/>
                    <a:pt x="185" y="10"/>
                  </a:cubicBezTo>
                  <a:cubicBezTo>
                    <a:pt x="185" y="10"/>
                    <a:pt x="186" y="13"/>
                    <a:pt x="186" y="14"/>
                  </a:cubicBezTo>
                  <a:cubicBezTo>
                    <a:pt x="188" y="16"/>
                    <a:pt x="188" y="14"/>
                    <a:pt x="188" y="16"/>
                  </a:cubicBezTo>
                  <a:cubicBezTo>
                    <a:pt x="188" y="19"/>
                    <a:pt x="188" y="24"/>
                    <a:pt x="189" y="25"/>
                  </a:cubicBezTo>
                  <a:cubicBezTo>
                    <a:pt x="189" y="25"/>
                    <a:pt x="189" y="27"/>
                    <a:pt x="189" y="28"/>
                  </a:cubicBezTo>
                  <a:cubicBezTo>
                    <a:pt x="189" y="30"/>
                    <a:pt x="191" y="30"/>
                    <a:pt x="191" y="31"/>
                  </a:cubicBezTo>
                  <a:cubicBezTo>
                    <a:pt x="191" y="33"/>
                    <a:pt x="191" y="31"/>
                    <a:pt x="192" y="33"/>
                  </a:cubicBezTo>
                  <a:cubicBezTo>
                    <a:pt x="192" y="34"/>
                    <a:pt x="192" y="36"/>
                    <a:pt x="194" y="36"/>
                  </a:cubicBezTo>
                  <a:cubicBezTo>
                    <a:pt x="197" y="34"/>
                    <a:pt x="198" y="42"/>
                    <a:pt x="197" y="44"/>
                  </a:cubicBezTo>
                  <a:cubicBezTo>
                    <a:pt x="192" y="44"/>
                    <a:pt x="192" y="52"/>
                    <a:pt x="188" y="53"/>
                  </a:cubicBezTo>
                  <a:cubicBezTo>
                    <a:pt x="183" y="55"/>
                    <a:pt x="186" y="56"/>
                    <a:pt x="185" y="59"/>
                  </a:cubicBezTo>
                  <a:cubicBezTo>
                    <a:pt x="182" y="62"/>
                    <a:pt x="189" y="56"/>
                    <a:pt x="188" y="62"/>
                  </a:cubicBezTo>
                  <a:cubicBezTo>
                    <a:pt x="185" y="67"/>
                    <a:pt x="189" y="59"/>
                    <a:pt x="191" y="64"/>
                  </a:cubicBezTo>
                  <a:cubicBezTo>
                    <a:pt x="191" y="69"/>
                    <a:pt x="188" y="53"/>
                    <a:pt x="195" y="55"/>
                  </a:cubicBezTo>
                  <a:cubicBezTo>
                    <a:pt x="203" y="56"/>
                    <a:pt x="200" y="53"/>
                    <a:pt x="206" y="55"/>
                  </a:cubicBezTo>
                  <a:cubicBezTo>
                    <a:pt x="214" y="58"/>
                    <a:pt x="204" y="62"/>
                    <a:pt x="206" y="67"/>
                  </a:cubicBezTo>
                  <a:cubicBezTo>
                    <a:pt x="207" y="70"/>
                    <a:pt x="209" y="59"/>
                    <a:pt x="217" y="59"/>
                  </a:cubicBezTo>
                  <a:cubicBezTo>
                    <a:pt x="223" y="59"/>
                    <a:pt x="223" y="62"/>
                    <a:pt x="226" y="62"/>
                  </a:cubicBezTo>
                  <a:cubicBezTo>
                    <a:pt x="229" y="62"/>
                    <a:pt x="229" y="66"/>
                    <a:pt x="235" y="67"/>
                  </a:cubicBezTo>
                  <a:cubicBezTo>
                    <a:pt x="241" y="69"/>
                    <a:pt x="238" y="70"/>
                    <a:pt x="241" y="73"/>
                  </a:cubicBezTo>
                  <a:cubicBezTo>
                    <a:pt x="242" y="75"/>
                    <a:pt x="238" y="81"/>
                    <a:pt x="239" y="83"/>
                  </a:cubicBezTo>
                  <a:cubicBezTo>
                    <a:pt x="241" y="84"/>
                    <a:pt x="245" y="75"/>
                    <a:pt x="250" y="76"/>
                  </a:cubicBezTo>
                  <a:cubicBezTo>
                    <a:pt x="255" y="78"/>
                    <a:pt x="261" y="81"/>
                    <a:pt x="270" y="80"/>
                  </a:cubicBezTo>
                  <a:cubicBezTo>
                    <a:pt x="277" y="78"/>
                    <a:pt x="281" y="83"/>
                    <a:pt x="287" y="87"/>
                  </a:cubicBezTo>
                  <a:cubicBezTo>
                    <a:pt x="293" y="94"/>
                    <a:pt x="288" y="94"/>
                    <a:pt x="297" y="100"/>
                  </a:cubicBezTo>
                  <a:cubicBezTo>
                    <a:pt x="306" y="106"/>
                    <a:pt x="306" y="100"/>
                    <a:pt x="311" y="104"/>
                  </a:cubicBezTo>
                  <a:cubicBezTo>
                    <a:pt x="316" y="108"/>
                    <a:pt x="316" y="114"/>
                    <a:pt x="317" y="123"/>
                  </a:cubicBezTo>
                  <a:cubicBezTo>
                    <a:pt x="319" y="133"/>
                    <a:pt x="316" y="137"/>
                    <a:pt x="308" y="148"/>
                  </a:cubicBezTo>
                  <a:cubicBezTo>
                    <a:pt x="302" y="161"/>
                    <a:pt x="300" y="156"/>
                    <a:pt x="296" y="168"/>
                  </a:cubicBezTo>
                  <a:cubicBezTo>
                    <a:pt x="291" y="179"/>
                    <a:pt x="290" y="184"/>
                    <a:pt x="287" y="178"/>
                  </a:cubicBezTo>
                  <a:cubicBezTo>
                    <a:pt x="284" y="171"/>
                    <a:pt x="284" y="192"/>
                    <a:pt x="284" y="198"/>
                  </a:cubicBezTo>
                  <a:cubicBezTo>
                    <a:pt x="282" y="204"/>
                    <a:pt x="287" y="206"/>
                    <a:pt x="284" y="213"/>
                  </a:cubicBezTo>
                  <a:cubicBezTo>
                    <a:pt x="281" y="221"/>
                    <a:pt x="284" y="229"/>
                    <a:pt x="281" y="232"/>
                  </a:cubicBezTo>
                  <a:cubicBezTo>
                    <a:pt x="276" y="234"/>
                    <a:pt x="281" y="240"/>
                    <a:pt x="276" y="249"/>
                  </a:cubicBezTo>
                  <a:cubicBezTo>
                    <a:pt x="271" y="259"/>
                    <a:pt x="265" y="262"/>
                    <a:pt x="268" y="268"/>
                  </a:cubicBezTo>
                  <a:cubicBezTo>
                    <a:pt x="270" y="273"/>
                    <a:pt x="259" y="276"/>
                    <a:pt x="261" y="279"/>
                  </a:cubicBezTo>
                  <a:cubicBezTo>
                    <a:pt x="262" y="282"/>
                    <a:pt x="256" y="280"/>
                    <a:pt x="250" y="282"/>
                  </a:cubicBezTo>
                  <a:cubicBezTo>
                    <a:pt x="242" y="283"/>
                    <a:pt x="247" y="280"/>
                    <a:pt x="241" y="282"/>
                  </a:cubicBezTo>
                  <a:cubicBezTo>
                    <a:pt x="236" y="283"/>
                    <a:pt x="238" y="288"/>
                    <a:pt x="223" y="294"/>
                  </a:cubicBezTo>
                  <a:cubicBezTo>
                    <a:pt x="218" y="296"/>
                    <a:pt x="209" y="304"/>
                    <a:pt x="209" y="311"/>
                  </a:cubicBezTo>
                  <a:cubicBezTo>
                    <a:pt x="207" y="321"/>
                    <a:pt x="210" y="329"/>
                    <a:pt x="207" y="336"/>
                  </a:cubicBezTo>
                  <a:cubicBezTo>
                    <a:pt x="203" y="343"/>
                    <a:pt x="203" y="338"/>
                    <a:pt x="198" y="349"/>
                  </a:cubicBezTo>
                  <a:cubicBezTo>
                    <a:pt x="194" y="358"/>
                    <a:pt x="192" y="366"/>
                    <a:pt x="186" y="371"/>
                  </a:cubicBezTo>
                  <a:cubicBezTo>
                    <a:pt x="179" y="377"/>
                    <a:pt x="179" y="377"/>
                    <a:pt x="175" y="385"/>
                  </a:cubicBezTo>
                  <a:cubicBezTo>
                    <a:pt x="175" y="389"/>
                    <a:pt x="171" y="388"/>
                    <a:pt x="168" y="39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291"/>
            <p:cNvSpPr>
              <a:spLocks/>
            </p:cNvSpPr>
            <p:nvPr/>
          </p:nvSpPr>
          <p:spPr bwMode="auto">
            <a:xfrm>
              <a:off x="3701483" y="5064513"/>
              <a:ext cx="7980" cy="9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0"/>
                    <a:pt x="3" y="3"/>
                    <a:pt x="1" y="3"/>
                  </a:cubicBez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 292"/>
            <p:cNvSpPr>
              <a:spLocks/>
            </p:cNvSpPr>
            <p:nvPr/>
          </p:nvSpPr>
          <p:spPr bwMode="auto">
            <a:xfrm>
              <a:off x="3701483" y="5111462"/>
              <a:ext cx="11172" cy="12952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3" y="4"/>
                </a:cxn>
                <a:cxn ang="0">
                  <a:pos x="3" y="1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4" y="0"/>
                    <a:pt x="3" y="3"/>
                    <a:pt x="3" y="4"/>
                  </a:cubicBezTo>
                  <a:cubicBezTo>
                    <a:pt x="1" y="4"/>
                    <a:pt x="0" y="3"/>
                    <a:pt x="3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293"/>
            <p:cNvSpPr>
              <a:spLocks/>
            </p:cNvSpPr>
            <p:nvPr/>
          </p:nvSpPr>
          <p:spPr bwMode="auto">
            <a:xfrm>
              <a:off x="3695100" y="5114700"/>
              <a:ext cx="7980" cy="14570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3" y="5"/>
                </a:cxn>
              </a:cxnLst>
              <a:rect l="0" t="0" r="r" b="b"/>
              <a:pathLst>
                <a:path w="3" h="5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2" y="2"/>
                    <a:pt x="2" y="0"/>
                    <a:pt x="3" y="2"/>
                  </a:cubicBezTo>
                  <a:cubicBezTo>
                    <a:pt x="3" y="3"/>
                    <a:pt x="3" y="5"/>
                    <a:pt x="3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294"/>
            <p:cNvSpPr>
              <a:spLocks/>
            </p:cNvSpPr>
            <p:nvPr/>
          </p:nvSpPr>
          <p:spPr bwMode="auto">
            <a:xfrm>
              <a:off x="3675946" y="5138984"/>
              <a:ext cx="9577" cy="9713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0"/>
                </a:cxn>
                <a:cxn ang="0">
                  <a:pos x="2" y="3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3" y="0"/>
                    <a:pt x="2" y="3"/>
                    <a:pt x="2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 295"/>
            <p:cNvSpPr>
              <a:spLocks/>
            </p:cNvSpPr>
            <p:nvPr/>
          </p:nvSpPr>
          <p:spPr bwMode="auto">
            <a:xfrm>
              <a:off x="3682331" y="5148697"/>
              <a:ext cx="9577" cy="9713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3" y="1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3" y="0"/>
                    <a:pt x="3" y="1"/>
                  </a:cubicBezTo>
                  <a:cubicBezTo>
                    <a:pt x="3" y="1"/>
                    <a:pt x="3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296"/>
            <p:cNvSpPr>
              <a:spLocks/>
            </p:cNvSpPr>
            <p:nvPr/>
          </p:nvSpPr>
          <p:spPr bwMode="auto">
            <a:xfrm>
              <a:off x="3682331" y="5142222"/>
              <a:ext cx="9577" cy="64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297"/>
            <p:cNvSpPr>
              <a:spLocks/>
            </p:cNvSpPr>
            <p:nvPr/>
          </p:nvSpPr>
          <p:spPr bwMode="auto">
            <a:xfrm>
              <a:off x="3703080" y="5104986"/>
              <a:ext cx="9577" cy="971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2"/>
                </a:cxn>
                <a:cxn ang="0">
                  <a:pos x="0" y="2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2" y="0"/>
                    <a:pt x="3" y="2"/>
                  </a:cubicBezTo>
                  <a:cubicBezTo>
                    <a:pt x="3" y="2"/>
                    <a:pt x="0" y="3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298"/>
            <p:cNvSpPr>
              <a:spLocks/>
            </p:cNvSpPr>
            <p:nvPr/>
          </p:nvSpPr>
          <p:spPr bwMode="auto">
            <a:xfrm>
              <a:off x="2895478" y="4834623"/>
              <a:ext cx="151625" cy="79329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36" y="2"/>
                </a:cxn>
                <a:cxn ang="0">
                  <a:pos x="31" y="0"/>
                </a:cxn>
                <a:cxn ang="0">
                  <a:pos x="25" y="3"/>
                </a:cxn>
                <a:cxn ang="0">
                  <a:pos x="16" y="10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7" y="3"/>
                </a:cxn>
                <a:cxn ang="0">
                  <a:pos x="5" y="2"/>
                </a:cxn>
                <a:cxn ang="0">
                  <a:pos x="4" y="0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11"/>
                </a:cxn>
                <a:cxn ang="0">
                  <a:pos x="2" y="16"/>
                </a:cxn>
                <a:cxn ang="0">
                  <a:pos x="4" y="14"/>
                </a:cxn>
                <a:cxn ang="0">
                  <a:pos x="11" y="16"/>
                </a:cxn>
                <a:cxn ang="0">
                  <a:pos x="13" y="17"/>
                </a:cxn>
                <a:cxn ang="0">
                  <a:pos x="14" y="19"/>
                </a:cxn>
                <a:cxn ang="0">
                  <a:pos x="16" y="19"/>
                </a:cxn>
                <a:cxn ang="0">
                  <a:pos x="17" y="19"/>
                </a:cxn>
                <a:cxn ang="0">
                  <a:pos x="19" y="24"/>
                </a:cxn>
                <a:cxn ang="0">
                  <a:pos x="22" y="24"/>
                </a:cxn>
                <a:cxn ang="0">
                  <a:pos x="23" y="22"/>
                </a:cxn>
                <a:cxn ang="0">
                  <a:pos x="25" y="19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8" y="10"/>
                </a:cxn>
                <a:cxn ang="0">
                  <a:pos x="28" y="8"/>
                </a:cxn>
                <a:cxn ang="0">
                  <a:pos x="31" y="6"/>
                </a:cxn>
                <a:cxn ang="0">
                  <a:pos x="37" y="11"/>
                </a:cxn>
                <a:cxn ang="0">
                  <a:pos x="39" y="13"/>
                </a:cxn>
                <a:cxn ang="0">
                  <a:pos x="40" y="13"/>
                </a:cxn>
                <a:cxn ang="0">
                  <a:pos x="39" y="17"/>
                </a:cxn>
                <a:cxn ang="0">
                  <a:pos x="42" y="24"/>
                </a:cxn>
                <a:cxn ang="0">
                  <a:pos x="43" y="19"/>
                </a:cxn>
                <a:cxn ang="0">
                  <a:pos x="46" y="20"/>
                </a:cxn>
                <a:cxn ang="0">
                  <a:pos x="48" y="17"/>
                </a:cxn>
                <a:cxn ang="0">
                  <a:pos x="46" y="10"/>
                </a:cxn>
              </a:cxnLst>
              <a:rect l="0" t="0" r="r" b="b"/>
              <a:pathLst>
                <a:path w="49" h="25">
                  <a:moveTo>
                    <a:pt x="46" y="10"/>
                  </a:moveTo>
                  <a:cubicBezTo>
                    <a:pt x="43" y="6"/>
                    <a:pt x="40" y="2"/>
                    <a:pt x="36" y="2"/>
                  </a:cubicBezTo>
                  <a:cubicBezTo>
                    <a:pt x="31" y="3"/>
                    <a:pt x="36" y="2"/>
                    <a:pt x="31" y="0"/>
                  </a:cubicBezTo>
                  <a:cubicBezTo>
                    <a:pt x="26" y="0"/>
                    <a:pt x="29" y="2"/>
                    <a:pt x="25" y="3"/>
                  </a:cubicBezTo>
                  <a:cubicBezTo>
                    <a:pt x="16" y="8"/>
                    <a:pt x="23" y="6"/>
                    <a:pt x="16" y="10"/>
                  </a:cubicBezTo>
                  <a:cubicBezTo>
                    <a:pt x="14" y="10"/>
                    <a:pt x="13" y="8"/>
                    <a:pt x="13" y="6"/>
                  </a:cubicBezTo>
                  <a:cubicBezTo>
                    <a:pt x="11" y="5"/>
                    <a:pt x="11" y="6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ubicBezTo>
                    <a:pt x="10" y="8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3"/>
                    <a:pt x="7" y="5"/>
                    <a:pt x="7" y="3"/>
                  </a:cubicBezTo>
                  <a:cubicBezTo>
                    <a:pt x="7" y="2"/>
                    <a:pt x="7" y="2"/>
                    <a:pt x="5" y="2"/>
                  </a:cubicBezTo>
                  <a:cubicBezTo>
                    <a:pt x="4" y="2"/>
                    <a:pt x="4" y="0"/>
                    <a:pt x="4" y="0"/>
                  </a:cubicBezTo>
                  <a:cubicBezTo>
                    <a:pt x="2" y="0"/>
                    <a:pt x="2" y="3"/>
                    <a:pt x="2" y="6"/>
                  </a:cubicBezTo>
                  <a:cubicBezTo>
                    <a:pt x="2" y="6"/>
                    <a:pt x="5" y="6"/>
                    <a:pt x="4" y="8"/>
                  </a:cubicBezTo>
                  <a:cubicBezTo>
                    <a:pt x="2" y="10"/>
                    <a:pt x="4" y="10"/>
                    <a:pt x="2" y="11"/>
                  </a:cubicBezTo>
                  <a:cubicBezTo>
                    <a:pt x="2" y="13"/>
                    <a:pt x="0" y="13"/>
                    <a:pt x="2" y="16"/>
                  </a:cubicBezTo>
                  <a:cubicBezTo>
                    <a:pt x="2" y="14"/>
                    <a:pt x="4" y="13"/>
                    <a:pt x="4" y="14"/>
                  </a:cubicBezTo>
                  <a:cubicBezTo>
                    <a:pt x="8" y="14"/>
                    <a:pt x="11" y="16"/>
                    <a:pt x="11" y="16"/>
                  </a:cubicBezTo>
                  <a:cubicBezTo>
                    <a:pt x="13" y="14"/>
                    <a:pt x="11" y="16"/>
                    <a:pt x="13" y="17"/>
                  </a:cubicBezTo>
                  <a:cubicBezTo>
                    <a:pt x="13" y="17"/>
                    <a:pt x="13" y="19"/>
                    <a:pt x="14" y="19"/>
                  </a:cubicBezTo>
                  <a:cubicBezTo>
                    <a:pt x="16" y="20"/>
                    <a:pt x="16" y="20"/>
                    <a:pt x="16" y="19"/>
                  </a:cubicBezTo>
                  <a:cubicBezTo>
                    <a:pt x="16" y="17"/>
                    <a:pt x="17" y="17"/>
                    <a:pt x="17" y="19"/>
                  </a:cubicBezTo>
                  <a:cubicBezTo>
                    <a:pt x="17" y="19"/>
                    <a:pt x="19" y="22"/>
                    <a:pt x="19" y="24"/>
                  </a:cubicBezTo>
                  <a:cubicBezTo>
                    <a:pt x="17" y="25"/>
                    <a:pt x="20" y="24"/>
                    <a:pt x="22" y="24"/>
                  </a:cubicBezTo>
                  <a:cubicBezTo>
                    <a:pt x="23" y="24"/>
                    <a:pt x="22" y="22"/>
                    <a:pt x="23" y="22"/>
                  </a:cubicBezTo>
                  <a:cubicBezTo>
                    <a:pt x="25" y="22"/>
                    <a:pt x="26" y="22"/>
                    <a:pt x="25" y="19"/>
                  </a:cubicBezTo>
                  <a:cubicBezTo>
                    <a:pt x="22" y="16"/>
                    <a:pt x="23" y="16"/>
                    <a:pt x="22" y="16"/>
                  </a:cubicBezTo>
                  <a:cubicBezTo>
                    <a:pt x="22" y="16"/>
                    <a:pt x="20" y="14"/>
                    <a:pt x="22" y="14"/>
                  </a:cubicBezTo>
                  <a:cubicBezTo>
                    <a:pt x="26" y="13"/>
                    <a:pt x="26" y="11"/>
                    <a:pt x="28" y="10"/>
                  </a:cubicBezTo>
                  <a:cubicBezTo>
                    <a:pt x="28" y="10"/>
                    <a:pt x="26" y="8"/>
                    <a:pt x="28" y="8"/>
                  </a:cubicBezTo>
                  <a:cubicBezTo>
                    <a:pt x="29" y="8"/>
                    <a:pt x="29" y="6"/>
                    <a:pt x="31" y="6"/>
                  </a:cubicBezTo>
                  <a:cubicBezTo>
                    <a:pt x="34" y="6"/>
                    <a:pt x="37" y="10"/>
                    <a:pt x="37" y="11"/>
                  </a:cubicBezTo>
                  <a:cubicBezTo>
                    <a:pt x="37" y="11"/>
                    <a:pt x="37" y="13"/>
                    <a:pt x="39" y="13"/>
                  </a:cubicBezTo>
                  <a:cubicBezTo>
                    <a:pt x="39" y="11"/>
                    <a:pt x="39" y="13"/>
                    <a:pt x="40" y="13"/>
                  </a:cubicBezTo>
                  <a:cubicBezTo>
                    <a:pt x="40" y="11"/>
                    <a:pt x="37" y="16"/>
                    <a:pt x="39" y="17"/>
                  </a:cubicBezTo>
                  <a:cubicBezTo>
                    <a:pt x="40" y="19"/>
                    <a:pt x="40" y="22"/>
                    <a:pt x="42" y="24"/>
                  </a:cubicBezTo>
                  <a:cubicBezTo>
                    <a:pt x="43" y="20"/>
                    <a:pt x="42" y="22"/>
                    <a:pt x="43" y="19"/>
                  </a:cubicBezTo>
                  <a:cubicBezTo>
                    <a:pt x="43" y="19"/>
                    <a:pt x="45" y="22"/>
                    <a:pt x="46" y="20"/>
                  </a:cubicBezTo>
                  <a:cubicBezTo>
                    <a:pt x="48" y="19"/>
                    <a:pt x="46" y="17"/>
                    <a:pt x="48" y="17"/>
                  </a:cubicBezTo>
                  <a:cubicBezTo>
                    <a:pt x="49" y="17"/>
                    <a:pt x="45" y="13"/>
                    <a:pt x="46" y="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299"/>
            <p:cNvSpPr>
              <a:spLocks/>
            </p:cNvSpPr>
            <p:nvPr/>
          </p:nvSpPr>
          <p:spPr bwMode="auto">
            <a:xfrm>
              <a:off x="2930592" y="4894524"/>
              <a:ext cx="7980" cy="16190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2" y="0"/>
                    <a:pt x="2" y="2"/>
                    <a:pt x="2" y="3"/>
                  </a:cubicBezTo>
                  <a:cubicBezTo>
                    <a:pt x="3" y="3"/>
                    <a:pt x="3" y="5"/>
                    <a:pt x="2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300"/>
            <p:cNvSpPr>
              <a:spLocks/>
            </p:cNvSpPr>
            <p:nvPr/>
          </p:nvSpPr>
          <p:spPr bwMode="auto">
            <a:xfrm>
              <a:off x="3000818" y="4868620"/>
              <a:ext cx="6384" cy="971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3"/>
                    <a:pt x="0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5494369" y="3408639"/>
              <a:ext cx="448292" cy="305283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14" y="27"/>
                </a:cxn>
                <a:cxn ang="0">
                  <a:pos x="6" y="41"/>
                </a:cxn>
                <a:cxn ang="0">
                  <a:pos x="3" y="46"/>
                </a:cxn>
                <a:cxn ang="0">
                  <a:pos x="5" y="53"/>
                </a:cxn>
                <a:cxn ang="0">
                  <a:pos x="6" y="55"/>
                </a:cxn>
                <a:cxn ang="0">
                  <a:pos x="12" y="55"/>
                </a:cxn>
                <a:cxn ang="0">
                  <a:pos x="24" y="58"/>
                </a:cxn>
                <a:cxn ang="0">
                  <a:pos x="37" y="52"/>
                </a:cxn>
                <a:cxn ang="0">
                  <a:pos x="52" y="53"/>
                </a:cxn>
                <a:cxn ang="0">
                  <a:pos x="56" y="58"/>
                </a:cxn>
                <a:cxn ang="0">
                  <a:pos x="61" y="67"/>
                </a:cxn>
                <a:cxn ang="0">
                  <a:pos x="62" y="74"/>
                </a:cxn>
                <a:cxn ang="0">
                  <a:pos x="55" y="75"/>
                </a:cxn>
                <a:cxn ang="0">
                  <a:pos x="49" y="84"/>
                </a:cxn>
                <a:cxn ang="0">
                  <a:pos x="56" y="86"/>
                </a:cxn>
                <a:cxn ang="0">
                  <a:pos x="59" y="83"/>
                </a:cxn>
                <a:cxn ang="0">
                  <a:pos x="68" y="74"/>
                </a:cxn>
                <a:cxn ang="0">
                  <a:pos x="78" y="70"/>
                </a:cxn>
                <a:cxn ang="0">
                  <a:pos x="82" y="72"/>
                </a:cxn>
                <a:cxn ang="0">
                  <a:pos x="81" y="77"/>
                </a:cxn>
                <a:cxn ang="0">
                  <a:pos x="91" y="78"/>
                </a:cxn>
                <a:cxn ang="0">
                  <a:pos x="91" y="91"/>
                </a:cxn>
                <a:cxn ang="0">
                  <a:pos x="100" y="92"/>
                </a:cxn>
                <a:cxn ang="0">
                  <a:pos x="113" y="89"/>
                </a:cxn>
                <a:cxn ang="0">
                  <a:pos x="111" y="84"/>
                </a:cxn>
                <a:cxn ang="0">
                  <a:pos x="102" y="75"/>
                </a:cxn>
                <a:cxn ang="0">
                  <a:pos x="111" y="70"/>
                </a:cxn>
                <a:cxn ang="0">
                  <a:pos x="128" y="66"/>
                </a:cxn>
                <a:cxn ang="0">
                  <a:pos x="141" y="55"/>
                </a:cxn>
                <a:cxn ang="0">
                  <a:pos x="141" y="46"/>
                </a:cxn>
                <a:cxn ang="0">
                  <a:pos x="143" y="41"/>
                </a:cxn>
                <a:cxn ang="0">
                  <a:pos x="138" y="35"/>
                </a:cxn>
                <a:cxn ang="0">
                  <a:pos x="125" y="30"/>
                </a:cxn>
                <a:cxn ang="0">
                  <a:pos x="108" y="27"/>
                </a:cxn>
                <a:cxn ang="0">
                  <a:pos x="99" y="16"/>
                </a:cxn>
                <a:cxn ang="0">
                  <a:pos x="97" y="8"/>
                </a:cxn>
                <a:cxn ang="0">
                  <a:pos x="88" y="3"/>
                </a:cxn>
                <a:cxn ang="0">
                  <a:pos x="76" y="5"/>
                </a:cxn>
                <a:cxn ang="0">
                  <a:pos x="65" y="14"/>
                </a:cxn>
                <a:cxn ang="0">
                  <a:pos x="53" y="13"/>
                </a:cxn>
                <a:cxn ang="0">
                  <a:pos x="38" y="10"/>
                </a:cxn>
                <a:cxn ang="0">
                  <a:pos x="15" y="11"/>
                </a:cxn>
              </a:cxnLst>
              <a:rect l="0" t="0" r="r" b="b"/>
              <a:pathLst>
                <a:path w="144" h="98">
                  <a:moveTo>
                    <a:pt x="12" y="13"/>
                  </a:moveTo>
                  <a:cubicBezTo>
                    <a:pt x="14" y="16"/>
                    <a:pt x="11" y="14"/>
                    <a:pt x="14" y="19"/>
                  </a:cubicBezTo>
                  <a:cubicBezTo>
                    <a:pt x="20" y="24"/>
                    <a:pt x="14" y="21"/>
                    <a:pt x="15" y="22"/>
                  </a:cubicBezTo>
                  <a:cubicBezTo>
                    <a:pt x="17" y="24"/>
                    <a:pt x="18" y="25"/>
                    <a:pt x="14" y="27"/>
                  </a:cubicBezTo>
                  <a:cubicBezTo>
                    <a:pt x="12" y="27"/>
                    <a:pt x="8" y="32"/>
                    <a:pt x="6" y="35"/>
                  </a:cubicBezTo>
                  <a:cubicBezTo>
                    <a:pt x="3" y="38"/>
                    <a:pt x="6" y="39"/>
                    <a:pt x="6" y="41"/>
                  </a:cubicBezTo>
                  <a:cubicBezTo>
                    <a:pt x="5" y="42"/>
                    <a:pt x="9" y="44"/>
                    <a:pt x="3" y="42"/>
                  </a:cubicBezTo>
                  <a:cubicBezTo>
                    <a:pt x="5" y="44"/>
                    <a:pt x="3" y="44"/>
                    <a:pt x="3" y="46"/>
                  </a:cubicBezTo>
                  <a:cubicBezTo>
                    <a:pt x="3" y="47"/>
                    <a:pt x="2" y="46"/>
                    <a:pt x="0" y="50"/>
                  </a:cubicBezTo>
                  <a:cubicBezTo>
                    <a:pt x="5" y="52"/>
                    <a:pt x="3" y="55"/>
                    <a:pt x="5" y="53"/>
                  </a:cubicBezTo>
                  <a:cubicBezTo>
                    <a:pt x="6" y="53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8" y="55"/>
                    <a:pt x="8" y="56"/>
                    <a:pt x="8" y="55"/>
                  </a:cubicBezTo>
                  <a:cubicBezTo>
                    <a:pt x="9" y="53"/>
                    <a:pt x="9" y="55"/>
                    <a:pt x="12" y="55"/>
                  </a:cubicBezTo>
                  <a:cubicBezTo>
                    <a:pt x="17" y="55"/>
                    <a:pt x="17" y="56"/>
                    <a:pt x="18" y="56"/>
                  </a:cubicBezTo>
                  <a:cubicBezTo>
                    <a:pt x="21" y="55"/>
                    <a:pt x="21" y="60"/>
                    <a:pt x="24" y="58"/>
                  </a:cubicBezTo>
                  <a:cubicBezTo>
                    <a:pt x="26" y="56"/>
                    <a:pt x="24" y="56"/>
                    <a:pt x="29" y="56"/>
                  </a:cubicBezTo>
                  <a:cubicBezTo>
                    <a:pt x="34" y="55"/>
                    <a:pt x="32" y="53"/>
                    <a:pt x="37" y="52"/>
                  </a:cubicBezTo>
                  <a:cubicBezTo>
                    <a:pt x="38" y="50"/>
                    <a:pt x="41" y="50"/>
                    <a:pt x="43" y="50"/>
                  </a:cubicBezTo>
                  <a:cubicBezTo>
                    <a:pt x="44" y="49"/>
                    <a:pt x="50" y="53"/>
                    <a:pt x="52" y="53"/>
                  </a:cubicBezTo>
                  <a:cubicBezTo>
                    <a:pt x="53" y="52"/>
                    <a:pt x="53" y="56"/>
                    <a:pt x="56" y="55"/>
                  </a:cubicBezTo>
                  <a:cubicBezTo>
                    <a:pt x="58" y="55"/>
                    <a:pt x="58" y="56"/>
                    <a:pt x="56" y="58"/>
                  </a:cubicBezTo>
                  <a:cubicBezTo>
                    <a:pt x="55" y="61"/>
                    <a:pt x="58" y="63"/>
                    <a:pt x="59" y="63"/>
                  </a:cubicBezTo>
                  <a:cubicBezTo>
                    <a:pt x="61" y="63"/>
                    <a:pt x="58" y="66"/>
                    <a:pt x="61" y="67"/>
                  </a:cubicBezTo>
                  <a:cubicBezTo>
                    <a:pt x="64" y="69"/>
                    <a:pt x="61" y="72"/>
                    <a:pt x="62" y="74"/>
                  </a:cubicBezTo>
                  <a:cubicBezTo>
                    <a:pt x="65" y="74"/>
                    <a:pt x="62" y="75"/>
                    <a:pt x="62" y="74"/>
                  </a:cubicBezTo>
                  <a:cubicBezTo>
                    <a:pt x="61" y="74"/>
                    <a:pt x="58" y="75"/>
                    <a:pt x="56" y="74"/>
                  </a:cubicBezTo>
                  <a:cubicBezTo>
                    <a:pt x="55" y="72"/>
                    <a:pt x="53" y="74"/>
                    <a:pt x="55" y="75"/>
                  </a:cubicBezTo>
                  <a:cubicBezTo>
                    <a:pt x="56" y="78"/>
                    <a:pt x="50" y="81"/>
                    <a:pt x="52" y="83"/>
                  </a:cubicBezTo>
                  <a:cubicBezTo>
                    <a:pt x="52" y="84"/>
                    <a:pt x="50" y="84"/>
                    <a:pt x="49" y="84"/>
                  </a:cubicBezTo>
                  <a:cubicBezTo>
                    <a:pt x="52" y="88"/>
                    <a:pt x="53" y="88"/>
                    <a:pt x="53" y="88"/>
                  </a:cubicBezTo>
                  <a:cubicBezTo>
                    <a:pt x="53" y="86"/>
                    <a:pt x="55" y="88"/>
                    <a:pt x="56" y="86"/>
                  </a:cubicBezTo>
                  <a:cubicBezTo>
                    <a:pt x="56" y="84"/>
                    <a:pt x="59" y="84"/>
                    <a:pt x="61" y="88"/>
                  </a:cubicBezTo>
                  <a:cubicBezTo>
                    <a:pt x="61" y="84"/>
                    <a:pt x="61" y="86"/>
                    <a:pt x="59" y="83"/>
                  </a:cubicBezTo>
                  <a:cubicBezTo>
                    <a:pt x="59" y="80"/>
                    <a:pt x="61" y="83"/>
                    <a:pt x="64" y="81"/>
                  </a:cubicBezTo>
                  <a:cubicBezTo>
                    <a:pt x="67" y="78"/>
                    <a:pt x="68" y="77"/>
                    <a:pt x="68" y="74"/>
                  </a:cubicBezTo>
                  <a:cubicBezTo>
                    <a:pt x="68" y="70"/>
                    <a:pt x="73" y="72"/>
                    <a:pt x="75" y="70"/>
                  </a:cubicBezTo>
                  <a:cubicBezTo>
                    <a:pt x="76" y="70"/>
                    <a:pt x="78" y="72"/>
                    <a:pt x="78" y="70"/>
                  </a:cubicBezTo>
                  <a:cubicBezTo>
                    <a:pt x="78" y="67"/>
                    <a:pt x="78" y="64"/>
                    <a:pt x="79" y="67"/>
                  </a:cubicBezTo>
                  <a:cubicBezTo>
                    <a:pt x="79" y="70"/>
                    <a:pt x="78" y="72"/>
                    <a:pt x="82" y="72"/>
                  </a:cubicBezTo>
                  <a:cubicBezTo>
                    <a:pt x="79" y="74"/>
                    <a:pt x="76" y="70"/>
                    <a:pt x="76" y="72"/>
                  </a:cubicBezTo>
                  <a:cubicBezTo>
                    <a:pt x="75" y="74"/>
                    <a:pt x="81" y="75"/>
                    <a:pt x="81" y="77"/>
                  </a:cubicBezTo>
                  <a:cubicBezTo>
                    <a:pt x="81" y="78"/>
                    <a:pt x="87" y="77"/>
                    <a:pt x="88" y="77"/>
                  </a:cubicBezTo>
                  <a:cubicBezTo>
                    <a:pt x="90" y="78"/>
                    <a:pt x="91" y="75"/>
                    <a:pt x="91" y="78"/>
                  </a:cubicBezTo>
                  <a:cubicBezTo>
                    <a:pt x="93" y="81"/>
                    <a:pt x="82" y="83"/>
                    <a:pt x="82" y="86"/>
                  </a:cubicBezTo>
                  <a:cubicBezTo>
                    <a:pt x="84" y="88"/>
                    <a:pt x="91" y="86"/>
                    <a:pt x="91" y="91"/>
                  </a:cubicBezTo>
                  <a:cubicBezTo>
                    <a:pt x="91" y="95"/>
                    <a:pt x="88" y="92"/>
                    <a:pt x="91" y="95"/>
                  </a:cubicBezTo>
                  <a:cubicBezTo>
                    <a:pt x="94" y="98"/>
                    <a:pt x="97" y="94"/>
                    <a:pt x="100" y="92"/>
                  </a:cubicBezTo>
                  <a:cubicBezTo>
                    <a:pt x="103" y="91"/>
                    <a:pt x="102" y="94"/>
                    <a:pt x="105" y="91"/>
                  </a:cubicBezTo>
                  <a:cubicBezTo>
                    <a:pt x="108" y="86"/>
                    <a:pt x="108" y="91"/>
                    <a:pt x="113" y="89"/>
                  </a:cubicBezTo>
                  <a:cubicBezTo>
                    <a:pt x="117" y="88"/>
                    <a:pt x="113" y="89"/>
                    <a:pt x="114" y="86"/>
                  </a:cubicBezTo>
                  <a:cubicBezTo>
                    <a:pt x="116" y="84"/>
                    <a:pt x="114" y="83"/>
                    <a:pt x="111" y="84"/>
                  </a:cubicBezTo>
                  <a:cubicBezTo>
                    <a:pt x="106" y="86"/>
                    <a:pt x="106" y="89"/>
                    <a:pt x="103" y="83"/>
                  </a:cubicBezTo>
                  <a:cubicBezTo>
                    <a:pt x="99" y="77"/>
                    <a:pt x="100" y="77"/>
                    <a:pt x="102" y="75"/>
                  </a:cubicBezTo>
                  <a:cubicBezTo>
                    <a:pt x="106" y="74"/>
                    <a:pt x="102" y="78"/>
                    <a:pt x="105" y="77"/>
                  </a:cubicBezTo>
                  <a:cubicBezTo>
                    <a:pt x="106" y="75"/>
                    <a:pt x="110" y="70"/>
                    <a:pt x="111" y="70"/>
                  </a:cubicBezTo>
                  <a:cubicBezTo>
                    <a:pt x="116" y="72"/>
                    <a:pt x="123" y="66"/>
                    <a:pt x="125" y="66"/>
                  </a:cubicBezTo>
                  <a:cubicBezTo>
                    <a:pt x="128" y="66"/>
                    <a:pt x="126" y="67"/>
                    <a:pt x="128" y="66"/>
                  </a:cubicBezTo>
                  <a:cubicBezTo>
                    <a:pt x="126" y="56"/>
                    <a:pt x="132" y="61"/>
                    <a:pt x="132" y="58"/>
                  </a:cubicBezTo>
                  <a:cubicBezTo>
                    <a:pt x="134" y="55"/>
                    <a:pt x="140" y="58"/>
                    <a:pt x="141" y="55"/>
                  </a:cubicBezTo>
                  <a:cubicBezTo>
                    <a:pt x="143" y="53"/>
                    <a:pt x="141" y="50"/>
                    <a:pt x="140" y="49"/>
                  </a:cubicBezTo>
                  <a:cubicBezTo>
                    <a:pt x="138" y="47"/>
                    <a:pt x="140" y="46"/>
                    <a:pt x="141" y="46"/>
                  </a:cubicBezTo>
                  <a:cubicBezTo>
                    <a:pt x="144" y="46"/>
                    <a:pt x="143" y="44"/>
                    <a:pt x="141" y="44"/>
                  </a:cubicBezTo>
                  <a:cubicBezTo>
                    <a:pt x="140" y="44"/>
                    <a:pt x="140" y="42"/>
                    <a:pt x="143" y="41"/>
                  </a:cubicBezTo>
                  <a:cubicBezTo>
                    <a:pt x="144" y="39"/>
                    <a:pt x="143" y="39"/>
                    <a:pt x="143" y="36"/>
                  </a:cubicBezTo>
                  <a:cubicBezTo>
                    <a:pt x="143" y="35"/>
                    <a:pt x="140" y="38"/>
                    <a:pt x="138" y="35"/>
                  </a:cubicBezTo>
                  <a:cubicBezTo>
                    <a:pt x="137" y="32"/>
                    <a:pt x="134" y="35"/>
                    <a:pt x="132" y="33"/>
                  </a:cubicBezTo>
                  <a:cubicBezTo>
                    <a:pt x="129" y="28"/>
                    <a:pt x="128" y="33"/>
                    <a:pt x="125" y="30"/>
                  </a:cubicBezTo>
                  <a:cubicBezTo>
                    <a:pt x="122" y="28"/>
                    <a:pt x="123" y="24"/>
                    <a:pt x="119" y="27"/>
                  </a:cubicBezTo>
                  <a:cubicBezTo>
                    <a:pt x="113" y="30"/>
                    <a:pt x="113" y="25"/>
                    <a:pt x="108" y="27"/>
                  </a:cubicBezTo>
                  <a:cubicBezTo>
                    <a:pt x="105" y="28"/>
                    <a:pt x="108" y="22"/>
                    <a:pt x="105" y="19"/>
                  </a:cubicBezTo>
                  <a:cubicBezTo>
                    <a:pt x="102" y="14"/>
                    <a:pt x="102" y="17"/>
                    <a:pt x="99" y="16"/>
                  </a:cubicBezTo>
                  <a:cubicBezTo>
                    <a:pt x="96" y="16"/>
                    <a:pt x="99" y="16"/>
                    <a:pt x="96" y="13"/>
                  </a:cubicBezTo>
                  <a:cubicBezTo>
                    <a:pt x="94" y="11"/>
                    <a:pt x="100" y="10"/>
                    <a:pt x="97" y="8"/>
                  </a:cubicBezTo>
                  <a:cubicBezTo>
                    <a:pt x="93" y="7"/>
                    <a:pt x="96" y="0"/>
                    <a:pt x="93" y="3"/>
                  </a:cubicBezTo>
                  <a:cubicBezTo>
                    <a:pt x="90" y="5"/>
                    <a:pt x="91" y="0"/>
                    <a:pt x="88" y="3"/>
                  </a:cubicBezTo>
                  <a:cubicBezTo>
                    <a:pt x="85" y="5"/>
                    <a:pt x="82" y="2"/>
                    <a:pt x="82" y="5"/>
                  </a:cubicBezTo>
                  <a:cubicBezTo>
                    <a:pt x="81" y="8"/>
                    <a:pt x="78" y="7"/>
                    <a:pt x="76" y="5"/>
                  </a:cubicBezTo>
                  <a:cubicBezTo>
                    <a:pt x="70" y="5"/>
                    <a:pt x="68" y="8"/>
                    <a:pt x="68" y="13"/>
                  </a:cubicBezTo>
                  <a:cubicBezTo>
                    <a:pt x="68" y="17"/>
                    <a:pt x="67" y="17"/>
                    <a:pt x="65" y="14"/>
                  </a:cubicBezTo>
                  <a:cubicBezTo>
                    <a:pt x="64" y="14"/>
                    <a:pt x="61" y="14"/>
                    <a:pt x="59" y="14"/>
                  </a:cubicBezTo>
                  <a:cubicBezTo>
                    <a:pt x="56" y="16"/>
                    <a:pt x="58" y="10"/>
                    <a:pt x="53" y="13"/>
                  </a:cubicBezTo>
                  <a:cubicBezTo>
                    <a:pt x="50" y="16"/>
                    <a:pt x="55" y="11"/>
                    <a:pt x="46" y="11"/>
                  </a:cubicBezTo>
                  <a:cubicBezTo>
                    <a:pt x="40" y="11"/>
                    <a:pt x="43" y="10"/>
                    <a:pt x="38" y="10"/>
                  </a:cubicBezTo>
                  <a:cubicBezTo>
                    <a:pt x="35" y="11"/>
                    <a:pt x="34" y="7"/>
                    <a:pt x="23" y="8"/>
                  </a:cubicBezTo>
                  <a:cubicBezTo>
                    <a:pt x="14" y="10"/>
                    <a:pt x="18" y="13"/>
                    <a:pt x="15" y="11"/>
                  </a:cubicBezTo>
                  <a:cubicBezTo>
                    <a:pt x="14" y="11"/>
                    <a:pt x="12" y="13"/>
                    <a:pt x="12" y="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8"/>
            <p:cNvSpPr>
              <a:spLocks/>
            </p:cNvSpPr>
            <p:nvPr/>
          </p:nvSpPr>
          <p:spPr bwMode="auto">
            <a:xfrm>
              <a:off x="4684551" y="3299379"/>
              <a:ext cx="114081" cy="159069"/>
            </a:xfrm>
            <a:custGeom>
              <a:avLst/>
              <a:gdLst/>
              <a:ahLst/>
              <a:cxnLst>
                <a:cxn ang="0">
                  <a:pos x="24" y="9"/>
                </a:cxn>
                <a:cxn ang="0">
                  <a:pos x="22" y="12"/>
                </a:cxn>
                <a:cxn ang="0">
                  <a:pos x="28" y="16"/>
                </a:cxn>
                <a:cxn ang="0">
                  <a:pos x="30" y="14"/>
                </a:cxn>
                <a:cxn ang="0">
                  <a:pos x="31" y="17"/>
                </a:cxn>
                <a:cxn ang="0">
                  <a:pos x="34" y="17"/>
                </a:cxn>
                <a:cxn ang="0">
                  <a:pos x="34" y="19"/>
                </a:cxn>
                <a:cxn ang="0">
                  <a:pos x="36" y="23"/>
                </a:cxn>
                <a:cxn ang="0">
                  <a:pos x="36" y="36"/>
                </a:cxn>
                <a:cxn ang="0">
                  <a:pos x="33" y="40"/>
                </a:cxn>
                <a:cxn ang="0">
                  <a:pos x="28" y="40"/>
                </a:cxn>
                <a:cxn ang="0">
                  <a:pos x="19" y="45"/>
                </a:cxn>
                <a:cxn ang="0">
                  <a:pos x="18" y="47"/>
                </a:cxn>
                <a:cxn ang="0">
                  <a:pos x="7" y="48"/>
                </a:cxn>
                <a:cxn ang="0">
                  <a:pos x="6" y="47"/>
                </a:cxn>
                <a:cxn ang="0">
                  <a:pos x="4" y="44"/>
                </a:cxn>
                <a:cxn ang="0">
                  <a:pos x="3" y="40"/>
                </a:cxn>
                <a:cxn ang="0">
                  <a:pos x="7" y="39"/>
                </a:cxn>
                <a:cxn ang="0">
                  <a:pos x="12" y="36"/>
                </a:cxn>
                <a:cxn ang="0">
                  <a:pos x="13" y="34"/>
                </a:cxn>
                <a:cxn ang="0">
                  <a:pos x="7" y="34"/>
                </a:cxn>
                <a:cxn ang="0">
                  <a:pos x="12" y="30"/>
                </a:cxn>
                <a:cxn ang="0">
                  <a:pos x="10" y="28"/>
                </a:cxn>
                <a:cxn ang="0">
                  <a:pos x="6" y="23"/>
                </a:cxn>
                <a:cxn ang="0">
                  <a:pos x="9" y="20"/>
                </a:cxn>
                <a:cxn ang="0">
                  <a:pos x="6" y="17"/>
                </a:cxn>
                <a:cxn ang="0">
                  <a:pos x="4" y="16"/>
                </a:cxn>
                <a:cxn ang="0">
                  <a:pos x="12" y="16"/>
                </a:cxn>
                <a:cxn ang="0">
                  <a:pos x="15" y="16"/>
                </a:cxn>
                <a:cxn ang="0">
                  <a:pos x="19" y="12"/>
                </a:cxn>
                <a:cxn ang="0">
                  <a:pos x="15" y="11"/>
                </a:cxn>
                <a:cxn ang="0">
                  <a:pos x="18" y="6"/>
                </a:cxn>
                <a:cxn ang="0">
                  <a:pos x="24" y="3"/>
                </a:cxn>
                <a:cxn ang="0">
                  <a:pos x="28" y="1"/>
                </a:cxn>
                <a:cxn ang="0">
                  <a:pos x="28" y="5"/>
                </a:cxn>
                <a:cxn ang="0">
                  <a:pos x="24" y="9"/>
                </a:cxn>
              </a:cxnLst>
              <a:rect l="0" t="0" r="r" b="b"/>
              <a:pathLst>
                <a:path w="37" h="51">
                  <a:moveTo>
                    <a:pt x="24" y="9"/>
                  </a:moveTo>
                  <a:cubicBezTo>
                    <a:pt x="21" y="9"/>
                    <a:pt x="25" y="11"/>
                    <a:pt x="22" y="12"/>
                  </a:cubicBezTo>
                  <a:cubicBezTo>
                    <a:pt x="18" y="14"/>
                    <a:pt x="28" y="19"/>
                    <a:pt x="28" y="16"/>
                  </a:cubicBezTo>
                  <a:cubicBezTo>
                    <a:pt x="28" y="14"/>
                    <a:pt x="30" y="12"/>
                    <a:pt x="30" y="14"/>
                  </a:cubicBezTo>
                  <a:cubicBezTo>
                    <a:pt x="31" y="17"/>
                    <a:pt x="31" y="16"/>
                    <a:pt x="31" y="17"/>
                  </a:cubicBezTo>
                  <a:cubicBezTo>
                    <a:pt x="33" y="19"/>
                    <a:pt x="33" y="17"/>
                    <a:pt x="34" y="17"/>
                  </a:cubicBezTo>
                  <a:cubicBezTo>
                    <a:pt x="36" y="17"/>
                    <a:pt x="36" y="19"/>
                    <a:pt x="34" y="19"/>
                  </a:cubicBezTo>
                  <a:cubicBezTo>
                    <a:pt x="34" y="19"/>
                    <a:pt x="34" y="20"/>
                    <a:pt x="36" y="23"/>
                  </a:cubicBezTo>
                  <a:cubicBezTo>
                    <a:pt x="37" y="26"/>
                    <a:pt x="37" y="31"/>
                    <a:pt x="36" y="36"/>
                  </a:cubicBezTo>
                  <a:cubicBezTo>
                    <a:pt x="33" y="40"/>
                    <a:pt x="36" y="40"/>
                    <a:pt x="33" y="40"/>
                  </a:cubicBezTo>
                  <a:cubicBezTo>
                    <a:pt x="30" y="40"/>
                    <a:pt x="31" y="40"/>
                    <a:pt x="28" y="40"/>
                  </a:cubicBezTo>
                  <a:cubicBezTo>
                    <a:pt x="24" y="42"/>
                    <a:pt x="21" y="47"/>
                    <a:pt x="19" y="45"/>
                  </a:cubicBezTo>
                  <a:cubicBezTo>
                    <a:pt x="19" y="42"/>
                    <a:pt x="19" y="45"/>
                    <a:pt x="18" y="47"/>
                  </a:cubicBezTo>
                  <a:cubicBezTo>
                    <a:pt x="18" y="48"/>
                    <a:pt x="4" y="51"/>
                    <a:pt x="7" y="48"/>
                  </a:cubicBezTo>
                  <a:cubicBezTo>
                    <a:pt x="12" y="44"/>
                    <a:pt x="3" y="50"/>
                    <a:pt x="6" y="47"/>
                  </a:cubicBezTo>
                  <a:cubicBezTo>
                    <a:pt x="7" y="44"/>
                    <a:pt x="0" y="47"/>
                    <a:pt x="4" y="44"/>
                  </a:cubicBezTo>
                  <a:cubicBezTo>
                    <a:pt x="7" y="39"/>
                    <a:pt x="0" y="44"/>
                    <a:pt x="3" y="40"/>
                  </a:cubicBezTo>
                  <a:cubicBezTo>
                    <a:pt x="6" y="37"/>
                    <a:pt x="9" y="40"/>
                    <a:pt x="7" y="39"/>
                  </a:cubicBezTo>
                  <a:cubicBezTo>
                    <a:pt x="6" y="37"/>
                    <a:pt x="7" y="36"/>
                    <a:pt x="12" y="36"/>
                  </a:cubicBezTo>
                  <a:cubicBezTo>
                    <a:pt x="16" y="36"/>
                    <a:pt x="15" y="34"/>
                    <a:pt x="13" y="34"/>
                  </a:cubicBezTo>
                  <a:cubicBezTo>
                    <a:pt x="12" y="34"/>
                    <a:pt x="3" y="37"/>
                    <a:pt x="7" y="34"/>
                  </a:cubicBezTo>
                  <a:cubicBezTo>
                    <a:pt x="12" y="31"/>
                    <a:pt x="7" y="30"/>
                    <a:pt x="12" y="30"/>
                  </a:cubicBezTo>
                  <a:cubicBezTo>
                    <a:pt x="16" y="28"/>
                    <a:pt x="12" y="26"/>
                    <a:pt x="10" y="28"/>
                  </a:cubicBezTo>
                  <a:cubicBezTo>
                    <a:pt x="9" y="28"/>
                    <a:pt x="3" y="25"/>
                    <a:pt x="6" y="23"/>
                  </a:cubicBezTo>
                  <a:cubicBezTo>
                    <a:pt x="7" y="22"/>
                    <a:pt x="6" y="22"/>
                    <a:pt x="9" y="20"/>
                  </a:cubicBezTo>
                  <a:cubicBezTo>
                    <a:pt x="12" y="19"/>
                    <a:pt x="3" y="20"/>
                    <a:pt x="6" y="17"/>
                  </a:cubicBezTo>
                  <a:cubicBezTo>
                    <a:pt x="7" y="16"/>
                    <a:pt x="4" y="17"/>
                    <a:pt x="4" y="16"/>
                  </a:cubicBezTo>
                  <a:cubicBezTo>
                    <a:pt x="6" y="14"/>
                    <a:pt x="9" y="14"/>
                    <a:pt x="12" y="16"/>
                  </a:cubicBezTo>
                  <a:cubicBezTo>
                    <a:pt x="13" y="16"/>
                    <a:pt x="13" y="14"/>
                    <a:pt x="15" y="16"/>
                  </a:cubicBezTo>
                  <a:cubicBezTo>
                    <a:pt x="18" y="16"/>
                    <a:pt x="16" y="14"/>
                    <a:pt x="19" y="12"/>
                  </a:cubicBezTo>
                  <a:cubicBezTo>
                    <a:pt x="22" y="9"/>
                    <a:pt x="16" y="11"/>
                    <a:pt x="15" y="11"/>
                  </a:cubicBezTo>
                  <a:cubicBezTo>
                    <a:pt x="15" y="9"/>
                    <a:pt x="19" y="9"/>
                    <a:pt x="18" y="6"/>
                  </a:cubicBezTo>
                  <a:cubicBezTo>
                    <a:pt x="18" y="5"/>
                    <a:pt x="22" y="3"/>
                    <a:pt x="24" y="3"/>
                  </a:cubicBezTo>
                  <a:cubicBezTo>
                    <a:pt x="27" y="3"/>
                    <a:pt x="25" y="0"/>
                    <a:pt x="28" y="1"/>
                  </a:cubicBezTo>
                  <a:cubicBezTo>
                    <a:pt x="31" y="3"/>
                    <a:pt x="28" y="3"/>
                    <a:pt x="28" y="5"/>
                  </a:cubicBezTo>
                  <a:cubicBezTo>
                    <a:pt x="25" y="6"/>
                    <a:pt x="27" y="9"/>
                    <a:pt x="24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>
              <a:off x="7118824" y="3424705"/>
              <a:ext cx="800177" cy="385621"/>
            </a:xfrm>
            <a:custGeom>
              <a:avLst/>
              <a:gdLst/>
              <a:ahLst/>
              <a:cxnLst>
                <a:cxn ang="0">
                  <a:pos x="230" y="28"/>
                </a:cxn>
                <a:cxn ang="0">
                  <a:pos x="222" y="48"/>
                </a:cxn>
                <a:cxn ang="0">
                  <a:pos x="225" y="53"/>
                </a:cxn>
                <a:cxn ang="0">
                  <a:pos x="234" y="53"/>
                </a:cxn>
                <a:cxn ang="0">
                  <a:pos x="240" y="50"/>
                </a:cxn>
                <a:cxn ang="0">
                  <a:pos x="251" y="56"/>
                </a:cxn>
                <a:cxn ang="0">
                  <a:pos x="255" y="65"/>
                </a:cxn>
                <a:cxn ang="0">
                  <a:pos x="246" y="65"/>
                </a:cxn>
                <a:cxn ang="0">
                  <a:pos x="239" y="65"/>
                </a:cxn>
                <a:cxn ang="0">
                  <a:pos x="228" y="70"/>
                </a:cxn>
                <a:cxn ang="0">
                  <a:pos x="225" y="76"/>
                </a:cxn>
                <a:cxn ang="0">
                  <a:pos x="216" y="80"/>
                </a:cxn>
                <a:cxn ang="0">
                  <a:pos x="207" y="87"/>
                </a:cxn>
                <a:cxn ang="0">
                  <a:pos x="192" y="84"/>
                </a:cxn>
                <a:cxn ang="0">
                  <a:pos x="189" y="92"/>
                </a:cxn>
                <a:cxn ang="0">
                  <a:pos x="192" y="100"/>
                </a:cxn>
                <a:cxn ang="0">
                  <a:pos x="181" y="107"/>
                </a:cxn>
                <a:cxn ang="0">
                  <a:pos x="173" y="114"/>
                </a:cxn>
                <a:cxn ang="0">
                  <a:pos x="169" y="114"/>
                </a:cxn>
                <a:cxn ang="0">
                  <a:pos x="160" y="114"/>
                </a:cxn>
                <a:cxn ang="0">
                  <a:pos x="154" y="115"/>
                </a:cxn>
                <a:cxn ang="0">
                  <a:pos x="138" y="123"/>
                </a:cxn>
                <a:cxn ang="0">
                  <a:pos x="134" y="123"/>
                </a:cxn>
                <a:cxn ang="0">
                  <a:pos x="131" y="120"/>
                </a:cxn>
                <a:cxn ang="0">
                  <a:pos x="117" y="117"/>
                </a:cxn>
                <a:cxn ang="0">
                  <a:pos x="100" y="111"/>
                </a:cxn>
                <a:cxn ang="0">
                  <a:pos x="75" y="111"/>
                </a:cxn>
                <a:cxn ang="0">
                  <a:pos x="69" y="109"/>
                </a:cxn>
                <a:cxn ang="0">
                  <a:pos x="64" y="100"/>
                </a:cxn>
                <a:cxn ang="0">
                  <a:pos x="55" y="92"/>
                </a:cxn>
                <a:cxn ang="0">
                  <a:pos x="38" y="84"/>
                </a:cxn>
                <a:cxn ang="0">
                  <a:pos x="27" y="83"/>
                </a:cxn>
                <a:cxn ang="0">
                  <a:pos x="24" y="76"/>
                </a:cxn>
                <a:cxn ang="0">
                  <a:pos x="26" y="67"/>
                </a:cxn>
                <a:cxn ang="0">
                  <a:pos x="18" y="52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2" y="36"/>
                </a:cxn>
                <a:cxn ang="0">
                  <a:pos x="12" y="31"/>
                </a:cxn>
                <a:cxn ang="0">
                  <a:pos x="21" y="24"/>
                </a:cxn>
                <a:cxn ang="0">
                  <a:pos x="41" y="19"/>
                </a:cxn>
                <a:cxn ang="0">
                  <a:pos x="53" y="22"/>
                </a:cxn>
                <a:cxn ang="0">
                  <a:pos x="84" y="24"/>
                </a:cxn>
                <a:cxn ang="0">
                  <a:pos x="82" y="10"/>
                </a:cxn>
                <a:cxn ang="0">
                  <a:pos x="99" y="5"/>
                </a:cxn>
                <a:cxn ang="0">
                  <a:pos x="116" y="13"/>
                </a:cxn>
                <a:cxn ang="0">
                  <a:pos x="131" y="24"/>
                </a:cxn>
                <a:cxn ang="0">
                  <a:pos x="152" y="25"/>
                </a:cxn>
                <a:cxn ang="0">
                  <a:pos x="170" y="35"/>
                </a:cxn>
                <a:cxn ang="0">
                  <a:pos x="195" y="33"/>
                </a:cxn>
                <a:cxn ang="0">
                  <a:pos x="214" y="24"/>
                </a:cxn>
                <a:cxn ang="0">
                  <a:pos x="230" y="28"/>
                </a:cxn>
              </a:cxnLst>
              <a:rect l="0" t="0" r="r" b="b"/>
              <a:pathLst>
                <a:path w="257" h="124">
                  <a:moveTo>
                    <a:pt x="230" y="28"/>
                  </a:moveTo>
                  <a:cubicBezTo>
                    <a:pt x="219" y="50"/>
                    <a:pt x="225" y="45"/>
                    <a:pt x="222" y="48"/>
                  </a:cubicBezTo>
                  <a:cubicBezTo>
                    <a:pt x="219" y="50"/>
                    <a:pt x="223" y="55"/>
                    <a:pt x="225" y="53"/>
                  </a:cubicBezTo>
                  <a:cubicBezTo>
                    <a:pt x="227" y="52"/>
                    <a:pt x="231" y="52"/>
                    <a:pt x="234" y="53"/>
                  </a:cubicBezTo>
                  <a:cubicBezTo>
                    <a:pt x="237" y="56"/>
                    <a:pt x="234" y="50"/>
                    <a:pt x="240" y="50"/>
                  </a:cubicBezTo>
                  <a:cubicBezTo>
                    <a:pt x="246" y="50"/>
                    <a:pt x="248" y="53"/>
                    <a:pt x="251" y="56"/>
                  </a:cubicBezTo>
                  <a:cubicBezTo>
                    <a:pt x="254" y="59"/>
                    <a:pt x="257" y="64"/>
                    <a:pt x="255" y="65"/>
                  </a:cubicBezTo>
                  <a:cubicBezTo>
                    <a:pt x="252" y="67"/>
                    <a:pt x="248" y="64"/>
                    <a:pt x="246" y="65"/>
                  </a:cubicBezTo>
                  <a:cubicBezTo>
                    <a:pt x="245" y="67"/>
                    <a:pt x="243" y="64"/>
                    <a:pt x="239" y="65"/>
                  </a:cubicBezTo>
                  <a:cubicBezTo>
                    <a:pt x="236" y="69"/>
                    <a:pt x="231" y="67"/>
                    <a:pt x="228" y="70"/>
                  </a:cubicBezTo>
                  <a:cubicBezTo>
                    <a:pt x="225" y="75"/>
                    <a:pt x="228" y="75"/>
                    <a:pt x="225" y="76"/>
                  </a:cubicBezTo>
                  <a:cubicBezTo>
                    <a:pt x="222" y="80"/>
                    <a:pt x="219" y="81"/>
                    <a:pt x="216" y="80"/>
                  </a:cubicBezTo>
                  <a:cubicBezTo>
                    <a:pt x="211" y="80"/>
                    <a:pt x="213" y="84"/>
                    <a:pt x="207" y="87"/>
                  </a:cubicBezTo>
                  <a:cubicBezTo>
                    <a:pt x="199" y="90"/>
                    <a:pt x="196" y="83"/>
                    <a:pt x="192" y="84"/>
                  </a:cubicBezTo>
                  <a:cubicBezTo>
                    <a:pt x="189" y="84"/>
                    <a:pt x="189" y="87"/>
                    <a:pt x="189" y="92"/>
                  </a:cubicBezTo>
                  <a:cubicBezTo>
                    <a:pt x="189" y="95"/>
                    <a:pt x="195" y="98"/>
                    <a:pt x="192" y="100"/>
                  </a:cubicBezTo>
                  <a:cubicBezTo>
                    <a:pt x="187" y="103"/>
                    <a:pt x="185" y="103"/>
                    <a:pt x="181" y="107"/>
                  </a:cubicBezTo>
                  <a:cubicBezTo>
                    <a:pt x="178" y="112"/>
                    <a:pt x="175" y="111"/>
                    <a:pt x="173" y="114"/>
                  </a:cubicBezTo>
                  <a:cubicBezTo>
                    <a:pt x="172" y="115"/>
                    <a:pt x="170" y="112"/>
                    <a:pt x="169" y="114"/>
                  </a:cubicBezTo>
                  <a:cubicBezTo>
                    <a:pt x="166" y="115"/>
                    <a:pt x="166" y="114"/>
                    <a:pt x="160" y="114"/>
                  </a:cubicBezTo>
                  <a:cubicBezTo>
                    <a:pt x="155" y="114"/>
                    <a:pt x="158" y="112"/>
                    <a:pt x="154" y="115"/>
                  </a:cubicBezTo>
                  <a:cubicBezTo>
                    <a:pt x="151" y="118"/>
                    <a:pt x="151" y="115"/>
                    <a:pt x="138" y="123"/>
                  </a:cubicBezTo>
                  <a:cubicBezTo>
                    <a:pt x="137" y="124"/>
                    <a:pt x="137" y="121"/>
                    <a:pt x="134" y="123"/>
                  </a:cubicBezTo>
                  <a:cubicBezTo>
                    <a:pt x="132" y="123"/>
                    <a:pt x="135" y="118"/>
                    <a:pt x="131" y="120"/>
                  </a:cubicBezTo>
                  <a:cubicBezTo>
                    <a:pt x="126" y="123"/>
                    <a:pt x="120" y="117"/>
                    <a:pt x="117" y="117"/>
                  </a:cubicBezTo>
                  <a:cubicBezTo>
                    <a:pt x="114" y="117"/>
                    <a:pt x="111" y="111"/>
                    <a:pt x="100" y="111"/>
                  </a:cubicBezTo>
                  <a:cubicBezTo>
                    <a:pt x="90" y="112"/>
                    <a:pt x="88" y="112"/>
                    <a:pt x="75" y="111"/>
                  </a:cubicBezTo>
                  <a:cubicBezTo>
                    <a:pt x="72" y="109"/>
                    <a:pt x="69" y="112"/>
                    <a:pt x="69" y="109"/>
                  </a:cubicBezTo>
                  <a:cubicBezTo>
                    <a:pt x="67" y="104"/>
                    <a:pt x="65" y="107"/>
                    <a:pt x="64" y="100"/>
                  </a:cubicBezTo>
                  <a:cubicBezTo>
                    <a:pt x="62" y="93"/>
                    <a:pt x="64" y="100"/>
                    <a:pt x="55" y="92"/>
                  </a:cubicBezTo>
                  <a:cubicBezTo>
                    <a:pt x="47" y="84"/>
                    <a:pt x="43" y="84"/>
                    <a:pt x="38" y="84"/>
                  </a:cubicBezTo>
                  <a:cubicBezTo>
                    <a:pt x="34" y="84"/>
                    <a:pt x="31" y="83"/>
                    <a:pt x="27" y="83"/>
                  </a:cubicBezTo>
                  <a:cubicBezTo>
                    <a:pt x="23" y="83"/>
                    <a:pt x="23" y="78"/>
                    <a:pt x="24" y="76"/>
                  </a:cubicBezTo>
                  <a:cubicBezTo>
                    <a:pt x="27" y="72"/>
                    <a:pt x="24" y="73"/>
                    <a:pt x="26" y="67"/>
                  </a:cubicBezTo>
                  <a:cubicBezTo>
                    <a:pt x="27" y="61"/>
                    <a:pt x="20" y="55"/>
                    <a:pt x="18" y="52"/>
                  </a:cubicBezTo>
                  <a:cubicBezTo>
                    <a:pt x="18" y="50"/>
                    <a:pt x="17" y="53"/>
                    <a:pt x="15" y="50"/>
                  </a:cubicBezTo>
                  <a:cubicBezTo>
                    <a:pt x="14" y="47"/>
                    <a:pt x="12" y="52"/>
                    <a:pt x="9" y="48"/>
                  </a:cubicBezTo>
                  <a:cubicBezTo>
                    <a:pt x="5" y="47"/>
                    <a:pt x="0" y="41"/>
                    <a:pt x="2" y="36"/>
                  </a:cubicBezTo>
                  <a:cubicBezTo>
                    <a:pt x="6" y="30"/>
                    <a:pt x="5" y="35"/>
                    <a:pt x="12" y="31"/>
                  </a:cubicBezTo>
                  <a:cubicBezTo>
                    <a:pt x="18" y="30"/>
                    <a:pt x="12" y="28"/>
                    <a:pt x="21" y="24"/>
                  </a:cubicBezTo>
                  <a:cubicBezTo>
                    <a:pt x="31" y="19"/>
                    <a:pt x="37" y="16"/>
                    <a:pt x="41" y="19"/>
                  </a:cubicBezTo>
                  <a:cubicBezTo>
                    <a:pt x="46" y="22"/>
                    <a:pt x="52" y="16"/>
                    <a:pt x="53" y="22"/>
                  </a:cubicBezTo>
                  <a:cubicBezTo>
                    <a:pt x="55" y="27"/>
                    <a:pt x="81" y="31"/>
                    <a:pt x="84" y="24"/>
                  </a:cubicBezTo>
                  <a:cubicBezTo>
                    <a:pt x="85" y="17"/>
                    <a:pt x="76" y="17"/>
                    <a:pt x="82" y="10"/>
                  </a:cubicBezTo>
                  <a:cubicBezTo>
                    <a:pt x="88" y="0"/>
                    <a:pt x="85" y="0"/>
                    <a:pt x="99" y="5"/>
                  </a:cubicBezTo>
                  <a:cubicBezTo>
                    <a:pt x="111" y="11"/>
                    <a:pt x="116" y="5"/>
                    <a:pt x="116" y="13"/>
                  </a:cubicBezTo>
                  <a:cubicBezTo>
                    <a:pt x="116" y="21"/>
                    <a:pt x="123" y="27"/>
                    <a:pt x="131" y="24"/>
                  </a:cubicBezTo>
                  <a:cubicBezTo>
                    <a:pt x="140" y="21"/>
                    <a:pt x="141" y="21"/>
                    <a:pt x="152" y="25"/>
                  </a:cubicBezTo>
                  <a:cubicBezTo>
                    <a:pt x="163" y="28"/>
                    <a:pt x="157" y="31"/>
                    <a:pt x="170" y="35"/>
                  </a:cubicBezTo>
                  <a:cubicBezTo>
                    <a:pt x="190" y="39"/>
                    <a:pt x="182" y="31"/>
                    <a:pt x="195" y="33"/>
                  </a:cubicBezTo>
                  <a:cubicBezTo>
                    <a:pt x="207" y="33"/>
                    <a:pt x="204" y="17"/>
                    <a:pt x="214" y="24"/>
                  </a:cubicBezTo>
                  <a:cubicBezTo>
                    <a:pt x="223" y="30"/>
                    <a:pt x="223" y="24"/>
                    <a:pt x="230" y="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>
              <a:off x="6762118" y="3371683"/>
              <a:ext cx="1528049" cy="1142400"/>
            </a:xfrm>
            <a:custGeom>
              <a:avLst/>
              <a:gdLst/>
              <a:ahLst/>
              <a:cxnLst>
                <a:cxn ang="0">
                  <a:pos x="441" y="136"/>
                </a:cxn>
                <a:cxn ang="0">
                  <a:pos x="427" y="142"/>
                </a:cxn>
                <a:cxn ang="0">
                  <a:pos x="414" y="150"/>
                </a:cxn>
                <a:cxn ang="0">
                  <a:pos x="398" y="160"/>
                </a:cxn>
                <a:cxn ang="0">
                  <a:pos x="383" y="171"/>
                </a:cxn>
                <a:cxn ang="0">
                  <a:pos x="382" y="160"/>
                </a:cxn>
                <a:cxn ang="0">
                  <a:pos x="376" y="151"/>
                </a:cxn>
                <a:cxn ang="0">
                  <a:pos x="351" y="168"/>
                </a:cxn>
                <a:cxn ang="0">
                  <a:pos x="365" y="190"/>
                </a:cxn>
                <a:cxn ang="0">
                  <a:pos x="383" y="187"/>
                </a:cxn>
                <a:cxn ang="0">
                  <a:pos x="385" y="193"/>
                </a:cxn>
                <a:cxn ang="0">
                  <a:pos x="371" y="204"/>
                </a:cxn>
                <a:cxn ang="0">
                  <a:pos x="379" y="240"/>
                </a:cxn>
                <a:cxn ang="0">
                  <a:pos x="371" y="246"/>
                </a:cxn>
                <a:cxn ang="0">
                  <a:pos x="383" y="257"/>
                </a:cxn>
                <a:cxn ang="0">
                  <a:pos x="386" y="268"/>
                </a:cxn>
                <a:cxn ang="0">
                  <a:pos x="380" y="285"/>
                </a:cxn>
                <a:cxn ang="0">
                  <a:pos x="368" y="300"/>
                </a:cxn>
                <a:cxn ang="0">
                  <a:pos x="365" y="313"/>
                </a:cxn>
                <a:cxn ang="0">
                  <a:pos x="357" y="322"/>
                </a:cxn>
                <a:cxn ang="0">
                  <a:pos x="345" y="333"/>
                </a:cxn>
                <a:cxn ang="0">
                  <a:pos x="335" y="342"/>
                </a:cxn>
                <a:cxn ang="0">
                  <a:pos x="325" y="345"/>
                </a:cxn>
                <a:cxn ang="0">
                  <a:pos x="316" y="347"/>
                </a:cxn>
                <a:cxn ang="0">
                  <a:pos x="303" y="353"/>
                </a:cxn>
                <a:cxn ang="0">
                  <a:pos x="290" y="364"/>
                </a:cxn>
                <a:cxn ang="0">
                  <a:pos x="287" y="353"/>
                </a:cxn>
                <a:cxn ang="0">
                  <a:pos x="277" y="353"/>
                </a:cxn>
                <a:cxn ang="0">
                  <a:pos x="265" y="342"/>
                </a:cxn>
                <a:cxn ang="0">
                  <a:pos x="245" y="341"/>
                </a:cxn>
                <a:cxn ang="0">
                  <a:pos x="233" y="341"/>
                </a:cxn>
                <a:cxn ang="0">
                  <a:pos x="220" y="353"/>
                </a:cxn>
                <a:cxn ang="0">
                  <a:pos x="205" y="345"/>
                </a:cxn>
                <a:cxn ang="0">
                  <a:pos x="195" y="328"/>
                </a:cxn>
                <a:cxn ang="0">
                  <a:pos x="201" y="310"/>
                </a:cxn>
                <a:cxn ang="0">
                  <a:pos x="190" y="285"/>
                </a:cxn>
                <a:cxn ang="0">
                  <a:pos x="176" y="274"/>
                </a:cxn>
                <a:cxn ang="0">
                  <a:pos x="144" y="289"/>
                </a:cxn>
                <a:cxn ang="0">
                  <a:pos x="126" y="289"/>
                </a:cxn>
                <a:cxn ang="0">
                  <a:pos x="105" y="286"/>
                </a:cxn>
                <a:cxn ang="0">
                  <a:pos x="93" y="280"/>
                </a:cxn>
                <a:cxn ang="0">
                  <a:pos x="67" y="261"/>
                </a:cxn>
                <a:cxn ang="0">
                  <a:pos x="41" y="241"/>
                </a:cxn>
                <a:cxn ang="0">
                  <a:pos x="47" y="223"/>
                </a:cxn>
                <a:cxn ang="0">
                  <a:pos x="45" y="202"/>
                </a:cxn>
                <a:cxn ang="0">
                  <a:pos x="21" y="196"/>
                </a:cxn>
                <a:cxn ang="0">
                  <a:pos x="12" y="179"/>
                </a:cxn>
                <a:cxn ang="0">
                  <a:pos x="7" y="157"/>
                </a:cxn>
                <a:cxn ang="0">
                  <a:pos x="39" y="143"/>
                </a:cxn>
                <a:cxn ang="0">
                  <a:pos x="56" y="106"/>
                </a:cxn>
                <a:cxn ang="0">
                  <a:pos x="76" y="78"/>
                </a:cxn>
                <a:cxn ang="0">
                  <a:pos x="111" y="55"/>
                </a:cxn>
                <a:cxn ang="0">
                  <a:pos x="140" y="84"/>
                </a:cxn>
                <a:cxn ang="0">
                  <a:pos x="178" y="117"/>
                </a:cxn>
                <a:cxn ang="0">
                  <a:pos x="245" y="137"/>
                </a:cxn>
                <a:cxn ang="0">
                  <a:pos x="283" y="131"/>
                </a:cxn>
                <a:cxn ang="0">
                  <a:pos x="306" y="101"/>
                </a:cxn>
                <a:cxn ang="0">
                  <a:pos x="353" y="83"/>
                </a:cxn>
                <a:cxn ang="0">
                  <a:pos x="348" y="70"/>
                </a:cxn>
                <a:cxn ang="0">
                  <a:pos x="373" y="24"/>
                </a:cxn>
                <a:cxn ang="0">
                  <a:pos x="441" y="50"/>
                </a:cxn>
                <a:cxn ang="0">
                  <a:pos x="481" y="64"/>
                </a:cxn>
                <a:cxn ang="0">
                  <a:pos x="458" y="123"/>
                </a:cxn>
              </a:cxnLst>
              <a:rect l="0" t="0" r="r" b="b"/>
              <a:pathLst>
                <a:path w="490" h="367">
                  <a:moveTo>
                    <a:pt x="453" y="131"/>
                  </a:moveTo>
                  <a:cubicBezTo>
                    <a:pt x="453" y="128"/>
                    <a:pt x="453" y="131"/>
                    <a:pt x="452" y="129"/>
                  </a:cubicBezTo>
                  <a:cubicBezTo>
                    <a:pt x="450" y="128"/>
                    <a:pt x="452" y="126"/>
                    <a:pt x="449" y="125"/>
                  </a:cubicBezTo>
                  <a:cubicBezTo>
                    <a:pt x="446" y="125"/>
                    <a:pt x="449" y="132"/>
                    <a:pt x="446" y="131"/>
                  </a:cubicBezTo>
                  <a:cubicBezTo>
                    <a:pt x="443" y="131"/>
                    <a:pt x="444" y="134"/>
                    <a:pt x="441" y="136"/>
                  </a:cubicBezTo>
                  <a:cubicBezTo>
                    <a:pt x="440" y="137"/>
                    <a:pt x="441" y="136"/>
                    <a:pt x="438" y="136"/>
                  </a:cubicBezTo>
                  <a:cubicBezTo>
                    <a:pt x="436" y="137"/>
                    <a:pt x="433" y="134"/>
                    <a:pt x="433" y="137"/>
                  </a:cubicBezTo>
                  <a:cubicBezTo>
                    <a:pt x="433" y="140"/>
                    <a:pt x="436" y="140"/>
                    <a:pt x="435" y="142"/>
                  </a:cubicBezTo>
                  <a:cubicBezTo>
                    <a:pt x="433" y="143"/>
                    <a:pt x="433" y="142"/>
                    <a:pt x="432" y="142"/>
                  </a:cubicBezTo>
                  <a:cubicBezTo>
                    <a:pt x="430" y="143"/>
                    <a:pt x="429" y="142"/>
                    <a:pt x="427" y="142"/>
                  </a:cubicBezTo>
                  <a:cubicBezTo>
                    <a:pt x="426" y="142"/>
                    <a:pt x="426" y="137"/>
                    <a:pt x="424" y="139"/>
                  </a:cubicBezTo>
                  <a:cubicBezTo>
                    <a:pt x="423" y="140"/>
                    <a:pt x="424" y="139"/>
                    <a:pt x="423" y="140"/>
                  </a:cubicBezTo>
                  <a:cubicBezTo>
                    <a:pt x="421" y="142"/>
                    <a:pt x="423" y="142"/>
                    <a:pt x="421" y="143"/>
                  </a:cubicBezTo>
                  <a:cubicBezTo>
                    <a:pt x="420" y="145"/>
                    <a:pt x="418" y="148"/>
                    <a:pt x="417" y="148"/>
                  </a:cubicBezTo>
                  <a:cubicBezTo>
                    <a:pt x="414" y="148"/>
                    <a:pt x="415" y="150"/>
                    <a:pt x="414" y="150"/>
                  </a:cubicBezTo>
                  <a:cubicBezTo>
                    <a:pt x="412" y="150"/>
                    <a:pt x="414" y="151"/>
                    <a:pt x="412" y="151"/>
                  </a:cubicBezTo>
                  <a:cubicBezTo>
                    <a:pt x="409" y="153"/>
                    <a:pt x="411" y="153"/>
                    <a:pt x="409" y="153"/>
                  </a:cubicBezTo>
                  <a:cubicBezTo>
                    <a:pt x="408" y="153"/>
                    <a:pt x="406" y="156"/>
                    <a:pt x="405" y="157"/>
                  </a:cubicBezTo>
                  <a:cubicBezTo>
                    <a:pt x="405" y="159"/>
                    <a:pt x="405" y="159"/>
                    <a:pt x="405" y="159"/>
                  </a:cubicBezTo>
                  <a:cubicBezTo>
                    <a:pt x="401" y="162"/>
                    <a:pt x="400" y="159"/>
                    <a:pt x="398" y="160"/>
                  </a:cubicBezTo>
                  <a:cubicBezTo>
                    <a:pt x="397" y="162"/>
                    <a:pt x="397" y="159"/>
                    <a:pt x="395" y="162"/>
                  </a:cubicBezTo>
                  <a:cubicBezTo>
                    <a:pt x="395" y="164"/>
                    <a:pt x="392" y="162"/>
                    <a:pt x="391" y="164"/>
                  </a:cubicBezTo>
                  <a:cubicBezTo>
                    <a:pt x="389" y="165"/>
                    <a:pt x="388" y="165"/>
                    <a:pt x="386" y="168"/>
                  </a:cubicBezTo>
                  <a:cubicBezTo>
                    <a:pt x="386" y="171"/>
                    <a:pt x="383" y="170"/>
                    <a:pt x="383" y="170"/>
                  </a:cubicBezTo>
                  <a:cubicBezTo>
                    <a:pt x="383" y="170"/>
                    <a:pt x="385" y="171"/>
                    <a:pt x="383" y="171"/>
                  </a:cubicBezTo>
                  <a:cubicBezTo>
                    <a:pt x="380" y="171"/>
                    <a:pt x="379" y="174"/>
                    <a:pt x="379" y="171"/>
                  </a:cubicBezTo>
                  <a:cubicBezTo>
                    <a:pt x="379" y="168"/>
                    <a:pt x="379" y="171"/>
                    <a:pt x="380" y="170"/>
                  </a:cubicBezTo>
                  <a:cubicBezTo>
                    <a:pt x="382" y="167"/>
                    <a:pt x="382" y="170"/>
                    <a:pt x="383" y="168"/>
                  </a:cubicBezTo>
                  <a:cubicBezTo>
                    <a:pt x="383" y="165"/>
                    <a:pt x="380" y="164"/>
                    <a:pt x="380" y="164"/>
                  </a:cubicBezTo>
                  <a:cubicBezTo>
                    <a:pt x="379" y="164"/>
                    <a:pt x="382" y="162"/>
                    <a:pt x="382" y="160"/>
                  </a:cubicBezTo>
                  <a:cubicBezTo>
                    <a:pt x="380" y="160"/>
                    <a:pt x="383" y="160"/>
                    <a:pt x="386" y="156"/>
                  </a:cubicBezTo>
                  <a:cubicBezTo>
                    <a:pt x="388" y="153"/>
                    <a:pt x="388" y="153"/>
                    <a:pt x="386" y="151"/>
                  </a:cubicBezTo>
                  <a:cubicBezTo>
                    <a:pt x="383" y="148"/>
                    <a:pt x="385" y="148"/>
                    <a:pt x="383" y="148"/>
                  </a:cubicBezTo>
                  <a:cubicBezTo>
                    <a:pt x="382" y="150"/>
                    <a:pt x="380" y="146"/>
                    <a:pt x="379" y="148"/>
                  </a:cubicBezTo>
                  <a:cubicBezTo>
                    <a:pt x="376" y="150"/>
                    <a:pt x="379" y="150"/>
                    <a:pt x="376" y="151"/>
                  </a:cubicBezTo>
                  <a:cubicBezTo>
                    <a:pt x="374" y="154"/>
                    <a:pt x="376" y="156"/>
                    <a:pt x="373" y="156"/>
                  </a:cubicBezTo>
                  <a:cubicBezTo>
                    <a:pt x="371" y="157"/>
                    <a:pt x="363" y="160"/>
                    <a:pt x="363" y="164"/>
                  </a:cubicBezTo>
                  <a:cubicBezTo>
                    <a:pt x="363" y="167"/>
                    <a:pt x="362" y="168"/>
                    <a:pt x="359" y="168"/>
                  </a:cubicBezTo>
                  <a:cubicBezTo>
                    <a:pt x="357" y="167"/>
                    <a:pt x="357" y="171"/>
                    <a:pt x="356" y="168"/>
                  </a:cubicBezTo>
                  <a:cubicBezTo>
                    <a:pt x="354" y="167"/>
                    <a:pt x="351" y="167"/>
                    <a:pt x="351" y="168"/>
                  </a:cubicBezTo>
                  <a:cubicBezTo>
                    <a:pt x="351" y="170"/>
                    <a:pt x="350" y="171"/>
                    <a:pt x="351" y="174"/>
                  </a:cubicBezTo>
                  <a:cubicBezTo>
                    <a:pt x="351" y="178"/>
                    <a:pt x="353" y="178"/>
                    <a:pt x="354" y="178"/>
                  </a:cubicBezTo>
                  <a:cubicBezTo>
                    <a:pt x="354" y="179"/>
                    <a:pt x="357" y="179"/>
                    <a:pt x="359" y="179"/>
                  </a:cubicBezTo>
                  <a:cubicBezTo>
                    <a:pt x="360" y="178"/>
                    <a:pt x="363" y="182"/>
                    <a:pt x="362" y="184"/>
                  </a:cubicBezTo>
                  <a:cubicBezTo>
                    <a:pt x="360" y="185"/>
                    <a:pt x="362" y="190"/>
                    <a:pt x="365" y="190"/>
                  </a:cubicBezTo>
                  <a:cubicBezTo>
                    <a:pt x="370" y="190"/>
                    <a:pt x="370" y="190"/>
                    <a:pt x="370" y="188"/>
                  </a:cubicBezTo>
                  <a:cubicBezTo>
                    <a:pt x="368" y="187"/>
                    <a:pt x="371" y="187"/>
                    <a:pt x="373" y="185"/>
                  </a:cubicBezTo>
                  <a:cubicBezTo>
                    <a:pt x="373" y="182"/>
                    <a:pt x="377" y="182"/>
                    <a:pt x="379" y="184"/>
                  </a:cubicBezTo>
                  <a:cubicBezTo>
                    <a:pt x="379" y="184"/>
                    <a:pt x="379" y="185"/>
                    <a:pt x="380" y="185"/>
                  </a:cubicBezTo>
                  <a:cubicBezTo>
                    <a:pt x="382" y="184"/>
                    <a:pt x="380" y="185"/>
                    <a:pt x="383" y="187"/>
                  </a:cubicBezTo>
                  <a:cubicBezTo>
                    <a:pt x="388" y="187"/>
                    <a:pt x="385" y="184"/>
                    <a:pt x="388" y="185"/>
                  </a:cubicBezTo>
                  <a:cubicBezTo>
                    <a:pt x="388" y="187"/>
                    <a:pt x="392" y="187"/>
                    <a:pt x="391" y="188"/>
                  </a:cubicBezTo>
                  <a:cubicBezTo>
                    <a:pt x="388" y="192"/>
                    <a:pt x="392" y="192"/>
                    <a:pt x="389" y="193"/>
                  </a:cubicBezTo>
                  <a:cubicBezTo>
                    <a:pt x="386" y="195"/>
                    <a:pt x="388" y="192"/>
                    <a:pt x="386" y="192"/>
                  </a:cubicBezTo>
                  <a:cubicBezTo>
                    <a:pt x="385" y="193"/>
                    <a:pt x="386" y="190"/>
                    <a:pt x="385" y="193"/>
                  </a:cubicBezTo>
                  <a:cubicBezTo>
                    <a:pt x="382" y="195"/>
                    <a:pt x="382" y="193"/>
                    <a:pt x="380" y="195"/>
                  </a:cubicBezTo>
                  <a:cubicBezTo>
                    <a:pt x="377" y="196"/>
                    <a:pt x="377" y="198"/>
                    <a:pt x="377" y="198"/>
                  </a:cubicBezTo>
                  <a:cubicBezTo>
                    <a:pt x="376" y="198"/>
                    <a:pt x="376" y="201"/>
                    <a:pt x="374" y="201"/>
                  </a:cubicBezTo>
                  <a:cubicBezTo>
                    <a:pt x="371" y="202"/>
                    <a:pt x="373" y="199"/>
                    <a:pt x="371" y="199"/>
                  </a:cubicBezTo>
                  <a:cubicBezTo>
                    <a:pt x="370" y="201"/>
                    <a:pt x="373" y="202"/>
                    <a:pt x="371" y="204"/>
                  </a:cubicBezTo>
                  <a:cubicBezTo>
                    <a:pt x="370" y="204"/>
                    <a:pt x="371" y="206"/>
                    <a:pt x="368" y="206"/>
                  </a:cubicBezTo>
                  <a:cubicBezTo>
                    <a:pt x="366" y="207"/>
                    <a:pt x="360" y="216"/>
                    <a:pt x="363" y="215"/>
                  </a:cubicBezTo>
                  <a:cubicBezTo>
                    <a:pt x="368" y="215"/>
                    <a:pt x="365" y="218"/>
                    <a:pt x="370" y="220"/>
                  </a:cubicBezTo>
                  <a:cubicBezTo>
                    <a:pt x="374" y="221"/>
                    <a:pt x="373" y="227"/>
                    <a:pt x="376" y="232"/>
                  </a:cubicBezTo>
                  <a:cubicBezTo>
                    <a:pt x="379" y="237"/>
                    <a:pt x="376" y="237"/>
                    <a:pt x="379" y="240"/>
                  </a:cubicBezTo>
                  <a:cubicBezTo>
                    <a:pt x="382" y="241"/>
                    <a:pt x="380" y="241"/>
                    <a:pt x="382" y="244"/>
                  </a:cubicBezTo>
                  <a:cubicBezTo>
                    <a:pt x="385" y="246"/>
                    <a:pt x="386" y="249"/>
                    <a:pt x="383" y="247"/>
                  </a:cubicBezTo>
                  <a:cubicBezTo>
                    <a:pt x="379" y="246"/>
                    <a:pt x="379" y="247"/>
                    <a:pt x="377" y="246"/>
                  </a:cubicBezTo>
                  <a:cubicBezTo>
                    <a:pt x="376" y="246"/>
                    <a:pt x="377" y="244"/>
                    <a:pt x="376" y="244"/>
                  </a:cubicBezTo>
                  <a:cubicBezTo>
                    <a:pt x="374" y="243"/>
                    <a:pt x="373" y="246"/>
                    <a:pt x="371" y="246"/>
                  </a:cubicBezTo>
                  <a:cubicBezTo>
                    <a:pt x="370" y="244"/>
                    <a:pt x="368" y="240"/>
                    <a:pt x="368" y="241"/>
                  </a:cubicBezTo>
                  <a:cubicBezTo>
                    <a:pt x="366" y="243"/>
                    <a:pt x="371" y="247"/>
                    <a:pt x="374" y="244"/>
                  </a:cubicBezTo>
                  <a:cubicBezTo>
                    <a:pt x="374" y="244"/>
                    <a:pt x="377" y="246"/>
                    <a:pt x="376" y="246"/>
                  </a:cubicBezTo>
                  <a:cubicBezTo>
                    <a:pt x="376" y="247"/>
                    <a:pt x="377" y="247"/>
                    <a:pt x="380" y="251"/>
                  </a:cubicBezTo>
                  <a:cubicBezTo>
                    <a:pt x="383" y="254"/>
                    <a:pt x="386" y="257"/>
                    <a:pt x="383" y="257"/>
                  </a:cubicBezTo>
                  <a:cubicBezTo>
                    <a:pt x="382" y="257"/>
                    <a:pt x="377" y="260"/>
                    <a:pt x="377" y="261"/>
                  </a:cubicBezTo>
                  <a:cubicBezTo>
                    <a:pt x="377" y="263"/>
                    <a:pt x="374" y="260"/>
                    <a:pt x="373" y="263"/>
                  </a:cubicBezTo>
                  <a:cubicBezTo>
                    <a:pt x="373" y="265"/>
                    <a:pt x="374" y="261"/>
                    <a:pt x="374" y="263"/>
                  </a:cubicBezTo>
                  <a:cubicBezTo>
                    <a:pt x="376" y="268"/>
                    <a:pt x="379" y="260"/>
                    <a:pt x="382" y="265"/>
                  </a:cubicBezTo>
                  <a:cubicBezTo>
                    <a:pt x="385" y="268"/>
                    <a:pt x="388" y="266"/>
                    <a:pt x="386" y="268"/>
                  </a:cubicBezTo>
                  <a:cubicBezTo>
                    <a:pt x="382" y="271"/>
                    <a:pt x="385" y="268"/>
                    <a:pt x="385" y="272"/>
                  </a:cubicBezTo>
                  <a:cubicBezTo>
                    <a:pt x="386" y="277"/>
                    <a:pt x="380" y="274"/>
                    <a:pt x="383" y="275"/>
                  </a:cubicBezTo>
                  <a:cubicBezTo>
                    <a:pt x="385" y="277"/>
                    <a:pt x="382" y="277"/>
                    <a:pt x="383" y="279"/>
                  </a:cubicBezTo>
                  <a:cubicBezTo>
                    <a:pt x="383" y="280"/>
                    <a:pt x="380" y="279"/>
                    <a:pt x="382" y="282"/>
                  </a:cubicBezTo>
                  <a:cubicBezTo>
                    <a:pt x="383" y="285"/>
                    <a:pt x="382" y="283"/>
                    <a:pt x="380" y="285"/>
                  </a:cubicBezTo>
                  <a:cubicBezTo>
                    <a:pt x="380" y="286"/>
                    <a:pt x="380" y="280"/>
                    <a:pt x="379" y="285"/>
                  </a:cubicBezTo>
                  <a:cubicBezTo>
                    <a:pt x="377" y="289"/>
                    <a:pt x="374" y="289"/>
                    <a:pt x="374" y="291"/>
                  </a:cubicBezTo>
                  <a:cubicBezTo>
                    <a:pt x="376" y="293"/>
                    <a:pt x="373" y="297"/>
                    <a:pt x="371" y="299"/>
                  </a:cubicBezTo>
                  <a:cubicBezTo>
                    <a:pt x="370" y="299"/>
                    <a:pt x="373" y="300"/>
                    <a:pt x="370" y="302"/>
                  </a:cubicBezTo>
                  <a:cubicBezTo>
                    <a:pt x="368" y="302"/>
                    <a:pt x="370" y="299"/>
                    <a:pt x="368" y="300"/>
                  </a:cubicBezTo>
                  <a:cubicBezTo>
                    <a:pt x="365" y="300"/>
                    <a:pt x="368" y="300"/>
                    <a:pt x="368" y="302"/>
                  </a:cubicBezTo>
                  <a:cubicBezTo>
                    <a:pt x="370" y="305"/>
                    <a:pt x="371" y="303"/>
                    <a:pt x="368" y="303"/>
                  </a:cubicBezTo>
                  <a:cubicBezTo>
                    <a:pt x="366" y="305"/>
                    <a:pt x="365" y="308"/>
                    <a:pt x="366" y="307"/>
                  </a:cubicBezTo>
                  <a:cubicBezTo>
                    <a:pt x="370" y="307"/>
                    <a:pt x="365" y="310"/>
                    <a:pt x="366" y="313"/>
                  </a:cubicBezTo>
                  <a:cubicBezTo>
                    <a:pt x="368" y="314"/>
                    <a:pt x="366" y="316"/>
                    <a:pt x="365" y="313"/>
                  </a:cubicBezTo>
                  <a:cubicBezTo>
                    <a:pt x="363" y="311"/>
                    <a:pt x="362" y="313"/>
                    <a:pt x="363" y="314"/>
                  </a:cubicBezTo>
                  <a:cubicBezTo>
                    <a:pt x="363" y="314"/>
                    <a:pt x="366" y="314"/>
                    <a:pt x="363" y="316"/>
                  </a:cubicBezTo>
                  <a:cubicBezTo>
                    <a:pt x="362" y="317"/>
                    <a:pt x="362" y="314"/>
                    <a:pt x="360" y="316"/>
                  </a:cubicBezTo>
                  <a:cubicBezTo>
                    <a:pt x="360" y="317"/>
                    <a:pt x="363" y="317"/>
                    <a:pt x="362" y="319"/>
                  </a:cubicBezTo>
                  <a:cubicBezTo>
                    <a:pt x="359" y="320"/>
                    <a:pt x="359" y="324"/>
                    <a:pt x="357" y="322"/>
                  </a:cubicBezTo>
                  <a:cubicBezTo>
                    <a:pt x="356" y="320"/>
                    <a:pt x="356" y="324"/>
                    <a:pt x="356" y="322"/>
                  </a:cubicBezTo>
                  <a:cubicBezTo>
                    <a:pt x="354" y="320"/>
                    <a:pt x="354" y="324"/>
                    <a:pt x="354" y="324"/>
                  </a:cubicBezTo>
                  <a:cubicBezTo>
                    <a:pt x="356" y="325"/>
                    <a:pt x="353" y="328"/>
                    <a:pt x="351" y="330"/>
                  </a:cubicBezTo>
                  <a:cubicBezTo>
                    <a:pt x="350" y="331"/>
                    <a:pt x="351" y="328"/>
                    <a:pt x="348" y="330"/>
                  </a:cubicBezTo>
                  <a:cubicBezTo>
                    <a:pt x="347" y="333"/>
                    <a:pt x="347" y="330"/>
                    <a:pt x="345" y="333"/>
                  </a:cubicBezTo>
                  <a:cubicBezTo>
                    <a:pt x="344" y="335"/>
                    <a:pt x="342" y="335"/>
                    <a:pt x="344" y="335"/>
                  </a:cubicBezTo>
                  <a:cubicBezTo>
                    <a:pt x="345" y="336"/>
                    <a:pt x="342" y="336"/>
                    <a:pt x="342" y="338"/>
                  </a:cubicBezTo>
                  <a:cubicBezTo>
                    <a:pt x="342" y="339"/>
                    <a:pt x="341" y="339"/>
                    <a:pt x="338" y="341"/>
                  </a:cubicBezTo>
                  <a:cubicBezTo>
                    <a:pt x="336" y="342"/>
                    <a:pt x="336" y="339"/>
                    <a:pt x="335" y="339"/>
                  </a:cubicBezTo>
                  <a:cubicBezTo>
                    <a:pt x="335" y="339"/>
                    <a:pt x="336" y="342"/>
                    <a:pt x="335" y="342"/>
                  </a:cubicBezTo>
                  <a:cubicBezTo>
                    <a:pt x="333" y="341"/>
                    <a:pt x="331" y="339"/>
                    <a:pt x="330" y="342"/>
                  </a:cubicBezTo>
                  <a:cubicBezTo>
                    <a:pt x="328" y="344"/>
                    <a:pt x="328" y="339"/>
                    <a:pt x="327" y="341"/>
                  </a:cubicBezTo>
                  <a:cubicBezTo>
                    <a:pt x="325" y="341"/>
                    <a:pt x="328" y="342"/>
                    <a:pt x="327" y="344"/>
                  </a:cubicBezTo>
                  <a:cubicBezTo>
                    <a:pt x="325" y="344"/>
                    <a:pt x="325" y="341"/>
                    <a:pt x="325" y="342"/>
                  </a:cubicBezTo>
                  <a:cubicBezTo>
                    <a:pt x="324" y="344"/>
                    <a:pt x="325" y="344"/>
                    <a:pt x="325" y="345"/>
                  </a:cubicBezTo>
                  <a:cubicBezTo>
                    <a:pt x="324" y="345"/>
                    <a:pt x="324" y="345"/>
                    <a:pt x="322" y="345"/>
                  </a:cubicBezTo>
                  <a:cubicBezTo>
                    <a:pt x="321" y="344"/>
                    <a:pt x="322" y="344"/>
                    <a:pt x="321" y="342"/>
                  </a:cubicBezTo>
                  <a:cubicBezTo>
                    <a:pt x="319" y="341"/>
                    <a:pt x="319" y="338"/>
                    <a:pt x="318" y="339"/>
                  </a:cubicBezTo>
                  <a:cubicBezTo>
                    <a:pt x="318" y="339"/>
                    <a:pt x="319" y="344"/>
                    <a:pt x="319" y="345"/>
                  </a:cubicBezTo>
                  <a:cubicBezTo>
                    <a:pt x="318" y="348"/>
                    <a:pt x="318" y="345"/>
                    <a:pt x="316" y="347"/>
                  </a:cubicBezTo>
                  <a:cubicBezTo>
                    <a:pt x="316" y="348"/>
                    <a:pt x="315" y="345"/>
                    <a:pt x="315" y="348"/>
                  </a:cubicBezTo>
                  <a:cubicBezTo>
                    <a:pt x="315" y="352"/>
                    <a:pt x="313" y="347"/>
                    <a:pt x="312" y="350"/>
                  </a:cubicBezTo>
                  <a:cubicBezTo>
                    <a:pt x="310" y="352"/>
                    <a:pt x="310" y="348"/>
                    <a:pt x="309" y="350"/>
                  </a:cubicBezTo>
                  <a:cubicBezTo>
                    <a:pt x="307" y="353"/>
                    <a:pt x="309" y="352"/>
                    <a:pt x="307" y="350"/>
                  </a:cubicBezTo>
                  <a:cubicBezTo>
                    <a:pt x="304" y="350"/>
                    <a:pt x="307" y="352"/>
                    <a:pt x="303" y="353"/>
                  </a:cubicBezTo>
                  <a:cubicBezTo>
                    <a:pt x="298" y="355"/>
                    <a:pt x="300" y="353"/>
                    <a:pt x="296" y="355"/>
                  </a:cubicBezTo>
                  <a:cubicBezTo>
                    <a:pt x="293" y="356"/>
                    <a:pt x="292" y="358"/>
                    <a:pt x="292" y="359"/>
                  </a:cubicBezTo>
                  <a:cubicBezTo>
                    <a:pt x="292" y="361"/>
                    <a:pt x="293" y="358"/>
                    <a:pt x="293" y="361"/>
                  </a:cubicBezTo>
                  <a:cubicBezTo>
                    <a:pt x="293" y="364"/>
                    <a:pt x="296" y="364"/>
                    <a:pt x="292" y="366"/>
                  </a:cubicBezTo>
                  <a:cubicBezTo>
                    <a:pt x="289" y="367"/>
                    <a:pt x="290" y="366"/>
                    <a:pt x="290" y="364"/>
                  </a:cubicBezTo>
                  <a:cubicBezTo>
                    <a:pt x="289" y="363"/>
                    <a:pt x="287" y="363"/>
                    <a:pt x="289" y="361"/>
                  </a:cubicBezTo>
                  <a:cubicBezTo>
                    <a:pt x="289" y="359"/>
                    <a:pt x="287" y="361"/>
                    <a:pt x="287" y="358"/>
                  </a:cubicBezTo>
                  <a:cubicBezTo>
                    <a:pt x="289" y="355"/>
                    <a:pt x="290" y="355"/>
                    <a:pt x="289" y="353"/>
                  </a:cubicBezTo>
                  <a:cubicBezTo>
                    <a:pt x="289" y="353"/>
                    <a:pt x="289" y="355"/>
                    <a:pt x="287" y="353"/>
                  </a:cubicBezTo>
                  <a:cubicBezTo>
                    <a:pt x="286" y="350"/>
                    <a:pt x="286" y="352"/>
                    <a:pt x="287" y="353"/>
                  </a:cubicBezTo>
                  <a:cubicBezTo>
                    <a:pt x="287" y="355"/>
                    <a:pt x="286" y="353"/>
                    <a:pt x="284" y="355"/>
                  </a:cubicBezTo>
                  <a:cubicBezTo>
                    <a:pt x="281" y="355"/>
                    <a:pt x="286" y="352"/>
                    <a:pt x="283" y="352"/>
                  </a:cubicBezTo>
                  <a:cubicBezTo>
                    <a:pt x="280" y="352"/>
                    <a:pt x="280" y="348"/>
                    <a:pt x="278" y="350"/>
                  </a:cubicBezTo>
                  <a:cubicBezTo>
                    <a:pt x="278" y="352"/>
                    <a:pt x="280" y="352"/>
                    <a:pt x="278" y="353"/>
                  </a:cubicBezTo>
                  <a:cubicBezTo>
                    <a:pt x="278" y="353"/>
                    <a:pt x="277" y="350"/>
                    <a:pt x="277" y="353"/>
                  </a:cubicBezTo>
                  <a:cubicBezTo>
                    <a:pt x="277" y="355"/>
                    <a:pt x="275" y="353"/>
                    <a:pt x="275" y="353"/>
                  </a:cubicBezTo>
                  <a:cubicBezTo>
                    <a:pt x="272" y="352"/>
                    <a:pt x="271" y="353"/>
                    <a:pt x="269" y="352"/>
                  </a:cubicBezTo>
                  <a:cubicBezTo>
                    <a:pt x="269" y="350"/>
                    <a:pt x="268" y="352"/>
                    <a:pt x="268" y="350"/>
                  </a:cubicBezTo>
                  <a:cubicBezTo>
                    <a:pt x="266" y="347"/>
                    <a:pt x="265" y="348"/>
                    <a:pt x="265" y="347"/>
                  </a:cubicBezTo>
                  <a:cubicBezTo>
                    <a:pt x="265" y="344"/>
                    <a:pt x="262" y="345"/>
                    <a:pt x="265" y="342"/>
                  </a:cubicBezTo>
                  <a:cubicBezTo>
                    <a:pt x="266" y="339"/>
                    <a:pt x="265" y="339"/>
                    <a:pt x="263" y="339"/>
                  </a:cubicBezTo>
                  <a:cubicBezTo>
                    <a:pt x="260" y="341"/>
                    <a:pt x="262" y="338"/>
                    <a:pt x="258" y="339"/>
                  </a:cubicBezTo>
                  <a:cubicBezTo>
                    <a:pt x="255" y="339"/>
                    <a:pt x="254" y="333"/>
                    <a:pt x="252" y="335"/>
                  </a:cubicBezTo>
                  <a:cubicBezTo>
                    <a:pt x="251" y="338"/>
                    <a:pt x="249" y="336"/>
                    <a:pt x="249" y="338"/>
                  </a:cubicBezTo>
                  <a:cubicBezTo>
                    <a:pt x="251" y="339"/>
                    <a:pt x="246" y="342"/>
                    <a:pt x="245" y="341"/>
                  </a:cubicBezTo>
                  <a:cubicBezTo>
                    <a:pt x="245" y="339"/>
                    <a:pt x="243" y="339"/>
                    <a:pt x="243" y="342"/>
                  </a:cubicBezTo>
                  <a:cubicBezTo>
                    <a:pt x="243" y="345"/>
                    <a:pt x="242" y="342"/>
                    <a:pt x="240" y="341"/>
                  </a:cubicBezTo>
                  <a:cubicBezTo>
                    <a:pt x="240" y="341"/>
                    <a:pt x="240" y="342"/>
                    <a:pt x="239" y="341"/>
                  </a:cubicBezTo>
                  <a:cubicBezTo>
                    <a:pt x="237" y="338"/>
                    <a:pt x="237" y="344"/>
                    <a:pt x="236" y="344"/>
                  </a:cubicBezTo>
                  <a:cubicBezTo>
                    <a:pt x="234" y="344"/>
                    <a:pt x="236" y="342"/>
                    <a:pt x="233" y="341"/>
                  </a:cubicBezTo>
                  <a:cubicBezTo>
                    <a:pt x="230" y="339"/>
                    <a:pt x="231" y="344"/>
                    <a:pt x="228" y="344"/>
                  </a:cubicBezTo>
                  <a:cubicBezTo>
                    <a:pt x="227" y="344"/>
                    <a:pt x="222" y="344"/>
                    <a:pt x="225" y="348"/>
                  </a:cubicBezTo>
                  <a:cubicBezTo>
                    <a:pt x="227" y="355"/>
                    <a:pt x="225" y="353"/>
                    <a:pt x="225" y="355"/>
                  </a:cubicBezTo>
                  <a:cubicBezTo>
                    <a:pt x="227" y="356"/>
                    <a:pt x="225" y="358"/>
                    <a:pt x="225" y="356"/>
                  </a:cubicBezTo>
                  <a:cubicBezTo>
                    <a:pt x="223" y="355"/>
                    <a:pt x="222" y="359"/>
                    <a:pt x="220" y="353"/>
                  </a:cubicBezTo>
                  <a:cubicBezTo>
                    <a:pt x="220" y="352"/>
                    <a:pt x="220" y="348"/>
                    <a:pt x="217" y="352"/>
                  </a:cubicBezTo>
                  <a:cubicBezTo>
                    <a:pt x="214" y="356"/>
                    <a:pt x="214" y="353"/>
                    <a:pt x="213" y="353"/>
                  </a:cubicBezTo>
                  <a:cubicBezTo>
                    <a:pt x="211" y="355"/>
                    <a:pt x="213" y="352"/>
                    <a:pt x="211" y="352"/>
                  </a:cubicBezTo>
                  <a:cubicBezTo>
                    <a:pt x="210" y="350"/>
                    <a:pt x="211" y="348"/>
                    <a:pt x="210" y="347"/>
                  </a:cubicBezTo>
                  <a:cubicBezTo>
                    <a:pt x="208" y="347"/>
                    <a:pt x="204" y="348"/>
                    <a:pt x="205" y="345"/>
                  </a:cubicBezTo>
                  <a:cubicBezTo>
                    <a:pt x="207" y="341"/>
                    <a:pt x="205" y="342"/>
                    <a:pt x="205" y="339"/>
                  </a:cubicBezTo>
                  <a:cubicBezTo>
                    <a:pt x="207" y="338"/>
                    <a:pt x="210" y="338"/>
                    <a:pt x="205" y="338"/>
                  </a:cubicBezTo>
                  <a:cubicBezTo>
                    <a:pt x="201" y="338"/>
                    <a:pt x="202" y="335"/>
                    <a:pt x="201" y="331"/>
                  </a:cubicBezTo>
                  <a:cubicBezTo>
                    <a:pt x="199" y="328"/>
                    <a:pt x="204" y="325"/>
                    <a:pt x="201" y="327"/>
                  </a:cubicBezTo>
                  <a:cubicBezTo>
                    <a:pt x="199" y="328"/>
                    <a:pt x="198" y="325"/>
                    <a:pt x="195" y="328"/>
                  </a:cubicBezTo>
                  <a:cubicBezTo>
                    <a:pt x="192" y="330"/>
                    <a:pt x="192" y="328"/>
                    <a:pt x="193" y="327"/>
                  </a:cubicBezTo>
                  <a:cubicBezTo>
                    <a:pt x="195" y="325"/>
                    <a:pt x="188" y="322"/>
                    <a:pt x="193" y="320"/>
                  </a:cubicBezTo>
                  <a:cubicBezTo>
                    <a:pt x="195" y="319"/>
                    <a:pt x="192" y="316"/>
                    <a:pt x="195" y="314"/>
                  </a:cubicBezTo>
                  <a:cubicBezTo>
                    <a:pt x="198" y="314"/>
                    <a:pt x="196" y="311"/>
                    <a:pt x="198" y="311"/>
                  </a:cubicBezTo>
                  <a:cubicBezTo>
                    <a:pt x="199" y="313"/>
                    <a:pt x="198" y="310"/>
                    <a:pt x="201" y="310"/>
                  </a:cubicBezTo>
                  <a:cubicBezTo>
                    <a:pt x="202" y="310"/>
                    <a:pt x="199" y="307"/>
                    <a:pt x="201" y="302"/>
                  </a:cubicBezTo>
                  <a:cubicBezTo>
                    <a:pt x="202" y="297"/>
                    <a:pt x="199" y="296"/>
                    <a:pt x="201" y="294"/>
                  </a:cubicBezTo>
                  <a:cubicBezTo>
                    <a:pt x="202" y="293"/>
                    <a:pt x="201" y="289"/>
                    <a:pt x="199" y="291"/>
                  </a:cubicBezTo>
                  <a:cubicBezTo>
                    <a:pt x="196" y="293"/>
                    <a:pt x="199" y="286"/>
                    <a:pt x="195" y="283"/>
                  </a:cubicBezTo>
                  <a:cubicBezTo>
                    <a:pt x="190" y="279"/>
                    <a:pt x="192" y="283"/>
                    <a:pt x="190" y="285"/>
                  </a:cubicBezTo>
                  <a:cubicBezTo>
                    <a:pt x="188" y="283"/>
                    <a:pt x="188" y="282"/>
                    <a:pt x="184" y="283"/>
                  </a:cubicBezTo>
                  <a:cubicBezTo>
                    <a:pt x="178" y="283"/>
                    <a:pt x="185" y="282"/>
                    <a:pt x="184" y="277"/>
                  </a:cubicBezTo>
                  <a:cubicBezTo>
                    <a:pt x="184" y="274"/>
                    <a:pt x="179" y="279"/>
                    <a:pt x="182" y="275"/>
                  </a:cubicBezTo>
                  <a:cubicBezTo>
                    <a:pt x="184" y="272"/>
                    <a:pt x="182" y="275"/>
                    <a:pt x="181" y="272"/>
                  </a:cubicBezTo>
                  <a:cubicBezTo>
                    <a:pt x="181" y="271"/>
                    <a:pt x="176" y="272"/>
                    <a:pt x="176" y="274"/>
                  </a:cubicBezTo>
                  <a:cubicBezTo>
                    <a:pt x="175" y="275"/>
                    <a:pt x="173" y="275"/>
                    <a:pt x="170" y="274"/>
                  </a:cubicBezTo>
                  <a:cubicBezTo>
                    <a:pt x="169" y="272"/>
                    <a:pt x="167" y="274"/>
                    <a:pt x="164" y="277"/>
                  </a:cubicBezTo>
                  <a:cubicBezTo>
                    <a:pt x="161" y="280"/>
                    <a:pt x="158" y="279"/>
                    <a:pt x="157" y="282"/>
                  </a:cubicBezTo>
                  <a:cubicBezTo>
                    <a:pt x="157" y="285"/>
                    <a:pt x="153" y="283"/>
                    <a:pt x="153" y="286"/>
                  </a:cubicBezTo>
                  <a:cubicBezTo>
                    <a:pt x="153" y="288"/>
                    <a:pt x="150" y="289"/>
                    <a:pt x="144" y="289"/>
                  </a:cubicBezTo>
                  <a:cubicBezTo>
                    <a:pt x="146" y="286"/>
                    <a:pt x="144" y="286"/>
                    <a:pt x="143" y="286"/>
                  </a:cubicBezTo>
                  <a:cubicBezTo>
                    <a:pt x="141" y="285"/>
                    <a:pt x="141" y="288"/>
                    <a:pt x="140" y="286"/>
                  </a:cubicBezTo>
                  <a:cubicBezTo>
                    <a:pt x="138" y="285"/>
                    <a:pt x="134" y="286"/>
                    <a:pt x="135" y="285"/>
                  </a:cubicBezTo>
                  <a:cubicBezTo>
                    <a:pt x="137" y="283"/>
                    <a:pt x="131" y="282"/>
                    <a:pt x="129" y="286"/>
                  </a:cubicBezTo>
                  <a:cubicBezTo>
                    <a:pt x="128" y="289"/>
                    <a:pt x="126" y="286"/>
                    <a:pt x="126" y="289"/>
                  </a:cubicBezTo>
                  <a:cubicBezTo>
                    <a:pt x="125" y="293"/>
                    <a:pt x="125" y="291"/>
                    <a:pt x="123" y="294"/>
                  </a:cubicBezTo>
                  <a:cubicBezTo>
                    <a:pt x="122" y="289"/>
                    <a:pt x="128" y="282"/>
                    <a:pt x="117" y="288"/>
                  </a:cubicBezTo>
                  <a:cubicBezTo>
                    <a:pt x="117" y="288"/>
                    <a:pt x="115" y="288"/>
                    <a:pt x="114" y="288"/>
                  </a:cubicBezTo>
                  <a:cubicBezTo>
                    <a:pt x="114" y="289"/>
                    <a:pt x="114" y="288"/>
                    <a:pt x="111" y="288"/>
                  </a:cubicBezTo>
                  <a:cubicBezTo>
                    <a:pt x="109" y="289"/>
                    <a:pt x="106" y="283"/>
                    <a:pt x="105" y="286"/>
                  </a:cubicBezTo>
                  <a:cubicBezTo>
                    <a:pt x="105" y="288"/>
                    <a:pt x="103" y="288"/>
                    <a:pt x="102" y="286"/>
                  </a:cubicBezTo>
                  <a:cubicBezTo>
                    <a:pt x="100" y="283"/>
                    <a:pt x="102" y="288"/>
                    <a:pt x="100" y="288"/>
                  </a:cubicBezTo>
                  <a:cubicBezTo>
                    <a:pt x="99" y="288"/>
                    <a:pt x="99" y="283"/>
                    <a:pt x="97" y="283"/>
                  </a:cubicBezTo>
                  <a:cubicBezTo>
                    <a:pt x="94" y="283"/>
                    <a:pt x="93" y="285"/>
                    <a:pt x="94" y="282"/>
                  </a:cubicBezTo>
                  <a:cubicBezTo>
                    <a:pt x="94" y="280"/>
                    <a:pt x="94" y="280"/>
                    <a:pt x="93" y="280"/>
                  </a:cubicBezTo>
                  <a:cubicBezTo>
                    <a:pt x="91" y="282"/>
                    <a:pt x="87" y="279"/>
                    <a:pt x="87" y="275"/>
                  </a:cubicBezTo>
                  <a:cubicBezTo>
                    <a:pt x="87" y="272"/>
                    <a:pt x="85" y="274"/>
                    <a:pt x="82" y="274"/>
                  </a:cubicBezTo>
                  <a:cubicBezTo>
                    <a:pt x="80" y="275"/>
                    <a:pt x="79" y="269"/>
                    <a:pt x="77" y="269"/>
                  </a:cubicBezTo>
                  <a:cubicBezTo>
                    <a:pt x="74" y="269"/>
                    <a:pt x="74" y="266"/>
                    <a:pt x="71" y="266"/>
                  </a:cubicBezTo>
                  <a:cubicBezTo>
                    <a:pt x="68" y="265"/>
                    <a:pt x="73" y="263"/>
                    <a:pt x="67" y="261"/>
                  </a:cubicBezTo>
                  <a:cubicBezTo>
                    <a:pt x="62" y="260"/>
                    <a:pt x="64" y="269"/>
                    <a:pt x="61" y="263"/>
                  </a:cubicBezTo>
                  <a:cubicBezTo>
                    <a:pt x="61" y="261"/>
                    <a:pt x="56" y="260"/>
                    <a:pt x="53" y="257"/>
                  </a:cubicBezTo>
                  <a:cubicBezTo>
                    <a:pt x="50" y="254"/>
                    <a:pt x="50" y="258"/>
                    <a:pt x="47" y="252"/>
                  </a:cubicBezTo>
                  <a:cubicBezTo>
                    <a:pt x="45" y="249"/>
                    <a:pt x="42" y="255"/>
                    <a:pt x="42" y="251"/>
                  </a:cubicBezTo>
                  <a:cubicBezTo>
                    <a:pt x="44" y="246"/>
                    <a:pt x="42" y="243"/>
                    <a:pt x="41" y="241"/>
                  </a:cubicBezTo>
                  <a:cubicBezTo>
                    <a:pt x="39" y="238"/>
                    <a:pt x="42" y="238"/>
                    <a:pt x="44" y="240"/>
                  </a:cubicBezTo>
                  <a:cubicBezTo>
                    <a:pt x="45" y="243"/>
                    <a:pt x="45" y="240"/>
                    <a:pt x="47" y="240"/>
                  </a:cubicBezTo>
                  <a:cubicBezTo>
                    <a:pt x="52" y="238"/>
                    <a:pt x="47" y="235"/>
                    <a:pt x="48" y="234"/>
                  </a:cubicBezTo>
                  <a:cubicBezTo>
                    <a:pt x="48" y="232"/>
                    <a:pt x="42" y="232"/>
                    <a:pt x="44" y="227"/>
                  </a:cubicBezTo>
                  <a:cubicBezTo>
                    <a:pt x="45" y="226"/>
                    <a:pt x="41" y="224"/>
                    <a:pt x="47" y="223"/>
                  </a:cubicBezTo>
                  <a:cubicBezTo>
                    <a:pt x="52" y="223"/>
                    <a:pt x="47" y="221"/>
                    <a:pt x="53" y="216"/>
                  </a:cubicBezTo>
                  <a:cubicBezTo>
                    <a:pt x="56" y="213"/>
                    <a:pt x="53" y="213"/>
                    <a:pt x="55" y="210"/>
                  </a:cubicBezTo>
                  <a:cubicBezTo>
                    <a:pt x="58" y="207"/>
                    <a:pt x="55" y="206"/>
                    <a:pt x="55" y="207"/>
                  </a:cubicBezTo>
                  <a:cubicBezTo>
                    <a:pt x="53" y="210"/>
                    <a:pt x="53" y="206"/>
                    <a:pt x="52" y="207"/>
                  </a:cubicBezTo>
                  <a:cubicBezTo>
                    <a:pt x="50" y="207"/>
                    <a:pt x="52" y="202"/>
                    <a:pt x="45" y="202"/>
                  </a:cubicBezTo>
                  <a:cubicBezTo>
                    <a:pt x="39" y="204"/>
                    <a:pt x="41" y="206"/>
                    <a:pt x="36" y="207"/>
                  </a:cubicBezTo>
                  <a:cubicBezTo>
                    <a:pt x="35" y="207"/>
                    <a:pt x="35" y="207"/>
                    <a:pt x="35" y="207"/>
                  </a:cubicBezTo>
                  <a:cubicBezTo>
                    <a:pt x="32" y="207"/>
                    <a:pt x="27" y="206"/>
                    <a:pt x="26" y="204"/>
                  </a:cubicBezTo>
                  <a:cubicBezTo>
                    <a:pt x="26" y="202"/>
                    <a:pt x="24" y="206"/>
                    <a:pt x="21" y="202"/>
                  </a:cubicBezTo>
                  <a:cubicBezTo>
                    <a:pt x="20" y="199"/>
                    <a:pt x="23" y="201"/>
                    <a:pt x="21" y="196"/>
                  </a:cubicBezTo>
                  <a:cubicBezTo>
                    <a:pt x="18" y="192"/>
                    <a:pt x="17" y="196"/>
                    <a:pt x="17" y="193"/>
                  </a:cubicBezTo>
                  <a:cubicBezTo>
                    <a:pt x="15" y="190"/>
                    <a:pt x="12" y="193"/>
                    <a:pt x="9" y="190"/>
                  </a:cubicBezTo>
                  <a:cubicBezTo>
                    <a:pt x="7" y="190"/>
                    <a:pt x="7" y="188"/>
                    <a:pt x="10" y="188"/>
                  </a:cubicBezTo>
                  <a:cubicBezTo>
                    <a:pt x="13" y="188"/>
                    <a:pt x="15" y="187"/>
                    <a:pt x="13" y="185"/>
                  </a:cubicBezTo>
                  <a:cubicBezTo>
                    <a:pt x="10" y="184"/>
                    <a:pt x="13" y="181"/>
                    <a:pt x="12" y="179"/>
                  </a:cubicBezTo>
                  <a:cubicBezTo>
                    <a:pt x="10" y="178"/>
                    <a:pt x="12" y="176"/>
                    <a:pt x="12" y="174"/>
                  </a:cubicBezTo>
                  <a:cubicBezTo>
                    <a:pt x="10" y="173"/>
                    <a:pt x="6" y="171"/>
                    <a:pt x="6" y="174"/>
                  </a:cubicBezTo>
                  <a:cubicBezTo>
                    <a:pt x="6" y="176"/>
                    <a:pt x="3" y="173"/>
                    <a:pt x="4" y="170"/>
                  </a:cubicBezTo>
                  <a:cubicBezTo>
                    <a:pt x="4" y="168"/>
                    <a:pt x="1" y="168"/>
                    <a:pt x="3" y="165"/>
                  </a:cubicBezTo>
                  <a:cubicBezTo>
                    <a:pt x="9" y="164"/>
                    <a:pt x="0" y="159"/>
                    <a:pt x="7" y="157"/>
                  </a:cubicBezTo>
                  <a:cubicBezTo>
                    <a:pt x="13" y="156"/>
                    <a:pt x="10" y="153"/>
                    <a:pt x="13" y="153"/>
                  </a:cubicBezTo>
                  <a:cubicBezTo>
                    <a:pt x="18" y="154"/>
                    <a:pt x="17" y="148"/>
                    <a:pt x="18" y="153"/>
                  </a:cubicBezTo>
                  <a:cubicBezTo>
                    <a:pt x="20" y="157"/>
                    <a:pt x="21" y="153"/>
                    <a:pt x="23" y="154"/>
                  </a:cubicBezTo>
                  <a:cubicBezTo>
                    <a:pt x="26" y="156"/>
                    <a:pt x="26" y="153"/>
                    <a:pt x="27" y="148"/>
                  </a:cubicBezTo>
                  <a:cubicBezTo>
                    <a:pt x="29" y="145"/>
                    <a:pt x="38" y="150"/>
                    <a:pt x="39" y="143"/>
                  </a:cubicBezTo>
                  <a:cubicBezTo>
                    <a:pt x="41" y="140"/>
                    <a:pt x="48" y="139"/>
                    <a:pt x="52" y="137"/>
                  </a:cubicBezTo>
                  <a:cubicBezTo>
                    <a:pt x="53" y="136"/>
                    <a:pt x="53" y="137"/>
                    <a:pt x="56" y="134"/>
                  </a:cubicBezTo>
                  <a:cubicBezTo>
                    <a:pt x="56" y="132"/>
                    <a:pt x="53" y="128"/>
                    <a:pt x="56" y="126"/>
                  </a:cubicBezTo>
                  <a:cubicBezTo>
                    <a:pt x="59" y="126"/>
                    <a:pt x="55" y="125"/>
                    <a:pt x="58" y="123"/>
                  </a:cubicBezTo>
                  <a:cubicBezTo>
                    <a:pt x="62" y="122"/>
                    <a:pt x="55" y="109"/>
                    <a:pt x="56" y="106"/>
                  </a:cubicBezTo>
                  <a:cubicBezTo>
                    <a:pt x="58" y="103"/>
                    <a:pt x="47" y="103"/>
                    <a:pt x="55" y="101"/>
                  </a:cubicBezTo>
                  <a:cubicBezTo>
                    <a:pt x="59" y="100"/>
                    <a:pt x="65" y="98"/>
                    <a:pt x="67" y="98"/>
                  </a:cubicBezTo>
                  <a:cubicBezTo>
                    <a:pt x="70" y="100"/>
                    <a:pt x="73" y="101"/>
                    <a:pt x="74" y="98"/>
                  </a:cubicBezTo>
                  <a:cubicBezTo>
                    <a:pt x="74" y="95"/>
                    <a:pt x="70" y="97"/>
                    <a:pt x="71" y="94"/>
                  </a:cubicBezTo>
                  <a:cubicBezTo>
                    <a:pt x="74" y="91"/>
                    <a:pt x="76" y="81"/>
                    <a:pt x="76" y="78"/>
                  </a:cubicBezTo>
                  <a:cubicBezTo>
                    <a:pt x="77" y="73"/>
                    <a:pt x="82" y="80"/>
                    <a:pt x="87" y="80"/>
                  </a:cubicBezTo>
                  <a:cubicBezTo>
                    <a:pt x="91" y="78"/>
                    <a:pt x="90" y="81"/>
                    <a:pt x="93" y="80"/>
                  </a:cubicBezTo>
                  <a:cubicBezTo>
                    <a:pt x="97" y="78"/>
                    <a:pt x="99" y="76"/>
                    <a:pt x="97" y="73"/>
                  </a:cubicBezTo>
                  <a:cubicBezTo>
                    <a:pt x="96" y="70"/>
                    <a:pt x="94" y="64"/>
                    <a:pt x="103" y="61"/>
                  </a:cubicBezTo>
                  <a:cubicBezTo>
                    <a:pt x="111" y="59"/>
                    <a:pt x="102" y="53"/>
                    <a:pt x="111" y="55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4" y="58"/>
                    <a:pt x="118" y="64"/>
                    <a:pt x="123" y="66"/>
                  </a:cubicBezTo>
                  <a:cubicBezTo>
                    <a:pt x="126" y="69"/>
                    <a:pt x="128" y="64"/>
                    <a:pt x="129" y="67"/>
                  </a:cubicBezTo>
                  <a:cubicBezTo>
                    <a:pt x="131" y="70"/>
                    <a:pt x="132" y="67"/>
                    <a:pt x="132" y="69"/>
                  </a:cubicBezTo>
                  <a:cubicBezTo>
                    <a:pt x="134" y="72"/>
                    <a:pt x="141" y="78"/>
                    <a:pt x="140" y="84"/>
                  </a:cubicBezTo>
                  <a:cubicBezTo>
                    <a:pt x="138" y="91"/>
                    <a:pt x="141" y="89"/>
                    <a:pt x="138" y="94"/>
                  </a:cubicBezTo>
                  <a:cubicBezTo>
                    <a:pt x="137" y="95"/>
                    <a:pt x="137" y="100"/>
                    <a:pt x="141" y="100"/>
                  </a:cubicBezTo>
                  <a:cubicBezTo>
                    <a:pt x="144" y="100"/>
                    <a:pt x="147" y="101"/>
                    <a:pt x="152" y="101"/>
                  </a:cubicBezTo>
                  <a:cubicBezTo>
                    <a:pt x="157" y="101"/>
                    <a:pt x="161" y="101"/>
                    <a:pt x="169" y="109"/>
                  </a:cubicBezTo>
                  <a:cubicBezTo>
                    <a:pt x="178" y="117"/>
                    <a:pt x="176" y="111"/>
                    <a:pt x="178" y="117"/>
                  </a:cubicBezTo>
                  <a:cubicBezTo>
                    <a:pt x="179" y="125"/>
                    <a:pt x="181" y="122"/>
                    <a:pt x="182" y="126"/>
                  </a:cubicBezTo>
                  <a:cubicBezTo>
                    <a:pt x="182" y="129"/>
                    <a:pt x="185" y="126"/>
                    <a:pt x="188" y="128"/>
                  </a:cubicBezTo>
                  <a:cubicBezTo>
                    <a:pt x="202" y="129"/>
                    <a:pt x="204" y="129"/>
                    <a:pt x="214" y="128"/>
                  </a:cubicBezTo>
                  <a:cubicBezTo>
                    <a:pt x="225" y="128"/>
                    <a:pt x="228" y="134"/>
                    <a:pt x="231" y="134"/>
                  </a:cubicBezTo>
                  <a:cubicBezTo>
                    <a:pt x="234" y="134"/>
                    <a:pt x="240" y="140"/>
                    <a:pt x="245" y="137"/>
                  </a:cubicBezTo>
                  <a:cubicBezTo>
                    <a:pt x="249" y="136"/>
                    <a:pt x="246" y="140"/>
                    <a:pt x="248" y="140"/>
                  </a:cubicBezTo>
                  <a:cubicBezTo>
                    <a:pt x="251" y="139"/>
                    <a:pt x="251" y="142"/>
                    <a:pt x="252" y="140"/>
                  </a:cubicBezTo>
                  <a:cubicBezTo>
                    <a:pt x="265" y="132"/>
                    <a:pt x="265" y="136"/>
                    <a:pt x="268" y="132"/>
                  </a:cubicBezTo>
                  <a:cubicBezTo>
                    <a:pt x="272" y="129"/>
                    <a:pt x="269" y="131"/>
                    <a:pt x="274" y="131"/>
                  </a:cubicBezTo>
                  <a:cubicBezTo>
                    <a:pt x="280" y="131"/>
                    <a:pt x="280" y="132"/>
                    <a:pt x="283" y="131"/>
                  </a:cubicBezTo>
                  <a:cubicBezTo>
                    <a:pt x="284" y="129"/>
                    <a:pt x="286" y="132"/>
                    <a:pt x="287" y="131"/>
                  </a:cubicBezTo>
                  <a:cubicBezTo>
                    <a:pt x="289" y="128"/>
                    <a:pt x="292" y="129"/>
                    <a:pt x="295" y="125"/>
                  </a:cubicBezTo>
                  <a:cubicBezTo>
                    <a:pt x="300" y="120"/>
                    <a:pt x="301" y="120"/>
                    <a:pt x="306" y="117"/>
                  </a:cubicBezTo>
                  <a:cubicBezTo>
                    <a:pt x="309" y="115"/>
                    <a:pt x="303" y="112"/>
                    <a:pt x="303" y="109"/>
                  </a:cubicBezTo>
                  <a:cubicBezTo>
                    <a:pt x="303" y="104"/>
                    <a:pt x="303" y="101"/>
                    <a:pt x="306" y="101"/>
                  </a:cubicBezTo>
                  <a:cubicBezTo>
                    <a:pt x="310" y="100"/>
                    <a:pt x="313" y="108"/>
                    <a:pt x="321" y="104"/>
                  </a:cubicBezTo>
                  <a:cubicBezTo>
                    <a:pt x="327" y="101"/>
                    <a:pt x="325" y="97"/>
                    <a:pt x="330" y="97"/>
                  </a:cubicBezTo>
                  <a:cubicBezTo>
                    <a:pt x="333" y="98"/>
                    <a:pt x="336" y="97"/>
                    <a:pt x="339" y="94"/>
                  </a:cubicBezTo>
                  <a:cubicBezTo>
                    <a:pt x="342" y="92"/>
                    <a:pt x="339" y="92"/>
                    <a:pt x="342" y="87"/>
                  </a:cubicBezTo>
                  <a:cubicBezTo>
                    <a:pt x="345" y="84"/>
                    <a:pt x="350" y="86"/>
                    <a:pt x="353" y="83"/>
                  </a:cubicBezTo>
                  <a:cubicBezTo>
                    <a:pt x="357" y="81"/>
                    <a:pt x="359" y="84"/>
                    <a:pt x="360" y="83"/>
                  </a:cubicBezTo>
                  <a:cubicBezTo>
                    <a:pt x="362" y="81"/>
                    <a:pt x="366" y="84"/>
                    <a:pt x="370" y="83"/>
                  </a:cubicBezTo>
                  <a:cubicBezTo>
                    <a:pt x="371" y="81"/>
                    <a:pt x="368" y="76"/>
                    <a:pt x="365" y="73"/>
                  </a:cubicBezTo>
                  <a:cubicBezTo>
                    <a:pt x="362" y="70"/>
                    <a:pt x="360" y="67"/>
                    <a:pt x="354" y="67"/>
                  </a:cubicBezTo>
                  <a:cubicBezTo>
                    <a:pt x="348" y="67"/>
                    <a:pt x="351" y="73"/>
                    <a:pt x="348" y="70"/>
                  </a:cubicBezTo>
                  <a:cubicBezTo>
                    <a:pt x="345" y="69"/>
                    <a:pt x="341" y="69"/>
                    <a:pt x="339" y="70"/>
                  </a:cubicBezTo>
                  <a:cubicBezTo>
                    <a:pt x="338" y="72"/>
                    <a:pt x="333" y="67"/>
                    <a:pt x="336" y="66"/>
                  </a:cubicBezTo>
                  <a:cubicBezTo>
                    <a:pt x="339" y="63"/>
                    <a:pt x="333" y="67"/>
                    <a:pt x="344" y="46"/>
                  </a:cubicBezTo>
                  <a:cubicBezTo>
                    <a:pt x="351" y="50"/>
                    <a:pt x="354" y="50"/>
                    <a:pt x="360" y="44"/>
                  </a:cubicBezTo>
                  <a:cubicBezTo>
                    <a:pt x="366" y="38"/>
                    <a:pt x="365" y="33"/>
                    <a:pt x="373" y="24"/>
                  </a:cubicBezTo>
                  <a:cubicBezTo>
                    <a:pt x="379" y="16"/>
                    <a:pt x="376" y="13"/>
                    <a:pt x="371" y="13"/>
                  </a:cubicBezTo>
                  <a:cubicBezTo>
                    <a:pt x="366" y="13"/>
                    <a:pt x="373" y="3"/>
                    <a:pt x="388" y="2"/>
                  </a:cubicBezTo>
                  <a:cubicBezTo>
                    <a:pt x="401" y="0"/>
                    <a:pt x="406" y="5"/>
                    <a:pt x="411" y="5"/>
                  </a:cubicBezTo>
                  <a:cubicBezTo>
                    <a:pt x="415" y="5"/>
                    <a:pt x="424" y="18"/>
                    <a:pt x="427" y="33"/>
                  </a:cubicBezTo>
                  <a:cubicBezTo>
                    <a:pt x="429" y="50"/>
                    <a:pt x="432" y="49"/>
                    <a:pt x="441" y="50"/>
                  </a:cubicBezTo>
                  <a:cubicBezTo>
                    <a:pt x="450" y="52"/>
                    <a:pt x="447" y="56"/>
                    <a:pt x="452" y="56"/>
                  </a:cubicBezTo>
                  <a:cubicBezTo>
                    <a:pt x="456" y="58"/>
                    <a:pt x="452" y="61"/>
                    <a:pt x="455" y="63"/>
                  </a:cubicBezTo>
                  <a:cubicBezTo>
                    <a:pt x="458" y="64"/>
                    <a:pt x="452" y="66"/>
                    <a:pt x="456" y="69"/>
                  </a:cubicBezTo>
                  <a:cubicBezTo>
                    <a:pt x="461" y="73"/>
                    <a:pt x="467" y="72"/>
                    <a:pt x="471" y="67"/>
                  </a:cubicBezTo>
                  <a:cubicBezTo>
                    <a:pt x="476" y="64"/>
                    <a:pt x="476" y="69"/>
                    <a:pt x="481" y="64"/>
                  </a:cubicBezTo>
                  <a:cubicBezTo>
                    <a:pt x="485" y="59"/>
                    <a:pt x="490" y="67"/>
                    <a:pt x="485" y="73"/>
                  </a:cubicBezTo>
                  <a:cubicBezTo>
                    <a:pt x="481" y="81"/>
                    <a:pt x="478" y="104"/>
                    <a:pt x="471" y="101"/>
                  </a:cubicBezTo>
                  <a:cubicBezTo>
                    <a:pt x="465" y="98"/>
                    <a:pt x="464" y="97"/>
                    <a:pt x="462" y="100"/>
                  </a:cubicBezTo>
                  <a:cubicBezTo>
                    <a:pt x="461" y="104"/>
                    <a:pt x="455" y="100"/>
                    <a:pt x="458" y="106"/>
                  </a:cubicBezTo>
                  <a:cubicBezTo>
                    <a:pt x="459" y="112"/>
                    <a:pt x="461" y="119"/>
                    <a:pt x="458" y="123"/>
                  </a:cubicBezTo>
                  <a:cubicBezTo>
                    <a:pt x="456" y="129"/>
                    <a:pt x="455" y="123"/>
                    <a:pt x="453" y="129"/>
                  </a:cubicBezTo>
                  <a:cubicBezTo>
                    <a:pt x="453" y="131"/>
                    <a:pt x="453" y="131"/>
                    <a:pt x="453" y="13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11"/>
            <p:cNvSpPr>
              <a:spLocks noEditPoints="1"/>
            </p:cNvSpPr>
            <p:nvPr/>
          </p:nvSpPr>
          <p:spPr bwMode="auto">
            <a:xfrm>
              <a:off x="9059816" y="6215633"/>
              <a:ext cx="305289" cy="427396"/>
            </a:xfrm>
            <a:custGeom>
              <a:avLst/>
              <a:gdLst/>
              <a:ahLst/>
              <a:cxnLst>
                <a:cxn ang="0">
                  <a:pos x="47" y="68"/>
                </a:cxn>
                <a:cxn ang="0">
                  <a:pos x="53" y="68"/>
                </a:cxn>
                <a:cxn ang="0">
                  <a:pos x="53" y="70"/>
                </a:cxn>
                <a:cxn ang="0">
                  <a:pos x="56" y="74"/>
                </a:cxn>
                <a:cxn ang="0">
                  <a:pos x="62" y="76"/>
                </a:cxn>
                <a:cxn ang="0">
                  <a:pos x="62" y="82"/>
                </a:cxn>
                <a:cxn ang="0">
                  <a:pos x="53" y="95"/>
                </a:cxn>
                <a:cxn ang="0">
                  <a:pos x="53" y="101"/>
                </a:cxn>
                <a:cxn ang="0">
                  <a:pos x="51" y="104"/>
                </a:cxn>
                <a:cxn ang="0">
                  <a:pos x="39" y="113"/>
                </a:cxn>
                <a:cxn ang="0">
                  <a:pos x="36" y="126"/>
                </a:cxn>
                <a:cxn ang="0">
                  <a:pos x="30" y="132"/>
                </a:cxn>
                <a:cxn ang="0">
                  <a:pos x="18" y="135"/>
                </a:cxn>
                <a:cxn ang="0">
                  <a:pos x="13" y="132"/>
                </a:cxn>
                <a:cxn ang="0">
                  <a:pos x="9" y="130"/>
                </a:cxn>
                <a:cxn ang="0">
                  <a:pos x="1" y="129"/>
                </a:cxn>
                <a:cxn ang="0">
                  <a:pos x="4" y="124"/>
                </a:cxn>
                <a:cxn ang="0">
                  <a:pos x="9" y="115"/>
                </a:cxn>
                <a:cxn ang="0">
                  <a:pos x="19" y="105"/>
                </a:cxn>
                <a:cxn ang="0">
                  <a:pos x="24" y="101"/>
                </a:cxn>
                <a:cxn ang="0">
                  <a:pos x="35" y="95"/>
                </a:cxn>
                <a:cxn ang="0">
                  <a:pos x="44" y="79"/>
                </a:cxn>
                <a:cxn ang="0">
                  <a:pos x="47" y="68"/>
                </a:cxn>
                <a:cxn ang="0">
                  <a:pos x="74" y="78"/>
                </a:cxn>
                <a:cxn ang="0">
                  <a:pos x="85" y="56"/>
                </a:cxn>
                <a:cxn ang="0">
                  <a:pos x="91" y="53"/>
                </a:cxn>
                <a:cxn ang="0">
                  <a:pos x="94" y="47"/>
                </a:cxn>
                <a:cxn ang="0">
                  <a:pos x="97" y="37"/>
                </a:cxn>
                <a:cxn ang="0">
                  <a:pos x="91" y="36"/>
                </a:cxn>
                <a:cxn ang="0">
                  <a:pos x="80" y="36"/>
                </a:cxn>
                <a:cxn ang="0">
                  <a:pos x="74" y="23"/>
                </a:cxn>
                <a:cxn ang="0">
                  <a:pos x="74" y="28"/>
                </a:cxn>
                <a:cxn ang="0">
                  <a:pos x="68" y="22"/>
                </a:cxn>
                <a:cxn ang="0">
                  <a:pos x="65" y="16"/>
                </a:cxn>
                <a:cxn ang="0">
                  <a:pos x="63" y="9"/>
                </a:cxn>
                <a:cxn ang="0">
                  <a:pos x="57" y="5"/>
                </a:cxn>
                <a:cxn ang="0">
                  <a:pos x="51" y="0"/>
                </a:cxn>
                <a:cxn ang="0">
                  <a:pos x="53" y="5"/>
                </a:cxn>
                <a:cxn ang="0">
                  <a:pos x="56" y="9"/>
                </a:cxn>
                <a:cxn ang="0">
                  <a:pos x="62" y="20"/>
                </a:cxn>
                <a:cxn ang="0">
                  <a:pos x="63" y="23"/>
                </a:cxn>
                <a:cxn ang="0">
                  <a:pos x="66" y="31"/>
                </a:cxn>
                <a:cxn ang="0">
                  <a:pos x="66" y="43"/>
                </a:cxn>
                <a:cxn ang="0">
                  <a:pos x="59" y="53"/>
                </a:cxn>
                <a:cxn ang="0">
                  <a:pos x="68" y="60"/>
                </a:cxn>
                <a:cxn ang="0">
                  <a:pos x="68" y="73"/>
                </a:cxn>
                <a:cxn ang="0">
                  <a:pos x="68" y="76"/>
                </a:cxn>
                <a:cxn ang="0">
                  <a:pos x="74" y="78"/>
                </a:cxn>
              </a:cxnLst>
              <a:rect l="0" t="0" r="r" b="b"/>
              <a:pathLst>
                <a:path w="98" h="137">
                  <a:moveTo>
                    <a:pt x="47" y="68"/>
                  </a:moveTo>
                  <a:cubicBezTo>
                    <a:pt x="51" y="64"/>
                    <a:pt x="54" y="67"/>
                    <a:pt x="53" y="68"/>
                  </a:cubicBezTo>
                  <a:cubicBezTo>
                    <a:pt x="50" y="68"/>
                    <a:pt x="51" y="70"/>
                    <a:pt x="53" y="70"/>
                  </a:cubicBezTo>
                  <a:cubicBezTo>
                    <a:pt x="54" y="70"/>
                    <a:pt x="51" y="79"/>
                    <a:pt x="56" y="74"/>
                  </a:cubicBezTo>
                  <a:cubicBezTo>
                    <a:pt x="62" y="70"/>
                    <a:pt x="65" y="71"/>
                    <a:pt x="62" y="76"/>
                  </a:cubicBezTo>
                  <a:cubicBezTo>
                    <a:pt x="60" y="79"/>
                    <a:pt x="66" y="78"/>
                    <a:pt x="62" y="82"/>
                  </a:cubicBezTo>
                  <a:cubicBezTo>
                    <a:pt x="57" y="88"/>
                    <a:pt x="56" y="95"/>
                    <a:pt x="53" y="95"/>
                  </a:cubicBezTo>
                  <a:cubicBezTo>
                    <a:pt x="51" y="95"/>
                    <a:pt x="50" y="101"/>
                    <a:pt x="53" y="101"/>
                  </a:cubicBezTo>
                  <a:cubicBezTo>
                    <a:pt x="56" y="102"/>
                    <a:pt x="54" y="105"/>
                    <a:pt x="51" y="104"/>
                  </a:cubicBezTo>
                  <a:cubicBezTo>
                    <a:pt x="50" y="104"/>
                    <a:pt x="39" y="105"/>
                    <a:pt x="39" y="113"/>
                  </a:cubicBezTo>
                  <a:cubicBezTo>
                    <a:pt x="39" y="120"/>
                    <a:pt x="33" y="123"/>
                    <a:pt x="36" y="126"/>
                  </a:cubicBezTo>
                  <a:cubicBezTo>
                    <a:pt x="38" y="129"/>
                    <a:pt x="33" y="126"/>
                    <a:pt x="30" y="132"/>
                  </a:cubicBezTo>
                  <a:cubicBezTo>
                    <a:pt x="25" y="137"/>
                    <a:pt x="22" y="137"/>
                    <a:pt x="18" y="135"/>
                  </a:cubicBezTo>
                  <a:cubicBezTo>
                    <a:pt x="13" y="135"/>
                    <a:pt x="16" y="132"/>
                    <a:pt x="13" y="132"/>
                  </a:cubicBezTo>
                  <a:cubicBezTo>
                    <a:pt x="10" y="133"/>
                    <a:pt x="12" y="129"/>
                    <a:pt x="9" y="130"/>
                  </a:cubicBezTo>
                  <a:cubicBezTo>
                    <a:pt x="6" y="133"/>
                    <a:pt x="3" y="132"/>
                    <a:pt x="1" y="129"/>
                  </a:cubicBezTo>
                  <a:cubicBezTo>
                    <a:pt x="0" y="126"/>
                    <a:pt x="6" y="127"/>
                    <a:pt x="4" y="124"/>
                  </a:cubicBezTo>
                  <a:cubicBezTo>
                    <a:pt x="3" y="121"/>
                    <a:pt x="6" y="118"/>
                    <a:pt x="9" y="115"/>
                  </a:cubicBezTo>
                  <a:cubicBezTo>
                    <a:pt x="13" y="112"/>
                    <a:pt x="15" y="105"/>
                    <a:pt x="19" y="105"/>
                  </a:cubicBezTo>
                  <a:cubicBezTo>
                    <a:pt x="22" y="105"/>
                    <a:pt x="22" y="102"/>
                    <a:pt x="24" y="101"/>
                  </a:cubicBezTo>
                  <a:cubicBezTo>
                    <a:pt x="27" y="101"/>
                    <a:pt x="30" y="96"/>
                    <a:pt x="35" y="95"/>
                  </a:cubicBezTo>
                  <a:cubicBezTo>
                    <a:pt x="38" y="92"/>
                    <a:pt x="39" y="81"/>
                    <a:pt x="44" y="79"/>
                  </a:cubicBezTo>
                  <a:cubicBezTo>
                    <a:pt x="48" y="78"/>
                    <a:pt x="44" y="71"/>
                    <a:pt x="47" y="68"/>
                  </a:cubicBezTo>
                  <a:close/>
                  <a:moveTo>
                    <a:pt x="74" y="78"/>
                  </a:moveTo>
                  <a:cubicBezTo>
                    <a:pt x="76" y="76"/>
                    <a:pt x="88" y="59"/>
                    <a:pt x="85" y="56"/>
                  </a:cubicBezTo>
                  <a:cubicBezTo>
                    <a:pt x="83" y="54"/>
                    <a:pt x="86" y="48"/>
                    <a:pt x="91" y="53"/>
                  </a:cubicBezTo>
                  <a:cubicBezTo>
                    <a:pt x="95" y="56"/>
                    <a:pt x="89" y="47"/>
                    <a:pt x="94" y="47"/>
                  </a:cubicBezTo>
                  <a:cubicBezTo>
                    <a:pt x="97" y="45"/>
                    <a:pt x="95" y="39"/>
                    <a:pt x="97" y="37"/>
                  </a:cubicBezTo>
                  <a:cubicBezTo>
                    <a:pt x="98" y="34"/>
                    <a:pt x="92" y="33"/>
                    <a:pt x="91" y="36"/>
                  </a:cubicBezTo>
                  <a:cubicBezTo>
                    <a:pt x="89" y="40"/>
                    <a:pt x="85" y="39"/>
                    <a:pt x="80" y="36"/>
                  </a:cubicBezTo>
                  <a:cubicBezTo>
                    <a:pt x="76" y="33"/>
                    <a:pt x="77" y="26"/>
                    <a:pt x="74" y="23"/>
                  </a:cubicBezTo>
                  <a:cubicBezTo>
                    <a:pt x="71" y="19"/>
                    <a:pt x="71" y="23"/>
                    <a:pt x="74" y="28"/>
                  </a:cubicBezTo>
                  <a:cubicBezTo>
                    <a:pt x="76" y="33"/>
                    <a:pt x="66" y="26"/>
                    <a:pt x="68" y="22"/>
                  </a:cubicBezTo>
                  <a:cubicBezTo>
                    <a:pt x="68" y="19"/>
                    <a:pt x="65" y="19"/>
                    <a:pt x="65" y="16"/>
                  </a:cubicBezTo>
                  <a:cubicBezTo>
                    <a:pt x="65" y="12"/>
                    <a:pt x="65" y="12"/>
                    <a:pt x="63" y="9"/>
                  </a:cubicBezTo>
                  <a:cubicBezTo>
                    <a:pt x="62" y="6"/>
                    <a:pt x="60" y="6"/>
                    <a:pt x="57" y="5"/>
                  </a:cubicBezTo>
                  <a:cubicBezTo>
                    <a:pt x="54" y="5"/>
                    <a:pt x="56" y="0"/>
                    <a:pt x="51" y="0"/>
                  </a:cubicBezTo>
                  <a:cubicBezTo>
                    <a:pt x="48" y="0"/>
                    <a:pt x="50" y="0"/>
                    <a:pt x="53" y="5"/>
                  </a:cubicBezTo>
                  <a:cubicBezTo>
                    <a:pt x="56" y="8"/>
                    <a:pt x="53" y="6"/>
                    <a:pt x="56" y="9"/>
                  </a:cubicBezTo>
                  <a:cubicBezTo>
                    <a:pt x="57" y="14"/>
                    <a:pt x="60" y="23"/>
                    <a:pt x="62" y="20"/>
                  </a:cubicBezTo>
                  <a:cubicBezTo>
                    <a:pt x="63" y="17"/>
                    <a:pt x="65" y="25"/>
                    <a:pt x="63" y="23"/>
                  </a:cubicBezTo>
                  <a:cubicBezTo>
                    <a:pt x="62" y="22"/>
                    <a:pt x="62" y="23"/>
                    <a:pt x="66" y="31"/>
                  </a:cubicBezTo>
                  <a:cubicBezTo>
                    <a:pt x="70" y="39"/>
                    <a:pt x="66" y="39"/>
                    <a:pt x="66" y="43"/>
                  </a:cubicBezTo>
                  <a:cubicBezTo>
                    <a:pt x="66" y="50"/>
                    <a:pt x="60" y="50"/>
                    <a:pt x="59" y="53"/>
                  </a:cubicBezTo>
                  <a:cubicBezTo>
                    <a:pt x="59" y="56"/>
                    <a:pt x="65" y="59"/>
                    <a:pt x="68" y="60"/>
                  </a:cubicBezTo>
                  <a:cubicBezTo>
                    <a:pt x="73" y="62"/>
                    <a:pt x="70" y="71"/>
                    <a:pt x="68" y="73"/>
                  </a:cubicBezTo>
                  <a:cubicBezTo>
                    <a:pt x="66" y="74"/>
                    <a:pt x="63" y="74"/>
                    <a:pt x="68" y="76"/>
                  </a:cubicBezTo>
                  <a:cubicBezTo>
                    <a:pt x="71" y="76"/>
                    <a:pt x="70" y="81"/>
                    <a:pt x="74" y="7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13"/>
            <p:cNvSpPr>
              <a:spLocks/>
            </p:cNvSpPr>
            <p:nvPr/>
          </p:nvSpPr>
          <p:spPr bwMode="auto">
            <a:xfrm>
              <a:off x="6014965" y="5489382"/>
              <a:ext cx="186387" cy="443464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48" y="4"/>
                </a:cxn>
                <a:cxn ang="0">
                  <a:pos x="54" y="11"/>
                </a:cxn>
                <a:cxn ang="0">
                  <a:pos x="58" y="32"/>
                </a:cxn>
                <a:cxn ang="0">
                  <a:pos x="55" y="42"/>
                </a:cxn>
                <a:cxn ang="0">
                  <a:pos x="52" y="43"/>
                </a:cxn>
                <a:cxn ang="0">
                  <a:pos x="54" y="51"/>
                </a:cxn>
                <a:cxn ang="0">
                  <a:pos x="51" y="59"/>
                </a:cxn>
                <a:cxn ang="0">
                  <a:pos x="45" y="83"/>
                </a:cxn>
                <a:cxn ang="0">
                  <a:pos x="29" y="135"/>
                </a:cxn>
                <a:cxn ang="0">
                  <a:pos x="16" y="138"/>
                </a:cxn>
                <a:cxn ang="0">
                  <a:pos x="7" y="130"/>
                </a:cxn>
                <a:cxn ang="0">
                  <a:pos x="5" y="116"/>
                </a:cxn>
                <a:cxn ang="0">
                  <a:pos x="2" y="101"/>
                </a:cxn>
                <a:cxn ang="0">
                  <a:pos x="7" y="93"/>
                </a:cxn>
                <a:cxn ang="0">
                  <a:pos x="11" y="80"/>
                </a:cxn>
                <a:cxn ang="0">
                  <a:pos x="10" y="71"/>
                </a:cxn>
                <a:cxn ang="0">
                  <a:pos x="8" y="63"/>
                </a:cxn>
                <a:cxn ang="0">
                  <a:pos x="10" y="53"/>
                </a:cxn>
                <a:cxn ang="0">
                  <a:pos x="13" y="45"/>
                </a:cxn>
                <a:cxn ang="0">
                  <a:pos x="19" y="42"/>
                </a:cxn>
                <a:cxn ang="0">
                  <a:pos x="32" y="31"/>
                </a:cxn>
                <a:cxn ang="0">
                  <a:pos x="39" y="21"/>
                </a:cxn>
                <a:cxn ang="0">
                  <a:pos x="46" y="12"/>
                </a:cxn>
              </a:cxnLst>
              <a:rect l="0" t="0" r="r" b="b"/>
              <a:pathLst>
                <a:path w="60" h="142">
                  <a:moveTo>
                    <a:pt x="46" y="12"/>
                  </a:moveTo>
                  <a:cubicBezTo>
                    <a:pt x="46" y="6"/>
                    <a:pt x="46" y="8"/>
                    <a:pt x="48" y="4"/>
                  </a:cubicBezTo>
                  <a:cubicBezTo>
                    <a:pt x="51" y="0"/>
                    <a:pt x="51" y="9"/>
                    <a:pt x="54" y="11"/>
                  </a:cubicBezTo>
                  <a:cubicBezTo>
                    <a:pt x="57" y="12"/>
                    <a:pt x="57" y="29"/>
                    <a:pt x="58" y="32"/>
                  </a:cubicBezTo>
                  <a:cubicBezTo>
                    <a:pt x="60" y="37"/>
                    <a:pt x="57" y="45"/>
                    <a:pt x="55" y="42"/>
                  </a:cubicBezTo>
                  <a:cubicBezTo>
                    <a:pt x="52" y="34"/>
                    <a:pt x="51" y="39"/>
                    <a:pt x="52" y="43"/>
                  </a:cubicBezTo>
                  <a:cubicBezTo>
                    <a:pt x="55" y="46"/>
                    <a:pt x="52" y="46"/>
                    <a:pt x="54" y="51"/>
                  </a:cubicBezTo>
                  <a:cubicBezTo>
                    <a:pt x="54" y="54"/>
                    <a:pt x="49" y="51"/>
                    <a:pt x="51" y="59"/>
                  </a:cubicBezTo>
                  <a:cubicBezTo>
                    <a:pt x="52" y="66"/>
                    <a:pt x="49" y="68"/>
                    <a:pt x="45" y="83"/>
                  </a:cubicBezTo>
                  <a:cubicBezTo>
                    <a:pt x="40" y="105"/>
                    <a:pt x="34" y="135"/>
                    <a:pt x="29" y="135"/>
                  </a:cubicBezTo>
                  <a:cubicBezTo>
                    <a:pt x="26" y="135"/>
                    <a:pt x="19" y="142"/>
                    <a:pt x="16" y="138"/>
                  </a:cubicBezTo>
                  <a:cubicBezTo>
                    <a:pt x="13" y="135"/>
                    <a:pt x="10" y="138"/>
                    <a:pt x="7" y="130"/>
                  </a:cubicBezTo>
                  <a:cubicBezTo>
                    <a:pt x="2" y="121"/>
                    <a:pt x="7" y="119"/>
                    <a:pt x="5" y="116"/>
                  </a:cubicBezTo>
                  <a:cubicBezTo>
                    <a:pt x="2" y="111"/>
                    <a:pt x="0" y="110"/>
                    <a:pt x="2" y="101"/>
                  </a:cubicBezTo>
                  <a:cubicBezTo>
                    <a:pt x="3" y="93"/>
                    <a:pt x="5" y="99"/>
                    <a:pt x="7" y="93"/>
                  </a:cubicBezTo>
                  <a:cubicBezTo>
                    <a:pt x="8" y="88"/>
                    <a:pt x="13" y="87"/>
                    <a:pt x="11" y="80"/>
                  </a:cubicBezTo>
                  <a:cubicBezTo>
                    <a:pt x="10" y="74"/>
                    <a:pt x="8" y="74"/>
                    <a:pt x="10" y="71"/>
                  </a:cubicBezTo>
                  <a:cubicBezTo>
                    <a:pt x="10" y="68"/>
                    <a:pt x="7" y="68"/>
                    <a:pt x="8" y="63"/>
                  </a:cubicBezTo>
                  <a:cubicBezTo>
                    <a:pt x="10" y="57"/>
                    <a:pt x="5" y="60"/>
                    <a:pt x="10" y="53"/>
                  </a:cubicBezTo>
                  <a:cubicBezTo>
                    <a:pt x="13" y="45"/>
                    <a:pt x="8" y="43"/>
                    <a:pt x="13" y="45"/>
                  </a:cubicBezTo>
                  <a:cubicBezTo>
                    <a:pt x="17" y="45"/>
                    <a:pt x="14" y="42"/>
                    <a:pt x="19" y="42"/>
                  </a:cubicBezTo>
                  <a:cubicBezTo>
                    <a:pt x="29" y="40"/>
                    <a:pt x="26" y="37"/>
                    <a:pt x="32" y="31"/>
                  </a:cubicBezTo>
                  <a:cubicBezTo>
                    <a:pt x="39" y="25"/>
                    <a:pt x="40" y="25"/>
                    <a:pt x="39" y="21"/>
                  </a:cubicBezTo>
                  <a:cubicBezTo>
                    <a:pt x="36" y="17"/>
                    <a:pt x="45" y="23"/>
                    <a:pt x="46" y="1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41"/>
            <p:cNvSpPr>
              <a:spLocks/>
            </p:cNvSpPr>
            <p:nvPr/>
          </p:nvSpPr>
          <p:spPr bwMode="auto">
            <a:xfrm>
              <a:off x="6631970" y="4003136"/>
              <a:ext cx="729479" cy="901388"/>
            </a:xfrm>
            <a:custGeom>
              <a:avLst/>
              <a:gdLst/>
              <a:ahLst/>
              <a:cxnLst>
                <a:cxn ang="0">
                  <a:pos x="15" y="122"/>
                </a:cxn>
                <a:cxn ang="0">
                  <a:pos x="23" y="116"/>
                </a:cxn>
                <a:cxn ang="0">
                  <a:pos x="14" y="90"/>
                </a:cxn>
                <a:cxn ang="0">
                  <a:pos x="32" y="80"/>
                </a:cxn>
                <a:cxn ang="0">
                  <a:pos x="48" y="56"/>
                </a:cxn>
                <a:cxn ang="0">
                  <a:pos x="51" y="34"/>
                </a:cxn>
                <a:cxn ang="0">
                  <a:pos x="48" y="20"/>
                </a:cxn>
                <a:cxn ang="0">
                  <a:pos x="67" y="12"/>
                </a:cxn>
                <a:cxn ang="0">
                  <a:pos x="87" y="0"/>
                </a:cxn>
                <a:cxn ang="0">
                  <a:pos x="96" y="7"/>
                </a:cxn>
                <a:cxn ang="0">
                  <a:pos x="86" y="24"/>
                </a:cxn>
                <a:cxn ang="0">
                  <a:pos x="86" y="37"/>
                </a:cxn>
                <a:cxn ang="0">
                  <a:pos x="89" y="49"/>
                </a:cxn>
                <a:cxn ang="0">
                  <a:pos x="96" y="68"/>
                </a:cxn>
                <a:cxn ang="0">
                  <a:pos x="107" y="84"/>
                </a:cxn>
                <a:cxn ang="0">
                  <a:pos x="125" y="90"/>
                </a:cxn>
                <a:cxn ang="0">
                  <a:pos x="138" y="96"/>
                </a:cxn>
                <a:cxn ang="0">
                  <a:pos x="154" y="101"/>
                </a:cxn>
                <a:cxn ang="0">
                  <a:pos x="159" y="85"/>
                </a:cxn>
                <a:cxn ang="0">
                  <a:pos x="176" y="96"/>
                </a:cxn>
                <a:cxn ang="0">
                  <a:pos x="191" y="94"/>
                </a:cxn>
                <a:cxn ang="0">
                  <a:pos x="195" y="84"/>
                </a:cxn>
                <a:cxn ang="0">
                  <a:pos x="212" y="71"/>
                </a:cxn>
                <a:cxn ang="0">
                  <a:pos x="224" y="73"/>
                </a:cxn>
                <a:cxn ang="0">
                  <a:pos x="232" y="82"/>
                </a:cxn>
                <a:cxn ang="0">
                  <a:pos x="218" y="96"/>
                </a:cxn>
                <a:cxn ang="0">
                  <a:pos x="211" y="113"/>
                </a:cxn>
                <a:cxn ang="0">
                  <a:pos x="200" y="129"/>
                </a:cxn>
                <a:cxn ang="0">
                  <a:pos x="194" y="146"/>
                </a:cxn>
                <a:cxn ang="0">
                  <a:pos x="183" y="129"/>
                </a:cxn>
                <a:cxn ang="0">
                  <a:pos x="173" y="111"/>
                </a:cxn>
                <a:cxn ang="0">
                  <a:pos x="162" y="99"/>
                </a:cxn>
                <a:cxn ang="0">
                  <a:pos x="163" y="110"/>
                </a:cxn>
                <a:cxn ang="0">
                  <a:pos x="159" y="118"/>
                </a:cxn>
                <a:cxn ang="0">
                  <a:pos x="165" y="133"/>
                </a:cxn>
                <a:cxn ang="0">
                  <a:pos x="167" y="147"/>
                </a:cxn>
                <a:cxn ang="0">
                  <a:pos x="153" y="150"/>
                </a:cxn>
                <a:cxn ang="0">
                  <a:pos x="119" y="191"/>
                </a:cxn>
                <a:cxn ang="0">
                  <a:pos x="95" y="216"/>
                </a:cxn>
                <a:cxn ang="0">
                  <a:pos x="92" y="262"/>
                </a:cxn>
                <a:cxn ang="0">
                  <a:pos x="83" y="273"/>
                </a:cxn>
                <a:cxn ang="0">
                  <a:pos x="54" y="236"/>
                </a:cxn>
                <a:cxn ang="0">
                  <a:pos x="37" y="155"/>
                </a:cxn>
                <a:cxn ang="0">
                  <a:pos x="31" y="153"/>
                </a:cxn>
                <a:cxn ang="0">
                  <a:pos x="14" y="136"/>
                </a:cxn>
                <a:cxn ang="0">
                  <a:pos x="5" y="124"/>
                </a:cxn>
              </a:cxnLst>
              <a:rect l="0" t="0" r="r" b="b"/>
              <a:pathLst>
                <a:path w="234" h="289">
                  <a:moveTo>
                    <a:pt x="5" y="124"/>
                  </a:moveTo>
                  <a:cubicBezTo>
                    <a:pt x="5" y="121"/>
                    <a:pt x="8" y="122"/>
                    <a:pt x="9" y="122"/>
                  </a:cubicBezTo>
                  <a:cubicBezTo>
                    <a:pt x="14" y="121"/>
                    <a:pt x="14" y="125"/>
                    <a:pt x="15" y="122"/>
                  </a:cubicBezTo>
                  <a:cubicBezTo>
                    <a:pt x="17" y="121"/>
                    <a:pt x="19" y="119"/>
                    <a:pt x="20" y="122"/>
                  </a:cubicBezTo>
                  <a:cubicBezTo>
                    <a:pt x="20" y="124"/>
                    <a:pt x="25" y="121"/>
                    <a:pt x="23" y="121"/>
                  </a:cubicBezTo>
                  <a:cubicBezTo>
                    <a:pt x="22" y="119"/>
                    <a:pt x="25" y="118"/>
                    <a:pt x="23" y="116"/>
                  </a:cubicBezTo>
                  <a:cubicBezTo>
                    <a:pt x="17" y="108"/>
                    <a:pt x="23" y="108"/>
                    <a:pt x="19" y="107"/>
                  </a:cubicBezTo>
                  <a:cubicBezTo>
                    <a:pt x="12" y="107"/>
                    <a:pt x="20" y="99"/>
                    <a:pt x="14" y="97"/>
                  </a:cubicBezTo>
                  <a:cubicBezTo>
                    <a:pt x="8" y="97"/>
                    <a:pt x="11" y="93"/>
                    <a:pt x="14" y="90"/>
                  </a:cubicBezTo>
                  <a:cubicBezTo>
                    <a:pt x="17" y="87"/>
                    <a:pt x="17" y="80"/>
                    <a:pt x="20" y="85"/>
                  </a:cubicBezTo>
                  <a:cubicBezTo>
                    <a:pt x="22" y="88"/>
                    <a:pt x="23" y="85"/>
                    <a:pt x="29" y="85"/>
                  </a:cubicBezTo>
                  <a:cubicBezTo>
                    <a:pt x="32" y="85"/>
                    <a:pt x="29" y="82"/>
                    <a:pt x="32" y="80"/>
                  </a:cubicBezTo>
                  <a:cubicBezTo>
                    <a:pt x="34" y="79"/>
                    <a:pt x="32" y="76"/>
                    <a:pt x="37" y="74"/>
                  </a:cubicBezTo>
                  <a:cubicBezTo>
                    <a:pt x="41" y="73"/>
                    <a:pt x="38" y="65"/>
                    <a:pt x="44" y="62"/>
                  </a:cubicBezTo>
                  <a:cubicBezTo>
                    <a:pt x="51" y="60"/>
                    <a:pt x="44" y="62"/>
                    <a:pt x="48" y="56"/>
                  </a:cubicBezTo>
                  <a:cubicBezTo>
                    <a:pt x="55" y="45"/>
                    <a:pt x="46" y="45"/>
                    <a:pt x="54" y="41"/>
                  </a:cubicBezTo>
                  <a:cubicBezTo>
                    <a:pt x="60" y="38"/>
                    <a:pt x="58" y="38"/>
                    <a:pt x="54" y="37"/>
                  </a:cubicBezTo>
                  <a:cubicBezTo>
                    <a:pt x="51" y="37"/>
                    <a:pt x="55" y="32"/>
                    <a:pt x="51" y="34"/>
                  </a:cubicBezTo>
                  <a:cubicBezTo>
                    <a:pt x="49" y="34"/>
                    <a:pt x="51" y="32"/>
                    <a:pt x="48" y="31"/>
                  </a:cubicBezTo>
                  <a:cubicBezTo>
                    <a:pt x="44" y="28"/>
                    <a:pt x="51" y="28"/>
                    <a:pt x="48" y="24"/>
                  </a:cubicBezTo>
                  <a:cubicBezTo>
                    <a:pt x="43" y="21"/>
                    <a:pt x="54" y="21"/>
                    <a:pt x="48" y="20"/>
                  </a:cubicBezTo>
                  <a:cubicBezTo>
                    <a:pt x="43" y="20"/>
                    <a:pt x="49" y="20"/>
                    <a:pt x="46" y="17"/>
                  </a:cubicBezTo>
                  <a:cubicBezTo>
                    <a:pt x="43" y="15"/>
                    <a:pt x="48" y="10"/>
                    <a:pt x="57" y="15"/>
                  </a:cubicBezTo>
                  <a:cubicBezTo>
                    <a:pt x="63" y="17"/>
                    <a:pt x="64" y="12"/>
                    <a:pt x="67" y="12"/>
                  </a:cubicBezTo>
                  <a:cubicBezTo>
                    <a:pt x="72" y="14"/>
                    <a:pt x="69" y="9"/>
                    <a:pt x="76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83" y="3"/>
                    <a:pt x="81" y="1"/>
                    <a:pt x="87" y="0"/>
                  </a:cubicBezTo>
                  <a:cubicBezTo>
                    <a:pt x="93" y="0"/>
                    <a:pt x="92" y="4"/>
                    <a:pt x="93" y="4"/>
                  </a:cubicBezTo>
                  <a:cubicBezTo>
                    <a:pt x="95" y="3"/>
                    <a:pt x="95" y="7"/>
                    <a:pt x="96" y="4"/>
                  </a:cubicBezTo>
                  <a:cubicBezTo>
                    <a:pt x="96" y="3"/>
                    <a:pt x="99" y="4"/>
                    <a:pt x="96" y="7"/>
                  </a:cubicBezTo>
                  <a:cubicBezTo>
                    <a:pt x="95" y="10"/>
                    <a:pt x="98" y="10"/>
                    <a:pt x="95" y="14"/>
                  </a:cubicBezTo>
                  <a:cubicBezTo>
                    <a:pt x="89" y="18"/>
                    <a:pt x="93" y="20"/>
                    <a:pt x="89" y="20"/>
                  </a:cubicBezTo>
                  <a:cubicBezTo>
                    <a:pt x="83" y="21"/>
                    <a:pt x="87" y="23"/>
                    <a:pt x="86" y="24"/>
                  </a:cubicBezTo>
                  <a:cubicBezTo>
                    <a:pt x="84" y="29"/>
                    <a:pt x="90" y="29"/>
                    <a:pt x="90" y="31"/>
                  </a:cubicBezTo>
                  <a:cubicBezTo>
                    <a:pt x="89" y="32"/>
                    <a:pt x="93" y="35"/>
                    <a:pt x="89" y="37"/>
                  </a:cubicBezTo>
                  <a:cubicBezTo>
                    <a:pt x="87" y="37"/>
                    <a:pt x="87" y="40"/>
                    <a:pt x="86" y="37"/>
                  </a:cubicBezTo>
                  <a:cubicBezTo>
                    <a:pt x="84" y="35"/>
                    <a:pt x="81" y="35"/>
                    <a:pt x="83" y="38"/>
                  </a:cubicBezTo>
                  <a:cubicBezTo>
                    <a:pt x="84" y="40"/>
                    <a:pt x="86" y="43"/>
                    <a:pt x="84" y="48"/>
                  </a:cubicBezTo>
                  <a:cubicBezTo>
                    <a:pt x="84" y="52"/>
                    <a:pt x="87" y="46"/>
                    <a:pt x="89" y="49"/>
                  </a:cubicBezTo>
                  <a:cubicBezTo>
                    <a:pt x="92" y="56"/>
                    <a:pt x="92" y="51"/>
                    <a:pt x="95" y="54"/>
                  </a:cubicBezTo>
                  <a:cubicBezTo>
                    <a:pt x="98" y="57"/>
                    <a:pt x="102" y="59"/>
                    <a:pt x="102" y="60"/>
                  </a:cubicBezTo>
                  <a:cubicBezTo>
                    <a:pt x="95" y="65"/>
                    <a:pt x="99" y="66"/>
                    <a:pt x="96" y="68"/>
                  </a:cubicBezTo>
                  <a:cubicBezTo>
                    <a:pt x="95" y="71"/>
                    <a:pt x="98" y="71"/>
                    <a:pt x="96" y="73"/>
                  </a:cubicBezTo>
                  <a:cubicBezTo>
                    <a:pt x="93" y="74"/>
                    <a:pt x="98" y="79"/>
                    <a:pt x="99" y="77"/>
                  </a:cubicBezTo>
                  <a:cubicBezTo>
                    <a:pt x="99" y="74"/>
                    <a:pt x="104" y="80"/>
                    <a:pt x="107" y="84"/>
                  </a:cubicBezTo>
                  <a:cubicBezTo>
                    <a:pt x="112" y="87"/>
                    <a:pt x="108" y="82"/>
                    <a:pt x="113" y="87"/>
                  </a:cubicBezTo>
                  <a:cubicBezTo>
                    <a:pt x="116" y="90"/>
                    <a:pt x="115" y="85"/>
                    <a:pt x="116" y="88"/>
                  </a:cubicBezTo>
                  <a:cubicBezTo>
                    <a:pt x="118" y="91"/>
                    <a:pt x="122" y="88"/>
                    <a:pt x="125" y="90"/>
                  </a:cubicBezTo>
                  <a:cubicBezTo>
                    <a:pt x="127" y="91"/>
                    <a:pt x="125" y="88"/>
                    <a:pt x="130" y="90"/>
                  </a:cubicBezTo>
                  <a:cubicBezTo>
                    <a:pt x="134" y="93"/>
                    <a:pt x="130" y="94"/>
                    <a:pt x="133" y="94"/>
                  </a:cubicBezTo>
                  <a:cubicBezTo>
                    <a:pt x="138" y="96"/>
                    <a:pt x="134" y="97"/>
                    <a:pt x="138" y="96"/>
                  </a:cubicBezTo>
                  <a:cubicBezTo>
                    <a:pt x="141" y="94"/>
                    <a:pt x="139" y="99"/>
                    <a:pt x="142" y="97"/>
                  </a:cubicBezTo>
                  <a:cubicBezTo>
                    <a:pt x="145" y="96"/>
                    <a:pt x="147" y="102"/>
                    <a:pt x="150" y="99"/>
                  </a:cubicBezTo>
                  <a:cubicBezTo>
                    <a:pt x="153" y="97"/>
                    <a:pt x="150" y="102"/>
                    <a:pt x="154" y="101"/>
                  </a:cubicBezTo>
                  <a:cubicBezTo>
                    <a:pt x="159" y="99"/>
                    <a:pt x="157" y="102"/>
                    <a:pt x="159" y="99"/>
                  </a:cubicBezTo>
                  <a:cubicBezTo>
                    <a:pt x="160" y="94"/>
                    <a:pt x="157" y="94"/>
                    <a:pt x="159" y="90"/>
                  </a:cubicBezTo>
                  <a:cubicBezTo>
                    <a:pt x="160" y="85"/>
                    <a:pt x="160" y="87"/>
                    <a:pt x="159" y="85"/>
                  </a:cubicBezTo>
                  <a:cubicBezTo>
                    <a:pt x="170" y="79"/>
                    <a:pt x="163" y="87"/>
                    <a:pt x="165" y="91"/>
                  </a:cubicBezTo>
                  <a:cubicBezTo>
                    <a:pt x="162" y="93"/>
                    <a:pt x="167" y="96"/>
                    <a:pt x="168" y="96"/>
                  </a:cubicBezTo>
                  <a:cubicBezTo>
                    <a:pt x="171" y="94"/>
                    <a:pt x="171" y="99"/>
                    <a:pt x="176" y="96"/>
                  </a:cubicBezTo>
                  <a:cubicBezTo>
                    <a:pt x="180" y="94"/>
                    <a:pt x="179" y="99"/>
                    <a:pt x="183" y="96"/>
                  </a:cubicBezTo>
                  <a:cubicBezTo>
                    <a:pt x="188" y="94"/>
                    <a:pt x="186" y="97"/>
                    <a:pt x="188" y="96"/>
                  </a:cubicBezTo>
                  <a:cubicBezTo>
                    <a:pt x="189" y="94"/>
                    <a:pt x="191" y="97"/>
                    <a:pt x="191" y="94"/>
                  </a:cubicBezTo>
                  <a:cubicBezTo>
                    <a:pt x="189" y="91"/>
                    <a:pt x="192" y="88"/>
                    <a:pt x="189" y="90"/>
                  </a:cubicBezTo>
                  <a:cubicBezTo>
                    <a:pt x="186" y="90"/>
                    <a:pt x="186" y="87"/>
                    <a:pt x="186" y="87"/>
                  </a:cubicBezTo>
                  <a:cubicBezTo>
                    <a:pt x="192" y="87"/>
                    <a:pt x="195" y="85"/>
                    <a:pt x="195" y="84"/>
                  </a:cubicBezTo>
                  <a:cubicBezTo>
                    <a:pt x="195" y="80"/>
                    <a:pt x="199" y="82"/>
                    <a:pt x="199" y="79"/>
                  </a:cubicBezTo>
                  <a:cubicBezTo>
                    <a:pt x="200" y="76"/>
                    <a:pt x="203" y="77"/>
                    <a:pt x="206" y="74"/>
                  </a:cubicBezTo>
                  <a:cubicBezTo>
                    <a:pt x="209" y="71"/>
                    <a:pt x="211" y="69"/>
                    <a:pt x="212" y="71"/>
                  </a:cubicBezTo>
                  <a:cubicBezTo>
                    <a:pt x="215" y="73"/>
                    <a:pt x="217" y="73"/>
                    <a:pt x="218" y="71"/>
                  </a:cubicBezTo>
                  <a:cubicBezTo>
                    <a:pt x="218" y="69"/>
                    <a:pt x="223" y="68"/>
                    <a:pt x="223" y="69"/>
                  </a:cubicBezTo>
                  <a:cubicBezTo>
                    <a:pt x="224" y="73"/>
                    <a:pt x="226" y="69"/>
                    <a:pt x="224" y="73"/>
                  </a:cubicBezTo>
                  <a:cubicBezTo>
                    <a:pt x="221" y="76"/>
                    <a:pt x="226" y="71"/>
                    <a:pt x="226" y="74"/>
                  </a:cubicBezTo>
                  <a:cubicBezTo>
                    <a:pt x="227" y="79"/>
                    <a:pt x="220" y="80"/>
                    <a:pt x="226" y="80"/>
                  </a:cubicBezTo>
                  <a:cubicBezTo>
                    <a:pt x="231" y="79"/>
                    <a:pt x="231" y="80"/>
                    <a:pt x="232" y="82"/>
                  </a:cubicBezTo>
                  <a:cubicBezTo>
                    <a:pt x="234" y="87"/>
                    <a:pt x="227" y="87"/>
                    <a:pt x="229" y="90"/>
                  </a:cubicBezTo>
                  <a:cubicBezTo>
                    <a:pt x="232" y="94"/>
                    <a:pt x="231" y="94"/>
                    <a:pt x="229" y="91"/>
                  </a:cubicBezTo>
                  <a:cubicBezTo>
                    <a:pt x="226" y="88"/>
                    <a:pt x="221" y="93"/>
                    <a:pt x="218" y="96"/>
                  </a:cubicBezTo>
                  <a:cubicBezTo>
                    <a:pt x="215" y="99"/>
                    <a:pt x="215" y="96"/>
                    <a:pt x="215" y="99"/>
                  </a:cubicBezTo>
                  <a:cubicBezTo>
                    <a:pt x="214" y="102"/>
                    <a:pt x="217" y="101"/>
                    <a:pt x="215" y="105"/>
                  </a:cubicBezTo>
                  <a:cubicBezTo>
                    <a:pt x="212" y="111"/>
                    <a:pt x="209" y="111"/>
                    <a:pt x="211" y="113"/>
                  </a:cubicBezTo>
                  <a:cubicBezTo>
                    <a:pt x="214" y="116"/>
                    <a:pt x="209" y="116"/>
                    <a:pt x="208" y="122"/>
                  </a:cubicBezTo>
                  <a:cubicBezTo>
                    <a:pt x="206" y="130"/>
                    <a:pt x="206" y="125"/>
                    <a:pt x="203" y="125"/>
                  </a:cubicBezTo>
                  <a:cubicBezTo>
                    <a:pt x="200" y="124"/>
                    <a:pt x="200" y="121"/>
                    <a:pt x="200" y="129"/>
                  </a:cubicBezTo>
                  <a:cubicBezTo>
                    <a:pt x="202" y="141"/>
                    <a:pt x="199" y="130"/>
                    <a:pt x="199" y="138"/>
                  </a:cubicBezTo>
                  <a:cubicBezTo>
                    <a:pt x="199" y="141"/>
                    <a:pt x="200" y="139"/>
                    <a:pt x="199" y="144"/>
                  </a:cubicBezTo>
                  <a:cubicBezTo>
                    <a:pt x="195" y="149"/>
                    <a:pt x="197" y="141"/>
                    <a:pt x="194" y="146"/>
                  </a:cubicBezTo>
                  <a:cubicBezTo>
                    <a:pt x="194" y="136"/>
                    <a:pt x="191" y="136"/>
                    <a:pt x="192" y="130"/>
                  </a:cubicBezTo>
                  <a:cubicBezTo>
                    <a:pt x="192" y="127"/>
                    <a:pt x="189" y="127"/>
                    <a:pt x="189" y="130"/>
                  </a:cubicBezTo>
                  <a:cubicBezTo>
                    <a:pt x="188" y="138"/>
                    <a:pt x="185" y="136"/>
                    <a:pt x="183" y="129"/>
                  </a:cubicBezTo>
                  <a:cubicBezTo>
                    <a:pt x="182" y="122"/>
                    <a:pt x="191" y="124"/>
                    <a:pt x="191" y="118"/>
                  </a:cubicBezTo>
                  <a:cubicBezTo>
                    <a:pt x="191" y="113"/>
                    <a:pt x="195" y="118"/>
                    <a:pt x="194" y="115"/>
                  </a:cubicBezTo>
                  <a:cubicBezTo>
                    <a:pt x="191" y="111"/>
                    <a:pt x="173" y="115"/>
                    <a:pt x="173" y="111"/>
                  </a:cubicBezTo>
                  <a:cubicBezTo>
                    <a:pt x="173" y="107"/>
                    <a:pt x="173" y="101"/>
                    <a:pt x="171" y="104"/>
                  </a:cubicBezTo>
                  <a:cubicBezTo>
                    <a:pt x="170" y="108"/>
                    <a:pt x="168" y="101"/>
                    <a:pt x="167" y="101"/>
                  </a:cubicBezTo>
                  <a:cubicBezTo>
                    <a:pt x="162" y="104"/>
                    <a:pt x="163" y="99"/>
                    <a:pt x="162" y="99"/>
                  </a:cubicBezTo>
                  <a:cubicBezTo>
                    <a:pt x="160" y="97"/>
                    <a:pt x="160" y="99"/>
                    <a:pt x="162" y="101"/>
                  </a:cubicBezTo>
                  <a:cubicBezTo>
                    <a:pt x="163" y="101"/>
                    <a:pt x="156" y="105"/>
                    <a:pt x="159" y="107"/>
                  </a:cubicBezTo>
                  <a:cubicBezTo>
                    <a:pt x="162" y="107"/>
                    <a:pt x="162" y="110"/>
                    <a:pt x="163" y="110"/>
                  </a:cubicBezTo>
                  <a:cubicBezTo>
                    <a:pt x="165" y="110"/>
                    <a:pt x="165" y="110"/>
                    <a:pt x="165" y="111"/>
                  </a:cubicBezTo>
                  <a:cubicBezTo>
                    <a:pt x="168" y="115"/>
                    <a:pt x="160" y="110"/>
                    <a:pt x="162" y="113"/>
                  </a:cubicBezTo>
                  <a:cubicBezTo>
                    <a:pt x="162" y="118"/>
                    <a:pt x="159" y="113"/>
                    <a:pt x="159" y="118"/>
                  </a:cubicBezTo>
                  <a:cubicBezTo>
                    <a:pt x="157" y="122"/>
                    <a:pt x="163" y="119"/>
                    <a:pt x="163" y="124"/>
                  </a:cubicBezTo>
                  <a:cubicBezTo>
                    <a:pt x="165" y="129"/>
                    <a:pt x="160" y="127"/>
                    <a:pt x="163" y="129"/>
                  </a:cubicBezTo>
                  <a:cubicBezTo>
                    <a:pt x="165" y="132"/>
                    <a:pt x="162" y="133"/>
                    <a:pt x="165" y="133"/>
                  </a:cubicBezTo>
                  <a:cubicBezTo>
                    <a:pt x="167" y="133"/>
                    <a:pt x="165" y="133"/>
                    <a:pt x="165" y="139"/>
                  </a:cubicBezTo>
                  <a:cubicBezTo>
                    <a:pt x="167" y="143"/>
                    <a:pt x="167" y="144"/>
                    <a:pt x="167" y="146"/>
                  </a:cubicBezTo>
                  <a:cubicBezTo>
                    <a:pt x="165" y="146"/>
                    <a:pt x="165" y="146"/>
                    <a:pt x="167" y="147"/>
                  </a:cubicBezTo>
                  <a:cubicBezTo>
                    <a:pt x="168" y="150"/>
                    <a:pt x="167" y="150"/>
                    <a:pt x="165" y="149"/>
                  </a:cubicBezTo>
                  <a:cubicBezTo>
                    <a:pt x="162" y="149"/>
                    <a:pt x="160" y="152"/>
                    <a:pt x="160" y="147"/>
                  </a:cubicBezTo>
                  <a:cubicBezTo>
                    <a:pt x="159" y="143"/>
                    <a:pt x="159" y="147"/>
                    <a:pt x="153" y="150"/>
                  </a:cubicBezTo>
                  <a:cubicBezTo>
                    <a:pt x="145" y="153"/>
                    <a:pt x="154" y="155"/>
                    <a:pt x="148" y="163"/>
                  </a:cubicBezTo>
                  <a:cubicBezTo>
                    <a:pt x="142" y="171"/>
                    <a:pt x="144" y="166"/>
                    <a:pt x="139" y="169"/>
                  </a:cubicBezTo>
                  <a:cubicBezTo>
                    <a:pt x="131" y="174"/>
                    <a:pt x="130" y="181"/>
                    <a:pt x="119" y="191"/>
                  </a:cubicBezTo>
                  <a:cubicBezTo>
                    <a:pt x="108" y="200"/>
                    <a:pt x="116" y="195"/>
                    <a:pt x="112" y="202"/>
                  </a:cubicBezTo>
                  <a:cubicBezTo>
                    <a:pt x="107" y="206"/>
                    <a:pt x="105" y="199"/>
                    <a:pt x="104" y="205"/>
                  </a:cubicBezTo>
                  <a:cubicBezTo>
                    <a:pt x="102" y="211"/>
                    <a:pt x="92" y="203"/>
                    <a:pt x="95" y="216"/>
                  </a:cubicBezTo>
                  <a:cubicBezTo>
                    <a:pt x="98" y="223"/>
                    <a:pt x="95" y="222"/>
                    <a:pt x="96" y="225"/>
                  </a:cubicBezTo>
                  <a:cubicBezTo>
                    <a:pt x="98" y="236"/>
                    <a:pt x="96" y="237"/>
                    <a:pt x="93" y="244"/>
                  </a:cubicBezTo>
                  <a:cubicBezTo>
                    <a:pt x="90" y="254"/>
                    <a:pt x="96" y="262"/>
                    <a:pt x="92" y="262"/>
                  </a:cubicBezTo>
                  <a:cubicBezTo>
                    <a:pt x="86" y="262"/>
                    <a:pt x="90" y="262"/>
                    <a:pt x="87" y="267"/>
                  </a:cubicBezTo>
                  <a:cubicBezTo>
                    <a:pt x="84" y="272"/>
                    <a:pt x="90" y="272"/>
                    <a:pt x="90" y="273"/>
                  </a:cubicBezTo>
                  <a:cubicBezTo>
                    <a:pt x="90" y="273"/>
                    <a:pt x="89" y="272"/>
                    <a:pt x="83" y="273"/>
                  </a:cubicBezTo>
                  <a:cubicBezTo>
                    <a:pt x="78" y="275"/>
                    <a:pt x="83" y="278"/>
                    <a:pt x="76" y="282"/>
                  </a:cubicBezTo>
                  <a:cubicBezTo>
                    <a:pt x="72" y="289"/>
                    <a:pt x="66" y="276"/>
                    <a:pt x="63" y="261"/>
                  </a:cubicBezTo>
                  <a:cubicBezTo>
                    <a:pt x="60" y="245"/>
                    <a:pt x="54" y="245"/>
                    <a:pt x="54" y="236"/>
                  </a:cubicBezTo>
                  <a:cubicBezTo>
                    <a:pt x="52" y="227"/>
                    <a:pt x="46" y="211"/>
                    <a:pt x="43" y="206"/>
                  </a:cubicBezTo>
                  <a:cubicBezTo>
                    <a:pt x="41" y="203"/>
                    <a:pt x="40" y="194"/>
                    <a:pt x="37" y="177"/>
                  </a:cubicBezTo>
                  <a:cubicBezTo>
                    <a:pt x="34" y="160"/>
                    <a:pt x="40" y="161"/>
                    <a:pt x="37" y="155"/>
                  </a:cubicBezTo>
                  <a:cubicBezTo>
                    <a:pt x="34" y="149"/>
                    <a:pt x="37" y="150"/>
                    <a:pt x="35" y="147"/>
                  </a:cubicBezTo>
                  <a:cubicBezTo>
                    <a:pt x="34" y="144"/>
                    <a:pt x="38" y="141"/>
                    <a:pt x="34" y="143"/>
                  </a:cubicBezTo>
                  <a:cubicBezTo>
                    <a:pt x="31" y="144"/>
                    <a:pt x="35" y="150"/>
                    <a:pt x="31" y="153"/>
                  </a:cubicBezTo>
                  <a:cubicBezTo>
                    <a:pt x="22" y="161"/>
                    <a:pt x="20" y="160"/>
                    <a:pt x="11" y="149"/>
                  </a:cubicBezTo>
                  <a:cubicBezTo>
                    <a:pt x="2" y="136"/>
                    <a:pt x="6" y="143"/>
                    <a:pt x="12" y="141"/>
                  </a:cubicBezTo>
                  <a:cubicBezTo>
                    <a:pt x="20" y="139"/>
                    <a:pt x="19" y="133"/>
                    <a:pt x="14" y="136"/>
                  </a:cubicBezTo>
                  <a:cubicBezTo>
                    <a:pt x="11" y="139"/>
                    <a:pt x="5" y="135"/>
                    <a:pt x="3" y="132"/>
                  </a:cubicBezTo>
                  <a:cubicBezTo>
                    <a:pt x="2" y="129"/>
                    <a:pt x="0" y="130"/>
                    <a:pt x="0" y="129"/>
                  </a:cubicBezTo>
                  <a:cubicBezTo>
                    <a:pt x="0" y="124"/>
                    <a:pt x="6" y="127"/>
                    <a:pt x="5" y="1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42"/>
            <p:cNvSpPr>
              <a:spLocks/>
            </p:cNvSpPr>
            <p:nvPr/>
          </p:nvSpPr>
          <p:spPr bwMode="auto">
            <a:xfrm>
              <a:off x="6921191" y="4181486"/>
              <a:ext cx="212095" cy="139788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6" y="20"/>
                </a:cxn>
                <a:cxn ang="0">
                  <a:pos x="14" y="27"/>
                </a:cxn>
                <a:cxn ang="0">
                  <a:pos x="20" y="30"/>
                </a:cxn>
                <a:cxn ang="0">
                  <a:pos x="23" y="31"/>
                </a:cxn>
                <a:cxn ang="0">
                  <a:pos x="32" y="33"/>
                </a:cxn>
                <a:cxn ang="0">
                  <a:pos x="37" y="33"/>
                </a:cxn>
                <a:cxn ang="0">
                  <a:pos x="40" y="37"/>
                </a:cxn>
                <a:cxn ang="0">
                  <a:pos x="45" y="39"/>
                </a:cxn>
                <a:cxn ang="0">
                  <a:pos x="49" y="40"/>
                </a:cxn>
                <a:cxn ang="0">
                  <a:pos x="57" y="42"/>
                </a:cxn>
                <a:cxn ang="0">
                  <a:pos x="62" y="44"/>
                </a:cxn>
                <a:cxn ang="0">
                  <a:pos x="66" y="42"/>
                </a:cxn>
                <a:cxn ang="0">
                  <a:pos x="66" y="33"/>
                </a:cxn>
                <a:cxn ang="0">
                  <a:pos x="66" y="28"/>
                </a:cxn>
                <a:cxn ang="0">
                  <a:pos x="63" y="28"/>
                </a:cxn>
                <a:cxn ang="0">
                  <a:pos x="60" y="28"/>
                </a:cxn>
                <a:cxn ang="0">
                  <a:pos x="54" y="27"/>
                </a:cxn>
                <a:cxn ang="0">
                  <a:pos x="51" y="27"/>
                </a:cxn>
                <a:cxn ang="0">
                  <a:pos x="49" y="28"/>
                </a:cxn>
                <a:cxn ang="0">
                  <a:pos x="46" y="23"/>
                </a:cxn>
                <a:cxn ang="0">
                  <a:pos x="43" y="22"/>
                </a:cxn>
                <a:cxn ang="0">
                  <a:pos x="42" y="20"/>
                </a:cxn>
                <a:cxn ang="0">
                  <a:pos x="35" y="16"/>
                </a:cxn>
                <a:cxn ang="0">
                  <a:pos x="31" y="14"/>
                </a:cxn>
                <a:cxn ang="0">
                  <a:pos x="26" y="9"/>
                </a:cxn>
                <a:cxn ang="0">
                  <a:pos x="20" y="6"/>
                </a:cxn>
                <a:cxn ang="0">
                  <a:pos x="15" y="2"/>
                </a:cxn>
                <a:cxn ang="0">
                  <a:pos x="9" y="3"/>
                </a:cxn>
              </a:cxnLst>
              <a:rect l="0" t="0" r="r" b="b"/>
              <a:pathLst>
                <a:path w="68" h="45">
                  <a:moveTo>
                    <a:pt x="9" y="3"/>
                  </a:moveTo>
                  <a:cubicBezTo>
                    <a:pt x="2" y="8"/>
                    <a:pt x="6" y="9"/>
                    <a:pt x="3" y="11"/>
                  </a:cubicBezTo>
                  <a:cubicBezTo>
                    <a:pt x="2" y="14"/>
                    <a:pt x="5" y="14"/>
                    <a:pt x="3" y="16"/>
                  </a:cubicBezTo>
                  <a:cubicBezTo>
                    <a:pt x="0" y="17"/>
                    <a:pt x="5" y="22"/>
                    <a:pt x="6" y="20"/>
                  </a:cubicBezTo>
                  <a:cubicBezTo>
                    <a:pt x="6" y="17"/>
                    <a:pt x="11" y="23"/>
                    <a:pt x="14" y="27"/>
                  </a:cubicBezTo>
                  <a:cubicBezTo>
                    <a:pt x="19" y="30"/>
                    <a:pt x="15" y="25"/>
                    <a:pt x="20" y="30"/>
                  </a:cubicBezTo>
                  <a:cubicBezTo>
                    <a:pt x="23" y="33"/>
                    <a:pt x="22" y="28"/>
                    <a:pt x="23" y="31"/>
                  </a:cubicBezTo>
                  <a:cubicBezTo>
                    <a:pt x="25" y="34"/>
                    <a:pt x="29" y="31"/>
                    <a:pt x="32" y="33"/>
                  </a:cubicBezTo>
                  <a:cubicBezTo>
                    <a:pt x="34" y="34"/>
                    <a:pt x="32" y="31"/>
                    <a:pt x="37" y="33"/>
                  </a:cubicBezTo>
                  <a:cubicBezTo>
                    <a:pt x="42" y="36"/>
                    <a:pt x="37" y="37"/>
                    <a:pt x="40" y="37"/>
                  </a:cubicBezTo>
                  <a:cubicBezTo>
                    <a:pt x="45" y="39"/>
                    <a:pt x="42" y="40"/>
                    <a:pt x="45" y="39"/>
                  </a:cubicBezTo>
                  <a:cubicBezTo>
                    <a:pt x="48" y="37"/>
                    <a:pt x="46" y="42"/>
                    <a:pt x="49" y="40"/>
                  </a:cubicBezTo>
                  <a:cubicBezTo>
                    <a:pt x="52" y="39"/>
                    <a:pt x="54" y="45"/>
                    <a:pt x="57" y="42"/>
                  </a:cubicBezTo>
                  <a:cubicBezTo>
                    <a:pt x="60" y="40"/>
                    <a:pt x="57" y="45"/>
                    <a:pt x="62" y="44"/>
                  </a:cubicBezTo>
                  <a:cubicBezTo>
                    <a:pt x="66" y="42"/>
                    <a:pt x="65" y="45"/>
                    <a:pt x="66" y="42"/>
                  </a:cubicBezTo>
                  <a:cubicBezTo>
                    <a:pt x="68" y="37"/>
                    <a:pt x="65" y="37"/>
                    <a:pt x="66" y="33"/>
                  </a:cubicBezTo>
                  <a:cubicBezTo>
                    <a:pt x="68" y="28"/>
                    <a:pt x="68" y="30"/>
                    <a:pt x="66" y="28"/>
                  </a:cubicBezTo>
                  <a:cubicBezTo>
                    <a:pt x="66" y="28"/>
                    <a:pt x="65" y="28"/>
                    <a:pt x="63" y="28"/>
                  </a:cubicBezTo>
                  <a:cubicBezTo>
                    <a:pt x="63" y="30"/>
                    <a:pt x="63" y="28"/>
                    <a:pt x="60" y="28"/>
                  </a:cubicBezTo>
                  <a:cubicBezTo>
                    <a:pt x="58" y="30"/>
                    <a:pt x="55" y="23"/>
                    <a:pt x="54" y="27"/>
                  </a:cubicBezTo>
                  <a:cubicBezTo>
                    <a:pt x="54" y="28"/>
                    <a:pt x="52" y="28"/>
                    <a:pt x="51" y="27"/>
                  </a:cubicBezTo>
                  <a:cubicBezTo>
                    <a:pt x="49" y="23"/>
                    <a:pt x="51" y="28"/>
                    <a:pt x="49" y="28"/>
                  </a:cubicBezTo>
                  <a:cubicBezTo>
                    <a:pt x="48" y="28"/>
                    <a:pt x="48" y="23"/>
                    <a:pt x="46" y="23"/>
                  </a:cubicBezTo>
                  <a:cubicBezTo>
                    <a:pt x="43" y="23"/>
                    <a:pt x="42" y="25"/>
                    <a:pt x="43" y="22"/>
                  </a:cubicBezTo>
                  <a:cubicBezTo>
                    <a:pt x="43" y="20"/>
                    <a:pt x="43" y="20"/>
                    <a:pt x="42" y="20"/>
                  </a:cubicBezTo>
                  <a:cubicBezTo>
                    <a:pt x="40" y="22"/>
                    <a:pt x="35" y="19"/>
                    <a:pt x="35" y="16"/>
                  </a:cubicBezTo>
                  <a:cubicBezTo>
                    <a:pt x="35" y="12"/>
                    <a:pt x="34" y="14"/>
                    <a:pt x="31" y="14"/>
                  </a:cubicBezTo>
                  <a:cubicBezTo>
                    <a:pt x="29" y="16"/>
                    <a:pt x="28" y="9"/>
                    <a:pt x="26" y="9"/>
                  </a:cubicBezTo>
                  <a:cubicBezTo>
                    <a:pt x="23" y="9"/>
                    <a:pt x="23" y="6"/>
                    <a:pt x="20" y="6"/>
                  </a:cubicBezTo>
                  <a:cubicBezTo>
                    <a:pt x="17" y="5"/>
                    <a:pt x="22" y="3"/>
                    <a:pt x="15" y="2"/>
                  </a:cubicBezTo>
                  <a:cubicBezTo>
                    <a:pt x="11" y="0"/>
                    <a:pt x="12" y="9"/>
                    <a:pt x="9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43"/>
            <p:cNvSpPr>
              <a:spLocks/>
            </p:cNvSpPr>
            <p:nvPr/>
          </p:nvSpPr>
          <p:spPr bwMode="auto">
            <a:xfrm>
              <a:off x="7136499" y="4250576"/>
              <a:ext cx="93193" cy="61056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6" y="17"/>
                </a:cxn>
                <a:cxn ang="0">
                  <a:pos x="14" y="17"/>
                </a:cxn>
                <a:cxn ang="0">
                  <a:pos x="21" y="17"/>
                </a:cxn>
                <a:cxn ang="0">
                  <a:pos x="26" y="17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4" y="8"/>
                </a:cxn>
                <a:cxn ang="0">
                  <a:pos x="23" y="4"/>
                </a:cxn>
                <a:cxn ang="0">
                  <a:pos x="20" y="4"/>
                </a:cxn>
                <a:cxn ang="0">
                  <a:pos x="15" y="3"/>
                </a:cxn>
                <a:cxn ang="0">
                  <a:pos x="9" y="4"/>
                </a:cxn>
                <a:cxn ang="0">
                  <a:pos x="6" y="8"/>
                </a:cxn>
                <a:cxn ang="0">
                  <a:pos x="3" y="12"/>
                </a:cxn>
              </a:cxnLst>
              <a:rect l="0" t="0" r="r" b="b"/>
              <a:pathLst>
                <a:path w="30" h="20">
                  <a:moveTo>
                    <a:pt x="3" y="12"/>
                  </a:moveTo>
                  <a:cubicBezTo>
                    <a:pt x="0" y="14"/>
                    <a:pt x="5" y="17"/>
                    <a:pt x="6" y="17"/>
                  </a:cubicBezTo>
                  <a:cubicBezTo>
                    <a:pt x="9" y="15"/>
                    <a:pt x="9" y="20"/>
                    <a:pt x="14" y="17"/>
                  </a:cubicBezTo>
                  <a:cubicBezTo>
                    <a:pt x="18" y="15"/>
                    <a:pt x="17" y="20"/>
                    <a:pt x="21" y="17"/>
                  </a:cubicBezTo>
                  <a:cubicBezTo>
                    <a:pt x="26" y="15"/>
                    <a:pt x="24" y="19"/>
                    <a:pt x="26" y="17"/>
                  </a:cubicBezTo>
                  <a:cubicBezTo>
                    <a:pt x="27" y="15"/>
                    <a:pt x="29" y="19"/>
                    <a:pt x="29" y="15"/>
                  </a:cubicBezTo>
                  <a:cubicBezTo>
                    <a:pt x="27" y="12"/>
                    <a:pt x="30" y="9"/>
                    <a:pt x="27" y="11"/>
                  </a:cubicBezTo>
                  <a:cubicBezTo>
                    <a:pt x="24" y="11"/>
                    <a:pt x="24" y="8"/>
                    <a:pt x="24" y="8"/>
                  </a:cubicBezTo>
                  <a:cubicBezTo>
                    <a:pt x="26" y="4"/>
                    <a:pt x="24" y="4"/>
                    <a:pt x="23" y="4"/>
                  </a:cubicBezTo>
                  <a:cubicBezTo>
                    <a:pt x="21" y="3"/>
                    <a:pt x="21" y="6"/>
                    <a:pt x="20" y="4"/>
                  </a:cubicBezTo>
                  <a:cubicBezTo>
                    <a:pt x="18" y="3"/>
                    <a:pt x="14" y="4"/>
                    <a:pt x="15" y="3"/>
                  </a:cubicBezTo>
                  <a:cubicBezTo>
                    <a:pt x="17" y="1"/>
                    <a:pt x="11" y="0"/>
                    <a:pt x="9" y="4"/>
                  </a:cubicBezTo>
                  <a:cubicBezTo>
                    <a:pt x="8" y="8"/>
                    <a:pt x="6" y="4"/>
                    <a:pt x="6" y="8"/>
                  </a:cubicBezTo>
                  <a:cubicBezTo>
                    <a:pt x="5" y="11"/>
                    <a:pt x="5" y="9"/>
                    <a:pt x="3" y="1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44"/>
            <p:cNvSpPr>
              <a:spLocks/>
            </p:cNvSpPr>
            <p:nvPr/>
          </p:nvSpPr>
          <p:spPr bwMode="auto">
            <a:xfrm>
              <a:off x="7118824" y="4308419"/>
              <a:ext cx="120509" cy="197631"/>
            </a:xfrm>
            <a:custGeom>
              <a:avLst/>
              <a:gdLst/>
              <a:ahLst/>
              <a:cxnLst>
                <a:cxn ang="0">
                  <a:pos x="9" y="41"/>
                </a:cxn>
                <a:cxn ang="0">
                  <a:pos x="9" y="35"/>
                </a:cxn>
                <a:cxn ang="0">
                  <a:pos x="8" y="31"/>
                </a:cxn>
                <a:cxn ang="0">
                  <a:pos x="8" y="26"/>
                </a:cxn>
                <a:cxn ang="0">
                  <a:pos x="3" y="20"/>
                </a:cxn>
                <a:cxn ang="0">
                  <a:pos x="6" y="15"/>
                </a:cxn>
                <a:cxn ang="0">
                  <a:pos x="9" y="13"/>
                </a:cxn>
                <a:cxn ang="0">
                  <a:pos x="8" y="12"/>
                </a:cxn>
                <a:cxn ang="0">
                  <a:pos x="3" y="9"/>
                </a:cxn>
                <a:cxn ang="0">
                  <a:pos x="6" y="3"/>
                </a:cxn>
                <a:cxn ang="0">
                  <a:pos x="6" y="1"/>
                </a:cxn>
                <a:cxn ang="0">
                  <a:pos x="11" y="3"/>
                </a:cxn>
                <a:cxn ang="0">
                  <a:pos x="15" y="6"/>
                </a:cxn>
                <a:cxn ang="0">
                  <a:pos x="17" y="13"/>
                </a:cxn>
                <a:cxn ang="0">
                  <a:pos x="38" y="17"/>
                </a:cxn>
                <a:cxn ang="0">
                  <a:pos x="35" y="20"/>
                </a:cxn>
                <a:cxn ang="0">
                  <a:pos x="27" y="31"/>
                </a:cxn>
                <a:cxn ang="0">
                  <a:pos x="33" y="32"/>
                </a:cxn>
                <a:cxn ang="0">
                  <a:pos x="36" y="32"/>
                </a:cxn>
                <a:cxn ang="0">
                  <a:pos x="38" y="48"/>
                </a:cxn>
                <a:cxn ang="0">
                  <a:pos x="35" y="57"/>
                </a:cxn>
                <a:cxn ang="0">
                  <a:pos x="35" y="57"/>
                </a:cxn>
                <a:cxn ang="0">
                  <a:pos x="33" y="52"/>
                </a:cxn>
                <a:cxn ang="0">
                  <a:pos x="33" y="48"/>
                </a:cxn>
                <a:cxn ang="0">
                  <a:pos x="29" y="40"/>
                </a:cxn>
                <a:cxn ang="0">
                  <a:pos x="24" y="38"/>
                </a:cxn>
                <a:cxn ang="0">
                  <a:pos x="23" y="32"/>
                </a:cxn>
                <a:cxn ang="0">
                  <a:pos x="21" y="34"/>
                </a:cxn>
                <a:cxn ang="0">
                  <a:pos x="23" y="41"/>
                </a:cxn>
                <a:cxn ang="0">
                  <a:pos x="18" y="49"/>
                </a:cxn>
                <a:cxn ang="0">
                  <a:pos x="15" y="49"/>
                </a:cxn>
                <a:cxn ang="0">
                  <a:pos x="11" y="48"/>
                </a:cxn>
                <a:cxn ang="0">
                  <a:pos x="9" y="41"/>
                </a:cxn>
              </a:cxnLst>
              <a:rect l="0" t="0" r="r" b="b"/>
              <a:pathLst>
                <a:path w="39" h="63">
                  <a:moveTo>
                    <a:pt x="9" y="41"/>
                  </a:moveTo>
                  <a:cubicBezTo>
                    <a:pt x="9" y="35"/>
                    <a:pt x="11" y="35"/>
                    <a:pt x="9" y="35"/>
                  </a:cubicBezTo>
                  <a:cubicBezTo>
                    <a:pt x="6" y="35"/>
                    <a:pt x="9" y="34"/>
                    <a:pt x="8" y="31"/>
                  </a:cubicBezTo>
                  <a:cubicBezTo>
                    <a:pt x="5" y="29"/>
                    <a:pt x="9" y="31"/>
                    <a:pt x="8" y="26"/>
                  </a:cubicBezTo>
                  <a:cubicBezTo>
                    <a:pt x="8" y="21"/>
                    <a:pt x="2" y="24"/>
                    <a:pt x="3" y="20"/>
                  </a:cubicBezTo>
                  <a:cubicBezTo>
                    <a:pt x="3" y="15"/>
                    <a:pt x="6" y="20"/>
                    <a:pt x="6" y="15"/>
                  </a:cubicBezTo>
                  <a:cubicBezTo>
                    <a:pt x="5" y="12"/>
                    <a:pt x="12" y="17"/>
                    <a:pt x="9" y="13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6" y="12"/>
                    <a:pt x="6" y="9"/>
                    <a:pt x="3" y="9"/>
                  </a:cubicBezTo>
                  <a:cubicBezTo>
                    <a:pt x="0" y="7"/>
                    <a:pt x="8" y="3"/>
                    <a:pt x="6" y="3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8" y="1"/>
                    <a:pt x="6" y="6"/>
                    <a:pt x="11" y="3"/>
                  </a:cubicBezTo>
                  <a:cubicBezTo>
                    <a:pt x="12" y="3"/>
                    <a:pt x="14" y="10"/>
                    <a:pt x="15" y="6"/>
                  </a:cubicBezTo>
                  <a:cubicBezTo>
                    <a:pt x="17" y="3"/>
                    <a:pt x="17" y="9"/>
                    <a:pt x="17" y="13"/>
                  </a:cubicBezTo>
                  <a:cubicBezTo>
                    <a:pt x="17" y="17"/>
                    <a:pt x="35" y="13"/>
                    <a:pt x="38" y="17"/>
                  </a:cubicBezTo>
                  <a:cubicBezTo>
                    <a:pt x="39" y="20"/>
                    <a:pt x="35" y="15"/>
                    <a:pt x="35" y="20"/>
                  </a:cubicBezTo>
                  <a:cubicBezTo>
                    <a:pt x="35" y="26"/>
                    <a:pt x="26" y="24"/>
                    <a:pt x="27" y="31"/>
                  </a:cubicBezTo>
                  <a:cubicBezTo>
                    <a:pt x="29" y="38"/>
                    <a:pt x="32" y="40"/>
                    <a:pt x="33" y="32"/>
                  </a:cubicBezTo>
                  <a:cubicBezTo>
                    <a:pt x="33" y="29"/>
                    <a:pt x="36" y="29"/>
                    <a:pt x="36" y="32"/>
                  </a:cubicBezTo>
                  <a:cubicBezTo>
                    <a:pt x="35" y="38"/>
                    <a:pt x="38" y="38"/>
                    <a:pt x="38" y="48"/>
                  </a:cubicBezTo>
                  <a:cubicBezTo>
                    <a:pt x="39" y="63"/>
                    <a:pt x="35" y="46"/>
                    <a:pt x="35" y="57"/>
                  </a:cubicBezTo>
                  <a:cubicBezTo>
                    <a:pt x="36" y="60"/>
                    <a:pt x="35" y="59"/>
                    <a:pt x="35" y="57"/>
                  </a:cubicBezTo>
                  <a:cubicBezTo>
                    <a:pt x="33" y="55"/>
                    <a:pt x="33" y="54"/>
                    <a:pt x="33" y="52"/>
                  </a:cubicBezTo>
                  <a:cubicBezTo>
                    <a:pt x="35" y="51"/>
                    <a:pt x="33" y="51"/>
                    <a:pt x="33" y="48"/>
                  </a:cubicBezTo>
                  <a:cubicBezTo>
                    <a:pt x="30" y="41"/>
                    <a:pt x="30" y="38"/>
                    <a:pt x="29" y="40"/>
                  </a:cubicBezTo>
                  <a:cubicBezTo>
                    <a:pt x="26" y="43"/>
                    <a:pt x="24" y="41"/>
                    <a:pt x="24" y="38"/>
                  </a:cubicBezTo>
                  <a:cubicBezTo>
                    <a:pt x="23" y="35"/>
                    <a:pt x="23" y="31"/>
                    <a:pt x="23" y="32"/>
                  </a:cubicBezTo>
                  <a:cubicBezTo>
                    <a:pt x="21" y="34"/>
                    <a:pt x="21" y="32"/>
                    <a:pt x="21" y="34"/>
                  </a:cubicBezTo>
                  <a:cubicBezTo>
                    <a:pt x="23" y="37"/>
                    <a:pt x="21" y="38"/>
                    <a:pt x="23" y="41"/>
                  </a:cubicBezTo>
                  <a:cubicBezTo>
                    <a:pt x="23" y="45"/>
                    <a:pt x="20" y="51"/>
                    <a:pt x="18" y="49"/>
                  </a:cubicBezTo>
                  <a:cubicBezTo>
                    <a:pt x="17" y="46"/>
                    <a:pt x="15" y="52"/>
                    <a:pt x="15" y="49"/>
                  </a:cubicBezTo>
                  <a:cubicBezTo>
                    <a:pt x="14" y="48"/>
                    <a:pt x="12" y="52"/>
                    <a:pt x="11" y="48"/>
                  </a:cubicBezTo>
                  <a:cubicBezTo>
                    <a:pt x="11" y="46"/>
                    <a:pt x="11" y="45"/>
                    <a:pt x="9" y="4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45"/>
            <p:cNvSpPr>
              <a:spLocks/>
            </p:cNvSpPr>
            <p:nvPr/>
          </p:nvSpPr>
          <p:spPr bwMode="auto">
            <a:xfrm>
              <a:off x="6445583" y="3913158"/>
              <a:ext cx="355099" cy="318136"/>
            </a:xfrm>
            <a:custGeom>
              <a:avLst/>
              <a:gdLst/>
              <a:ahLst/>
              <a:cxnLst>
                <a:cxn ang="0">
                  <a:pos x="6" y="33"/>
                </a:cxn>
                <a:cxn ang="0">
                  <a:pos x="0" y="50"/>
                </a:cxn>
                <a:cxn ang="0">
                  <a:pos x="3" y="74"/>
                </a:cxn>
                <a:cxn ang="0">
                  <a:pos x="10" y="80"/>
                </a:cxn>
                <a:cxn ang="0">
                  <a:pos x="3" y="94"/>
                </a:cxn>
                <a:cxn ang="0">
                  <a:pos x="29" y="97"/>
                </a:cxn>
                <a:cxn ang="0">
                  <a:pos x="47" y="88"/>
                </a:cxn>
                <a:cxn ang="0">
                  <a:pos x="59" y="75"/>
                </a:cxn>
                <a:cxn ang="0">
                  <a:pos x="69" y="74"/>
                </a:cxn>
                <a:cxn ang="0">
                  <a:pos x="70" y="64"/>
                </a:cxn>
                <a:cxn ang="0">
                  <a:pos x="76" y="53"/>
                </a:cxn>
                <a:cxn ang="0">
                  <a:pos x="85" y="46"/>
                </a:cxn>
                <a:cxn ang="0">
                  <a:pos x="87" y="33"/>
                </a:cxn>
                <a:cxn ang="0">
                  <a:pos x="96" y="21"/>
                </a:cxn>
                <a:cxn ang="0">
                  <a:pos x="111" y="16"/>
                </a:cxn>
                <a:cxn ang="0">
                  <a:pos x="113" y="15"/>
                </a:cxn>
                <a:cxn ang="0">
                  <a:pos x="108" y="13"/>
                </a:cxn>
                <a:cxn ang="0">
                  <a:pos x="105" y="13"/>
                </a:cxn>
                <a:cxn ang="0">
                  <a:pos x="101" y="13"/>
                </a:cxn>
                <a:cxn ang="0">
                  <a:pos x="97" y="16"/>
                </a:cxn>
                <a:cxn ang="0">
                  <a:pos x="91" y="19"/>
                </a:cxn>
                <a:cxn ang="0">
                  <a:pos x="88" y="10"/>
                </a:cxn>
                <a:cxn ang="0">
                  <a:pos x="85" y="7"/>
                </a:cxn>
                <a:cxn ang="0">
                  <a:pos x="84" y="2"/>
                </a:cxn>
                <a:cxn ang="0">
                  <a:pos x="78" y="7"/>
                </a:cxn>
                <a:cxn ang="0">
                  <a:pos x="78" y="11"/>
                </a:cxn>
                <a:cxn ang="0">
                  <a:pos x="72" y="11"/>
                </a:cxn>
                <a:cxn ang="0">
                  <a:pos x="70" y="16"/>
                </a:cxn>
                <a:cxn ang="0">
                  <a:pos x="67" y="15"/>
                </a:cxn>
                <a:cxn ang="0">
                  <a:pos x="61" y="16"/>
                </a:cxn>
                <a:cxn ang="0">
                  <a:pos x="58" y="16"/>
                </a:cxn>
                <a:cxn ang="0">
                  <a:pos x="55" y="15"/>
                </a:cxn>
                <a:cxn ang="0">
                  <a:pos x="49" y="13"/>
                </a:cxn>
                <a:cxn ang="0">
                  <a:pos x="41" y="13"/>
                </a:cxn>
                <a:cxn ang="0">
                  <a:pos x="33" y="21"/>
                </a:cxn>
                <a:cxn ang="0">
                  <a:pos x="24" y="28"/>
                </a:cxn>
                <a:cxn ang="0">
                  <a:pos x="17" y="36"/>
                </a:cxn>
                <a:cxn ang="0">
                  <a:pos x="10" y="35"/>
                </a:cxn>
                <a:cxn ang="0">
                  <a:pos x="6" y="33"/>
                </a:cxn>
              </a:cxnLst>
              <a:rect l="0" t="0" r="r" b="b"/>
              <a:pathLst>
                <a:path w="114" h="102">
                  <a:moveTo>
                    <a:pt x="6" y="33"/>
                  </a:moveTo>
                  <a:cubicBezTo>
                    <a:pt x="4" y="47"/>
                    <a:pt x="0" y="43"/>
                    <a:pt x="0" y="50"/>
                  </a:cubicBezTo>
                  <a:cubicBezTo>
                    <a:pt x="1" y="58"/>
                    <a:pt x="3" y="66"/>
                    <a:pt x="3" y="74"/>
                  </a:cubicBezTo>
                  <a:cubicBezTo>
                    <a:pt x="1" y="81"/>
                    <a:pt x="10" y="74"/>
                    <a:pt x="10" y="80"/>
                  </a:cubicBezTo>
                  <a:cubicBezTo>
                    <a:pt x="12" y="86"/>
                    <a:pt x="3" y="89"/>
                    <a:pt x="3" y="94"/>
                  </a:cubicBezTo>
                  <a:cubicBezTo>
                    <a:pt x="7" y="92"/>
                    <a:pt x="14" y="102"/>
                    <a:pt x="29" y="97"/>
                  </a:cubicBezTo>
                  <a:cubicBezTo>
                    <a:pt x="46" y="94"/>
                    <a:pt x="47" y="94"/>
                    <a:pt x="47" y="88"/>
                  </a:cubicBezTo>
                  <a:cubicBezTo>
                    <a:pt x="46" y="80"/>
                    <a:pt x="55" y="78"/>
                    <a:pt x="59" y="75"/>
                  </a:cubicBezTo>
                  <a:cubicBezTo>
                    <a:pt x="64" y="70"/>
                    <a:pt x="67" y="77"/>
                    <a:pt x="69" y="74"/>
                  </a:cubicBezTo>
                  <a:cubicBezTo>
                    <a:pt x="70" y="72"/>
                    <a:pt x="69" y="70"/>
                    <a:pt x="70" y="64"/>
                  </a:cubicBezTo>
                  <a:cubicBezTo>
                    <a:pt x="73" y="56"/>
                    <a:pt x="81" y="61"/>
                    <a:pt x="76" y="53"/>
                  </a:cubicBezTo>
                  <a:cubicBezTo>
                    <a:pt x="70" y="44"/>
                    <a:pt x="85" y="55"/>
                    <a:pt x="85" y="46"/>
                  </a:cubicBezTo>
                  <a:cubicBezTo>
                    <a:pt x="85" y="41"/>
                    <a:pt x="90" y="39"/>
                    <a:pt x="87" y="33"/>
                  </a:cubicBezTo>
                  <a:cubicBezTo>
                    <a:pt x="84" y="27"/>
                    <a:pt x="85" y="24"/>
                    <a:pt x="96" y="21"/>
                  </a:cubicBezTo>
                  <a:cubicBezTo>
                    <a:pt x="105" y="16"/>
                    <a:pt x="108" y="22"/>
                    <a:pt x="111" y="16"/>
                  </a:cubicBezTo>
                  <a:cubicBezTo>
                    <a:pt x="110" y="16"/>
                    <a:pt x="110" y="15"/>
                    <a:pt x="113" y="15"/>
                  </a:cubicBezTo>
                  <a:cubicBezTo>
                    <a:pt x="114" y="13"/>
                    <a:pt x="111" y="11"/>
                    <a:pt x="108" y="13"/>
                  </a:cubicBezTo>
                  <a:cubicBezTo>
                    <a:pt x="105" y="16"/>
                    <a:pt x="104" y="16"/>
                    <a:pt x="105" y="13"/>
                  </a:cubicBezTo>
                  <a:cubicBezTo>
                    <a:pt x="107" y="11"/>
                    <a:pt x="102" y="11"/>
                    <a:pt x="101" y="13"/>
                  </a:cubicBezTo>
                  <a:cubicBezTo>
                    <a:pt x="99" y="15"/>
                    <a:pt x="97" y="15"/>
                    <a:pt x="97" y="16"/>
                  </a:cubicBezTo>
                  <a:cubicBezTo>
                    <a:pt x="97" y="18"/>
                    <a:pt x="94" y="18"/>
                    <a:pt x="91" y="19"/>
                  </a:cubicBezTo>
                  <a:cubicBezTo>
                    <a:pt x="88" y="22"/>
                    <a:pt x="87" y="19"/>
                    <a:pt x="88" y="10"/>
                  </a:cubicBezTo>
                  <a:cubicBezTo>
                    <a:pt x="88" y="4"/>
                    <a:pt x="87" y="8"/>
                    <a:pt x="85" y="7"/>
                  </a:cubicBezTo>
                  <a:cubicBezTo>
                    <a:pt x="85" y="5"/>
                    <a:pt x="88" y="4"/>
                    <a:pt x="84" y="2"/>
                  </a:cubicBezTo>
                  <a:cubicBezTo>
                    <a:pt x="79" y="0"/>
                    <a:pt x="81" y="5"/>
                    <a:pt x="78" y="7"/>
                  </a:cubicBezTo>
                  <a:cubicBezTo>
                    <a:pt x="76" y="8"/>
                    <a:pt x="79" y="10"/>
                    <a:pt x="78" y="11"/>
                  </a:cubicBezTo>
                  <a:cubicBezTo>
                    <a:pt x="76" y="13"/>
                    <a:pt x="75" y="10"/>
                    <a:pt x="72" y="11"/>
                  </a:cubicBezTo>
                  <a:cubicBezTo>
                    <a:pt x="70" y="13"/>
                    <a:pt x="72" y="16"/>
                    <a:pt x="70" y="16"/>
                  </a:cubicBezTo>
                  <a:cubicBezTo>
                    <a:pt x="70" y="16"/>
                    <a:pt x="69" y="13"/>
                    <a:pt x="67" y="15"/>
                  </a:cubicBezTo>
                  <a:cubicBezTo>
                    <a:pt x="64" y="15"/>
                    <a:pt x="62" y="15"/>
                    <a:pt x="61" y="16"/>
                  </a:cubicBezTo>
                  <a:cubicBezTo>
                    <a:pt x="61" y="19"/>
                    <a:pt x="59" y="19"/>
                    <a:pt x="58" y="16"/>
                  </a:cubicBezTo>
                  <a:cubicBezTo>
                    <a:pt x="56" y="15"/>
                    <a:pt x="56" y="15"/>
                    <a:pt x="55" y="15"/>
                  </a:cubicBezTo>
                  <a:cubicBezTo>
                    <a:pt x="53" y="16"/>
                    <a:pt x="53" y="11"/>
                    <a:pt x="49" y="13"/>
                  </a:cubicBezTo>
                  <a:cubicBezTo>
                    <a:pt x="44" y="15"/>
                    <a:pt x="43" y="10"/>
                    <a:pt x="41" y="13"/>
                  </a:cubicBezTo>
                  <a:cubicBezTo>
                    <a:pt x="38" y="16"/>
                    <a:pt x="35" y="13"/>
                    <a:pt x="33" y="21"/>
                  </a:cubicBezTo>
                  <a:cubicBezTo>
                    <a:pt x="32" y="28"/>
                    <a:pt x="27" y="27"/>
                    <a:pt x="24" y="28"/>
                  </a:cubicBezTo>
                  <a:cubicBezTo>
                    <a:pt x="21" y="30"/>
                    <a:pt x="21" y="35"/>
                    <a:pt x="17" y="36"/>
                  </a:cubicBezTo>
                  <a:cubicBezTo>
                    <a:pt x="12" y="38"/>
                    <a:pt x="15" y="33"/>
                    <a:pt x="10" y="35"/>
                  </a:cubicBezTo>
                  <a:cubicBezTo>
                    <a:pt x="7" y="35"/>
                    <a:pt x="9" y="33"/>
                    <a:pt x="6" y="3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46"/>
            <p:cNvSpPr>
              <a:spLocks/>
            </p:cNvSpPr>
            <p:nvPr/>
          </p:nvSpPr>
          <p:spPr bwMode="auto">
            <a:xfrm>
              <a:off x="6453616" y="3962967"/>
              <a:ext cx="417763" cy="441857"/>
            </a:xfrm>
            <a:custGeom>
              <a:avLst/>
              <a:gdLst/>
              <a:ahLst/>
              <a:cxnLst>
                <a:cxn ang="0">
                  <a:pos x="108" y="0"/>
                </a:cxn>
                <a:cxn ang="0">
                  <a:pos x="116" y="3"/>
                </a:cxn>
                <a:cxn ang="0">
                  <a:pos x="120" y="6"/>
                </a:cxn>
                <a:cxn ang="0">
                  <a:pos x="120" y="12"/>
                </a:cxn>
                <a:cxn ang="0">
                  <a:pos x="125" y="14"/>
                </a:cxn>
                <a:cxn ang="0">
                  <a:pos x="134" y="17"/>
                </a:cxn>
                <a:cxn ang="0">
                  <a:pos x="125" y="25"/>
                </a:cxn>
                <a:cxn ang="0">
                  <a:pos x="114" y="28"/>
                </a:cxn>
                <a:cxn ang="0">
                  <a:pos x="103" y="30"/>
                </a:cxn>
                <a:cxn ang="0">
                  <a:pos x="105" y="33"/>
                </a:cxn>
                <a:cxn ang="0">
                  <a:pos x="105" y="37"/>
                </a:cxn>
                <a:cxn ang="0">
                  <a:pos x="105" y="44"/>
                </a:cxn>
                <a:cxn ang="0">
                  <a:pos x="108" y="47"/>
                </a:cxn>
                <a:cxn ang="0">
                  <a:pos x="111" y="50"/>
                </a:cxn>
                <a:cxn ang="0">
                  <a:pos x="111" y="54"/>
                </a:cxn>
                <a:cxn ang="0">
                  <a:pos x="105" y="69"/>
                </a:cxn>
                <a:cxn ang="0">
                  <a:pos x="102" y="75"/>
                </a:cxn>
                <a:cxn ang="0">
                  <a:pos x="94" y="87"/>
                </a:cxn>
                <a:cxn ang="0">
                  <a:pos x="90" y="93"/>
                </a:cxn>
                <a:cxn ang="0">
                  <a:pos x="86" y="98"/>
                </a:cxn>
                <a:cxn ang="0">
                  <a:pos x="77" y="98"/>
                </a:cxn>
                <a:cxn ang="0">
                  <a:pos x="71" y="103"/>
                </a:cxn>
                <a:cxn ang="0">
                  <a:pos x="71" y="110"/>
                </a:cxn>
                <a:cxn ang="0">
                  <a:pos x="76" y="120"/>
                </a:cxn>
                <a:cxn ang="0">
                  <a:pos x="81" y="129"/>
                </a:cxn>
                <a:cxn ang="0">
                  <a:pos x="81" y="134"/>
                </a:cxn>
                <a:cxn ang="0">
                  <a:pos x="77" y="135"/>
                </a:cxn>
                <a:cxn ang="0">
                  <a:pos x="73" y="135"/>
                </a:cxn>
                <a:cxn ang="0">
                  <a:pos x="67" y="135"/>
                </a:cxn>
                <a:cxn ang="0">
                  <a:pos x="62" y="137"/>
                </a:cxn>
                <a:cxn ang="0">
                  <a:pos x="58" y="142"/>
                </a:cxn>
                <a:cxn ang="0">
                  <a:pos x="53" y="140"/>
                </a:cxn>
                <a:cxn ang="0">
                  <a:pos x="52" y="137"/>
                </a:cxn>
                <a:cxn ang="0">
                  <a:pos x="50" y="134"/>
                </a:cxn>
                <a:cxn ang="0">
                  <a:pos x="48" y="129"/>
                </a:cxn>
                <a:cxn ang="0">
                  <a:pos x="45" y="124"/>
                </a:cxn>
                <a:cxn ang="0">
                  <a:pos x="30" y="124"/>
                </a:cxn>
                <a:cxn ang="0">
                  <a:pos x="24" y="124"/>
                </a:cxn>
                <a:cxn ang="0">
                  <a:pos x="18" y="126"/>
                </a:cxn>
                <a:cxn ang="0">
                  <a:pos x="12" y="126"/>
                </a:cxn>
                <a:cxn ang="0">
                  <a:pos x="6" y="126"/>
                </a:cxn>
                <a:cxn ang="0">
                  <a:pos x="7" y="117"/>
                </a:cxn>
                <a:cxn ang="0">
                  <a:pos x="12" y="112"/>
                </a:cxn>
                <a:cxn ang="0">
                  <a:pos x="18" y="110"/>
                </a:cxn>
                <a:cxn ang="0">
                  <a:pos x="20" y="104"/>
                </a:cxn>
                <a:cxn ang="0">
                  <a:pos x="15" y="103"/>
                </a:cxn>
                <a:cxn ang="0">
                  <a:pos x="15" y="95"/>
                </a:cxn>
                <a:cxn ang="0">
                  <a:pos x="13" y="93"/>
                </a:cxn>
                <a:cxn ang="0">
                  <a:pos x="6" y="87"/>
                </a:cxn>
                <a:cxn ang="0">
                  <a:pos x="0" y="78"/>
                </a:cxn>
                <a:cxn ang="0">
                  <a:pos x="26" y="81"/>
                </a:cxn>
                <a:cxn ang="0">
                  <a:pos x="44" y="72"/>
                </a:cxn>
                <a:cxn ang="0">
                  <a:pos x="56" y="59"/>
                </a:cxn>
                <a:cxn ang="0">
                  <a:pos x="65" y="58"/>
                </a:cxn>
                <a:cxn ang="0">
                  <a:pos x="67" y="48"/>
                </a:cxn>
                <a:cxn ang="0">
                  <a:pos x="73" y="37"/>
                </a:cxn>
                <a:cxn ang="0">
                  <a:pos x="82" y="30"/>
                </a:cxn>
                <a:cxn ang="0">
                  <a:pos x="83" y="17"/>
                </a:cxn>
                <a:cxn ang="0">
                  <a:pos x="93" y="5"/>
                </a:cxn>
                <a:cxn ang="0">
                  <a:pos x="108" y="0"/>
                </a:cxn>
              </a:cxnLst>
              <a:rect l="0" t="0" r="r" b="b"/>
              <a:pathLst>
                <a:path w="134" h="142">
                  <a:moveTo>
                    <a:pt x="108" y="0"/>
                  </a:moveTo>
                  <a:cubicBezTo>
                    <a:pt x="111" y="3"/>
                    <a:pt x="114" y="0"/>
                    <a:pt x="116" y="3"/>
                  </a:cubicBezTo>
                  <a:cubicBezTo>
                    <a:pt x="116" y="6"/>
                    <a:pt x="117" y="2"/>
                    <a:pt x="120" y="6"/>
                  </a:cubicBezTo>
                  <a:cubicBezTo>
                    <a:pt x="122" y="11"/>
                    <a:pt x="119" y="9"/>
                    <a:pt x="120" y="12"/>
                  </a:cubicBezTo>
                  <a:cubicBezTo>
                    <a:pt x="123" y="16"/>
                    <a:pt x="125" y="12"/>
                    <a:pt x="125" y="14"/>
                  </a:cubicBezTo>
                  <a:cubicBezTo>
                    <a:pt x="126" y="16"/>
                    <a:pt x="131" y="17"/>
                    <a:pt x="134" y="17"/>
                  </a:cubicBezTo>
                  <a:cubicBezTo>
                    <a:pt x="126" y="22"/>
                    <a:pt x="129" y="27"/>
                    <a:pt x="125" y="25"/>
                  </a:cubicBezTo>
                  <a:cubicBezTo>
                    <a:pt x="122" y="25"/>
                    <a:pt x="120" y="30"/>
                    <a:pt x="114" y="28"/>
                  </a:cubicBezTo>
                  <a:cubicBezTo>
                    <a:pt x="105" y="23"/>
                    <a:pt x="100" y="28"/>
                    <a:pt x="103" y="30"/>
                  </a:cubicBezTo>
                  <a:cubicBezTo>
                    <a:pt x="106" y="33"/>
                    <a:pt x="100" y="33"/>
                    <a:pt x="105" y="33"/>
                  </a:cubicBezTo>
                  <a:cubicBezTo>
                    <a:pt x="111" y="34"/>
                    <a:pt x="100" y="34"/>
                    <a:pt x="105" y="37"/>
                  </a:cubicBezTo>
                  <a:cubicBezTo>
                    <a:pt x="108" y="40"/>
                    <a:pt x="102" y="40"/>
                    <a:pt x="105" y="44"/>
                  </a:cubicBezTo>
                  <a:cubicBezTo>
                    <a:pt x="108" y="45"/>
                    <a:pt x="106" y="47"/>
                    <a:pt x="108" y="47"/>
                  </a:cubicBezTo>
                  <a:cubicBezTo>
                    <a:pt x="112" y="45"/>
                    <a:pt x="108" y="50"/>
                    <a:pt x="111" y="50"/>
                  </a:cubicBezTo>
                  <a:cubicBezTo>
                    <a:pt x="116" y="51"/>
                    <a:pt x="117" y="51"/>
                    <a:pt x="111" y="54"/>
                  </a:cubicBezTo>
                  <a:cubicBezTo>
                    <a:pt x="103" y="58"/>
                    <a:pt x="112" y="58"/>
                    <a:pt x="105" y="69"/>
                  </a:cubicBezTo>
                  <a:cubicBezTo>
                    <a:pt x="102" y="75"/>
                    <a:pt x="108" y="73"/>
                    <a:pt x="102" y="75"/>
                  </a:cubicBezTo>
                  <a:cubicBezTo>
                    <a:pt x="96" y="78"/>
                    <a:pt x="99" y="86"/>
                    <a:pt x="94" y="87"/>
                  </a:cubicBezTo>
                  <a:cubicBezTo>
                    <a:pt x="90" y="89"/>
                    <a:pt x="91" y="92"/>
                    <a:pt x="90" y="93"/>
                  </a:cubicBezTo>
                  <a:cubicBezTo>
                    <a:pt x="86" y="95"/>
                    <a:pt x="90" y="98"/>
                    <a:pt x="86" y="98"/>
                  </a:cubicBezTo>
                  <a:cubicBezTo>
                    <a:pt x="81" y="98"/>
                    <a:pt x="79" y="101"/>
                    <a:pt x="77" y="98"/>
                  </a:cubicBezTo>
                  <a:cubicBezTo>
                    <a:pt x="74" y="93"/>
                    <a:pt x="74" y="100"/>
                    <a:pt x="71" y="103"/>
                  </a:cubicBezTo>
                  <a:cubicBezTo>
                    <a:pt x="68" y="106"/>
                    <a:pt x="65" y="110"/>
                    <a:pt x="71" y="110"/>
                  </a:cubicBezTo>
                  <a:cubicBezTo>
                    <a:pt x="77" y="112"/>
                    <a:pt x="70" y="120"/>
                    <a:pt x="76" y="120"/>
                  </a:cubicBezTo>
                  <a:cubicBezTo>
                    <a:pt x="81" y="121"/>
                    <a:pt x="74" y="121"/>
                    <a:pt x="81" y="129"/>
                  </a:cubicBezTo>
                  <a:cubicBezTo>
                    <a:pt x="82" y="131"/>
                    <a:pt x="79" y="132"/>
                    <a:pt x="81" y="134"/>
                  </a:cubicBezTo>
                  <a:cubicBezTo>
                    <a:pt x="82" y="134"/>
                    <a:pt x="77" y="137"/>
                    <a:pt x="77" y="135"/>
                  </a:cubicBezTo>
                  <a:cubicBezTo>
                    <a:pt x="76" y="132"/>
                    <a:pt x="74" y="134"/>
                    <a:pt x="73" y="135"/>
                  </a:cubicBezTo>
                  <a:cubicBezTo>
                    <a:pt x="71" y="139"/>
                    <a:pt x="71" y="134"/>
                    <a:pt x="67" y="135"/>
                  </a:cubicBezTo>
                  <a:cubicBezTo>
                    <a:pt x="65" y="135"/>
                    <a:pt x="62" y="134"/>
                    <a:pt x="62" y="137"/>
                  </a:cubicBezTo>
                  <a:cubicBezTo>
                    <a:pt x="64" y="140"/>
                    <a:pt x="58" y="137"/>
                    <a:pt x="58" y="142"/>
                  </a:cubicBezTo>
                  <a:cubicBezTo>
                    <a:pt x="55" y="139"/>
                    <a:pt x="55" y="142"/>
                    <a:pt x="53" y="140"/>
                  </a:cubicBezTo>
                  <a:cubicBezTo>
                    <a:pt x="52" y="139"/>
                    <a:pt x="53" y="139"/>
                    <a:pt x="52" y="137"/>
                  </a:cubicBezTo>
                  <a:cubicBezTo>
                    <a:pt x="50" y="135"/>
                    <a:pt x="52" y="135"/>
                    <a:pt x="50" y="134"/>
                  </a:cubicBezTo>
                  <a:cubicBezTo>
                    <a:pt x="48" y="132"/>
                    <a:pt x="52" y="129"/>
                    <a:pt x="48" y="129"/>
                  </a:cubicBezTo>
                  <a:cubicBezTo>
                    <a:pt x="44" y="129"/>
                    <a:pt x="47" y="128"/>
                    <a:pt x="45" y="124"/>
                  </a:cubicBezTo>
                  <a:cubicBezTo>
                    <a:pt x="45" y="123"/>
                    <a:pt x="32" y="124"/>
                    <a:pt x="30" y="124"/>
                  </a:cubicBezTo>
                  <a:cubicBezTo>
                    <a:pt x="30" y="128"/>
                    <a:pt x="30" y="126"/>
                    <a:pt x="24" y="124"/>
                  </a:cubicBezTo>
                  <a:cubicBezTo>
                    <a:pt x="18" y="123"/>
                    <a:pt x="23" y="128"/>
                    <a:pt x="18" y="126"/>
                  </a:cubicBezTo>
                  <a:cubicBezTo>
                    <a:pt x="12" y="123"/>
                    <a:pt x="13" y="128"/>
                    <a:pt x="12" y="126"/>
                  </a:cubicBezTo>
                  <a:cubicBezTo>
                    <a:pt x="10" y="124"/>
                    <a:pt x="7" y="131"/>
                    <a:pt x="6" y="126"/>
                  </a:cubicBezTo>
                  <a:cubicBezTo>
                    <a:pt x="6" y="123"/>
                    <a:pt x="6" y="120"/>
                    <a:pt x="7" y="117"/>
                  </a:cubicBezTo>
                  <a:cubicBezTo>
                    <a:pt x="9" y="114"/>
                    <a:pt x="12" y="115"/>
                    <a:pt x="12" y="112"/>
                  </a:cubicBezTo>
                  <a:cubicBezTo>
                    <a:pt x="12" y="110"/>
                    <a:pt x="18" y="112"/>
                    <a:pt x="18" y="110"/>
                  </a:cubicBezTo>
                  <a:cubicBezTo>
                    <a:pt x="18" y="107"/>
                    <a:pt x="20" y="106"/>
                    <a:pt x="20" y="104"/>
                  </a:cubicBezTo>
                  <a:cubicBezTo>
                    <a:pt x="18" y="104"/>
                    <a:pt x="13" y="106"/>
                    <a:pt x="15" y="103"/>
                  </a:cubicBezTo>
                  <a:cubicBezTo>
                    <a:pt x="17" y="101"/>
                    <a:pt x="15" y="98"/>
                    <a:pt x="15" y="95"/>
                  </a:cubicBezTo>
                  <a:cubicBezTo>
                    <a:pt x="15" y="92"/>
                    <a:pt x="15" y="97"/>
                    <a:pt x="13" y="93"/>
                  </a:cubicBezTo>
                  <a:cubicBezTo>
                    <a:pt x="12" y="90"/>
                    <a:pt x="7" y="93"/>
                    <a:pt x="6" y="87"/>
                  </a:cubicBezTo>
                  <a:cubicBezTo>
                    <a:pt x="4" y="82"/>
                    <a:pt x="3" y="81"/>
                    <a:pt x="0" y="78"/>
                  </a:cubicBezTo>
                  <a:cubicBezTo>
                    <a:pt x="4" y="76"/>
                    <a:pt x="10" y="86"/>
                    <a:pt x="26" y="81"/>
                  </a:cubicBezTo>
                  <a:cubicBezTo>
                    <a:pt x="42" y="78"/>
                    <a:pt x="44" y="78"/>
                    <a:pt x="44" y="72"/>
                  </a:cubicBezTo>
                  <a:cubicBezTo>
                    <a:pt x="42" y="64"/>
                    <a:pt x="52" y="62"/>
                    <a:pt x="56" y="59"/>
                  </a:cubicBezTo>
                  <a:cubicBezTo>
                    <a:pt x="61" y="54"/>
                    <a:pt x="64" y="61"/>
                    <a:pt x="65" y="58"/>
                  </a:cubicBezTo>
                  <a:cubicBezTo>
                    <a:pt x="67" y="56"/>
                    <a:pt x="65" y="54"/>
                    <a:pt x="67" y="48"/>
                  </a:cubicBezTo>
                  <a:cubicBezTo>
                    <a:pt x="70" y="40"/>
                    <a:pt x="77" y="45"/>
                    <a:pt x="73" y="37"/>
                  </a:cubicBezTo>
                  <a:cubicBezTo>
                    <a:pt x="67" y="28"/>
                    <a:pt x="82" y="39"/>
                    <a:pt x="82" y="30"/>
                  </a:cubicBezTo>
                  <a:cubicBezTo>
                    <a:pt x="82" y="25"/>
                    <a:pt x="86" y="23"/>
                    <a:pt x="83" y="17"/>
                  </a:cubicBezTo>
                  <a:cubicBezTo>
                    <a:pt x="81" y="11"/>
                    <a:pt x="82" y="8"/>
                    <a:pt x="93" y="5"/>
                  </a:cubicBezTo>
                  <a:cubicBezTo>
                    <a:pt x="102" y="0"/>
                    <a:pt x="105" y="6"/>
                    <a:pt x="108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47"/>
            <p:cNvSpPr>
              <a:spLocks/>
            </p:cNvSpPr>
            <p:nvPr/>
          </p:nvSpPr>
          <p:spPr bwMode="auto">
            <a:xfrm>
              <a:off x="6035854" y="3866563"/>
              <a:ext cx="477214" cy="491666"/>
            </a:xfrm>
            <a:custGeom>
              <a:avLst/>
              <a:gdLst/>
              <a:ahLst/>
              <a:cxnLst>
                <a:cxn ang="0">
                  <a:pos x="50" y="29"/>
                </a:cxn>
                <a:cxn ang="0">
                  <a:pos x="79" y="33"/>
                </a:cxn>
                <a:cxn ang="0">
                  <a:pos x="79" y="28"/>
                </a:cxn>
                <a:cxn ang="0">
                  <a:pos x="99" y="20"/>
                </a:cxn>
                <a:cxn ang="0">
                  <a:pos x="106" y="20"/>
                </a:cxn>
                <a:cxn ang="0">
                  <a:pos x="118" y="25"/>
                </a:cxn>
                <a:cxn ang="0">
                  <a:pos x="131" y="36"/>
                </a:cxn>
                <a:cxn ang="0">
                  <a:pos x="137" y="40"/>
                </a:cxn>
                <a:cxn ang="0">
                  <a:pos x="137" y="48"/>
                </a:cxn>
                <a:cxn ang="0">
                  <a:pos x="134" y="88"/>
                </a:cxn>
                <a:cxn ang="0">
                  <a:pos x="134" y="108"/>
                </a:cxn>
                <a:cxn ang="0">
                  <a:pos x="147" y="124"/>
                </a:cxn>
                <a:cxn ang="0">
                  <a:pos x="149" y="133"/>
                </a:cxn>
                <a:cxn ang="0">
                  <a:pos x="152" y="141"/>
                </a:cxn>
                <a:cxn ang="0">
                  <a:pos x="141" y="147"/>
                </a:cxn>
                <a:cxn ang="0">
                  <a:pos x="137" y="157"/>
                </a:cxn>
                <a:cxn ang="0">
                  <a:pos x="131" y="155"/>
                </a:cxn>
                <a:cxn ang="0">
                  <a:pos x="115" y="152"/>
                </a:cxn>
                <a:cxn ang="0">
                  <a:pos x="105" y="149"/>
                </a:cxn>
                <a:cxn ang="0">
                  <a:pos x="94" y="138"/>
                </a:cxn>
                <a:cxn ang="0">
                  <a:pos x="83" y="143"/>
                </a:cxn>
                <a:cxn ang="0">
                  <a:pos x="68" y="133"/>
                </a:cxn>
                <a:cxn ang="0">
                  <a:pos x="55" y="119"/>
                </a:cxn>
                <a:cxn ang="0">
                  <a:pos x="45" y="105"/>
                </a:cxn>
                <a:cxn ang="0">
                  <a:pos x="36" y="107"/>
                </a:cxn>
                <a:cxn ang="0">
                  <a:pos x="30" y="96"/>
                </a:cxn>
                <a:cxn ang="0">
                  <a:pos x="18" y="73"/>
                </a:cxn>
                <a:cxn ang="0">
                  <a:pos x="17" y="50"/>
                </a:cxn>
                <a:cxn ang="0">
                  <a:pos x="11" y="42"/>
                </a:cxn>
                <a:cxn ang="0">
                  <a:pos x="4" y="25"/>
                </a:cxn>
                <a:cxn ang="0">
                  <a:pos x="4" y="19"/>
                </a:cxn>
                <a:cxn ang="0">
                  <a:pos x="3" y="12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18" y="12"/>
                </a:cxn>
                <a:cxn ang="0">
                  <a:pos x="20" y="12"/>
                </a:cxn>
                <a:cxn ang="0">
                  <a:pos x="23" y="9"/>
                </a:cxn>
                <a:cxn ang="0">
                  <a:pos x="27" y="6"/>
                </a:cxn>
                <a:cxn ang="0">
                  <a:pos x="35" y="6"/>
                </a:cxn>
                <a:cxn ang="0">
                  <a:pos x="35" y="9"/>
                </a:cxn>
                <a:cxn ang="0">
                  <a:pos x="32" y="12"/>
                </a:cxn>
                <a:cxn ang="0">
                  <a:pos x="35" y="15"/>
                </a:cxn>
                <a:cxn ang="0">
                  <a:pos x="39" y="17"/>
                </a:cxn>
              </a:cxnLst>
              <a:rect l="0" t="0" r="r" b="b"/>
              <a:pathLst>
                <a:path w="153" h="158">
                  <a:moveTo>
                    <a:pt x="39" y="17"/>
                  </a:moveTo>
                  <a:cubicBezTo>
                    <a:pt x="39" y="33"/>
                    <a:pt x="47" y="23"/>
                    <a:pt x="50" y="29"/>
                  </a:cubicBezTo>
                  <a:cubicBezTo>
                    <a:pt x="52" y="34"/>
                    <a:pt x="62" y="37"/>
                    <a:pt x="64" y="37"/>
                  </a:cubicBezTo>
                  <a:cubicBezTo>
                    <a:pt x="67" y="36"/>
                    <a:pt x="77" y="33"/>
                    <a:pt x="79" y="33"/>
                  </a:cubicBezTo>
                  <a:cubicBezTo>
                    <a:pt x="79" y="34"/>
                    <a:pt x="74" y="34"/>
                    <a:pt x="79" y="34"/>
                  </a:cubicBezTo>
                  <a:cubicBezTo>
                    <a:pt x="82" y="34"/>
                    <a:pt x="79" y="31"/>
                    <a:pt x="79" y="28"/>
                  </a:cubicBezTo>
                  <a:cubicBezTo>
                    <a:pt x="90" y="28"/>
                    <a:pt x="82" y="25"/>
                    <a:pt x="90" y="22"/>
                  </a:cubicBezTo>
                  <a:cubicBezTo>
                    <a:pt x="94" y="19"/>
                    <a:pt x="97" y="23"/>
                    <a:pt x="99" y="20"/>
                  </a:cubicBezTo>
                  <a:cubicBezTo>
                    <a:pt x="99" y="19"/>
                    <a:pt x="102" y="17"/>
                    <a:pt x="103" y="19"/>
                  </a:cubicBezTo>
                  <a:cubicBezTo>
                    <a:pt x="103" y="20"/>
                    <a:pt x="105" y="17"/>
                    <a:pt x="106" y="20"/>
                  </a:cubicBezTo>
                  <a:cubicBezTo>
                    <a:pt x="106" y="23"/>
                    <a:pt x="112" y="22"/>
                    <a:pt x="112" y="25"/>
                  </a:cubicBezTo>
                  <a:cubicBezTo>
                    <a:pt x="114" y="26"/>
                    <a:pt x="114" y="23"/>
                    <a:pt x="118" y="25"/>
                  </a:cubicBezTo>
                  <a:cubicBezTo>
                    <a:pt x="124" y="26"/>
                    <a:pt x="120" y="29"/>
                    <a:pt x="124" y="31"/>
                  </a:cubicBezTo>
                  <a:cubicBezTo>
                    <a:pt x="129" y="33"/>
                    <a:pt x="127" y="36"/>
                    <a:pt x="131" y="36"/>
                  </a:cubicBezTo>
                  <a:cubicBezTo>
                    <a:pt x="134" y="36"/>
                    <a:pt x="135" y="36"/>
                    <a:pt x="137" y="37"/>
                  </a:cubicBezTo>
                  <a:cubicBezTo>
                    <a:pt x="137" y="39"/>
                    <a:pt x="135" y="37"/>
                    <a:pt x="137" y="40"/>
                  </a:cubicBezTo>
                  <a:cubicBezTo>
                    <a:pt x="137" y="42"/>
                    <a:pt x="135" y="43"/>
                    <a:pt x="137" y="43"/>
                  </a:cubicBezTo>
                  <a:cubicBezTo>
                    <a:pt x="138" y="45"/>
                    <a:pt x="137" y="46"/>
                    <a:pt x="137" y="48"/>
                  </a:cubicBezTo>
                  <a:cubicBezTo>
                    <a:pt x="135" y="62"/>
                    <a:pt x="131" y="57"/>
                    <a:pt x="131" y="65"/>
                  </a:cubicBezTo>
                  <a:cubicBezTo>
                    <a:pt x="132" y="73"/>
                    <a:pt x="134" y="81"/>
                    <a:pt x="134" y="88"/>
                  </a:cubicBezTo>
                  <a:cubicBezTo>
                    <a:pt x="132" y="96"/>
                    <a:pt x="141" y="88"/>
                    <a:pt x="141" y="95"/>
                  </a:cubicBezTo>
                  <a:cubicBezTo>
                    <a:pt x="143" y="101"/>
                    <a:pt x="134" y="104"/>
                    <a:pt x="134" y="108"/>
                  </a:cubicBezTo>
                  <a:cubicBezTo>
                    <a:pt x="137" y="112"/>
                    <a:pt x="138" y="113"/>
                    <a:pt x="140" y="118"/>
                  </a:cubicBezTo>
                  <a:cubicBezTo>
                    <a:pt x="141" y="124"/>
                    <a:pt x="146" y="121"/>
                    <a:pt x="147" y="124"/>
                  </a:cubicBezTo>
                  <a:cubicBezTo>
                    <a:pt x="149" y="127"/>
                    <a:pt x="149" y="122"/>
                    <a:pt x="149" y="126"/>
                  </a:cubicBezTo>
                  <a:cubicBezTo>
                    <a:pt x="149" y="129"/>
                    <a:pt x="150" y="132"/>
                    <a:pt x="149" y="133"/>
                  </a:cubicBezTo>
                  <a:cubicBezTo>
                    <a:pt x="147" y="136"/>
                    <a:pt x="152" y="135"/>
                    <a:pt x="153" y="135"/>
                  </a:cubicBezTo>
                  <a:cubicBezTo>
                    <a:pt x="153" y="136"/>
                    <a:pt x="152" y="138"/>
                    <a:pt x="152" y="141"/>
                  </a:cubicBezTo>
                  <a:cubicBezTo>
                    <a:pt x="152" y="143"/>
                    <a:pt x="146" y="141"/>
                    <a:pt x="146" y="143"/>
                  </a:cubicBezTo>
                  <a:cubicBezTo>
                    <a:pt x="146" y="146"/>
                    <a:pt x="143" y="144"/>
                    <a:pt x="141" y="147"/>
                  </a:cubicBezTo>
                  <a:cubicBezTo>
                    <a:pt x="140" y="150"/>
                    <a:pt x="140" y="153"/>
                    <a:pt x="140" y="157"/>
                  </a:cubicBezTo>
                  <a:cubicBezTo>
                    <a:pt x="138" y="155"/>
                    <a:pt x="140" y="158"/>
                    <a:pt x="137" y="157"/>
                  </a:cubicBezTo>
                  <a:cubicBezTo>
                    <a:pt x="134" y="155"/>
                    <a:pt x="132" y="157"/>
                    <a:pt x="132" y="155"/>
                  </a:cubicBezTo>
                  <a:cubicBezTo>
                    <a:pt x="131" y="153"/>
                    <a:pt x="131" y="153"/>
                    <a:pt x="131" y="155"/>
                  </a:cubicBezTo>
                  <a:cubicBezTo>
                    <a:pt x="131" y="157"/>
                    <a:pt x="123" y="153"/>
                    <a:pt x="121" y="153"/>
                  </a:cubicBezTo>
                  <a:cubicBezTo>
                    <a:pt x="118" y="155"/>
                    <a:pt x="120" y="153"/>
                    <a:pt x="115" y="152"/>
                  </a:cubicBezTo>
                  <a:cubicBezTo>
                    <a:pt x="112" y="152"/>
                    <a:pt x="114" y="153"/>
                    <a:pt x="111" y="152"/>
                  </a:cubicBezTo>
                  <a:cubicBezTo>
                    <a:pt x="109" y="150"/>
                    <a:pt x="106" y="152"/>
                    <a:pt x="105" y="149"/>
                  </a:cubicBezTo>
                  <a:cubicBezTo>
                    <a:pt x="105" y="147"/>
                    <a:pt x="105" y="138"/>
                    <a:pt x="100" y="136"/>
                  </a:cubicBezTo>
                  <a:cubicBezTo>
                    <a:pt x="96" y="135"/>
                    <a:pt x="96" y="138"/>
                    <a:pt x="94" y="138"/>
                  </a:cubicBezTo>
                  <a:cubicBezTo>
                    <a:pt x="91" y="138"/>
                    <a:pt x="93" y="139"/>
                    <a:pt x="91" y="139"/>
                  </a:cubicBezTo>
                  <a:cubicBezTo>
                    <a:pt x="88" y="139"/>
                    <a:pt x="86" y="144"/>
                    <a:pt x="83" y="143"/>
                  </a:cubicBezTo>
                  <a:cubicBezTo>
                    <a:pt x="80" y="139"/>
                    <a:pt x="79" y="143"/>
                    <a:pt x="74" y="138"/>
                  </a:cubicBezTo>
                  <a:cubicBezTo>
                    <a:pt x="73" y="136"/>
                    <a:pt x="68" y="135"/>
                    <a:pt x="68" y="133"/>
                  </a:cubicBezTo>
                  <a:cubicBezTo>
                    <a:pt x="70" y="130"/>
                    <a:pt x="61" y="130"/>
                    <a:pt x="58" y="127"/>
                  </a:cubicBezTo>
                  <a:cubicBezTo>
                    <a:pt x="55" y="122"/>
                    <a:pt x="58" y="122"/>
                    <a:pt x="55" y="119"/>
                  </a:cubicBezTo>
                  <a:cubicBezTo>
                    <a:pt x="53" y="116"/>
                    <a:pt x="55" y="113"/>
                    <a:pt x="52" y="110"/>
                  </a:cubicBezTo>
                  <a:cubicBezTo>
                    <a:pt x="47" y="107"/>
                    <a:pt x="50" y="102"/>
                    <a:pt x="45" y="105"/>
                  </a:cubicBezTo>
                  <a:cubicBezTo>
                    <a:pt x="42" y="108"/>
                    <a:pt x="39" y="101"/>
                    <a:pt x="39" y="104"/>
                  </a:cubicBezTo>
                  <a:cubicBezTo>
                    <a:pt x="39" y="107"/>
                    <a:pt x="38" y="105"/>
                    <a:pt x="36" y="107"/>
                  </a:cubicBezTo>
                  <a:cubicBezTo>
                    <a:pt x="36" y="104"/>
                    <a:pt x="35" y="104"/>
                    <a:pt x="33" y="102"/>
                  </a:cubicBezTo>
                  <a:cubicBezTo>
                    <a:pt x="32" y="102"/>
                    <a:pt x="32" y="99"/>
                    <a:pt x="30" y="96"/>
                  </a:cubicBezTo>
                  <a:cubicBezTo>
                    <a:pt x="29" y="93"/>
                    <a:pt x="32" y="90"/>
                    <a:pt x="29" y="84"/>
                  </a:cubicBezTo>
                  <a:cubicBezTo>
                    <a:pt x="26" y="79"/>
                    <a:pt x="18" y="77"/>
                    <a:pt x="18" y="73"/>
                  </a:cubicBezTo>
                  <a:cubicBezTo>
                    <a:pt x="17" y="67"/>
                    <a:pt x="11" y="68"/>
                    <a:pt x="12" y="62"/>
                  </a:cubicBezTo>
                  <a:cubicBezTo>
                    <a:pt x="12" y="56"/>
                    <a:pt x="20" y="54"/>
                    <a:pt x="17" y="50"/>
                  </a:cubicBezTo>
                  <a:cubicBezTo>
                    <a:pt x="15" y="45"/>
                    <a:pt x="20" y="46"/>
                    <a:pt x="20" y="45"/>
                  </a:cubicBezTo>
                  <a:cubicBezTo>
                    <a:pt x="18" y="43"/>
                    <a:pt x="11" y="45"/>
                    <a:pt x="11" y="42"/>
                  </a:cubicBezTo>
                  <a:cubicBezTo>
                    <a:pt x="11" y="39"/>
                    <a:pt x="8" y="36"/>
                    <a:pt x="6" y="31"/>
                  </a:cubicBezTo>
                  <a:cubicBezTo>
                    <a:pt x="6" y="28"/>
                    <a:pt x="4" y="28"/>
                    <a:pt x="4" y="25"/>
                  </a:cubicBezTo>
                  <a:cubicBezTo>
                    <a:pt x="6" y="23"/>
                    <a:pt x="1" y="23"/>
                    <a:pt x="1" y="22"/>
                  </a:cubicBezTo>
                  <a:cubicBezTo>
                    <a:pt x="1" y="20"/>
                    <a:pt x="4" y="20"/>
                    <a:pt x="4" y="19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3" y="15"/>
                    <a:pt x="3" y="14"/>
                    <a:pt x="3" y="12"/>
                  </a:cubicBezTo>
                  <a:cubicBezTo>
                    <a:pt x="3" y="11"/>
                    <a:pt x="1" y="11"/>
                    <a:pt x="1" y="1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3" y="6"/>
                    <a:pt x="3" y="6"/>
                  </a:cubicBezTo>
                  <a:cubicBezTo>
                    <a:pt x="4" y="5"/>
                    <a:pt x="3" y="0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6"/>
                    <a:pt x="11" y="11"/>
                    <a:pt x="15" y="12"/>
                  </a:cubicBezTo>
                  <a:cubicBezTo>
                    <a:pt x="17" y="12"/>
                    <a:pt x="17" y="12"/>
                    <a:pt x="18" y="12"/>
                  </a:cubicBezTo>
                  <a:cubicBezTo>
                    <a:pt x="18" y="12"/>
                    <a:pt x="18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1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6" y="6"/>
                    <a:pt x="27" y="6"/>
                  </a:cubicBezTo>
                  <a:cubicBezTo>
                    <a:pt x="27" y="5"/>
                    <a:pt x="30" y="2"/>
                    <a:pt x="32" y="3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3" y="6"/>
                    <a:pt x="33" y="8"/>
                  </a:cubicBezTo>
                  <a:cubicBezTo>
                    <a:pt x="33" y="9"/>
                    <a:pt x="35" y="9"/>
                    <a:pt x="35" y="9"/>
                  </a:cubicBezTo>
                  <a:cubicBezTo>
                    <a:pt x="35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4"/>
                  </a:cubicBezTo>
                  <a:cubicBezTo>
                    <a:pt x="33" y="14"/>
                    <a:pt x="33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5"/>
                    <a:pt x="35" y="19"/>
                    <a:pt x="39" y="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48"/>
            <p:cNvSpPr>
              <a:spLocks/>
            </p:cNvSpPr>
            <p:nvPr/>
          </p:nvSpPr>
          <p:spPr bwMode="auto">
            <a:xfrm>
              <a:off x="5593988" y="3783011"/>
              <a:ext cx="461146" cy="223339"/>
            </a:xfrm>
            <a:custGeom>
              <a:avLst/>
              <a:gdLst/>
              <a:ahLst/>
              <a:cxnLst>
                <a:cxn ang="0">
                  <a:pos x="139" y="14"/>
                </a:cxn>
                <a:cxn ang="0">
                  <a:pos x="140" y="19"/>
                </a:cxn>
                <a:cxn ang="0">
                  <a:pos x="140" y="24"/>
                </a:cxn>
                <a:cxn ang="0">
                  <a:pos x="146" y="27"/>
                </a:cxn>
                <a:cxn ang="0">
                  <a:pos x="148" y="30"/>
                </a:cxn>
                <a:cxn ang="0">
                  <a:pos x="142" y="33"/>
                </a:cxn>
                <a:cxn ang="0">
                  <a:pos x="143" y="38"/>
                </a:cxn>
                <a:cxn ang="0">
                  <a:pos x="145" y="44"/>
                </a:cxn>
                <a:cxn ang="0">
                  <a:pos x="143" y="49"/>
                </a:cxn>
                <a:cxn ang="0">
                  <a:pos x="148" y="58"/>
                </a:cxn>
                <a:cxn ang="0">
                  <a:pos x="145" y="60"/>
                </a:cxn>
                <a:cxn ang="0">
                  <a:pos x="139" y="56"/>
                </a:cxn>
                <a:cxn ang="0">
                  <a:pos x="134" y="55"/>
                </a:cxn>
                <a:cxn ang="0">
                  <a:pos x="133" y="55"/>
                </a:cxn>
                <a:cxn ang="0">
                  <a:pos x="133" y="55"/>
                </a:cxn>
                <a:cxn ang="0">
                  <a:pos x="130" y="56"/>
                </a:cxn>
                <a:cxn ang="0">
                  <a:pos x="124" y="58"/>
                </a:cxn>
                <a:cxn ang="0">
                  <a:pos x="104" y="63"/>
                </a:cxn>
                <a:cxn ang="0">
                  <a:pos x="90" y="63"/>
                </a:cxn>
                <a:cxn ang="0">
                  <a:pos x="84" y="61"/>
                </a:cxn>
                <a:cxn ang="0">
                  <a:pos x="84" y="67"/>
                </a:cxn>
                <a:cxn ang="0">
                  <a:pos x="79" y="72"/>
                </a:cxn>
                <a:cxn ang="0">
                  <a:pos x="78" y="67"/>
                </a:cxn>
                <a:cxn ang="0">
                  <a:pos x="75" y="63"/>
                </a:cxn>
                <a:cxn ang="0">
                  <a:pos x="55" y="70"/>
                </a:cxn>
                <a:cxn ang="0">
                  <a:pos x="35" y="67"/>
                </a:cxn>
                <a:cxn ang="0">
                  <a:pos x="24" y="64"/>
                </a:cxn>
                <a:cxn ang="0">
                  <a:pos x="15" y="63"/>
                </a:cxn>
                <a:cxn ang="0">
                  <a:pos x="15" y="60"/>
                </a:cxn>
                <a:cxn ang="0">
                  <a:pos x="11" y="56"/>
                </a:cxn>
                <a:cxn ang="0">
                  <a:pos x="9" y="50"/>
                </a:cxn>
                <a:cxn ang="0">
                  <a:pos x="3" y="46"/>
                </a:cxn>
                <a:cxn ang="0">
                  <a:pos x="6" y="42"/>
                </a:cxn>
                <a:cxn ang="0">
                  <a:pos x="5" y="35"/>
                </a:cxn>
                <a:cxn ang="0">
                  <a:pos x="0" y="28"/>
                </a:cxn>
                <a:cxn ang="0">
                  <a:pos x="11" y="22"/>
                </a:cxn>
                <a:cxn ang="0">
                  <a:pos x="15" y="21"/>
                </a:cxn>
                <a:cxn ang="0">
                  <a:pos x="26" y="19"/>
                </a:cxn>
                <a:cxn ang="0">
                  <a:pos x="24" y="14"/>
                </a:cxn>
                <a:cxn ang="0">
                  <a:pos x="37" y="13"/>
                </a:cxn>
                <a:cxn ang="0">
                  <a:pos x="55" y="5"/>
                </a:cxn>
                <a:cxn ang="0">
                  <a:pos x="76" y="7"/>
                </a:cxn>
                <a:cxn ang="0">
                  <a:pos x="89" y="14"/>
                </a:cxn>
                <a:cxn ang="0">
                  <a:pos x="108" y="14"/>
                </a:cxn>
                <a:cxn ang="0">
                  <a:pos x="127" y="10"/>
                </a:cxn>
                <a:cxn ang="0">
                  <a:pos x="131" y="8"/>
                </a:cxn>
                <a:cxn ang="0">
                  <a:pos x="136" y="11"/>
                </a:cxn>
                <a:cxn ang="0">
                  <a:pos x="139" y="13"/>
                </a:cxn>
              </a:cxnLst>
              <a:rect l="0" t="0" r="r" b="b"/>
              <a:pathLst>
                <a:path w="148" h="72">
                  <a:moveTo>
                    <a:pt x="139" y="14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7" y="14"/>
                    <a:pt x="139" y="14"/>
                  </a:cubicBezTo>
                  <a:cubicBezTo>
                    <a:pt x="139" y="16"/>
                    <a:pt x="140" y="18"/>
                    <a:pt x="140" y="19"/>
                  </a:cubicBezTo>
                  <a:cubicBezTo>
                    <a:pt x="140" y="21"/>
                    <a:pt x="139" y="21"/>
                    <a:pt x="139" y="22"/>
                  </a:cubicBezTo>
                  <a:cubicBezTo>
                    <a:pt x="139" y="24"/>
                    <a:pt x="140" y="24"/>
                    <a:pt x="140" y="24"/>
                  </a:cubicBezTo>
                  <a:cubicBezTo>
                    <a:pt x="140" y="25"/>
                    <a:pt x="139" y="25"/>
                    <a:pt x="139" y="25"/>
                  </a:cubicBezTo>
                  <a:cubicBezTo>
                    <a:pt x="142" y="27"/>
                    <a:pt x="145" y="25"/>
                    <a:pt x="146" y="27"/>
                  </a:cubicBezTo>
                  <a:cubicBezTo>
                    <a:pt x="148" y="28"/>
                    <a:pt x="148" y="28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5" y="27"/>
                    <a:pt x="146" y="32"/>
                    <a:pt x="145" y="33"/>
                  </a:cubicBezTo>
                  <a:cubicBezTo>
                    <a:pt x="145" y="33"/>
                    <a:pt x="142" y="32"/>
                    <a:pt x="142" y="33"/>
                  </a:cubicBezTo>
                  <a:cubicBezTo>
                    <a:pt x="142" y="35"/>
                    <a:pt x="143" y="35"/>
                    <a:pt x="143" y="36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8"/>
                    <a:pt x="145" y="38"/>
                    <a:pt x="145" y="39"/>
                  </a:cubicBezTo>
                  <a:cubicBezTo>
                    <a:pt x="145" y="41"/>
                    <a:pt x="145" y="42"/>
                    <a:pt x="145" y="44"/>
                  </a:cubicBezTo>
                  <a:cubicBezTo>
                    <a:pt x="145" y="44"/>
                    <a:pt x="146" y="44"/>
                    <a:pt x="146" y="46"/>
                  </a:cubicBezTo>
                  <a:cubicBezTo>
                    <a:pt x="146" y="47"/>
                    <a:pt x="143" y="47"/>
                    <a:pt x="143" y="49"/>
                  </a:cubicBezTo>
                  <a:cubicBezTo>
                    <a:pt x="143" y="50"/>
                    <a:pt x="148" y="50"/>
                    <a:pt x="146" y="52"/>
                  </a:cubicBezTo>
                  <a:cubicBezTo>
                    <a:pt x="146" y="55"/>
                    <a:pt x="148" y="55"/>
                    <a:pt x="148" y="58"/>
                  </a:cubicBezTo>
                  <a:cubicBezTo>
                    <a:pt x="148" y="58"/>
                    <a:pt x="148" y="58"/>
                    <a:pt x="146" y="58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3" y="58"/>
                    <a:pt x="145" y="56"/>
                    <a:pt x="143" y="56"/>
                  </a:cubicBezTo>
                  <a:cubicBezTo>
                    <a:pt x="142" y="55"/>
                    <a:pt x="142" y="58"/>
                    <a:pt x="139" y="56"/>
                  </a:cubicBezTo>
                  <a:cubicBezTo>
                    <a:pt x="137" y="56"/>
                    <a:pt x="137" y="55"/>
                    <a:pt x="136" y="55"/>
                  </a:cubicBezTo>
                  <a:cubicBezTo>
                    <a:pt x="136" y="55"/>
                    <a:pt x="136" y="55"/>
                    <a:pt x="134" y="55"/>
                  </a:cubicBezTo>
                  <a:cubicBezTo>
                    <a:pt x="134" y="56"/>
                    <a:pt x="134" y="56"/>
                    <a:pt x="134" y="56"/>
                  </a:cubicBezTo>
                  <a:cubicBezTo>
                    <a:pt x="134" y="56"/>
                    <a:pt x="134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1" y="56"/>
                    <a:pt x="131" y="58"/>
                    <a:pt x="130" y="58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28" y="55"/>
                    <a:pt x="128" y="56"/>
                  </a:cubicBezTo>
                  <a:cubicBezTo>
                    <a:pt x="127" y="58"/>
                    <a:pt x="125" y="58"/>
                    <a:pt x="124" y="58"/>
                  </a:cubicBezTo>
                  <a:cubicBezTo>
                    <a:pt x="121" y="58"/>
                    <a:pt x="119" y="58"/>
                    <a:pt x="117" y="58"/>
                  </a:cubicBezTo>
                  <a:cubicBezTo>
                    <a:pt x="113" y="60"/>
                    <a:pt x="110" y="63"/>
                    <a:pt x="104" y="63"/>
                  </a:cubicBezTo>
                  <a:cubicBezTo>
                    <a:pt x="101" y="63"/>
                    <a:pt x="101" y="61"/>
                    <a:pt x="98" y="60"/>
                  </a:cubicBezTo>
                  <a:cubicBezTo>
                    <a:pt x="95" y="60"/>
                    <a:pt x="93" y="63"/>
                    <a:pt x="90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7" y="63"/>
                    <a:pt x="84" y="61"/>
                    <a:pt x="84" y="61"/>
                  </a:cubicBezTo>
                  <a:cubicBezTo>
                    <a:pt x="84" y="61"/>
                    <a:pt x="82" y="64"/>
                    <a:pt x="84" y="66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1" y="67"/>
                    <a:pt x="81" y="72"/>
                    <a:pt x="79" y="72"/>
                  </a:cubicBezTo>
                  <a:cubicBezTo>
                    <a:pt x="79" y="72"/>
                    <a:pt x="79" y="70"/>
                    <a:pt x="78" y="70"/>
                  </a:cubicBezTo>
                  <a:cubicBezTo>
                    <a:pt x="79" y="69"/>
                    <a:pt x="78" y="69"/>
                    <a:pt x="78" y="67"/>
                  </a:cubicBezTo>
                  <a:cubicBezTo>
                    <a:pt x="76" y="66"/>
                    <a:pt x="81" y="64"/>
                    <a:pt x="81" y="61"/>
                  </a:cubicBezTo>
                  <a:cubicBezTo>
                    <a:pt x="79" y="60"/>
                    <a:pt x="79" y="60"/>
                    <a:pt x="75" y="63"/>
                  </a:cubicBezTo>
                  <a:cubicBezTo>
                    <a:pt x="72" y="67"/>
                    <a:pt x="72" y="56"/>
                    <a:pt x="64" y="64"/>
                  </a:cubicBezTo>
                  <a:cubicBezTo>
                    <a:pt x="60" y="70"/>
                    <a:pt x="60" y="67"/>
                    <a:pt x="55" y="70"/>
                  </a:cubicBezTo>
                  <a:cubicBezTo>
                    <a:pt x="50" y="72"/>
                    <a:pt x="50" y="64"/>
                    <a:pt x="41" y="61"/>
                  </a:cubicBezTo>
                  <a:cubicBezTo>
                    <a:pt x="32" y="58"/>
                    <a:pt x="37" y="66"/>
                    <a:pt x="35" y="67"/>
                  </a:cubicBezTo>
                  <a:cubicBezTo>
                    <a:pt x="34" y="69"/>
                    <a:pt x="34" y="66"/>
                    <a:pt x="31" y="69"/>
                  </a:cubicBezTo>
                  <a:cubicBezTo>
                    <a:pt x="29" y="70"/>
                    <a:pt x="24" y="67"/>
                    <a:pt x="24" y="64"/>
                  </a:cubicBezTo>
                  <a:cubicBezTo>
                    <a:pt x="23" y="60"/>
                    <a:pt x="23" y="64"/>
                    <a:pt x="20" y="63"/>
                  </a:cubicBezTo>
                  <a:cubicBezTo>
                    <a:pt x="18" y="60"/>
                    <a:pt x="15" y="66"/>
                    <a:pt x="15" y="63"/>
                  </a:cubicBezTo>
                  <a:cubicBezTo>
                    <a:pt x="15" y="61"/>
                    <a:pt x="11" y="64"/>
                    <a:pt x="11" y="63"/>
                  </a:cubicBezTo>
                  <a:cubicBezTo>
                    <a:pt x="9" y="61"/>
                    <a:pt x="14" y="63"/>
                    <a:pt x="15" y="60"/>
                  </a:cubicBezTo>
                  <a:cubicBezTo>
                    <a:pt x="17" y="58"/>
                    <a:pt x="11" y="61"/>
                    <a:pt x="9" y="60"/>
                  </a:cubicBezTo>
                  <a:cubicBezTo>
                    <a:pt x="8" y="56"/>
                    <a:pt x="12" y="60"/>
                    <a:pt x="11" y="56"/>
                  </a:cubicBezTo>
                  <a:cubicBezTo>
                    <a:pt x="11" y="55"/>
                    <a:pt x="9" y="56"/>
                    <a:pt x="9" y="55"/>
                  </a:cubicBezTo>
                  <a:cubicBezTo>
                    <a:pt x="9" y="52"/>
                    <a:pt x="8" y="53"/>
                    <a:pt x="9" y="50"/>
                  </a:cubicBezTo>
                  <a:cubicBezTo>
                    <a:pt x="11" y="47"/>
                    <a:pt x="8" y="49"/>
                    <a:pt x="6" y="47"/>
                  </a:cubicBezTo>
                  <a:cubicBezTo>
                    <a:pt x="5" y="46"/>
                    <a:pt x="5" y="49"/>
                    <a:pt x="3" y="46"/>
                  </a:cubicBezTo>
                  <a:cubicBezTo>
                    <a:pt x="2" y="44"/>
                    <a:pt x="3" y="39"/>
                    <a:pt x="5" y="42"/>
                  </a:cubicBezTo>
                  <a:cubicBezTo>
                    <a:pt x="5" y="47"/>
                    <a:pt x="9" y="44"/>
                    <a:pt x="6" y="42"/>
                  </a:cubicBezTo>
                  <a:cubicBezTo>
                    <a:pt x="3" y="41"/>
                    <a:pt x="9" y="39"/>
                    <a:pt x="6" y="38"/>
                  </a:cubicBezTo>
                  <a:cubicBezTo>
                    <a:pt x="5" y="38"/>
                    <a:pt x="8" y="36"/>
                    <a:pt x="5" y="35"/>
                  </a:cubicBezTo>
                  <a:cubicBezTo>
                    <a:pt x="3" y="33"/>
                    <a:pt x="9" y="30"/>
                    <a:pt x="5" y="32"/>
                  </a:cubicBezTo>
                  <a:cubicBezTo>
                    <a:pt x="0" y="33"/>
                    <a:pt x="0" y="33"/>
                    <a:pt x="0" y="28"/>
                  </a:cubicBezTo>
                  <a:cubicBezTo>
                    <a:pt x="2" y="25"/>
                    <a:pt x="2" y="27"/>
                    <a:pt x="3" y="25"/>
                  </a:cubicBezTo>
                  <a:cubicBezTo>
                    <a:pt x="6" y="21"/>
                    <a:pt x="9" y="21"/>
                    <a:pt x="11" y="22"/>
                  </a:cubicBezTo>
                  <a:cubicBezTo>
                    <a:pt x="11" y="24"/>
                    <a:pt x="14" y="24"/>
                    <a:pt x="12" y="22"/>
                  </a:cubicBezTo>
                  <a:cubicBezTo>
                    <a:pt x="11" y="21"/>
                    <a:pt x="17" y="19"/>
                    <a:pt x="15" y="21"/>
                  </a:cubicBezTo>
                  <a:cubicBezTo>
                    <a:pt x="15" y="22"/>
                    <a:pt x="23" y="22"/>
                    <a:pt x="23" y="22"/>
                  </a:cubicBezTo>
                  <a:cubicBezTo>
                    <a:pt x="24" y="21"/>
                    <a:pt x="17" y="21"/>
                    <a:pt x="26" y="19"/>
                  </a:cubicBezTo>
                  <a:cubicBezTo>
                    <a:pt x="34" y="18"/>
                    <a:pt x="28" y="19"/>
                    <a:pt x="26" y="18"/>
                  </a:cubicBezTo>
                  <a:cubicBezTo>
                    <a:pt x="24" y="16"/>
                    <a:pt x="23" y="16"/>
                    <a:pt x="24" y="14"/>
                  </a:cubicBezTo>
                  <a:cubicBezTo>
                    <a:pt x="24" y="13"/>
                    <a:pt x="24" y="13"/>
                    <a:pt x="29" y="13"/>
                  </a:cubicBezTo>
                  <a:cubicBezTo>
                    <a:pt x="32" y="14"/>
                    <a:pt x="32" y="11"/>
                    <a:pt x="37" y="13"/>
                  </a:cubicBezTo>
                  <a:cubicBezTo>
                    <a:pt x="40" y="14"/>
                    <a:pt x="41" y="14"/>
                    <a:pt x="43" y="13"/>
                  </a:cubicBezTo>
                  <a:cubicBezTo>
                    <a:pt x="43" y="11"/>
                    <a:pt x="46" y="8"/>
                    <a:pt x="55" y="5"/>
                  </a:cubicBezTo>
                  <a:cubicBezTo>
                    <a:pt x="63" y="2"/>
                    <a:pt x="66" y="7"/>
                    <a:pt x="70" y="4"/>
                  </a:cubicBezTo>
                  <a:cubicBezTo>
                    <a:pt x="75" y="0"/>
                    <a:pt x="70" y="10"/>
                    <a:pt x="76" y="7"/>
                  </a:cubicBezTo>
                  <a:cubicBezTo>
                    <a:pt x="82" y="5"/>
                    <a:pt x="79" y="13"/>
                    <a:pt x="84" y="11"/>
                  </a:cubicBezTo>
                  <a:cubicBezTo>
                    <a:pt x="87" y="10"/>
                    <a:pt x="84" y="11"/>
                    <a:pt x="89" y="14"/>
                  </a:cubicBezTo>
                  <a:cubicBezTo>
                    <a:pt x="93" y="16"/>
                    <a:pt x="90" y="11"/>
                    <a:pt x="95" y="14"/>
                  </a:cubicBezTo>
                  <a:cubicBezTo>
                    <a:pt x="98" y="19"/>
                    <a:pt x="104" y="11"/>
                    <a:pt x="108" y="14"/>
                  </a:cubicBezTo>
                  <a:cubicBezTo>
                    <a:pt x="113" y="19"/>
                    <a:pt x="122" y="11"/>
                    <a:pt x="122" y="10"/>
                  </a:cubicBezTo>
                  <a:cubicBezTo>
                    <a:pt x="125" y="11"/>
                    <a:pt x="124" y="10"/>
                    <a:pt x="127" y="10"/>
                  </a:cubicBezTo>
                  <a:cubicBezTo>
                    <a:pt x="127" y="10"/>
                    <a:pt x="130" y="11"/>
                    <a:pt x="130" y="10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1" y="8"/>
                    <a:pt x="133" y="8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7" y="14"/>
                    <a:pt x="137" y="13"/>
                    <a:pt x="139" y="13"/>
                  </a:cubicBezTo>
                  <a:cubicBezTo>
                    <a:pt x="139" y="14"/>
                    <a:pt x="139" y="14"/>
                    <a:pt x="139" y="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49"/>
            <p:cNvSpPr>
              <a:spLocks/>
            </p:cNvSpPr>
            <p:nvPr/>
          </p:nvSpPr>
          <p:spPr bwMode="auto">
            <a:xfrm>
              <a:off x="6241522" y="3763730"/>
              <a:ext cx="359919" cy="268327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5" y="14"/>
                </a:cxn>
                <a:cxn ang="0">
                  <a:pos x="13" y="11"/>
                </a:cxn>
                <a:cxn ang="0">
                  <a:pos x="17" y="24"/>
                </a:cxn>
                <a:cxn ang="0">
                  <a:pos x="11" y="24"/>
                </a:cxn>
                <a:cxn ang="0">
                  <a:pos x="7" y="24"/>
                </a:cxn>
                <a:cxn ang="0">
                  <a:pos x="3" y="30"/>
                </a:cxn>
                <a:cxn ang="0">
                  <a:pos x="7" y="33"/>
                </a:cxn>
                <a:cxn ang="0">
                  <a:pos x="9" y="36"/>
                </a:cxn>
                <a:cxn ang="0">
                  <a:pos x="8" y="36"/>
                </a:cxn>
                <a:cxn ang="0">
                  <a:pos x="8" y="39"/>
                </a:cxn>
                <a:cxn ang="0">
                  <a:pos x="13" y="45"/>
                </a:cxn>
                <a:cxn ang="0">
                  <a:pos x="13" y="61"/>
                </a:cxn>
                <a:cxn ang="0">
                  <a:pos x="32" y="53"/>
                </a:cxn>
                <a:cxn ang="0">
                  <a:pos x="40" y="53"/>
                </a:cxn>
                <a:cxn ang="0">
                  <a:pos x="52" y="58"/>
                </a:cxn>
                <a:cxn ang="0">
                  <a:pos x="64" y="68"/>
                </a:cxn>
                <a:cxn ang="0">
                  <a:pos x="71" y="73"/>
                </a:cxn>
                <a:cxn ang="0">
                  <a:pos x="71" y="81"/>
                </a:cxn>
                <a:cxn ang="0">
                  <a:pos x="81" y="84"/>
                </a:cxn>
                <a:cxn ang="0">
                  <a:pos x="98" y="68"/>
                </a:cxn>
                <a:cxn ang="0">
                  <a:pos x="113" y="61"/>
                </a:cxn>
                <a:cxn ang="0">
                  <a:pos x="107" y="51"/>
                </a:cxn>
                <a:cxn ang="0">
                  <a:pos x="84" y="34"/>
                </a:cxn>
                <a:cxn ang="0">
                  <a:pos x="75" y="19"/>
                </a:cxn>
                <a:cxn ang="0">
                  <a:pos x="63" y="17"/>
                </a:cxn>
                <a:cxn ang="0">
                  <a:pos x="63" y="11"/>
                </a:cxn>
                <a:cxn ang="0">
                  <a:pos x="54" y="5"/>
                </a:cxn>
                <a:cxn ang="0">
                  <a:pos x="46" y="4"/>
                </a:cxn>
                <a:cxn ang="0">
                  <a:pos x="37" y="11"/>
                </a:cxn>
                <a:cxn ang="0">
                  <a:pos x="29" y="17"/>
                </a:cxn>
                <a:cxn ang="0">
                  <a:pos x="19" y="10"/>
                </a:cxn>
                <a:cxn ang="0">
                  <a:pos x="5" y="10"/>
                </a:cxn>
              </a:cxnLst>
              <a:rect l="0" t="0" r="r" b="b"/>
              <a:pathLst>
                <a:path w="115" h="86">
                  <a:moveTo>
                    <a:pt x="0" y="13"/>
                  </a:moveTo>
                  <a:cubicBezTo>
                    <a:pt x="3" y="14"/>
                    <a:pt x="2" y="14"/>
                    <a:pt x="2" y="16"/>
                  </a:cubicBezTo>
                  <a:cubicBezTo>
                    <a:pt x="3" y="17"/>
                    <a:pt x="3" y="21"/>
                    <a:pt x="3" y="17"/>
                  </a:cubicBezTo>
                  <a:cubicBezTo>
                    <a:pt x="3" y="16"/>
                    <a:pt x="5" y="14"/>
                    <a:pt x="5" y="14"/>
                  </a:cubicBezTo>
                  <a:cubicBezTo>
                    <a:pt x="3" y="14"/>
                    <a:pt x="3" y="10"/>
                    <a:pt x="8" y="10"/>
                  </a:cubicBezTo>
                  <a:cubicBezTo>
                    <a:pt x="11" y="8"/>
                    <a:pt x="13" y="8"/>
                    <a:pt x="13" y="11"/>
                  </a:cubicBezTo>
                  <a:cubicBezTo>
                    <a:pt x="13" y="13"/>
                    <a:pt x="13" y="16"/>
                    <a:pt x="17" y="19"/>
                  </a:cubicBezTo>
                  <a:cubicBezTo>
                    <a:pt x="22" y="21"/>
                    <a:pt x="17" y="25"/>
                    <a:pt x="17" y="24"/>
                  </a:cubicBezTo>
                  <a:cubicBezTo>
                    <a:pt x="16" y="22"/>
                    <a:pt x="14" y="22"/>
                    <a:pt x="16" y="24"/>
                  </a:cubicBezTo>
                  <a:cubicBezTo>
                    <a:pt x="16" y="25"/>
                    <a:pt x="11" y="27"/>
                    <a:pt x="11" y="24"/>
                  </a:cubicBezTo>
                  <a:cubicBezTo>
                    <a:pt x="11" y="21"/>
                    <a:pt x="9" y="25"/>
                    <a:pt x="8" y="24"/>
                  </a:cubicBezTo>
                  <a:cubicBezTo>
                    <a:pt x="8" y="22"/>
                    <a:pt x="7" y="25"/>
                    <a:pt x="7" y="24"/>
                  </a:cubicBezTo>
                  <a:cubicBezTo>
                    <a:pt x="7" y="22"/>
                    <a:pt x="3" y="19"/>
                    <a:pt x="5" y="22"/>
                  </a:cubicBezTo>
                  <a:cubicBezTo>
                    <a:pt x="5" y="25"/>
                    <a:pt x="2" y="28"/>
                    <a:pt x="3" y="30"/>
                  </a:cubicBezTo>
                  <a:cubicBezTo>
                    <a:pt x="3" y="31"/>
                    <a:pt x="5" y="36"/>
                    <a:pt x="5" y="34"/>
                  </a:cubicBezTo>
                  <a:cubicBezTo>
                    <a:pt x="7" y="34"/>
                    <a:pt x="5" y="33"/>
                    <a:pt x="7" y="33"/>
                  </a:cubicBezTo>
                  <a:cubicBezTo>
                    <a:pt x="8" y="33"/>
                    <a:pt x="9" y="31"/>
                    <a:pt x="9" y="33"/>
                  </a:cubicBezTo>
                  <a:cubicBezTo>
                    <a:pt x="8" y="36"/>
                    <a:pt x="8" y="36"/>
                    <a:pt x="9" y="36"/>
                  </a:cubicBezTo>
                  <a:cubicBezTo>
                    <a:pt x="11" y="36"/>
                    <a:pt x="11" y="38"/>
                    <a:pt x="9" y="38"/>
                  </a:cubicBezTo>
                  <a:cubicBezTo>
                    <a:pt x="7" y="38"/>
                    <a:pt x="8" y="36"/>
                    <a:pt x="8" y="36"/>
                  </a:cubicBezTo>
                  <a:cubicBezTo>
                    <a:pt x="7" y="36"/>
                    <a:pt x="5" y="41"/>
                    <a:pt x="7" y="41"/>
                  </a:cubicBezTo>
                  <a:cubicBezTo>
                    <a:pt x="8" y="42"/>
                    <a:pt x="7" y="39"/>
                    <a:pt x="8" y="39"/>
                  </a:cubicBezTo>
                  <a:cubicBezTo>
                    <a:pt x="9" y="41"/>
                    <a:pt x="9" y="41"/>
                    <a:pt x="11" y="42"/>
                  </a:cubicBezTo>
                  <a:cubicBezTo>
                    <a:pt x="11" y="44"/>
                    <a:pt x="14" y="44"/>
                    <a:pt x="13" y="45"/>
                  </a:cubicBezTo>
                  <a:cubicBezTo>
                    <a:pt x="11" y="47"/>
                    <a:pt x="11" y="5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23" y="61"/>
                    <a:pt x="16" y="58"/>
                    <a:pt x="23" y="55"/>
                  </a:cubicBezTo>
                  <a:cubicBezTo>
                    <a:pt x="28" y="51"/>
                    <a:pt x="31" y="56"/>
                    <a:pt x="32" y="53"/>
                  </a:cubicBezTo>
                  <a:cubicBezTo>
                    <a:pt x="32" y="51"/>
                    <a:pt x="35" y="50"/>
                    <a:pt x="37" y="51"/>
                  </a:cubicBezTo>
                  <a:cubicBezTo>
                    <a:pt x="37" y="53"/>
                    <a:pt x="39" y="50"/>
                    <a:pt x="40" y="53"/>
                  </a:cubicBezTo>
                  <a:cubicBezTo>
                    <a:pt x="40" y="56"/>
                    <a:pt x="46" y="55"/>
                    <a:pt x="46" y="58"/>
                  </a:cubicBezTo>
                  <a:cubicBezTo>
                    <a:pt x="48" y="59"/>
                    <a:pt x="48" y="56"/>
                    <a:pt x="52" y="58"/>
                  </a:cubicBezTo>
                  <a:cubicBezTo>
                    <a:pt x="58" y="59"/>
                    <a:pt x="54" y="62"/>
                    <a:pt x="58" y="64"/>
                  </a:cubicBezTo>
                  <a:cubicBezTo>
                    <a:pt x="63" y="65"/>
                    <a:pt x="61" y="68"/>
                    <a:pt x="64" y="68"/>
                  </a:cubicBezTo>
                  <a:cubicBezTo>
                    <a:pt x="67" y="68"/>
                    <a:pt x="69" y="68"/>
                    <a:pt x="71" y="70"/>
                  </a:cubicBezTo>
                  <a:cubicBezTo>
                    <a:pt x="71" y="72"/>
                    <a:pt x="69" y="70"/>
                    <a:pt x="71" y="73"/>
                  </a:cubicBezTo>
                  <a:cubicBezTo>
                    <a:pt x="71" y="75"/>
                    <a:pt x="69" y="76"/>
                    <a:pt x="71" y="76"/>
                  </a:cubicBezTo>
                  <a:cubicBezTo>
                    <a:pt x="72" y="78"/>
                    <a:pt x="71" y="79"/>
                    <a:pt x="71" y="81"/>
                  </a:cubicBezTo>
                  <a:cubicBezTo>
                    <a:pt x="74" y="81"/>
                    <a:pt x="72" y="82"/>
                    <a:pt x="75" y="82"/>
                  </a:cubicBezTo>
                  <a:cubicBezTo>
                    <a:pt x="80" y="81"/>
                    <a:pt x="77" y="86"/>
                    <a:pt x="81" y="84"/>
                  </a:cubicBezTo>
                  <a:cubicBezTo>
                    <a:pt x="86" y="82"/>
                    <a:pt x="86" y="78"/>
                    <a:pt x="89" y="76"/>
                  </a:cubicBezTo>
                  <a:cubicBezTo>
                    <a:pt x="92" y="75"/>
                    <a:pt x="96" y="76"/>
                    <a:pt x="98" y="68"/>
                  </a:cubicBezTo>
                  <a:cubicBezTo>
                    <a:pt x="100" y="61"/>
                    <a:pt x="103" y="64"/>
                    <a:pt x="106" y="61"/>
                  </a:cubicBezTo>
                  <a:cubicBezTo>
                    <a:pt x="107" y="58"/>
                    <a:pt x="109" y="62"/>
                    <a:pt x="113" y="61"/>
                  </a:cubicBezTo>
                  <a:cubicBezTo>
                    <a:pt x="112" y="55"/>
                    <a:pt x="115" y="55"/>
                    <a:pt x="113" y="55"/>
                  </a:cubicBezTo>
                  <a:cubicBezTo>
                    <a:pt x="110" y="53"/>
                    <a:pt x="109" y="50"/>
                    <a:pt x="107" y="51"/>
                  </a:cubicBezTo>
                  <a:cubicBezTo>
                    <a:pt x="104" y="53"/>
                    <a:pt x="96" y="44"/>
                    <a:pt x="95" y="44"/>
                  </a:cubicBezTo>
                  <a:cubicBezTo>
                    <a:pt x="92" y="44"/>
                    <a:pt x="89" y="39"/>
                    <a:pt x="84" y="34"/>
                  </a:cubicBezTo>
                  <a:cubicBezTo>
                    <a:pt x="80" y="31"/>
                    <a:pt x="81" y="28"/>
                    <a:pt x="78" y="27"/>
                  </a:cubicBezTo>
                  <a:cubicBezTo>
                    <a:pt x="77" y="25"/>
                    <a:pt x="78" y="21"/>
                    <a:pt x="75" y="19"/>
                  </a:cubicBezTo>
                  <a:cubicBezTo>
                    <a:pt x="71" y="17"/>
                    <a:pt x="72" y="21"/>
                    <a:pt x="71" y="19"/>
                  </a:cubicBezTo>
                  <a:cubicBezTo>
                    <a:pt x="67" y="17"/>
                    <a:pt x="66" y="21"/>
                    <a:pt x="63" y="17"/>
                  </a:cubicBezTo>
                  <a:cubicBezTo>
                    <a:pt x="60" y="14"/>
                    <a:pt x="63" y="16"/>
                    <a:pt x="61" y="14"/>
                  </a:cubicBezTo>
                  <a:cubicBezTo>
                    <a:pt x="60" y="13"/>
                    <a:pt x="64" y="13"/>
                    <a:pt x="63" y="11"/>
                  </a:cubicBezTo>
                  <a:cubicBezTo>
                    <a:pt x="58" y="8"/>
                    <a:pt x="64" y="7"/>
                    <a:pt x="60" y="7"/>
                  </a:cubicBezTo>
                  <a:cubicBezTo>
                    <a:pt x="52" y="7"/>
                    <a:pt x="57" y="5"/>
                    <a:pt x="54" y="5"/>
                  </a:cubicBezTo>
                  <a:cubicBezTo>
                    <a:pt x="51" y="4"/>
                    <a:pt x="51" y="0"/>
                    <a:pt x="49" y="2"/>
                  </a:cubicBezTo>
                  <a:cubicBezTo>
                    <a:pt x="48" y="4"/>
                    <a:pt x="45" y="2"/>
                    <a:pt x="46" y="4"/>
                  </a:cubicBezTo>
                  <a:cubicBezTo>
                    <a:pt x="51" y="7"/>
                    <a:pt x="45" y="4"/>
                    <a:pt x="45" y="7"/>
                  </a:cubicBezTo>
                  <a:cubicBezTo>
                    <a:pt x="45" y="10"/>
                    <a:pt x="39" y="7"/>
                    <a:pt x="37" y="11"/>
                  </a:cubicBezTo>
                  <a:cubicBezTo>
                    <a:pt x="35" y="16"/>
                    <a:pt x="39" y="16"/>
                    <a:pt x="39" y="17"/>
                  </a:cubicBezTo>
                  <a:cubicBezTo>
                    <a:pt x="37" y="19"/>
                    <a:pt x="32" y="17"/>
                    <a:pt x="29" y="17"/>
                  </a:cubicBezTo>
                  <a:cubicBezTo>
                    <a:pt x="26" y="17"/>
                    <a:pt x="25" y="19"/>
                    <a:pt x="25" y="17"/>
                  </a:cubicBezTo>
                  <a:cubicBezTo>
                    <a:pt x="20" y="11"/>
                    <a:pt x="22" y="11"/>
                    <a:pt x="19" y="10"/>
                  </a:cubicBezTo>
                  <a:cubicBezTo>
                    <a:pt x="17" y="8"/>
                    <a:pt x="16" y="5"/>
                    <a:pt x="13" y="7"/>
                  </a:cubicBezTo>
                  <a:cubicBezTo>
                    <a:pt x="9" y="7"/>
                    <a:pt x="7" y="8"/>
                    <a:pt x="5" y="10"/>
                  </a:cubicBezTo>
                  <a:cubicBezTo>
                    <a:pt x="2" y="11"/>
                    <a:pt x="0" y="13"/>
                    <a:pt x="0" y="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50"/>
            <p:cNvSpPr>
              <a:spLocks/>
            </p:cNvSpPr>
            <p:nvPr/>
          </p:nvSpPr>
          <p:spPr bwMode="auto">
            <a:xfrm>
              <a:off x="6329894" y="3667325"/>
              <a:ext cx="435438" cy="295642"/>
            </a:xfrm>
            <a:custGeom>
              <a:avLst/>
              <a:gdLst/>
              <a:ahLst/>
              <a:cxnLst>
                <a:cxn ang="0">
                  <a:pos x="41" y="20"/>
                </a:cxn>
                <a:cxn ang="0">
                  <a:pos x="32" y="25"/>
                </a:cxn>
                <a:cxn ang="0">
                  <a:pos x="20" y="22"/>
                </a:cxn>
                <a:cxn ang="0">
                  <a:pos x="21" y="0"/>
                </a:cxn>
                <a:cxn ang="0">
                  <a:pos x="1" y="11"/>
                </a:cxn>
                <a:cxn ang="0">
                  <a:pos x="11" y="48"/>
                </a:cxn>
                <a:cxn ang="0">
                  <a:pos x="17" y="37"/>
                </a:cxn>
                <a:cxn ang="0">
                  <a:pos x="21" y="33"/>
                </a:cxn>
                <a:cxn ang="0">
                  <a:pos x="32" y="37"/>
                </a:cxn>
                <a:cxn ang="0">
                  <a:pos x="33" y="45"/>
                </a:cxn>
                <a:cxn ang="0">
                  <a:pos x="43" y="50"/>
                </a:cxn>
                <a:cxn ang="0">
                  <a:pos x="50" y="58"/>
                </a:cxn>
                <a:cxn ang="0">
                  <a:pos x="67" y="75"/>
                </a:cxn>
                <a:cxn ang="0">
                  <a:pos x="85" y="86"/>
                </a:cxn>
                <a:cxn ang="0">
                  <a:pos x="91" y="93"/>
                </a:cxn>
                <a:cxn ang="0">
                  <a:pos x="96" y="89"/>
                </a:cxn>
                <a:cxn ang="0">
                  <a:pos x="97" y="75"/>
                </a:cxn>
                <a:cxn ang="0">
                  <a:pos x="91" y="72"/>
                </a:cxn>
                <a:cxn ang="0">
                  <a:pos x="102" y="65"/>
                </a:cxn>
                <a:cxn ang="0">
                  <a:pos x="108" y="54"/>
                </a:cxn>
                <a:cxn ang="0">
                  <a:pos x="116" y="51"/>
                </a:cxn>
                <a:cxn ang="0">
                  <a:pos x="117" y="56"/>
                </a:cxn>
                <a:cxn ang="0">
                  <a:pos x="120" y="61"/>
                </a:cxn>
                <a:cxn ang="0">
                  <a:pos x="130" y="59"/>
                </a:cxn>
                <a:cxn ang="0">
                  <a:pos x="131" y="51"/>
                </a:cxn>
                <a:cxn ang="0">
                  <a:pos x="114" y="47"/>
                </a:cxn>
                <a:cxn ang="0">
                  <a:pos x="119" y="39"/>
                </a:cxn>
                <a:cxn ang="0">
                  <a:pos x="116" y="40"/>
                </a:cxn>
                <a:cxn ang="0">
                  <a:pos x="107" y="47"/>
                </a:cxn>
                <a:cxn ang="0">
                  <a:pos x="101" y="54"/>
                </a:cxn>
                <a:cxn ang="0">
                  <a:pos x="96" y="54"/>
                </a:cxn>
                <a:cxn ang="0">
                  <a:pos x="96" y="51"/>
                </a:cxn>
                <a:cxn ang="0">
                  <a:pos x="85" y="47"/>
                </a:cxn>
                <a:cxn ang="0">
                  <a:pos x="81" y="40"/>
                </a:cxn>
                <a:cxn ang="0">
                  <a:pos x="81" y="31"/>
                </a:cxn>
                <a:cxn ang="0">
                  <a:pos x="70" y="22"/>
                </a:cxn>
                <a:cxn ang="0">
                  <a:pos x="46" y="22"/>
                </a:cxn>
                <a:cxn ang="0">
                  <a:pos x="43" y="14"/>
                </a:cxn>
              </a:cxnLst>
              <a:rect l="0" t="0" r="r" b="b"/>
              <a:pathLst>
                <a:path w="140" h="95">
                  <a:moveTo>
                    <a:pt x="43" y="14"/>
                  </a:moveTo>
                  <a:cubicBezTo>
                    <a:pt x="36" y="20"/>
                    <a:pt x="40" y="19"/>
                    <a:pt x="41" y="20"/>
                  </a:cubicBezTo>
                  <a:cubicBezTo>
                    <a:pt x="43" y="22"/>
                    <a:pt x="38" y="23"/>
                    <a:pt x="36" y="23"/>
                  </a:cubicBezTo>
                  <a:cubicBezTo>
                    <a:pt x="33" y="22"/>
                    <a:pt x="35" y="25"/>
                    <a:pt x="32" y="25"/>
                  </a:cubicBezTo>
                  <a:cubicBezTo>
                    <a:pt x="29" y="25"/>
                    <a:pt x="33" y="22"/>
                    <a:pt x="29" y="20"/>
                  </a:cubicBezTo>
                  <a:cubicBezTo>
                    <a:pt x="23" y="20"/>
                    <a:pt x="20" y="25"/>
                    <a:pt x="20" y="22"/>
                  </a:cubicBezTo>
                  <a:cubicBezTo>
                    <a:pt x="20" y="17"/>
                    <a:pt x="18" y="14"/>
                    <a:pt x="20" y="12"/>
                  </a:cubicBezTo>
                  <a:cubicBezTo>
                    <a:pt x="20" y="11"/>
                    <a:pt x="17" y="11"/>
                    <a:pt x="21" y="0"/>
                  </a:cubicBezTo>
                  <a:cubicBezTo>
                    <a:pt x="20" y="0"/>
                    <a:pt x="6" y="5"/>
                    <a:pt x="3" y="6"/>
                  </a:cubicBezTo>
                  <a:cubicBezTo>
                    <a:pt x="0" y="6"/>
                    <a:pt x="1" y="6"/>
                    <a:pt x="1" y="11"/>
                  </a:cubicBezTo>
                  <a:cubicBezTo>
                    <a:pt x="1" y="14"/>
                    <a:pt x="1" y="48"/>
                    <a:pt x="1" y="48"/>
                  </a:cubicBezTo>
                  <a:cubicBezTo>
                    <a:pt x="4" y="48"/>
                    <a:pt x="9" y="50"/>
                    <a:pt x="11" y="48"/>
                  </a:cubicBezTo>
                  <a:cubicBezTo>
                    <a:pt x="11" y="47"/>
                    <a:pt x="7" y="47"/>
                    <a:pt x="9" y="42"/>
                  </a:cubicBezTo>
                  <a:cubicBezTo>
                    <a:pt x="11" y="37"/>
                    <a:pt x="17" y="40"/>
                    <a:pt x="17" y="37"/>
                  </a:cubicBezTo>
                  <a:cubicBezTo>
                    <a:pt x="17" y="34"/>
                    <a:pt x="23" y="37"/>
                    <a:pt x="18" y="34"/>
                  </a:cubicBezTo>
                  <a:cubicBezTo>
                    <a:pt x="17" y="33"/>
                    <a:pt x="20" y="34"/>
                    <a:pt x="21" y="33"/>
                  </a:cubicBezTo>
                  <a:cubicBezTo>
                    <a:pt x="23" y="31"/>
                    <a:pt x="23" y="34"/>
                    <a:pt x="26" y="36"/>
                  </a:cubicBezTo>
                  <a:cubicBezTo>
                    <a:pt x="29" y="36"/>
                    <a:pt x="24" y="37"/>
                    <a:pt x="32" y="37"/>
                  </a:cubicBezTo>
                  <a:cubicBezTo>
                    <a:pt x="36" y="37"/>
                    <a:pt x="30" y="39"/>
                    <a:pt x="35" y="42"/>
                  </a:cubicBezTo>
                  <a:cubicBezTo>
                    <a:pt x="36" y="44"/>
                    <a:pt x="32" y="44"/>
                    <a:pt x="33" y="45"/>
                  </a:cubicBezTo>
                  <a:cubicBezTo>
                    <a:pt x="35" y="47"/>
                    <a:pt x="32" y="45"/>
                    <a:pt x="35" y="48"/>
                  </a:cubicBezTo>
                  <a:cubicBezTo>
                    <a:pt x="38" y="51"/>
                    <a:pt x="40" y="48"/>
                    <a:pt x="43" y="50"/>
                  </a:cubicBezTo>
                  <a:cubicBezTo>
                    <a:pt x="44" y="51"/>
                    <a:pt x="43" y="48"/>
                    <a:pt x="47" y="50"/>
                  </a:cubicBezTo>
                  <a:cubicBezTo>
                    <a:pt x="50" y="51"/>
                    <a:pt x="49" y="56"/>
                    <a:pt x="50" y="58"/>
                  </a:cubicBezTo>
                  <a:cubicBezTo>
                    <a:pt x="53" y="59"/>
                    <a:pt x="52" y="62"/>
                    <a:pt x="56" y="65"/>
                  </a:cubicBezTo>
                  <a:cubicBezTo>
                    <a:pt x="61" y="70"/>
                    <a:pt x="64" y="75"/>
                    <a:pt x="67" y="75"/>
                  </a:cubicBezTo>
                  <a:cubicBezTo>
                    <a:pt x="68" y="75"/>
                    <a:pt x="76" y="84"/>
                    <a:pt x="79" y="83"/>
                  </a:cubicBezTo>
                  <a:cubicBezTo>
                    <a:pt x="81" y="81"/>
                    <a:pt x="82" y="84"/>
                    <a:pt x="85" y="86"/>
                  </a:cubicBezTo>
                  <a:cubicBezTo>
                    <a:pt x="87" y="86"/>
                    <a:pt x="84" y="86"/>
                    <a:pt x="85" y="92"/>
                  </a:cubicBezTo>
                  <a:cubicBezTo>
                    <a:pt x="90" y="90"/>
                    <a:pt x="90" y="95"/>
                    <a:pt x="91" y="93"/>
                  </a:cubicBezTo>
                  <a:cubicBezTo>
                    <a:pt x="93" y="93"/>
                    <a:pt x="93" y="93"/>
                    <a:pt x="94" y="95"/>
                  </a:cubicBezTo>
                  <a:cubicBezTo>
                    <a:pt x="94" y="93"/>
                    <a:pt x="94" y="92"/>
                    <a:pt x="96" y="89"/>
                  </a:cubicBezTo>
                  <a:cubicBezTo>
                    <a:pt x="99" y="84"/>
                    <a:pt x="101" y="84"/>
                    <a:pt x="97" y="81"/>
                  </a:cubicBezTo>
                  <a:cubicBezTo>
                    <a:pt x="96" y="78"/>
                    <a:pt x="99" y="76"/>
                    <a:pt x="97" y="75"/>
                  </a:cubicBezTo>
                  <a:cubicBezTo>
                    <a:pt x="96" y="73"/>
                    <a:pt x="94" y="76"/>
                    <a:pt x="94" y="73"/>
                  </a:cubicBezTo>
                  <a:cubicBezTo>
                    <a:pt x="94" y="72"/>
                    <a:pt x="93" y="72"/>
                    <a:pt x="91" y="72"/>
                  </a:cubicBezTo>
                  <a:cubicBezTo>
                    <a:pt x="90" y="72"/>
                    <a:pt x="93" y="67"/>
                    <a:pt x="96" y="67"/>
                  </a:cubicBezTo>
                  <a:cubicBezTo>
                    <a:pt x="99" y="69"/>
                    <a:pt x="101" y="69"/>
                    <a:pt x="102" y="65"/>
                  </a:cubicBezTo>
                  <a:cubicBezTo>
                    <a:pt x="105" y="61"/>
                    <a:pt x="101" y="61"/>
                    <a:pt x="105" y="61"/>
                  </a:cubicBezTo>
                  <a:cubicBezTo>
                    <a:pt x="108" y="61"/>
                    <a:pt x="105" y="56"/>
                    <a:pt x="108" y="54"/>
                  </a:cubicBezTo>
                  <a:cubicBezTo>
                    <a:pt x="108" y="53"/>
                    <a:pt x="108" y="56"/>
                    <a:pt x="113" y="54"/>
                  </a:cubicBezTo>
                  <a:cubicBezTo>
                    <a:pt x="116" y="53"/>
                    <a:pt x="114" y="51"/>
                    <a:pt x="116" y="51"/>
                  </a:cubicBezTo>
                  <a:cubicBezTo>
                    <a:pt x="117" y="51"/>
                    <a:pt x="117" y="54"/>
                    <a:pt x="117" y="54"/>
                  </a:cubicBezTo>
                  <a:cubicBezTo>
                    <a:pt x="119" y="54"/>
                    <a:pt x="119" y="54"/>
                    <a:pt x="117" y="56"/>
                  </a:cubicBezTo>
                  <a:cubicBezTo>
                    <a:pt x="116" y="58"/>
                    <a:pt x="114" y="59"/>
                    <a:pt x="116" y="59"/>
                  </a:cubicBezTo>
                  <a:cubicBezTo>
                    <a:pt x="117" y="59"/>
                    <a:pt x="116" y="62"/>
                    <a:pt x="120" y="61"/>
                  </a:cubicBezTo>
                  <a:cubicBezTo>
                    <a:pt x="122" y="59"/>
                    <a:pt x="122" y="59"/>
                    <a:pt x="125" y="62"/>
                  </a:cubicBezTo>
                  <a:cubicBezTo>
                    <a:pt x="128" y="64"/>
                    <a:pt x="128" y="58"/>
                    <a:pt x="130" y="59"/>
                  </a:cubicBezTo>
                  <a:cubicBezTo>
                    <a:pt x="133" y="59"/>
                    <a:pt x="133" y="58"/>
                    <a:pt x="136" y="54"/>
                  </a:cubicBezTo>
                  <a:cubicBezTo>
                    <a:pt x="140" y="53"/>
                    <a:pt x="136" y="54"/>
                    <a:pt x="131" y="51"/>
                  </a:cubicBezTo>
                  <a:cubicBezTo>
                    <a:pt x="125" y="48"/>
                    <a:pt x="126" y="44"/>
                    <a:pt x="123" y="48"/>
                  </a:cubicBezTo>
                  <a:cubicBezTo>
                    <a:pt x="122" y="53"/>
                    <a:pt x="117" y="48"/>
                    <a:pt x="114" y="47"/>
                  </a:cubicBezTo>
                  <a:cubicBezTo>
                    <a:pt x="111" y="45"/>
                    <a:pt x="126" y="39"/>
                    <a:pt x="120" y="37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7" y="39"/>
                    <a:pt x="119" y="40"/>
                    <a:pt x="117" y="40"/>
                  </a:cubicBezTo>
                  <a:cubicBezTo>
                    <a:pt x="116" y="40"/>
                    <a:pt x="117" y="39"/>
                    <a:pt x="116" y="40"/>
                  </a:cubicBezTo>
                  <a:cubicBezTo>
                    <a:pt x="113" y="42"/>
                    <a:pt x="111" y="44"/>
                    <a:pt x="110" y="45"/>
                  </a:cubicBezTo>
                  <a:cubicBezTo>
                    <a:pt x="108" y="47"/>
                    <a:pt x="108" y="47"/>
                    <a:pt x="107" y="47"/>
                  </a:cubicBezTo>
                  <a:cubicBezTo>
                    <a:pt x="104" y="48"/>
                    <a:pt x="105" y="50"/>
                    <a:pt x="104" y="50"/>
                  </a:cubicBezTo>
                  <a:cubicBezTo>
                    <a:pt x="102" y="51"/>
                    <a:pt x="101" y="53"/>
                    <a:pt x="101" y="54"/>
                  </a:cubicBezTo>
                  <a:cubicBezTo>
                    <a:pt x="102" y="56"/>
                    <a:pt x="101" y="58"/>
                    <a:pt x="99" y="5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3"/>
                    <a:pt x="96" y="51"/>
                  </a:cubicBezTo>
                  <a:cubicBezTo>
                    <a:pt x="96" y="50"/>
                    <a:pt x="96" y="50"/>
                    <a:pt x="90" y="50"/>
                  </a:cubicBezTo>
                  <a:cubicBezTo>
                    <a:pt x="85" y="51"/>
                    <a:pt x="85" y="50"/>
                    <a:pt x="85" y="47"/>
                  </a:cubicBezTo>
                  <a:cubicBezTo>
                    <a:pt x="85" y="44"/>
                    <a:pt x="85" y="40"/>
                    <a:pt x="84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39"/>
                    <a:pt x="81" y="36"/>
                  </a:cubicBezTo>
                  <a:cubicBezTo>
                    <a:pt x="82" y="31"/>
                    <a:pt x="82" y="28"/>
                    <a:pt x="81" y="31"/>
                  </a:cubicBezTo>
                  <a:cubicBezTo>
                    <a:pt x="78" y="33"/>
                    <a:pt x="79" y="26"/>
                    <a:pt x="76" y="25"/>
                  </a:cubicBezTo>
                  <a:cubicBezTo>
                    <a:pt x="73" y="23"/>
                    <a:pt x="73" y="20"/>
                    <a:pt x="70" y="22"/>
                  </a:cubicBezTo>
                  <a:cubicBezTo>
                    <a:pt x="65" y="25"/>
                    <a:pt x="62" y="22"/>
                    <a:pt x="55" y="23"/>
                  </a:cubicBezTo>
                  <a:cubicBezTo>
                    <a:pt x="49" y="25"/>
                    <a:pt x="49" y="25"/>
                    <a:pt x="46" y="22"/>
                  </a:cubicBezTo>
                  <a:cubicBezTo>
                    <a:pt x="44" y="19"/>
                    <a:pt x="43" y="17"/>
                    <a:pt x="43" y="16"/>
                  </a:cubicBezTo>
                  <a:cubicBezTo>
                    <a:pt x="41" y="16"/>
                    <a:pt x="43" y="14"/>
                    <a:pt x="43" y="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51"/>
            <p:cNvSpPr>
              <a:spLocks/>
            </p:cNvSpPr>
            <p:nvPr/>
          </p:nvSpPr>
          <p:spPr bwMode="auto">
            <a:xfrm>
              <a:off x="6662498" y="3750877"/>
              <a:ext cx="268333" cy="143001"/>
            </a:xfrm>
            <a:custGeom>
              <a:avLst/>
              <a:gdLst/>
              <a:ahLst/>
              <a:cxnLst>
                <a:cxn ang="0">
                  <a:pos x="13" y="10"/>
                </a:cxn>
                <a:cxn ang="0">
                  <a:pos x="7" y="20"/>
                </a:cxn>
                <a:cxn ang="0">
                  <a:pos x="16" y="21"/>
                </a:cxn>
                <a:cxn ang="0">
                  <a:pos x="24" y="24"/>
                </a:cxn>
                <a:cxn ang="0">
                  <a:pos x="29" y="27"/>
                </a:cxn>
                <a:cxn ang="0">
                  <a:pos x="22" y="32"/>
                </a:cxn>
                <a:cxn ang="0">
                  <a:pos x="18" y="35"/>
                </a:cxn>
                <a:cxn ang="0">
                  <a:pos x="13" y="34"/>
                </a:cxn>
                <a:cxn ang="0">
                  <a:pos x="10" y="37"/>
                </a:cxn>
                <a:cxn ang="0">
                  <a:pos x="9" y="35"/>
                </a:cxn>
                <a:cxn ang="0">
                  <a:pos x="1" y="35"/>
                </a:cxn>
                <a:cxn ang="0">
                  <a:pos x="0" y="38"/>
                </a:cxn>
                <a:cxn ang="0">
                  <a:pos x="10" y="41"/>
                </a:cxn>
                <a:cxn ang="0">
                  <a:pos x="18" y="41"/>
                </a:cxn>
                <a:cxn ang="0">
                  <a:pos x="22" y="44"/>
                </a:cxn>
                <a:cxn ang="0">
                  <a:pos x="29" y="43"/>
                </a:cxn>
                <a:cxn ang="0">
                  <a:pos x="35" y="43"/>
                </a:cxn>
                <a:cxn ang="0">
                  <a:pos x="39" y="35"/>
                </a:cxn>
                <a:cxn ang="0">
                  <a:pos x="45" y="31"/>
                </a:cxn>
                <a:cxn ang="0">
                  <a:pos x="50" y="31"/>
                </a:cxn>
                <a:cxn ang="0">
                  <a:pos x="54" y="32"/>
                </a:cxn>
                <a:cxn ang="0">
                  <a:pos x="59" y="26"/>
                </a:cxn>
                <a:cxn ang="0">
                  <a:pos x="71" y="21"/>
                </a:cxn>
                <a:cxn ang="0">
                  <a:pos x="83" y="15"/>
                </a:cxn>
                <a:cxn ang="0">
                  <a:pos x="86" y="12"/>
                </a:cxn>
                <a:cxn ang="0">
                  <a:pos x="79" y="7"/>
                </a:cxn>
                <a:cxn ang="0">
                  <a:pos x="62" y="4"/>
                </a:cxn>
                <a:cxn ang="0">
                  <a:pos x="47" y="4"/>
                </a:cxn>
                <a:cxn ang="0">
                  <a:pos x="36" y="1"/>
                </a:cxn>
                <a:cxn ang="0">
                  <a:pos x="32" y="9"/>
                </a:cxn>
                <a:cxn ang="0">
                  <a:pos x="18" y="4"/>
                </a:cxn>
                <a:cxn ang="0">
                  <a:pos x="13" y="10"/>
                </a:cxn>
              </a:cxnLst>
              <a:rect l="0" t="0" r="r" b="b"/>
              <a:pathLst>
                <a:path w="86" h="46">
                  <a:moveTo>
                    <a:pt x="13" y="10"/>
                  </a:moveTo>
                  <a:cubicBezTo>
                    <a:pt x="19" y="12"/>
                    <a:pt x="4" y="18"/>
                    <a:pt x="7" y="20"/>
                  </a:cubicBezTo>
                  <a:cubicBezTo>
                    <a:pt x="10" y="21"/>
                    <a:pt x="15" y="26"/>
                    <a:pt x="16" y="21"/>
                  </a:cubicBezTo>
                  <a:cubicBezTo>
                    <a:pt x="19" y="17"/>
                    <a:pt x="18" y="21"/>
                    <a:pt x="24" y="24"/>
                  </a:cubicBezTo>
                  <a:cubicBezTo>
                    <a:pt x="29" y="27"/>
                    <a:pt x="33" y="26"/>
                    <a:pt x="29" y="27"/>
                  </a:cubicBezTo>
                  <a:cubicBezTo>
                    <a:pt x="25" y="31"/>
                    <a:pt x="25" y="32"/>
                    <a:pt x="22" y="32"/>
                  </a:cubicBezTo>
                  <a:cubicBezTo>
                    <a:pt x="21" y="31"/>
                    <a:pt x="21" y="37"/>
                    <a:pt x="18" y="35"/>
                  </a:cubicBezTo>
                  <a:cubicBezTo>
                    <a:pt x="15" y="32"/>
                    <a:pt x="15" y="32"/>
                    <a:pt x="13" y="34"/>
                  </a:cubicBezTo>
                  <a:cubicBezTo>
                    <a:pt x="12" y="35"/>
                    <a:pt x="12" y="34"/>
                    <a:pt x="10" y="37"/>
                  </a:cubicBezTo>
                  <a:cubicBezTo>
                    <a:pt x="9" y="38"/>
                    <a:pt x="10" y="35"/>
                    <a:pt x="9" y="35"/>
                  </a:cubicBezTo>
                  <a:cubicBezTo>
                    <a:pt x="6" y="34"/>
                    <a:pt x="1" y="34"/>
                    <a:pt x="1" y="35"/>
                  </a:cubicBezTo>
                  <a:cubicBezTo>
                    <a:pt x="1" y="38"/>
                    <a:pt x="0" y="35"/>
                    <a:pt x="0" y="38"/>
                  </a:cubicBezTo>
                  <a:cubicBezTo>
                    <a:pt x="0" y="43"/>
                    <a:pt x="10" y="40"/>
                    <a:pt x="10" y="41"/>
                  </a:cubicBezTo>
                  <a:cubicBezTo>
                    <a:pt x="12" y="44"/>
                    <a:pt x="16" y="38"/>
                    <a:pt x="18" y="41"/>
                  </a:cubicBezTo>
                  <a:cubicBezTo>
                    <a:pt x="19" y="46"/>
                    <a:pt x="21" y="43"/>
                    <a:pt x="22" y="44"/>
                  </a:cubicBezTo>
                  <a:cubicBezTo>
                    <a:pt x="24" y="46"/>
                    <a:pt x="24" y="41"/>
                    <a:pt x="29" y="43"/>
                  </a:cubicBezTo>
                  <a:cubicBezTo>
                    <a:pt x="33" y="44"/>
                    <a:pt x="32" y="41"/>
                    <a:pt x="35" y="43"/>
                  </a:cubicBezTo>
                  <a:cubicBezTo>
                    <a:pt x="41" y="41"/>
                    <a:pt x="32" y="37"/>
                    <a:pt x="39" y="35"/>
                  </a:cubicBezTo>
                  <a:cubicBezTo>
                    <a:pt x="45" y="34"/>
                    <a:pt x="42" y="31"/>
                    <a:pt x="45" y="31"/>
                  </a:cubicBezTo>
                  <a:cubicBezTo>
                    <a:pt x="50" y="32"/>
                    <a:pt x="48" y="26"/>
                    <a:pt x="50" y="31"/>
                  </a:cubicBezTo>
                  <a:cubicBezTo>
                    <a:pt x="51" y="35"/>
                    <a:pt x="53" y="31"/>
                    <a:pt x="54" y="32"/>
                  </a:cubicBezTo>
                  <a:cubicBezTo>
                    <a:pt x="57" y="34"/>
                    <a:pt x="57" y="31"/>
                    <a:pt x="59" y="26"/>
                  </a:cubicBezTo>
                  <a:cubicBezTo>
                    <a:pt x="60" y="23"/>
                    <a:pt x="69" y="27"/>
                    <a:pt x="71" y="21"/>
                  </a:cubicBezTo>
                  <a:cubicBezTo>
                    <a:pt x="72" y="18"/>
                    <a:pt x="80" y="17"/>
                    <a:pt x="83" y="15"/>
                  </a:cubicBezTo>
                  <a:cubicBezTo>
                    <a:pt x="85" y="13"/>
                    <a:pt x="85" y="15"/>
                    <a:pt x="86" y="12"/>
                  </a:cubicBezTo>
                  <a:cubicBezTo>
                    <a:pt x="83" y="7"/>
                    <a:pt x="80" y="10"/>
                    <a:pt x="79" y="7"/>
                  </a:cubicBezTo>
                  <a:cubicBezTo>
                    <a:pt x="79" y="4"/>
                    <a:pt x="72" y="4"/>
                    <a:pt x="62" y="4"/>
                  </a:cubicBezTo>
                  <a:cubicBezTo>
                    <a:pt x="50" y="3"/>
                    <a:pt x="50" y="6"/>
                    <a:pt x="47" y="4"/>
                  </a:cubicBezTo>
                  <a:cubicBezTo>
                    <a:pt x="45" y="3"/>
                    <a:pt x="41" y="0"/>
                    <a:pt x="36" y="1"/>
                  </a:cubicBezTo>
                  <a:cubicBezTo>
                    <a:pt x="30" y="3"/>
                    <a:pt x="35" y="10"/>
                    <a:pt x="32" y="9"/>
                  </a:cubicBezTo>
                  <a:cubicBezTo>
                    <a:pt x="29" y="7"/>
                    <a:pt x="22" y="4"/>
                    <a:pt x="18" y="4"/>
                  </a:cubicBezTo>
                  <a:cubicBezTo>
                    <a:pt x="13" y="6"/>
                    <a:pt x="13" y="9"/>
                    <a:pt x="13" y="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52"/>
            <p:cNvSpPr>
              <a:spLocks/>
            </p:cNvSpPr>
            <p:nvPr/>
          </p:nvSpPr>
          <p:spPr bwMode="auto">
            <a:xfrm>
              <a:off x="6609474" y="3826394"/>
              <a:ext cx="199241" cy="155855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26" y="8"/>
                </a:cxn>
                <a:cxn ang="0">
                  <a:pos x="27" y="5"/>
                </a:cxn>
                <a:cxn ang="0">
                  <a:pos x="27" y="3"/>
                </a:cxn>
                <a:cxn ang="0">
                  <a:pos x="26" y="0"/>
                </a:cxn>
                <a:cxn ang="0">
                  <a:pos x="23" y="3"/>
                </a:cxn>
                <a:cxn ang="0">
                  <a:pos x="18" y="3"/>
                </a:cxn>
                <a:cxn ang="0">
                  <a:pos x="15" y="9"/>
                </a:cxn>
                <a:cxn ang="0">
                  <a:pos x="12" y="14"/>
                </a:cxn>
                <a:cxn ang="0">
                  <a:pos x="6" y="16"/>
                </a:cxn>
                <a:cxn ang="0">
                  <a:pos x="1" y="20"/>
                </a:cxn>
                <a:cxn ang="0">
                  <a:pos x="4" y="22"/>
                </a:cxn>
                <a:cxn ang="0">
                  <a:pos x="7" y="23"/>
                </a:cxn>
                <a:cxn ang="0">
                  <a:pos x="7" y="30"/>
                </a:cxn>
                <a:cxn ang="0">
                  <a:pos x="6" y="37"/>
                </a:cxn>
                <a:cxn ang="0">
                  <a:pos x="4" y="44"/>
                </a:cxn>
                <a:cxn ang="0">
                  <a:pos x="7" y="44"/>
                </a:cxn>
                <a:cxn ang="0">
                  <a:pos x="14" y="42"/>
                </a:cxn>
                <a:cxn ang="0">
                  <a:pos x="17" y="44"/>
                </a:cxn>
                <a:cxn ang="0">
                  <a:pos x="18" y="39"/>
                </a:cxn>
                <a:cxn ang="0">
                  <a:pos x="24" y="39"/>
                </a:cxn>
                <a:cxn ang="0">
                  <a:pos x="24" y="34"/>
                </a:cxn>
                <a:cxn ang="0">
                  <a:pos x="31" y="30"/>
                </a:cxn>
                <a:cxn ang="0">
                  <a:pos x="32" y="34"/>
                </a:cxn>
                <a:cxn ang="0">
                  <a:pos x="35" y="37"/>
                </a:cxn>
                <a:cxn ang="0">
                  <a:pos x="38" y="47"/>
                </a:cxn>
                <a:cxn ang="0">
                  <a:pos x="44" y="44"/>
                </a:cxn>
                <a:cxn ang="0">
                  <a:pos x="47" y="41"/>
                </a:cxn>
                <a:cxn ang="0">
                  <a:pos x="52" y="41"/>
                </a:cxn>
                <a:cxn ang="0">
                  <a:pos x="55" y="41"/>
                </a:cxn>
                <a:cxn ang="0">
                  <a:pos x="60" y="42"/>
                </a:cxn>
                <a:cxn ang="0">
                  <a:pos x="63" y="39"/>
                </a:cxn>
                <a:cxn ang="0">
                  <a:pos x="61" y="33"/>
                </a:cxn>
                <a:cxn ang="0">
                  <a:pos x="61" y="28"/>
                </a:cxn>
                <a:cxn ang="0">
                  <a:pos x="55" y="28"/>
                </a:cxn>
                <a:cxn ang="0">
                  <a:pos x="54" y="23"/>
                </a:cxn>
                <a:cxn ang="0">
                  <a:pos x="52" y="19"/>
                </a:cxn>
                <a:cxn ang="0">
                  <a:pos x="46" y="19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7" y="17"/>
                </a:cxn>
                <a:cxn ang="0">
                  <a:pos x="17" y="14"/>
                </a:cxn>
                <a:cxn ang="0">
                  <a:pos x="18" y="11"/>
                </a:cxn>
                <a:cxn ang="0">
                  <a:pos x="26" y="11"/>
                </a:cxn>
                <a:cxn ang="0">
                  <a:pos x="27" y="13"/>
                </a:cxn>
                <a:cxn ang="0">
                  <a:pos x="31" y="9"/>
                </a:cxn>
              </a:cxnLst>
              <a:rect l="0" t="0" r="r" b="b"/>
              <a:pathLst>
                <a:path w="64" h="50">
                  <a:moveTo>
                    <a:pt x="31" y="9"/>
                  </a:moveTo>
                  <a:cubicBezTo>
                    <a:pt x="26" y="11"/>
                    <a:pt x="27" y="8"/>
                    <a:pt x="26" y="8"/>
                  </a:cubicBezTo>
                  <a:cubicBezTo>
                    <a:pt x="24" y="8"/>
                    <a:pt x="26" y="6"/>
                    <a:pt x="27" y="5"/>
                  </a:cubicBezTo>
                  <a:cubicBezTo>
                    <a:pt x="29" y="3"/>
                    <a:pt x="29" y="3"/>
                    <a:pt x="27" y="3"/>
                  </a:cubicBezTo>
                  <a:cubicBezTo>
                    <a:pt x="27" y="3"/>
                    <a:pt x="27" y="0"/>
                    <a:pt x="26" y="0"/>
                  </a:cubicBezTo>
                  <a:cubicBezTo>
                    <a:pt x="24" y="0"/>
                    <a:pt x="26" y="2"/>
                    <a:pt x="23" y="3"/>
                  </a:cubicBezTo>
                  <a:cubicBezTo>
                    <a:pt x="18" y="5"/>
                    <a:pt x="18" y="2"/>
                    <a:pt x="18" y="3"/>
                  </a:cubicBezTo>
                  <a:cubicBezTo>
                    <a:pt x="15" y="5"/>
                    <a:pt x="18" y="9"/>
                    <a:pt x="15" y="9"/>
                  </a:cubicBezTo>
                  <a:cubicBezTo>
                    <a:pt x="10" y="9"/>
                    <a:pt x="15" y="9"/>
                    <a:pt x="12" y="14"/>
                  </a:cubicBezTo>
                  <a:cubicBezTo>
                    <a:pt x="10" y="17"/>
                    <a:pt x="9" y="17"/>
                    <a:pt x="6" y="16"/>
                  </a:cubicBezTo>
                  <a:cubicBezTo>
                    <a:pt x="3" y="16"/>
                    <a:pt x="0" y="20"/>
                    <a:pt x="1" y="20"/>
                  </a:cubicBezTo>
                  <a:cubicBezTo>
                    <a:pt x="3" y="20"/>
                    <a:pt x="4" y="20"/>
                    <a:pt x="4" y="22"/>
                  </a:cubicBezTo>
                  <a:cubicBezTo>
                    <a:pt x="4" y="25"/>
                    <a:pt x="6" y="22"/>
                    <a:pt x="7" y="23"/>
                  </a:cubicBezTo>
                  <a:cubicBezTo>
                    <a:pt x="9" y="25"/>
                    <a:pt x="6" y="27"/>
                    <a:pt x="7" y="30"/>
                  </a:cubicBezTo>
                  <a:cubicBezTo>
                    <a:pt x="10" y="33"/>
                    <a:pt x="9" y="33"/>
                    <a:pt x="6" y="37"/>
                  </a:cubicBezTo>
                  <a:cubicBezTo>
                    <a:pt x="4" y="41"/>
                    <a:pt x="4" y="42"/>
                    <a:pt x="4" y="44"/>
                  </a:cubicBezTo>
                  <a:cubicBezTo>
                    <a:pt x="6" y="47"/>
                    <a:pt x="7" y="47"/>
                    <a:pt x="7" y="44"/>
                  </a:cubicBezTo>
                  <a:cubicBezTo>
                    <a:pt x="9" y="42"/>
                    <a:pt x="10" y="42"/>
                    <a:pt x="14" y="42"/>
                  </a:cubicBezTo>
                  <a:cubicBezTo>
                    <a:pt x="15" y="41"/>
                    <a:pt x="17" y="44"/>
                    <a:pt x="17" y="44"/>
                  </a:cubicBezTo>
                  <a:cubicBezTo>
                    <a:pt x="18" y="44"/>
                    <a:pt x="17" y="41"/>
                    <a:pt x="18" y="39"/>
                  </a:cubicBezTo>
                  <a:cubicBezTo>
                    <a:pt x="21" y="37"/>
                    <a:pt x="23" y="41"/>
                    <a:pt x="24" y="39"/>
                  </a:cubicBezTo>
                  <a:cubicBezTo>
                    <a:pt x="26" y="37"/>
                    <a:pt x="23" y="36"/>
                    <a:pt x="24" y="34"/>
                  </a:cubicBezTo>
                  <a:cubicBezTo>
                    <a:pt x="27" y="33"/>
                    <a:pt x="26" y="28"/>
                    <a:pt x="31" y="30"/>
                  </a:cubicBezTo>
                  <a:cubicBezTo>
                    <a:pt x="35" y="31"/>
                    <a:pt x="32" y="33"/>
                    <a:pt x="32" y="34"/>
                  </a:cubicBezTo>
                  <a:cubicBezTo>
                    <a:pt x="33" y="36"/>
                    <a:pt x="35" y="31"/>
                    <a:pt x="35" y="37"/>
                  </a:cubicBezTo>
                  <a:cubicBezTo>
                    <a:pt x="33" y="47"/>
                    <a:pt x="35" y="50"/>
                    <a:pt x="38" y="47"/>
                  </a:cubicBezTo>
                  <a:cubicBezTo>
                    <a:pt x="41" y="45"/>
                    <a:pt x="44" y="45"/>
                    <a:pt x="44" y="44"/>
                  </a:cubicBezTo>
                  <a:cubicBezTo>
                    <a:pt x="44" y="42"/>
                    <a:pt x="46" y="42"/>
                    <a:pt x="47" y="41"/>
                  </a:cubicBezTo>
                  <a:cubicBezTo>
                    <a:pt x="49" y="39"/>
                    <a:pt x="54" y="39"/>
                    <a:pt x="52" y="41"/>
                  </a:cubicBezTo>
                  <a:cubicBezTo>
                    <a:pt x="50" y="44"/>
                    <a:pt x="52" y="44"/>
                    <a:pt x="55" y="41"/>
                  </a:cubicBezTo>
                  <a:cubicBezTo>
                    <a:pt x="58" y="39"/>
                    <a:pt x="61" y="41"/>
                    <a:pt x="60" y="42"/>
                  </a:cubicBezTo>
                  <a:cubicBezTo>
                    <a:pt x="63" y="42"/>
                    <a:pt x="64" y="41"/>
                    <a:pt x="63" y="39"/>
                  </a:cubicBezTo>
                  <a:cubicBezTo>
                    <a:pt x="60" y="37"/>
                    <a:pt x="63" y="34"/>
                    <a:pt x="61" y="33"/>
                  </a:cubicBezTo>
                  <a:cubicBezTo>
                    <a:pt x="60" y="31"/>
                    <a:pt x="61" y="30"/>
                    <a:pt x="61" y="28"/>
                  </a:cubicBezTo>
                  <a:cubicBezTo>
                    <a:pt x="60" y="27"/>
                    <a:pt x="55" y="25"/>
                    <a:pt x="55" y="28"/>
                  </a:cubicBezTo>
                  <a:cubicBezTo>
                    <a:pt x="55" y="30"/>
                    <a:pt x="52" y="27"/>
                    <a:pt x="54" y="23"/>
                  </a:cubicBezTo>
                  <a:cubicBezTo>
                    <a:pt x="54" y="22"/>
                    <a:pt x="50" y="22"/>
                    <a:pt x="52" y="19"/>
                  </a:cubicBezTo>
                  <a:cubicBezTo>
                    <a:pt x="49" y="17"/>
                    <a:pt x="50" y="20"/>
                    <a:pt x="46" y="19"/>
                  </a:cubicBezTo>
                  <a:cubicBezTo>
                    <a:pt x="41" y="17"/>
                    <a:pt x="41" y="22"/>
                    <a:pt x="40" y="20"/>
                  </a:cubicBezTo>
                  <a:cubicBezTo>
                    <a:pt x="38" y="19"/>
                    <a:pt x="37" y="22"/>
                    <a:pt x="35" y="17"/>
                  </a:cubicBezTo>
                  <a:cubicBezTo>
                    <a:pt x="33" y="14"/>
                    <a:pt x="29" y="20"/>
                    <a:pt x="27" y="17"/>
                  </a:cubicBezTo>
                  <a:cubicBezTo>
                    <a:pt x="27" y="16"/>
                    <a:pt x="17" y="19"/>
                    <a:pt x="17" y="14"/>
                  </a:cubicBezTo>
                  <a:cubicBezTo>
                    <a:pt x="17" y="11"/>
                    <a:pt x="18" y="14"/>
                    <a:pt x="18" y="11"/>
                  </a:cubicBezTo>
                  <a:cubicBezTo>
                    <a:pt x="18" y="9"/>
                    <a:pt x="23" y="9"/>
                    <a:pt x="26" y="11"/>
                  </a:cubicBezTo>
                  <a:cubicBezTo>
                    <a:pt x="27" y="11"/>
                    <a:pt x="26" y="14"/>
                    <a:pt x="27" y="13"/>
                  </a:cubicBezTo>
                  <a:cubicBezTo>
                    <a:pt x="29" y="9"/>
                    <a:pt x="29" y="11"/>
                    <a:pt x="31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53"/>
            <p:cNvSpPr>
              <a:spLocks/>
            </p:cNvSpPr>
            <p:nvPr/>
          </p:nvSpPr>
          <p:spPr bwMode="auto">
            <a:xfrm>
              <a:off x="7912574" y="4346981"/>
              <a:ext cx="53024" cy="126933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1" y="3"/>
                </a:cxn>
                <a:cxn ang="0">
                  <a:pos x="14" y="3"/>
                </a:cxn>
                <a:cxn ang="0">
                  <a:pos x="16" y="9"/>
                </a:cxn>
                <a:cxn ang="0">
                  <a:pos x="13" y="22"/>
                </a:cxn>
                <a:cxn ang="0">
                  <a:pos x="8" y="34"/>
                </a:cxn>
                <a:cxn ang="0">
                  <a:pos x="5" y="33"/>
                </a:cxn>
                <a:cxn ang="0">
                  <a:pos x="2" y="26"/>
                </a:cxn>
                <a:cxn ang="0">
                  <a:pos x="3" y="12"/>
                </a:cxn>
              </a:cxnLst>
              <a:rect l="0" t="0" r="r" b="b"/>
              <a:pathLst>
                <a:path w="17" h="41">
                  <a:moveTo>
                    <a:pt x="3" y="12"/>
                  </a:moveTo>
                  <a:cubicBezTo>
                    <a:pt x="8" y="6"/>
                    <a:pt x="10" y="4"/>
                    <a:pt x="11" y="3"/>
                  </a:cubicBezTo>
                  <a:cubicBezTo>
                    <a:pt x="13" y="3"/>
                    <a:pt x="13" y="0"/>
                    <a:pt x="14" y="3"/>
                  </a:cubicBezTo>
                  <a:cubicBezTo>
                    <a:pt x="17" y="6"/>
                    <a:pt x="14" y="6"/>
                    <a:pt x="16" y="9"/>
                  </a:cubicBezTo>
                  <a:cubicBezTo>
                    <a:pt x="16" y="11"/>
                    <a:pt x="14" y="14"/>
                    <a:pt x="13" y="22"/>
                  </a:cubicBezTo>
                  <a:cubicBezTo>
                    <a:pt x="11" y="31"/>
                    <a:pt x="8" y="28"/>
                    <a:pt x="8" y="34"/>
                  </a:cubicBezTo>
                  <a:cubicBezTo>
                    <a:pt x="8" y="41"/>
                    <a:pt x="7" y="36"/>
                    <a:pt x="5" y="33"/>
                  </a:cubicBezTo>
                  <a:cubicBezTo>
                    <a:pt x="5" y="30"/>
                    <a:pt x="3" y="33"/>
                    <a:pt x="2" y="26"/>
                  </a:cubicBezTo>
                  <a:cubicBezTo>
                    <a:pt x="0" y="22"/>
                    <a:pt x="0" y="19"/>
                    <a:pt x="3" y="1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54"/>
            <p:cNvSpPr>
              <a:spLocks/>
            </p:cNvSpPr>
            <p:nvPr/>
          </p:nvSpPr>
          <p:spPr bwMode="auto">
            <a:xfrm>
              <a:off x="8025049" y="3760517"/>
              <a:ext cx="155858" cy="189597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3" y="37"/>
                </a:cxn>
                <a:cxn ang="0">
                  <a:pos x="7" y="42"/>
                </a:cxn>
                <a:cxn ang="0">
                  <a:pos x="6" y="48"/>
                </a:cxn>
                <a:cxn ang="0">
                  <a:pos x="4" y="51"/>
                </a:cxn>
                <a:cxn ang="0">
                  <a:pos x="4" y="54"/>
                </a:cxn>
                <a:cxn ang="0">
                  <a:pos x="6" y="57"/>
                </a:cxn>
                <a:cxn ang="0">
                  <a:pos x="9" y="59"/>
                </a:cxn>
                <a:cxn ang="0">
                  <a:pos x="12" y="57"/>
                </a:cxn>
                <a:cxn ang="0">
                  <a:pos x="14" y="57"/>
                </a:cxn>
                <a:cxn ang="0">
                  <a:pos x="18" y="57"/>
                </a:cxn>
                <a:cxn ang="0">
                  <a:pos x="21" y="53"/>
                </a:cxn>
                <a:cxn ang="0">
                  <a:pos x="30" y="51"/>
                </a:cxn>
                <a:cxn ang="0">
                  <a:pos x="32" y="48"/>
                </a:cxn>
                <a:cxn ang="0">
                  <a:pos x="27" y="45"/>
                </a:cxn>
                <a:cxn ang="0">
                  <a:pos x="24" y="42"/>
                </a:cxn>
                <a:cxn ang="0">
                  <a:pos x="24" y="39"/>
                </a:cxn>
                <a:cxn ang="0">
                  <a:pos x="27" y="34"/>
                </a:cxn>
                <a:cxn ang="0">
                  <a:pos x="33" y="31"/>
                </a:cxn>
                <a:cxn ang="0">
                  <a:pos x="41" y="25"/>
                </a:cxn>
                <a:cxn ang="0">
                  <a:pos x="43" y="19"/>
                </a:cxn>
                <a:cxn ang="0">
                  <a:pos x="43" y="14"/>
                </a:cxn>
                <a:cxn ang="0">
                  <a:pos x="47" y="8"/>
                </a:cxn>
                <a:cxn ang="0">
                  <a:pos x="50" y="8"/>
                </a:cxn>
                <a:cxn ang="0">
                  <a:pos x="49" y="6"/>
                </a:cxn>
                <a:cxn ang="0">
                  <a:pos x="47" y="5"/>
                </a:cxn>
                <a:cxn ang="0">
                  <a:pos x="44" y="0"/>
                </a:cxn>
                <a:cxn ang="0">
                  <a:pos x="41" y="6"/>
                </a:cxn>
                <a:cxn ang="0">
                  <a:pos x="36" y="11"/>
                </a:cxn>
                <a:cxn ang="0">
                  <a:pos x="33" y="11"/>
                </a:cxn>
                <a:cxn ang="0">
                  <a:pos x="29" y="12"/>
                </a:cxn>
                <a:cxn ang="0">
                  <a:pos x="30" y="17"/>
                </a:cxn>
                <a:cxn ang="0">
                  <a:pos x="27" y="17"/>
                </a:cxn>
                <a:cxn ang="0">
                  <a:pos x="23" y="17"/>
                </a:cxn>
                <a:cxn ang="0">
                  <a:pos x="20" y="14"/>
                </a:cxn>
                <a:cxn ang="0">
                  <a:pos x="18" y="15"/>
                </a:cxn>
                <a:cxn ang="0">
                  <a:pos x="17" y="19"/>
                </a:cxn>
                <a:cxn ang="0">
                  <a:pos x="12" y="23"/>
                </a:cxn>
                <a:cxn ang="0">
                  <a:pos x="9" y="25"/>
                </a:cxn>
                <a:cxn ang="0">
                  <a:pos x="7" y="26"/>
                </a:cxn>
                <a:cxn ang="0">
                  <a:pos x="4" y="28"/>
                </a:cxn>
                <a:cxn ang="0">
                  <a:pos x="0" y="33"/>
                </a:cxn>
                <a:cxn ang="0">
                  <a:pos x="0" y="34"/>
                </a:cxn>
              </a:cxnLst>
              <a:rect l="0" t="0" r="r" b="b"/>
              <a:pathLst>
                <a:path w="50" h="61">
                  <a:moveTo>
                    <a:pt x="0" y="34"/>
                  </a:moveTo>
                  <a:cubicBezTo>
                    <a:pt x="0" y="36"/>
                    <a:pt x="1" y="39"/>
                    <a:pt x="3" y="37"/>
                  </a:cubicBezTo>
                  <a:cubicBezTo>
                    <a:pt x="4" y="36"/>
                    <a:pt x="9" y="39"/>
                    <a:pt x="7" y="42"/>
                  </a:cubicBezTo>
                  <a:cubicBezTo>
                    <a:pt x="7" y="45"/>
                    <a:pt x="4" y="47"/>
                    <a:pt x="6" y="48"/>
                  </a:cubicBezTo>
                  <a:cubicBezTo>
                    <a:pt x="7" y="50"/>
                    <a:pt x="4" y="48"/>
                    <a:pt x="4" y="51"/>
                  </a:cubicBezTo>
                  <a:cubicBezTo>
                    <a:pt x="3" y="54"/>
                    <a:pt x="0" y="54"/>
                    <a:pt x="4" y="54"/>
                  </a:cubicBezTo>
                  <a:cubicBezTo>
                    <a:pt x="7" y="56"/>
                    <a:pt x="1" y="56"/>
                    <a:pt x="6" y="57"/>
                  </a:cubicBezTo>
                  <a:cubicBezTo>
                    <a:pt x="9" y="57"/>
                    <a:pt x="6" y="61"/>
                    <a:pt x="9" y="59"/>
                  </a:cubicBezTo>
                  <a:cubicBezTo>
                    <a:pt x="11" y="57"/>
                    <a:pt x="9" y="54"/>
                    <a:pt x="12" y="57"/>
                  </a:cubicBezTo>
                  <a:cubicBezTo>
                    <a:pt x="14" y="59"/>
                    <a:pt x="14" y="59"/>
                    <a:pt x="14" y="57"/>
                  </a:cubicBezTo>
                  <a:cubicBezTo>
                    <a:pt x="15" y="56"/>
                    <a:pt x="17" y="57"/>
                    <a:pt x="18" y="57"/>
                  </a:cubicBezTo>
                  <a:cubicBezTo>
                    <a:pt x="18" y="56"/>
                    <a:pt x="18" y="54"/>
                    <a:pt x="21" y="53"/>
                  </a:cubicBezTo>
                  <a:cubicBezTo>
                    <a:pt x="26" y="51"/>
                    <a:pt x="27" y="53"/>
                    <a:pt x="30" y="51"/>
                  </a:cubicBezTo>
                  <a:cubicBezTo>
                    <a:pt x="32" y="51"/>
                    <a:pt x="29" y="50"/>
                    <a:pt x="32" y="48"/>
                  </a:cubicBezTo>
                  <a:cubicBezTo>
                    <a:pt x="30" y="47"/>
                    <a:pt x="30" y="48"/>
                    <a:pt x="27" y="45"/>
                  </a:cubicBezTo>
                  <a:cubicBezTo>
                    <a:pt x="26" y="42"/>
                    <a:pt x="24" y="43"/>
                    <a:pt x="24" y="42"/>
                  </a:cubicBezTo>
                  <a:cubicBezTo>
                    <a:pt x="23" y="40"/>
                    <a:pt x="26" y="43"/>
                    <a:pt x="24" y="39"/>
                  </a:cubicBezTo>
                  <a:cubicBezTo>
                    <a:pt x="24" y="34"/>
                    <a:pt x="26" y="37"/>
                    <a:pt x="27" y="34"/>
                  </a:cubicBezTo>
                  <a:cubicBezTo>
                    <a:pt x="29" y="31"/>
                    <a:pt x="29" y="36"/>
                    <a:pt x="33" y="31"/>
                  </a:cubicBezTo>
                  <a:cubicBezTo>
                    <a:pt x="38" y="28"/>
                    <a:pt x="40" y="25"/>
                    <a:pt x="41" y="25"/>
                  </a:cubicBezTo>
                  <a:cubicBezTo>
                    <a:pt x="43" y="25"/>
                    <a:pt x="43" y="20"/>
                    <a:pt x="43" y="19"/>
                  </a:cubicBezTo>
                  <a:cubicBezTo>
                    <a:pt x="43" y="17"/>
                    <a:pt x="41" y="17"/>
                    <a:pt x="43" y="14"/>
                  </a:cubicBezTo>
                  <a:cubicBezTo>
                    <a:pt x="46" y="11"/>
                    <a:pt x="46" y="9"/>
                    <a:pt x="47" y="8"/>
                  </a:cubicBezTo>
                  <a:cubicBezTo>
                    <a:pt x="49" y="8"/>
                    <a:pt x="49" y="9"/>
                    <a:pt x="50" y="8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3"/>
                    <a:pt x="49" y="6"/>
                    <a:pt x="47" y="5"/>
                  </a:cubicBezTo>
                  <a:cubicBezTo>
                    <a:pt x="46" y="3"/>
                    <a:pt x="47" y="2"/>
                    <a:pt x="44" y="0"/>
                  </a:cubicBezTo>
                  <a:cubicBezTo>
                    <a:pt x="41" y="0"/>
                    <a:pt x="44" y="8"/>
                    <a:pt x="41" y="6"/>
                  </a:cubicBezTo>
                  <a:cubicBezTo>
                    <a:pt x="38" y="6"/>
                    <a:pt x="40" y="9"/>
                    <a:pt x="36" y="11"/>
                  </a:cubicBezTo>
                  <a:cubicBezTo>
                    <a:pt x="35" y="12"/>
                    <a:pt x="36" y="11"/>
                    <a:pt x="33" y="11"/>
                  </a:cubicBezTo>
                  <a:cubicBezTo>
                    <a:pt x="32" y="12"/>
                    <a:pt x="29" y="9"/>
                    <a:pt x="29" y="12"/>
                  </a:cubicBezTo>
                  <a:cubicBezTo>
                    <a:pt x="29" y="15"/>
                    <a:pt x="32" y="15"/>
                    <a:pt x="30" y="17"/>
                  </a:cubicBezTo>
                  <a:cubicBezTo>
                    <a:pt x="29" y="19"/>
                    <a:pt x="29" y="17"/>
                    <a:pt x="27" y="17"/>
                  </a:cubicBezTo>
                  <a:cubicBezTo>
                    <a:pt x="26" y="19"/>
                    <a:pt x="24" y="17"/>
                    <a:pt x="23" y="17"/>
                  </a:cubicBezTo>
                  <a:cubicBezTo>
                    <a:pt x="21" y="17"/>
                    <a:pt x="21" y="12"/>
                    <a:pt x="20" y="14"/>
                  </a:cubicBezTo>
                  <a:cubicBezTo>
                    <a:pt x="18" y="15"/>
                    <a:pt x="20" y="14"/>
                    <a:pt x="18" y="15"/>
                  </a:cubicBezTo>
                  <a:cubicBezTo>
                    <a:pt x="17" y="17"/>
                    <a:pt x="18" y="17"/>
                    <a:pt x="17" y="19"/>
                  </a:cubicBezTo>
                  <a:cubicBezTo>
                    <a:pt x="15" y="20"/>
                    <a:pt x="14" y="23"/>
                    <a:pt x="12" y="23"/>
                  </a:cubicBezTo>
                  <a:cubicBezTo>
                    <a:pt x="9" y="23"/>
                    <a:pt x="11" y="25"/>
                    <a:pt x="9" y="25"/>
                  </a:cubicBezTo>
                  <a:cubicBezTo>
                    <a:pt x="7" y="25"/>
                    <a:pt x="9" y="26"/>
                    <a:pt x="7" y="26"/>
                  </a:cubicBezTo>
                  <a:cubicBezTo>
                    <a:pt x="4" y="28"/>
                    <a:pt x="6" y="28"/>
                    <a:pt x="4" y="28"/>
                  </a:cubicBezTo>
                  <a:cubicBezTo>
                    <a:pt x="3" y="28"/>
                    <a:pt x="1" y="31"/>
                    <a:pt x="0" y="33"/>
                  </a:cubicBezTo>
                  <a:cubicBezTo>
                    <a:pt x="0" y="34"/>
                    <a:pt x="0" y="34"/>
                    <a:pt x="0" y="3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55"/>
            <p:cNvSpPr>
              <a:spLocks/>
            </p:cNvSpPr>
            <p:nvPr/>
          </p:nvSpPr>
          <p:spPr bwMode="auto">
            <a:xfrm>
              <a:off x="8065218" y="3909944"/>
              <a:ext cx="88374" cy="149428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3" y="10"/>
                </a:cxn>
                <a:cxn ang="0">
                  <a:pos x="5" y="15"/>
                </a:cxn>
                <a:cxn ang="0">
                  <a:pos x="6" y="20"/>
                </a:cxn>
                <a:cxn ang="0">
                  <a:pos x="5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0" y="21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5" y="31"/>
                </a:cxn>
                <a:cxn ang="0">
                  <a:pos x="3" y="34"/>
                </a:cxn>
                <a:cxn ang="0">
                  <a:pos x="2" y="39"/>
                </a:cxn>
                <a:cxn ang="0">
                  <a:pos x="2" y="42"/>
                </a:cxn>
                <a:cxn ang="0">
                  <a:pos x="2" y="43"/>
                </a:cxn>
                <a:cxn ang="0">
                  <a:pos x="3" y="45"/>
                </a:cxn>
                <a:cxn ang="0">
                  <a:pos x="5" y="45"/>
                </a:cxn>
                <a:cxn ang="0">
                  <a:pos x="6" y="47"/>
                </a:cxn>
                <a:cxn ang="0">
                  <a:pos x="8" y="43"/>
                </a:cxn>
                <a:cxn ang="0">
                  <a:pos x="9" y="43"/>
                </a:cxn>
                <a:cxn ang="0">
                  <a:pos x="11" y="45"/>
                </a:cxn>
                <a:cxn ang="0">
                  <a:pos x="11" y="43"/>
                </a:cxn>
                <a:cxn ang="0">
                  <a:pos x="11" y="42"/>
                </a:cxn>
                <a:cxn ang="0">
                  <a:pos x="13" y="43"/>
                </a:cxn>
                <a:cxn ang="0">
                  <a:pos x="13" y="40"/>
                </a:cxn>
                <a:cxn ang="0">
                  <a:pos x="19" y="42"/>
                </a:cxn>
                <a:cxn ang="0">
                  <a:pos x="20" y="39"/>
                </a:cxn>
                <a:cxn ang="0">
                  <a:pos x="25" y="39"/>
                </a:cxn>
                <a:cxn ang="0">
                  <a:pos x="28" y="29"/>
                </a:cxn>
                <a:cxn ang="0">
                  <a:pos x="26" y="28"/>
                </a:cxn>
                <a:cxn ang="0">
                  <a:pos x="26" y="20"/>
                </a:cxn>
                <a:cxn ang="0">
                  <a:pos x="22" y="7"/>
                </a:cxn>
                <a:cxn ang="0">
                  <a:pos x="19" y="0"/>
                </a:cxn>
                <a:cxn ang="0">
                  <a:pos x="17" y="3"/>
                </a:cxn>
                <a:cxn ang="0">
                  <a:pos x="8" y="4"/>
                </a:cxn>
                <a:cxn ang="0">
                  <a:pos x="5" y="9"/>
                </a:cxn>
              </a:cxnLst>
              <a:rect l="0" t="0" r="r" b="b"/>
              <a:pathLst>
                <a:path w="28" h="48">
                  <a:moveTo>
                    <a:pt x="5" y="9"/>
                  </a:moveTo>
                  <a:cubicBezTo>
                    <a:pt x="5" y="10"/>
                    <a:pt x="5" y="9"/>
                    <a:pt x="3" y="10"/>
                  </a:cubicBezTo>
                  <a:cubicBezTo>
                    <a:pt x="3" y="12"/>
                    <a:pt x="6" y="14"/>
                    <a:pt x="5" y="15"/>
                  </a:cubicBezTo>
                  <a:cubicBezTo>
                    <a:pt x="3" y="17"/>
                    <a:pt x="8" y="17"/>
                    <a:pt x="6" y="20"/>
                  </a:cubicBezTo>
                  <a:cubicBezTo>
                    <a:pt x="6" y="21"/>
                    <a:pt x="6" y="18"/>
                    <a:pt x="5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20"/>
                    <a:pt x="2" y="20"/>
                    <a:pt x="2" y="20"/>
                  </a:cubicBezTo>
                  <a:cubicBezTo>
                    <a:pt x="0" y="18"/>
                    <a:pt x="0" y="21"/>
                    <a:pt x="0" y="21"/>
                  </a:cubicBezTo>
                  <a:cubicBezTo>
                    <a:pt x="2" y="23"/>
                    <a:pt x="3" y="20"/>
                    <a:pt x="3" y="23"/>
                  </a:cubicBezTo>
                  <a:cubicBezTo>
                    <a:pt x="3" y="25"/>
                    <a:pt x="3" y="28"/>
                    <a:pt x="3" y="28"/>
                  </a:cubicBezTo>
                  <a:cubicBezTo>
                    <a:pt x="5" y="29"/>
                    <a:pt x="3" y="29"/>
                    <a:pt x="5" y="31"/>
                  </a:cubicBezTo>
                  <a:cubicBezTo>
                    <a:pt x="6" y="32"/>
                    <a:pt x="3" y="31"/>
                    <a:pt x="3" y="34"/>
                  </a:cubicBezTo>
                  <a:cubicBezTo>
                    <a:pt x="2" y="37"/>
                    <a:pt x="0" y="39"/>
                    <a:pt x="2" y="39"/>
                  </a:cubicBezTo>
                  <a:cubicBezTo>
                    <a:pt x="2" y="40"/>
                    <a:pt x="2" y="40"/>
                    <a:pt x="2" y="42"/>
                  </a:cubicBezTo>
                  <a:cubicBezTo>
                    <a:pt x="3" y="43"/>
                    <a:pt x="2" y="42"/>
                    <a:pt x="2" y="43"/>
                  </a:cubicBezTo>
                  <a:cubicBezTo>
                    <a:pt x="2" y="45"/>
                    <a:pt x="3" y="43"/>
                    <a:pt x="3" y="45"/>
                  </a:cubicBezTo>
                  <a:cubicBezTo>
                    <a:pt x="3" y="48"/>
                    <a:pt x="3" y="48"/>
                    <a:pt x="5" y="45"/>
                  </a:cubicBezTo>
                  <a:cubicBezTo>
                    <a:pt x="6" y="42"/>
                    <a:pt x="5" y="47"/>
                    <a:pt x="6" y="47"/>
                  </a:cubicBezTo>
                  <a:cubicBezTo>
                    <a:pt x="6" y="47"/>
                    <a:pt x="6" y="45"/>
                    <a:pt x="8" y="43"/>
                  </a:cubicBezTo>
                  <a:cubicBezTo>
                    <a:pt x="9" y="42"/>
                    <a:pt x="11" y="42"/>
                    <a:pt x="9" y="43"/>
                  </a:cubicBezTo>
                  <a:cubicBezTo>
                    <a:pt x="8" y="45"/>
                    <a:pt x="9" y="47"/>
                    <a:pt x="11" y="45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0"/>
                    <a:pt x="11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2"/>
                    <a:pt x="11" y="42"/>
                    <a:pt x="13" y="40"/>
                  </a:cubicBezTo>
                  <a:cubicBezTo>
                    <a:pt x="16" y="40"/>
                    <a:pt x="17" y="42"/>
                    <a:pt x="19" y="42"/>
                  </a:cubicBezTo>
                  <a:cubicBezTo>
                    <a:pt x="20" y="40"/>
                    <a:pt x="19" y="40"/>
                    <a:pt x="20" y="39"/>
                  </a:cubicBezTo>
                  <a:cubicBezTo>
                    <a:pt x="22" y="39"/>
                    <a:pt x="23" y="40"/>
                    <a:pt x="25" y="39"/>
                  </a:cubicBezTo>
                  <a:cubicBezTo>
                    <a:pt x="25" y="37"/>
                    <a:pt x="28" y="32"/>
                    <a:pt x="28" y="29"/>
                  </a:cubicBezTo>
                  <a:cubicBezTo>
                    <a:pt x="28" y="26"/>
                    <a:pt x="26" y="31"/>
                    <a:pt x="26" y="28"/>
                  </a:cubicBezTo>
                  <a:cubicBezTo>
                    <a:pt x="26" y="23"/>
                    <a:pt x="28" y="23"/>
                    <a:pt x="26" y="20"/>
                  </a:cubicBezTo>
                  <a:cubicBezTo>
                    <a:pt x="26" y="15"/>
                    <a:pt x="23" y="10"/>
                    <a:pt x="22" y="7"/>
                  </a:cubicBezTo>
                  <a:cubicBezTo>
                    <a:pt x="20" y="4"/>
                    <a:pt x="19" y="1"/>
                    <a:pt x="19" y="0"/>
                  </a:cubicBezTo>
                  <a:cubicBezTo>
                    <a:pt x="16" y="1"/>
                    <a:pt x="19" y="3"/>
                    <a:pt x="17" y="3"/>
                  </a:cubicBezTo>
                  <a:cubicBezTo>
                    <a:pt x="14" y="4"/>
                    <a:pt x="13" y="3"/>
                    <a:pt x="8" y="4"/>
                  </a:cubicBezTo>
                  <a:cubicBezTo>
                    <a:pt x="5" y="6"/>
                    <a:pt x="5" y="7"/>
                    <a:pt x="5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56"/>
            <p:cNvSpPr>
              <a:spLocks/>
            </p:cNvSpPr>
            <p:nvPr/>
          </p:nvSpPr>
          <p:spPr bwMode="auto">
            <a:xfrm>
              <a:off x="8062005" y="4081867"/>
              <a:ext cx="28922" cy="1767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8" y="1"/>
                </a:cxn>
                <a:cxn ang="0">
                  <a:pos x="1" y="4"/>
                </a:cxn>
              </a:cxnLst>
              <a:rect l="0" t="0" r="r" b="b"/>
              <a:pathLst>
                <a:path w="9" h="6">
                  <a:moveTo>
                    <a:pt x="1" y="4"/>
                  </a:moveTo>
                  <a:cubicBezTo>
                    <a:pt x="0" y="1"/>
                    <a:pt x="8" y="0"/>
                    <a:pt x="8" y="1"/>
                  </a:cubicBezTo>
                  <a:cubicBezTo>
                    <a:pt x="9" y="3"/>
                    <a:pt x="3" y="6"/>
                    <a:pt x="1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57"/>
            <p:cNvSpPr>
              <a:spLocks/>
            </p:cNvSpPr>
            <p:nvPr/>
          </p:nvSpPr>
          <p:spPr bwMode="auto">
            <a:xfrm>
              <a:off x="8143951" y="4043305"/>
              <a:ext cx="9641" cy="2249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1" y="3"/>
                </a:cxn>
                <a:cxn ang="0">
                  <a:pos x="0" y="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  <a:cubicBezTo>
                    <a:pt x="0" y="5"/>
                    <a:pt x="1" y="7"/>
                    <a:pt x="0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58"/>
            <p:cNvSpPr>
              <a:spLocks/>
            </p:cNvSpPr>
            <p:nvPr/>
          </p:nvSpPr>
          <p:spPr bwMode="auto">
            <a:xfrm>
              <a:off x="8062005" y="4049732"/>
              <a:ext cx="12854" cy="6427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0" y="2"/>
                    <a:pt x="3" y="0"/>
                    <a:pt x="3" y="0"/>
                  </a:cubicBezTo>
                  <a:cubicBezTo>
                    <a:pt x="4" y="2"/>
                    <a:pt x="1" y="2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59"/>
            <p:cNvSpPr>
              <a:spLocks/>
            </p:cNvSpPr>
            <p:nvPr/>
          </p:nvSpPr>
          <p:spPr bwMode="auto">
            <a:xfrm>
              <a:off x="8062005" y="4035272"/>
              <a:ext cx="3213" cy="8034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0" y="2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60"/>
            <p:cNvSpPr>
              <a:spLocks/>
            </p:cNvSpPr>
            <p:nvPr/>
          </p:nvSpPr>
          <p:spPr bwMode="auto">
            <a:xfrm>
              <a:off x="8071646" y="3982248"/>
              <a:ext cx="3213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Freeform 61"/>
            <p:cNvSpPr>
              <a:spLocks/>
            </p:cNvSpPr>
            <p:nvPr/>
          </p:nvSpPr>
          <p:spPr bwMode="auto">
            <a:xfrm>
              <a:off x="8124670" y="4035272"/>
              <a:ext cx="9641" cy="8034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Freeform 62"/>
            <p:cNvSpPr>
              <a:spLocks/>
            </p:cNvSpPr>
            <p:nvPr/>
          </p:nvSpPr>
          <p:spPr bwMode="auto">
            <a:xfrm>
              <a:off x="8108602" y="4035272"/>
              <a:ext cx="6427" cy="8034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2" y="0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63"/>
            <p:cNvSpPr>
              <a:spLocks/>
            </p:cNvSpPr>
            <p:nvPr/>
          </p:nvSpPr>
          <p:spPr bwMode="auto">
            <a:xfrm>
              <a:off x="8074859" y="4059372"/>
              <a:ext cx="6427" cy="642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2" y="0"/>
                    <a:pt x="2" y="2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Freeform 64"/>
            <p:cNvSpPr>
              <a:spLocks/>
            </p:cNvSpPr>
            <p:nvPr/>
          </p:nvSpPr>
          <p:spPr bwMode="auto">
            <a:xfrm>
              <a:off x="8071646" y="3938866"/>
              <a:ext cx="3213" cy="11247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0"/>
                </a:cxn>
                <a:cxn ang="0">
                  <a:pos x="1" y="4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0" y="4"/>
                    <a:pt x="0" y="0"/>
                    <a:pt x="0" y="0"/>
                  </a:cubicBezTo>
                  <a:cubicBezTo>
                    <a:pt x="1" y="0"/>
                    <a:pt x="1" y="4"/>
                    <a:pt x="1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Freeform 65"/>
            <p:cNvSpPr>
              <a:spLocks/>
            </p:cNvSpPr>
            <p:nvPr/>
          </p:nvSpPr>
          <p:spPr bwMode="auto">
            <a:xfrm>
              <a:off x="7629780" y="4514083"/>
              <a:ext cx="61058" cy="65877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6" y="3"/>
                </a:cxn>
                <a:cxn ang="0">
                  <a:pos x="9" y="2"/>
                </a:cxn>
                <a:cxn ang="0">
                  <a:pos x="12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6"/>
                </a:cxn>
                <a:cxn ang="0">
                  <a:pos x="17" y="13"/>
                </a:cxn>
                <a:cxn ang="0">
                  <a:pos x="12" y="17"/>
                </a:cxn>
                <a:cxn ang="0">
                  <a:pos x="9" y="19"/>
                </a:cxn>
                <a:cxn ang="0">
                  <a:pos x="8" y="19"/>
                </a:cxn>
                <a:cxn ang="0">
                  <a:pos x="3" y="17"/>
                </a:cxn>
                <a:cxn ang="0">
                  <a:pos x="2" y="13"/>
                </a:cxn>
                <a:cxn ang="0">
                  <a:pos x="3" y="6"/>
                </a:cxn>
              </a:cxnLst>
              <a:rect l="0" t="0" r="r" b="b"/>
              <a:pathLst>
                <a:path w="20" h="21">
                  <a:moveTo>
                    <a:pt x="3" y="6"/>
                  </a:moveTo>
                  <a:cubicBezTo>
                    <a:pt x="6" y="3"/>
                    <a:pt x="5" y="5"/>
                    <a:pt x="6" y="3"/>
                  </a:cubicBezTo>
                  <a:cubicBezTo>
                    <a:pt x="8" y="2"/>
                    <a:pt x="8" y="5"/>
                    <a:pt x="9" y="2"/>
                  </a:cubicBezTo>
                  <a:cubicBezTo>
                    <a:pt x="9" y="0"/>
                    <a:pt x="11" y="3"/>
                    <a:pt x="12" y="2"/>
                  </a:cubicBezTo>
                  <a:cubicBezTo>
                    <a:pt x="14" y="0"/>
                    <a:pt x="15" y="2"/>
                    <a:pt x="17" y="2"/>
                  </a:cubicBezTo>
                  <a:cubicBezTo>
                    <a:pt x="17" y="0"/>
                    <a:pt x="18" y="2"/>
                    <a:pt x="18" y="2"/>
                  </a:cubicBezTo>
                  <a:cubicBezTo>
                    <a:pt x="20" y="2"/>
                    <a:pt x="20" y="5"/>
                    <a:pt x="20" y="6"/>
                  </a:cubicBezTo>
                  <a:cubicBezTo>
                    <a:pt x="18" y="6"/>
                    <a:pt x="17" y="10"/>
                    <a:pt x="17" y="13"/>
                  </a:cubicBezTo>
                  <a:cubicBezTo>
                    <a:pt x="17" y="16"/>
                    <a:pt x="14" y="14"/>
                    <a:pt x="12" y="17"/>
                  </a:cubicBezTo>
                  <a:cubicBezTo>
                    <a:pt x="12" y="19"/>
                    <a:pt x="11" y="17"/>
                    <a:pt x="9" y="19"/>
                  </a:cubicBezTo>
                  <a:cubicBezTo>
                    <a:pt x="9" y="21"/>
                    <a:pt x="8" y="21"/>
                    <a:pt x="8" y="19"/>
                  </a:cubicBezTo>
                  <a:cubicBezTo>
                    <a:pt x="6" y="19"/>
                    <a:pt x="6" y="21"/>
                    <a:pt x="3" y="17"/>
                  </a:cubicBezTo>
                  <a:cubicBezTo>
                    <a:pt x="0" y="16"/>
                    <a:pt x="2" y="16"/>
                    <a:pt x="2" y="13"/>
                  </a:cubicBezTo>
                  <a:cubicBezTo>
                    <a:pt x="0" y="8"/>
                    <a:pt x="3" y="8"/>
                    <a:pt x="3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Freeform 66"/>
            <p:cNvSpPr>
              <a:spLocks/>
            </p:cNvSpPr>
            <p:nvPr/>
          </p:nvSpPr>
          <p:spPr bwMode="auto">
            <a:xfrm>
              <a:off x="6917976" y="4835434"/>
              <a:ext cx="56237" cy="125326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0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3" y="4"/>
                </a:cxn>
                <a:cxn ang="0">
                  <a:pos x="1" y="0"/>
                </a:cxn>
                <a:cxn ang="0">
                  <a:pos x="7" y="1"/>
                </a:cxn>
                <a:cxn ang="0">
                  <a:pos x="11" y="9"/>
                </a:cxn>
                <a:cxn ang="0">
                  <a:pos x="15" y="18"/>
                </a:cxn>
                <a:cxn ang="0">
                  <a:pos x="17" y="21"/>
                </a:cxn>
                <a:cxn ang="0">
                  <a:pos x="13" y="34"/>
                </a:cxn>
                <a:cxn ang="0">
                  <a:pos x="4" y="37"/>
                </a:cxn>
              </a:cxnLst>
              <a:rect l="0" t="0" r="r" b="b"/>
              <a:pathLst>
                <a:path w="18" h="40">
                  <a:moveTo>
                    <a:pt x="4" y="37"/>
                  </a:moveTo>
                  <a:cubicBezTo>
                    <a:pt x="0" y="32"/>
                    <a:pt x="1" y="23"/>
                    <a:pt x="0" y="18"/>
                  </a:cubicBezTo>
                  <a:cubicBezTo>
                    <a:pt x="0" y="14"/>
                    <a:pt x="1" y="14"/>
                    <a:pt x="1" y="15"/>
                  </a:cubicBezTo>
                  <a:cubicBezTo>
                    <a:pt x="1" y="17"/>
                    <a:pt x="1" y="12"/>
                    <a:pt x="1" y="9"/>
                  </a:cubicBezTo>
                  <a:cubicBezTo>
                    <a:pt x="1" y="8"/>
                    <a:pt x="3" y="8"/>
                    <a:pt x="3" y="4"/>
                  </a:cubicBezTo>
                  <a:cubicBezTo>
                    <a:pt x="3" y="1"/>
                    <a:pt x="1" y="1"/>
                    <a:pt x="1" y="0"/>
                  </a:cubicBezTo>
                  <a:cubicBezTo>
                    <a:pt x="1" y="0"/>
                    <a:pt x="4" y="0"/>
                    <a:pt x="7" y="1"/>
                  </a:cubicBezTo>
                  <a:cubicBezTo>
                    <a:pt x="9" y="4"/>
                    <a:pt x="9" y="6"/>
                    <a:pt x="11" y="9"/>
                  </a:cubicBezTo>
                  <a:cubicBezTo>
                    <a:pt x="13" y="11"/>
                    <a:pt x="13" y="17"/>
                    <a:pt x="15" y="18"/>
                  </a:cubicBezTo>
                  <a:cubicBezTo>
                    <a:pt x="17" y="20"/>
                    <a:pt x="15" y="20"/>
                    <a:pt x="17" y="21"/>
                  </a:cubicBezTo>
                  <a:cubicBezTo>
                    <a:pt x="18" y="25"/>
                    <a:pt x="18" y="32"/>
                    <a:pt x="13" y="34"/>
                  </a:cubicBezTo>
                  <a:cubicBezTo>
                    <a:pt x="11" y="37"/>
                    <a:pt x="7" y="40"/>
                    <a:pt x="4" y="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Freeform 67"/>
            <p:cNvSpPr>
              <a:spLocks/>
            </p:cNvSpPr>
            <p:nvPr/>
          </p:nvSpPr>
          <p:spPr bwMode="auto">
            <a:xfrm>
              <a:off x="7226478" y="4240935"/>
              <a:ext cx="224949" cy="594499"/>
            </a:xfrm>
            <a:custGeom>
              <a:avLst/>
              <a:gdLst/>
              <a:ahLst/>
              <a:cxnLst>
                <a:cxn ang="0">
                  <a:pos x="7" y="68"/>
                </a:cxn>
                <a:cxn ang="0">
                  <a:pos x="9" y="52"/>
                </a:cxn>
                <a:cxn ang="0">
                  <a:pos x="16" y="46"/>
                </a:cxn>
                <a:cxn ang="0">
                  <a:pos x="24" y="29"/>
                </a:cxn>
                <a:cxn ang="0">
                  <a:pos x="27" y="20"/>
                </a:cxn>
                <a:cxn ang="0">
                  <a:pos x="38" y="14"/>
                </a:cxn>
                <a:cxn ang="0">
                  <a:pos x="46" y="4"/>
                </a:cxn>
                <a:cxn ang="0">
                  <a:pos x="52" y="15"/>
                </a:cxn>
                <a:cxn ang="0">
                  <a:pos x="52" y="31"/>
                </a:cxn>
                <a:cxn ang="0">
                  <a:pos x="46" y="35"/>
                </a:cxn>
                <a:cxn ang="0">
                  <a:pos x="44" y="48"/>
                </a:cxn>
                <a:cxn ang="0">
                  <a:pos x="52" y="48"/>
                </a:cxn>
                <a:cxn ang="0">
                  <a:pos x="56" y="59"/>
                </a:cxn>
                <a:cxn ang="0">
                  <a:pos x="56" y="66"/>
                </a:cxn>
                <a:cxn ang="0">
                  <a:pos x="62" y="73"/>
                </a:cxn>
                <a:cxn ang="0">
                  <a:pos x="68" y="73"/>
                </a:cxn>
                <a:cxn ang="0">
                  <a:pos x="67" y="79"/>
                </a:cxn>
                <a:cxn ang="0">
                  <a:pos x="59" y="87"/>
                </a:cxn>
                <a:cxn ang="0">
                  <a:pos x="55" y="90"/>
                </a:cxn>
                <a:cxn ang="0">
                  <a:pos x="47" y="93"/>
                </a:cxn>
                <a:cxn ang="0">
                  <a:pos x="44" y="102"/>
                </a:cxn>
                <a:cxn ang="0">
                  <a:pos x="44" y="108"/>
                </a:cxn>
                <a:cxn ang="0">
                  <a:pos x="50" y="121"/>
                </a:cxn>
                <a:cxn ang="0">
                  <a:pos x="52" y="129"/>
                </a:cxn>
                <a:cxn ang="0">
                  <a:pos x="49" y="136"/>
                </a:cxn>
                <a:cxn ang="0">
                  <a:pos x="55" y="158"/>
                </a:cxn>
                <a:cxn ang="0">
                  <a:pos x="59" y="169"/>
                </a:cxn>
                <a:cxn ang="0">
                  <a:pos x="55" y="180"/>
                </a:cxn>
                <a:cxn ang="0">
                  <a:pos x="50" y="188"/>
                </a:cxn>
                <a:cxn ang="0">
                  <a:pos x="52" y="172"/>
                </a:cxn>
                <a:cxn ang="0">
                  <a:pos x="52" y="161"/>
                </a:cxn>
                <a:cxn ang="0">
                  <a:pos x="47" y="149"/>
                </a:cxn>
                <a:cxn ang="0">
                  <a:pos x="42" y="127"/>
                </a:cxn>
                <a:cxn ang="0">
                  <a:pos x="41" y="122"/>
                </a:cxn>
                <a:cxn ang="0">
                  <a:pos x="38" y="115"/>
                </a:cxn>
                <a:cxn ang="0">
                  <a:pos x="24" y="132"/>
                </a:cxn>
                <a:cxn ang="0">
                  <a:pos x="20" y="127"/>
                </a:cxn>
                <a:cxn ang="0">
                  <a:pos x="20" y="116"/>
                </a:cxn>
                <a:cxn ang="0">
                  <a:pos x="13" y="101"/>
                </a:cxn>
                <a:cxn ang="0">
                  <a:pos x="13" y="96"/>
                </a:cxn>
                <a:cxn ang="0">
                  <a:pos x="7" y="90"/>
                </a:cxn>
                <a:cxn ang="0">
                  <a:pos x="0" y="79"/>
                </a:cxn>
              </a:cxnLst>
              <a:rect l="0" t="0" r="r" b="b"/>
              <a:pathLst>
                <a:path w="72" h="191">
                  <a:moveTo>
                    <a:pt x="3" y="69"/>
                  </a:moveTo>
                  <a:cubicBezTo>
                    <a:pt x="6" y="65"/>
                    <a:pt x="4" y="73"/>
                    <a:pt x="7" y="68"/>
                  </a:cubicBezTo>
                  <a:cubicBezTo>
                    <a:pt x="9" y="63"/>
                    <a:pt x="7" y="65"/>
                    <a:pt x="7" y="62"/>
                  </a:cubicBezTo>
                  <a:cubicBezTo>
                    <a:pt x="7" y="54"/>
                    <a:pt x="10" y="65"/>
                    <a:pt x="9" y="52"/>
                  </a:cubicBezTo>
                  <a:cubicBezTo>
                    <a:pt x="9" y="45"/>
                    <a:pt x="9" y="48"/>
                    <a:pt x="12" y="49"/>
                  </a:cubicBezTo>
                  <a:cubicBezTo>
                    <a:pt x="15" y="49"/>
                    <a:pt x="15" y="54"/>
                    <a:pt x="16" y="46"/>
                  </a:cubicBezTo>
                  <a:cubicBezTo>
                    <a:pt x="18" y="40"/>
                    <a:pt x="23" y="40"/>
                    <a:pt x="20" y="37"/>
                  </a:cubicBezTo>
                  <a:cubicBezTo>
                    <a:pt x="18" y="35"/>
                    <a:pt x="21" y="35"/>
                    <a:pt x="24" y="29"/>
                  </a:cubicBezTo>
                  <a:cubicBezTo>
                    <a:pt x="26" y="24"/>
                    <a:pt x="23" y="26"/>
                    <a:pt x="24" y="23"/>
                  </a:cubicBezTo>
                  <a:cubicBezTo>
                    <a:pt x="24" y="20"/>
                    <a:pt x="24" y="23"/>
                    <a:pt x="27" y="20"/>
                  </a:cubicBezTo>
                  <a:cubicBezTo>
                    <a:pt x="30" y="17"/>
                    <a:pt x="35" y="12"/>
                    <a:pt x="38" y="15"/>
                  </a:cubicBezTo>
                  <a:cubicBezTo>
                    <a:pt x="39" y="18"/>
                    <a:pt x="41" y="18"/>
                    <a:pt x="38" y="14"/>
                  </a:cubicBezTo>
                  <a:cubicBezTo>
                    <a:pt x="36" y="11"/>
                    <a:pt x="42" y="11"/>
                    <a:pt x="41" y="6"/>
                  </a:cubicBezTo>
                  <a:cubicBezTo>
                    <a:pt x="42" y="4"/>
                    <a:pt x="41" y="0"/>
                    <a:pt x="46" y="4"/>
                  </a:cubicBezTo>
                  <a:cubicBezTo>
                    <a:pt x="50" y="7"/>
                    <a:pt x="47" y="14"/>
                    <a:pt x="50" y="12"/>
                  </a:cubicBezTo>
                  <a:cubicBezTo>
                    <a:pt x="52" y="11"/>
                    <a:pt x="53" y="14"/>
                    <a:pt x="52" y="15"/>
                  </a:cubicBezTo>
                  <a:cubicBezTo>
                    <a:pt x="50" y="17"/>
                    <a:pt x="53" y="18"/>
                    <a:pt x="52" y="23"/>
                  </a:cubicBezTo>
                  <a:cubicBezTo>
                    <a:pt x="50" y="28"/>
                    <a:pt x="53" y="31"/>
                    <a:pt x="52" y="31"/>
                  </a:cubicBezTo>
                  <a:cubicBezTo>
                    <a:pt x="49" y="31"/>
                    <a:pt x="50" y="34"/>
                    <a:pt x="49" y="32"/>
                  </a:cubicBezTo>
                  <a:cubicBezTo>
                    <a:pt x="47" y="32"/>
                    <a:pt x="49" y="35"/>
                    <a:pt x="46" y="35"/>
                  </a:cubicBezTo>
                  <a:cubicBezTo>
                    <a:pt x="42" y="37"/>
                    <a:pt x="46" y="40"/>
                    <a:pt x="44" y="41"/>
                  </a:cubicBezTo>
                  <a:cubicBezTo>
                    <a:pt x="39" y="43"/>
                    <a:pt x="46" y="46"/>
                    <a:pt x="44" y="48"/>
                  </a:cubicBezTo>
                  <a:cubicBezTo>
                    <a:pt x="42" y="49"/>
                    <a:pt x="42" y="51"/>
                    <a:pt x="46" y="49"/>
                  </a:cubicBezTo>
                  <a:cubicBezTo>
                    <a:pt x="49" y="46"/>
                    <a:pt x="50" y="49"/>
                    <a:pt x="52" y="48"/>
                  </a:cubicBezTo>
                  <a:cubicBezTo>
                    <a:pt x="55" y="46"/>
                    <a:pt x="50" y="49"/>
                    <a:pt x="52" y="52"/>
                  </a:cubicBezTo>
                  <a:cubicBezTo>
                    <a:pt x="53" y="56"/>
                    <a:pt x="52" y="59"/>
                    <a:pt x="56" y="59"/>
                  </a:cubicBezTo>
                  <a:cubicBezTo>
                    <a:pt x="61" y="59"/>
                    <a:pt x="58" y="59"/>
                    <a:pt x="56" y="60"/>
                  </a:cubicBezTo>
                  <a:cubicBezTo>
                    <a:pt x="56" y="63"/>
                    <a:pt x="58" y="62"/>
                    <a:pt x="56" y="66"/>
                  </a:cubicBezTo>
                  <a:cubicBezTo>
                    <a:pt x="55" y="69"/>
                    <a:pt x="59" y="68"/>
                    <a:pt x="61" y="68"/>
                  </a:cubicBezTo>
                  <a:cubicBezTo>
                    <a:pt x="62" y="69"/>
                    <a:pt x="61" y="71"/>
                    <a:pt x="62" y="73"/>
                  </a:cubicBezTo>
                  <a:cubicBezTo>
                    <a:pt x="64" y="73"/>
                    <a:pt x="62" y="76"/>
                    <a:pt x="64" y="74"/>
                  </a:cubicBezTo>
                  <a:cubicBezTo>
                    <a:pt x="65" y="74"/>
                    <a:pt x="65" y="77"/>
                    <a:pt x="68" y="73"/>
                  </a:cubicBezTo>
                  <a:cubicBezTo>
                    <a:pt x="72" y="69"/>
                    <a:pt x="72" y="73"/>
                    <a:pt x="72" y="74"/>
                  </a:cubicBezTo>
                  <a:cubicBezTo>
                    <a:pt x="70" y="76"/>
                    <a:pt x="67" y="74"/>
                    <a:pt x="67" y="79"/>
                  </a:cubicBezTo>
                  <a:cubicBezTo>
                    <a:pt x="65" y="84"/>
                    <a:pt x="64" y="79"/>
                    <a:pt x="64" y="85"/>
                  </a:cubicBezTo>
                  <a:cubicBezTo>
                    <a:pt x="61" y="85"/>
                    <a:pt x="62" y="87"/>
                    <a:pt x="59" y="87"/>
                  </a:cubicBezTo>
                  <a:cubicBezTo>
                    <a:pt x="56" y="85"/>
                    <a:pt x="59" y="88"/>
                    <a:pt x="58" y="88"/>
                  </a:cubicBezTo>
                  <a:cubicBezTo>
                    <a:pt x="56" y="90"/>
                    <a:pt x="56" y="87"/>
                    <a:pt x="55" y="90"/>
                  </a:cubicBezTo>
                  <a:cubicBezTo>
                    <a:pt x="55" y="93"/>
                    <a:pt x="53" y="91"/>
                    <a:pt x="50" y="93"/>
                  </a:cubicBezTo>
                  <a:cubicBezTo>
                    <a:pt x="47" y="94"/>
                    <a:pt x="47" y="90"/>
                    <a:pt x="47" y="93"/>
                  </a:cubicBezTo>
                  <a:cubicBezTo>
                    <a:pt x="46" y="96"/>
                    <a:pt x="44" y="94"/>
                    <a:pt x="46" y="97"/>
                  </a:cubicBezTo>
                  <a:cubicBezTo>
                    <a:pt x="47" y="101"/>
                    <a:pt x="42" y="97"/>
                    <a:pt x="44" y="102"/>
                  </a:cubicBezTo>
                  <a:cubicBezTo>
                    <a:pt x="46" y="107"/>
                    <a:pt x="41" y="102"/>
                    <a:pt x="41" y="105"/>
                  </a:cubicBezTo>
                  <a:cubicBezTo>
                    <a:pt x="42" y="108"/>
                    <a:pt x="44" y="104"/>
                    <a:pt x="44" y="108"/>
                  </a:cubicBezTo>
                  <a:cubicBezTo>
                    <a:pt x="44" y="113"/>
                    <a:pt x="46" y="115"/>
                    <a:pt x="49" y="118"/>
                  </a:cubicBezTo>
                  <a:cubicBezTo>
                    <a:pt x="50" y="121"/>
                    <a:pt x="50" y="118"/>
                    <a:pt x="50" y="121"/>
                  </a:cubicBezTo>
                  <a:cubicBezTo>
                    <a:pt x="50" y="124"/>
                    <a:pt x="52" y="127"/>
                    <a:pt x="52" y="127"/>
                  </a:cubicBezTo>
                  <a:cubicBezTo>
                    <a:pt x="55" y="122"/>
                    <a:pt x="55" y="129"/>
                    <a:pt x="52" y="129"/>
                  </a:cubicBezTo>
                  <a:cubicBezTo>
                    <a:pt x="50" y="129"/>
                    <a:pt x="52" y="136"/>
                    <a:pt x="50" y="136"/>
                  </a:cubicBezTo>
                  <a:cubicBezTo>
                    <a:pt x="49" y="135"/>
                    <a:pt x="50" y="138"/>
                    <a:pt x="49" y="136"/>
                  </a:cubicBezTo>
                  <a:cubicBezTo>
                    <a:pt x="47" y="136"/>
                    <a:pt x="47" y="141"/>
                    <a:pt x="52" y="146"/>
                  </a:cubicBezTo>
                  <a:cubicBezTo>
                    <a:pt x="56" y="150"/>
                    <a:pt x="58" y="153"/>
                    <a:pt x="55" y="158"/>
                  </a:cubicBezTo>
                  <a:cubicBezTo>
                    <a:pt x="58" y="163"/>
                    <a:pt x="58" y="166"/>
                    <a:pt x="58" y="167"/>
                  </a:cubicBezTo>
                  <a:cubicBezTo>
                    <a:pt x="58" y="169"/>
                    <a:pt x="59" y="167"/>
                    <a:pt x="59" y="169"/>
                  </a:cubicBezTo>
                  <a:cubicBezTo>
                    <a:pt x="59" y="172"/>
                    <a:pt x="61" y="170"/>
                    <a:pt x="59" y="172"/>
                  </a:cubicBezTo>
                  <a:cubicBezTo>
                    <a:pt x="56" y="175"/>
                    <a:pt x="58" y="175"/>
                    <a:pt x="55" y="180"/>
                  </a:cubicBezTo>
                  <a:cubicBezTo>
                    <a:pt x="52" y="183"/>
                    <a:pt x="53" y="183"/>
                    <a:pt x="52" y="186"/>
                  </a:cubicBezTo>
                  <a:cubicBezTo>
                    <a:pt x="52" y="189"/>
                    <a:pt x="50" y="191"/>
                    <a:pt x="50" y="188"/>
                  </a:cubicBezTo>
                  <a:cubicBezTo>
                    <a:pt x="50" y="178"/>
                    <a:pt x="52" y="181"/>
                    <a:pt x="52" y="178"/>
                  </a:cubicBezTo>
                  <a:cubicBezTo>
                    <a:pt x="52" y="175"/>
                    <a:pt x="55" y="172"/>
                    <a:pt x="52" y="172"/>
                  </a:cubicBezTo>
                  <a:cubicBezTo>
                    <a:pt x="49" y="172"/>
                    <a:pt x="53" y="169"/>
                    <a:pt x="52" y="167"/>
                  </a:cubicBezTo>
                  <a:cubicBezTo>
                    <a:pt x="50" y="166"/>
                    <a:pt x="52" y="164"/>
                    <a:pt x="52" y="161"/>
                  </a:cubicBezTo>
                  <a:cubicBezTo>
                    <a:pt x="50" y="160"/>
                    <a:pt x="50" y="157"/>
                    <a:pt x="49" y="153"/>
                  </a:cubicBezTo>
                  <a:cubicBezTo>
                    <a:pt x="47" y="149"/>
                    <a:pt x="47" y="158"/>
                    <a:pt x="47" y="149"/>
                  </a:cubicBezTo>
                  <a:cubicBezTo>
                    <a:pt x="47" y="146"/>
                    <a:pt x="44" y="144"/>
                    <a:pt x="44" y="136"/>
                  </a:cubicBezTo>
                  <a:cubicBezTo>
                    <a:pt x="44" y="130"/>
                    <a:pt x="42" y="130"/>
                    <a:pt x="42" y="127"/>
                  </a:cubicBezTo>
                  <a:cubicBezTo>
                    <a:pt x="42" y="125"/>
                    <a:pt x="46" y="124"/>
                    <a:pt x="44" y="124"/>
                  </a:cubicBezTo>
                  <a:cubicBezTo>
                    <a:pt x="42" y="124"/>
                    <a:pt x="41" y="125"/>
                    <a:pt x="41" y="122"/>
                  </a:cubicBezTo>
                  <a:cubicBezTo>
                    <a:pt x="39" y="118"/>
                    <a:pt x="39" y="119"/>
                    <a:pt x="39" y="118"/>
                  </a:cubicBezTo>
                  <a:cubicBezTo>
                    <a:pt x="39" y="116"/>
                    <a:pt x="38" y="116"/>
                    <a:pt x="38" y="115"/>
                  </a:cubicBezTo>
                  <a:cubicBezTo>
                    <a:pt x="39" y="122"/>
                    <a:pt x="35" y="124"/>
                    <a:pt x="32" y="125"/>
                  </a:cubicBezTo>
                  <a:cubicBezTo>
                    <a:pt x="27" y="127"/>
                    <a:pt x="27" y="135"/>
                    <a:pt x="24" y="132"/>
                  </a:cubicBezTo>
                  <a:cubicBezTo>
                    <a:pt x="21" y="129"/>
                    <a:pt x="23" y="133"/>
                    <a:pt x="20" y="130"/>
                  </a:cubicBezTo>
                  <a:cubicBezTo>
                    <a:pt x="18" y="129"/>
                    <a:pt x="21" y="127"/>
                    <a:pt x="20" y="127"/>
                  </a:cubicBezTo>
                  <a:cubicBezTo>
                    <a:pt x="18" y="125"/>
                    <a:pt x="18" y="130"/>
                    <a:pt x="16" y="130"/>
                  </a:cubicBezTo>
                  <a:cubicBezTo>
                    <a:pt x="15" y="130"/>
                    <a:pt x="18" y="122"/>
                    <a:pt x="20" y="116"/>
                  </a:cubicBezTo>
                  <a:cubicBezTo>
                    <a:pt x="21" y="111"/>
                    <a:pt x="16" y="105"/>
                    <a:pt x="15" y="101"/>
                  </a:cubicBezTo>
                  <a:cubicBezTo>
                    <a:pt x="15" y="96"/>
                    <a:pt x="13" y="99"/>
                    <a:pt x="13" y="101"/>
                  </a:cubicBezTo>
                  <a:cubicBezTo>
                    <a:pt x="13" y="102"/>
                    <a:pt x="9" y="97"/>
                    <a:pt x="10" y="96"/>
                  </a:cubicBezTo>
                  <a:cubicBezTo>
                    <a:pt x="12" y="94"/>
                    <a:pt x="12" y="97"/>
                    <a:pt x="13" y="96"/>
                  </a:cubicBezTo>
                  <a:cubicBezTo>
                    <a:pt x="16" y="94"/>
                    <a:pt x="13" y="94"/>
                    <a:pt x="12" y="93"/>
                  </a:cubicBezTo>
                  <a:cubicBezTo>
                    <a:pt x="10" y="90"/>
                    <a:pt x="9" y="87"/>
                    <a:pt x="7" y="90"/>
                  </a:cubicBezTo>
                  <a:cubicBezTo>
                    <a:pt x="7" y="93"/>
                    <a:pt x="7" y="90"/>
                    <a:pt x="4" y="87"/>
                  </a:cubicBezTo>
                  <a:cubicBezTo>
                    <a:pt x="1" y="84"/>
                    <a:pt x="1" y="79"/>
                    <a:pt x="0" y="79"/>
                  </a:cubicBezTo>
                  <a:cubicBezTo>
                    <a:pt x="0" y="68"/>
                    <a:pt x="4" y="85"/>
                    <a:pt x="3" y="6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 68"/>
            <p:cNvSpPr>
              <a:spLocks/>
            </p:cNvSpPr>
            <p:nvPr/>
          </p:nvSpPr>
          <p:spPr bwMode="auto">
            <a:xfrm>
              <a:off x="7355021" y="4506049"/>
              <a:ext cx="208881" cy="461138"/>
            </a:xfrm>
            <a:custGeom>
              <a:avLst/>
              <a:gdLst/>
              <a:ahLst/>
              <a:cxnLst>
                <a:cxn ang="0">
                  <a:pos x="41" y="82"/>
                </a:cxn>
                <a:cxn ang="0">
                  <a:pos x="32" y="78"/>
                </a:cxn>
                <a:cxn ang="0">
                  <a:pos x="26" y="69"/>
                </a:cxn>
                <a:cxn ang="0">
                  <a:pos x="18" y="89"/>
                </a:cxn>
                <a:cxn ang="0">
                  <a:pos x="15" y="110"/>
                </a:cxn>
                <a:cxn ang="0">
                  <a:pos x="23" y="120"/>
                </a:cxn>
                <a:cxn ang="0">
                  <a:pos x="34" y="135"/>
                </a:cxn>
                <a:cxn ang="0">
                  <a:pos x="35" y="145"/>
                </a:cxn>
                <a:cxn ang="0">
                  <a:pos x="30" y="142"/>
                </a:cxn>
                <a:cxn ang="0">
                  <a:pos x="24" y="137"/>
                </a:cxn>
                <a:cxn ang="0">
                  <a:pos x="20" y="135"/>
                </a:cxn>
                <a:cxn ang="0">
                  <a:pos x="15" y="129"/>
                </a:cxn>
                <a:cxn ang="0">
                  <a:pos x="8" y="121"/>
                </a:cxn>
                <a:cxn ang="0">
                  <a:pos x="9" y="109"/>
                </a:cxn>
                <a:cxn ang="0">
                  <a:pos x="11" y="101"/>
                </a:cxn>
                <a:cxn ang="0">
                  <a:pos x="18" y="87"/>
                </a:cxn>
                <a:cxn ang="0">
                  <a:pos x="17" y="82"/>
                </a:cxn>
                <a:cxn ang="0">
                  <a:pos x="11" y="61"/>
                </a:cxn>
                <a:cxn ang="0">
                  <a:pos x="9" y="51"/>
                </a:cxn>
                <a:cxn ang="0">
                  <a:pos x="11" y="42"/>
                </a:cxn>
                <a:cxn ang="0">
                  <a:pos x="8" y="33"/>
                </a:cxn>
                <a:cxn ang="0">
                  <a:pos x="0" y="20"/>
                </a:cxn>
                <a:cxn ang="0">
                  <a:pos x="5" y="13"/>
                </a:cxn>
                <a:cxn ang="0">
                  <a:pos x="9" y="8"/>
                </a:cxn>
                <a:cxn ang="0">
                  <a:pos x="17" y="3"/>
                </a:cxn>
                <a:cxn ang="0">
                  <a:pos x="23" y="0"/>
                </a:cxn>
                <a:cxn ang="0">
                  <a:pos x="26" y="9"/>
                </a:cxn>
                <a:cxn ang="0">
                  <a:pos x="32" y="13"/>
                </a:cxn>
                <a:cxn ang="0">
                  <a:pos x="29" y="30"/>
                </a:cxn>
                <a:cxn ang="0">
                  <a:pos x="41" y="25"/>
                </a:cxn>
                <a:cxn ang="0">
                  <a:pos x="50" y="20"/>
                </a:cxn>
                <a:cxn ang="0">
                  <a:pos x="59" y="36"/>
                </a:cxn>
                <a:cxn ang="0">
                  <a:pos x="65" y="56"/>
                </a:cxn>
                <a:cxn ang="0">
                  <a:pos x="58" y="61"/>
                </a:cxn>
                <a:cxn ang="0">
                  <a:pos x="41" y="69"/>
                </a:cxn>
                <a:cxn ang="0">
                  <a:pos x="43" y="79"/>
                </a:cxn>
              </a:cxnLst>
              <a:rect l="0" t="0" r="r" b="b"/>
              <a:pathLst>
                <a:path w="67" h="148">
                  <a:moveTo>
                    <a:pt x="44" y="87"/>
                  </a:moveTo>
                  <a:cubicBezTo>
                    <a:pt x="43" y="87"/>
                    <a:pt x="44" y="84"/>
                    <a:pt x="41" y="82"/>
                  </a:cubicBezTo>
                  <a:cubicBezTo>
                    <a:pt x="40" y="82"/>
                    <a:pt x="38" y="79"/>
                    <a:pt x="35" y="78"/>
                  </a:cubicBezTo>
                  <a:cubicBezTo>
                    <a:pt x="34" y="76"/>
                    <a:pt x="34" y="79"/>
                    <a:pt x="32" y="78"/>
                  </a:cubicBezTo>
                  <a:cubicBezTo>
                    <a:pt x="29" y="76"/>
                    <a:pt x="27" y="81"/>
                    <a:pt x="27" y="76"/>
                  </a:cubicBezTo>
                  <a:cubicBezTo>
                    <a:pt x="29" y="70"/>
                    <a:pt x="30" y="69"/>
                    <a:pt x="26" y="69"/>
                  </a:cubicBezTo>
                  <a:cubicBezTo>
                    <a:pt x="21" y="69"/>
                    <a:pt x="20" y="72"/>
                    <a:pt x="21" y="73"/>
                  </a:cubicBezTo>
                  <a:cubicBezTo>
                    <a:pt x="23" y="73"/>
                    <a:pt x="20" y="86"/>
                    <a:pt x="18" y="89"/>
                  </a:cubicBezTo>
                  <a:cubicBezTo>
                    <a:pt x="18" y="90"/>
                    <a:pt x="18" y="95"/>
                    <a:pt x="17" y="96"/>
                  </a:cubicBezTo>
                  <a:cubicBezTo>
                    <a:pt x="14" y="100"/>
                    <a:pt x="15" y="109"/>
                    <a:pt x="15" y="110"/>
                  </a:cubicBezTo>
                  <a:cubicBezTo>
                    <a:pt x="15" y="115"/>
                    <a:pt x="20" y="109"/>
                    <a:pt x="20" y="112"/>
                  </a:cubicBezTo>
                  <a:cubicBezTo>
                    <a:pt x="20" y="115"/>
                    <a:pt x="21" y="120"/>
                    <a:pt x="23" y="120"/>
                  </a:cubicBezTo>
                  <a:cubicBezTo>
                    <a:pt x="24" y="118"/>
                    <a:pt x="24" y="129"/>
                    <a:pt x="27" y="132"/>
                  </a:cubicBezTo>
                  <a:cubicBezTo>
                    <a:pt x="32" y="138"/>
                    <a:pt x="30" y="132"/>
                    <a:pt x="34" y="135"/>
                  </a:cubicBezTo>
                  <a:cubicBezTo>
                    <a:pt x="37" y="138"/>
                    <a:pt x="37" y="140"/>
                    <a:pt x="38" y="142"/>
                  </a:cubicBezTo>
                  <a:cubicBezTo>
                    <a:pt x="37" y="146"/>
                    <a:pt x="37" y="146"/>
                    <a:pt x="35" y="145"/>
                  </a:cubicBezTo>
                  <a:cubicBezTo>
                    <a:pt x="32" y="142"/>
                    <a:pt x="32" y="148"/>
                    <a:pt x="30" y="146"/>
                  </a:cubicBezTo>
                  <a:cubicBezTo>
                    <a:pt x="29" y="145"/>
                    <a:pt x="30" y="143"/>
                    <a:pt x="30" y="142"/>
                  </a:cubicBezTo>
                  <a:cubicBezTo>
                    <a:pt x="30" y="138"/>
                    <a:pt x="29" y="142"/>
                    <a:pt x="27" y="140"/>
                  </a:cubicBezTo>
                  <a:cubicBezTo>
                    <a:pt x="27" y="137"/>
                    <a:pt x="26" y="138"/>
                    <a:pt x="24" y="137"/>
                  </a:cubicBezTo>
                  <a:cubicBezTo>
                    <a:pt x="23" y="135"/>
                    <a:pt x="23" y="135"/>
                    <a:pt x="23" y="138"/>
                  </a:cubicBezTo>
                  <a:cubicBezTo>
                    <a:pt x="21" y="137"/>
                    <a:pt x="21" y="137"/>
                    <a:pt x="20" y="135"/>
                  </a:cubicBezTo>
                  <a:cubicBezTo>
                    <a:pt x="18" y="134"/>
                    <a:pt x="18" y="132"/>
                    <a:pt x="18" y="131"/>
                  </a:cubicBezTo>
                  <a:cubicBezTo>
                    <a:pt x="18" y="131"/>
                    <a:pt x="17" y="132"/>
                    <a:pt x="15" y="129"/>
                  </a:cubicBezTo>
                  <a:cubicBezTo>
                    <a:pt x="12" y="126"/>
                    <a:pt x="12" y="121"/>
                    <a:pt x="11" y="120"/>
                  </a:cubicBezTo>
                  <a:cubicBezTo>
                    <a:pt x="9" y="120"/>
                    <a:pt x="9" y="124"/>
                    <a:pt x="8" y="121"/>
                  </a:cubicBezTo>
                  <a:cubicBezTo>
                    <a:pt x="8" y="121"/>
                    <a:pt x="6" y="118"/>
                    <a:pt x="8" y="115"/>
                  </a:cubicBezTo>
                  <a:cubicBezTo>
                    <a:pt x="9" y="112"/>
                    <a:pt x="8" y="114"/>
                    <a:pt x="9" y="109"/>
                  </a:cubicBezTo>
                  <a:cubicBezTo>
                    <a:pt x="11" y="107"/>
                    <a:pt x="8" y="109"/>
                    <a:pt x="9" y="106"/>
                  </a:cubicBezTo>
                  <a:cubicBezTo>
                    <a:pt x="11" y="103"/>
                    <a:pt x="12" y="103"/>
                    <a:pt x="11" y="101"/>
                  </a:cubicBezTo>
                  <a:cubicBezTo>
                    <a:pt x="12" y="98"/>
                    <a:pt x="11" y="98"/>
                    <a:pt x="14" y="95"/>
                  </a:cubicBezTo>
                  <a:cubicBezTo>
                    <a:pt x="17" y="90"/>
                    <a:pt x="15" y="90"/>
                    <a:pt x="18" y="87"/>
                  </a:cubicBezTo>
                  <a:cubicBezTo>
                    <a:pt x="20" y="86"/>
                    <a:pt x="18" y="87"/>
                    <a:pt x="18" y="84"/>
                  </a:cubicBezTo>
                  <a:cubicBezTo>
                    <a:pt x="18" y="82"/>
                    <a:pt x="17" y="84"/>
                    <a:pt x="17" y="82"/>
                  </a:cubicBezTo>
                  <a:cubicBezTo>
                    <a:pt x="17" y="81"/>
                    <a:pt x="17" y="78"/>
                    <a:pt x="14" y="73"/>
                  </a:cubicBezTo>
                  <a:cubicBezTo>
                    <a:pt x="17" y="69"/>
                    <a:pt x="15" y="65"/>
                    <a:pt x="11" y="61"/>
                  </a:cubicBezTo>
                  <a:cubicBezTo>
                    <a:pt x="6" y="56"/>
                    <a:pt x="6" y="51"/>
                    <a:pt x="8" y="51"/>
                  </a:cubicBezTo>
                  <a:cubicBezTo>
                    <a:pt x="9" y="53"/>
                    <a:pt x="8" y="50"/>
                    <a:pt x="9" y="51"/>
                  </a:cubicBezTo>
                  <a:cubicBezTo>
                    <a:pt x="11" y="51"/>
                    <a:pt x="9" y="44"/>
                    <a:pt x="11" y="44"/>
                  </a:cubicBezTo>
                  <a:cubicBezTo>
                    <a:pt x="14" y="44"/>
                    <a:pt x="14" y="37"/>
                    <a:pt x="11" y="42"/>
                  </a:cubicBezTo>
                  <a:cubicBezTo>
                    <a:pt x="11" y="42"/>
                    <a:pt x="9" y="39"/>
                    <a:pt x="9" y="36"/>
                  </a:cubicBezTo>
                  <a:cubicBezTo>
                    <a:pt x="9" y="33"/>
                    <a:pt x="9" y="36"/>
                    <a:pt x="8" y="33"/>
                  </a:cubicBezTo>
                  <a:cubicBezTo>
                    <a:pt x="5" y="30"/>
                    <a:pt x="3" y="28"/>
                    <a:pt x="3" y="23"/>
                  </a:cubicBezTo>
                  <a:cubicBezTo>
                    <a:pt x="3" y="19"/>
                    <a:pt x="2" y="23"/>
                    <a:pt x="0" y="20"/>
                  </a:cubicBezTo>
                  <a:cubicBezTo>
                    <a:pt x="0" y="17"/>
                    <a:pt x="5" y="22"/>
                    <a:pt x="3" y="17"/>
                  </a:cubicBezTo>
                  <a:cubicBezTo>
                    <a:pt x="2" y="13"/>
                    <a:pt x="6" y="16"/>
                    <a:pt x="5" y="13"/>
                  </a:cubicBezTo>
                  <a:cubicBezTo>
                    <a:pt x="3" y="9"/>
                    <a:pt x="5" y="11"/>
                    <a:pt x="6" y="8"/>
                  </a:cubicBezTo>
                  <a:cubicBezTo>
                    <a:pt x="6" y="5"/>
                    <a:pt x="6" y="9"/>
                    <a:pt x="9" y="8"/>
                  </a:cubicBezTo>
                  <a:cubicBezTo>
                    <a:pt x="12" y="6"/>
                    <a:pt x="14" y="8"/>
                    <a:pt x="14" y="5"/>
                  </a:cubicBezTo>
                  <a:cubicBezTo>
                    <a:pt x="15" y="2"/>
                    <a:pt x="15" y="5"/>
                    <a:pt x="17" y="3"/>
                  </a:cubicBezTo>
                  <a:cubicBezTo>
                    <a:pt x="18" y="3"/>
                    <a:pt x="15" y="0"/>
                    <a:pt x="18" y="2"/>
                  </a:cubicBezTo>
                  <a:cubicBezTo>
                    <a:pt x="21" y="2"/>
                    <a:pt x="20" y="0"/>
                    <a:pt x="23" y="0"/>
                  </a:cubicBezTo>
                  <a:cubicBezTo>
                    <a:pt x="23" y="3"/>
                    <a:pt x="23" y="0"/>
                    <a:pt x="24" y="2"/>
                  </a:cubicBezTo>
                  <a:cubicBezTo>
                    <a:pt x="27" y="5"/>
                    <a:pt x="23" y="9"/>
                    <a:pt x="26" y="9"/>
                  </a:cubicBezTo>
                  <a:cubicBezTo>
                    <a:pt x="29" y="9"/>
                    <a:pt x="27" y="8"/>
                    <a:pt x="30" y="8"/>
                  </a:cubicBezTo>
                  <a:cubicBezTo>
                    <a:pt x="34" y="9"/>
                    <a:pt x="30" y="11"/>
                    <a:pt x="32" y="13"/>
                  </a:cubicBezTo>
                  <a:cubicBezTo>
                    <a:pt x="34" y="16"/>
                    <a:pt x="29" y="20"/>
                    <a:pt x="30" y="22"/>
                  </a:cubicBezTo>
                  <a:cubicBezTo>
                    <a:pt x="32" y="23"/>
                    <a:pt x="27" y="28"/>
                    <a:pt x="29" y="30"/>
                  </a:cubicBezTo>
                  <a:cubicBezTo>
                    <a:pt x="30" y="30"/>
                    <a:pt x="30" y="30"/>
                    <a:pt x="35" y="25"/>
                  </a:cubicBezTo>
                  <a:cubicBezTo>
                    <a:pt x="40" y="20"/>
                    <a:pt x="38" y="25"/>
                    <a:pt x="41" y="25"/>
                  </a:cubicBezTo>
                  <a:cubicBezTo>
                    <a:pt x="43" y="25"/>
                    <a:pt x="41" y="26"/>
                    <a:pt x="43" y="25"/>
                  </a:cubicBezTo>
                  <a:cubicBezTo>
                    <a:pt x="47" y="23"/>
                    <a:pt x="46" y="19"/>
                    <a:pt x="50" y="20"/>
                  </a:cubicBezTo>
                  <a:cubicBezTo>
                    <a:pt x="53" y="22"/>
                    <a:pt x="53" y="20"/>
                    <a:pt x="55" y="23"/>
                  </a:cubicBezTo>
                  <a:cubicBezTo>
                    <a:pt x="56" y="30"/>
                    <a:pt x="61" y="28"/>
                    <a:pt x="59" y="36"/>
                  </a:cubicBezTo>
                  <a:cubicBezTo>
                    <a:pt x="58" y="44"/>
                    <a:pt x="64" y="44"/>
                    <a:pt x="64" y="45"/>
                  </a:cubicBezTo>
                  <a:cubicBezTo>
                    <a:pt x="64" y="47"/>
                    <a:pt x="67" y="47"/>
                    <a:pt x="65" y="56"/>
                  </a:cubicBezTo>
                  <a:cubicBezTo>
                    <a:pt x="65" y="58"/>
                    <a:pt x="67" y="59"/>
                    <a:pt x="62" y="61"/>
                  </a:cubicBezTo>
                  <a:cubicBezTo>
                    <a:pt x="61" y="62"/>
                    <a:pt x="62" y="59"/>
                    <a:pt x="58" y="61"/>
                  </a:cubicBezTo>
                  <a:cubicBezTo>
                    <a:pt x="53" y="61"/>
                    <a:pt x="46" y="59"/>
                    <a:pt x="44" y="64"/>
                  </a:cubicBezTo>
                  <a:cubicBezTo>
                    <a:pt x="43" y="69"/>
                    <a:pt x="41" y="67"/>
                    <a:pt x="41" y="69"/>
                  </a:cubicBezTo>
                  <a:cubicBezTo>
                    <a:pt x="41" y="70"/>
                    <a:pt x="38" y="67"/>
                    <a:pt x="40" y="72"/>
                  </a:cubicBezTo>
                  <a:cubicBezTo>
                    <a:pt x="43" y="76"/>
                    <a:pt x="40" y="78"/>
                    <a:pt x="43" y="79"/>
                  </a:cubicBezTo>
                  <a:cubicBezTo>
                    <a:pt x="44" y="81"/>
                    <a:pt x="41" y="82"/>
                    <a:pt x="44" y="8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 69"/>
            <p:cNvSpPr>
              <a:spLocks/>
            </p:cNvSpPr>
            <p:nvPr/>
          </p:nvSpPr>
          <p:spPr bwMode="auto">
            <a:xfrm>
              <a:off x="7236119" y="4719748"/>
              <a:ext cx="16068" cy="72304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6"/>
                </a:cxn>
                <a:cxn ang="0">
                  <a:pos x="3" y="11"/>
                </a:cxn>
                <a:cxn ang="0">
                  <a:pos x="3" y="15"/>
                </a:cxn>
                <a:cxn ang="0">
                  <a:pos x="1" y="20"/>
                </a:cxn>
                <a:cxn ang="0">
                  <a:pos x="1" y="9"/>
                </a:cxn>
                <a:cxn ang="0">
                  <a:pos x="3" y="0"/>
                </a:cxn>
              </a:cxnLst>
              <a:rect l="0" t="0" r="r" b="b"/>
              <a:pathLst>
                <a:path w="5" h="23">
                  <a:moveTo>
                    <a:pt x="3" y="0"/>
                  </a:moveTo>
                  <a:cubicBezTo>
                    <a:pt x="5" y="1"/>
                    <a:pt x="5" y="4"/>
                    <a:pt x="3" y="6"/>
                  </a:cubicBezTo>
                  <a:cubicBezTo>
                    <a:pt x="3" y="6"/>
                    <a:pt x="5" y="11"/>
                    <a:pt x="3" y="11"/>
                  </a:cubicBezTo>
                  <a:cubicBezTo>
                    <a:pt x="1" y="12"/>
                    <a:pt x="3" y="12"/>
                    <a:pt x="3" y="15"/>
                  </a:cubicBezTo>
                  <a:cubicBezTo>
                    <a:pt x="1" y="17"/>
                    <a:pt x="1" y="23"/>
                    <a:pt x="1" y="20"/>
                  </a:cubicBezTo>
                  <a:cubicBezTo>
                    <a:pt x="0" y="15"/>
                    <a:pt x="1" y="17"/>
                    <a:pt x="1" y="9"/>
                  </a:cubicBezTo>
                  <a:cubicBezTo>
                    <a:pt x="1" y="3"/>
                    <a:pt x="3" y="0"/>
                    <a:pt x="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 70"/>
            <p:cNvSpPr>
              <a:spLocks/>
            </p:cNvSpPr>
            <p:nvPr/>
          </p:nvSpPr>
          <p:spPr bwMode="auto">
            <a:xfrm>
              <a:off x="7229693" y="4801692"/>
              <a:ext cx="9641" cy="1606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3" h="5">
                  <a:moveTo>
                    <a:pt x="2" y="0"/>
                  </a:moveTo>
                  <a:cubicBezTo>
                    <a:pt x="3" y="0"/>
                    <a:pt x="2" y="5"/>
                    <a:pt x="0" y="5"/>
                  </a:cubicBezTo>
                  <a:cubicBezTo>
                    <a:pt x="0" y="3"/>
                    <a:pt x="0" y="0"/>
                    <a:pt x="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 71"/>
            <p:cNvSpPr>
              <a:spLocks/>
            </p:cNvSpPr>
            <p:nvPr/>
          </p:nvSpPr>
          <p:spPr bwMode="auto">
            <a:xfrm>
              <a:off x="7261828" y="4914164"/>
              <a:ext cx="12854" cy="1767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3" y="4"/>
                </a:cxn>
                <a:cxn ang="0">
                  <a:pos x="1" y="1"/>
                </a:cxn>
              </a:cxnLst>
              <a:rect l="0" t="0" r="r" b="b"/>
              <a:pathLst>
                <a:path w="4" h="6">
                  <a:moveTo>
                    <a:pt x="1" y="1"/>
                  </a:moveTo>
                  <a:cubicBezTo>
                    <a:pt x="3" y="0"/>
                    <a:pt x="4" y="3"/>
                    <a:pt x="3" y="4"/>
                  </a:cubicBezTo>
                  <a:cubicBezTo>
                    <a:pt x="1" y="6"/>
                    <a:pt x="0" y="1"/>
                    <a:pt x="1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72"/>
            <p:cNvSpPr>
              <a:spLocks/>
            </p:cNvSpPr>
            <p:nvPr/>
          </p:nvSpPr>
          <p:spPr bwMode="auto">
            <a:xfrm>
              <a:off x="7236119" y="4848287"/>
              <a:ext cx="9641" cy="1285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4"/>
                </a:cxn>
                <a:cxn ang="0">
                  <a:pos x="1" y="0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1" y="0"/>
                    <a:pt x="3" y="2"/>
                    <a:pt x="1" y="4"/>
                  </a:cubicBezTo>
                  <a:cubicBezTo>
                    <a:pt x="1" y="4"/>
                    <a:pt x="0" y="2"/>
                    <a:pt x="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73"/>
            <p:cNvSpPr>
              <a:spLocks/>
            </p:cNvSpPr>
            <p:nvPr/>
          </p:nvSpPr>
          <p:spPr bwMode="auto">
            <a:xfrm>
              <a:off x="7255400" y="4888456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74"/>
            <p:cNvSpPr>
              <a:spLocks/>
            </p:cNvSpPr>
            <p:nvPr/>
          </p:nvSpPr>
          <p:spPr bwMode="auto">
            <a:xfrm>
              <a:off x="7473923" y="4408038"/>
              <a:ext cx="183173" cy="473992"/>
            </a:xfrm>
            <a:custGeom>
              <a:avLst/>
              <a:gdLst/>
              <a:ahLst/>
              <a:cxnLst>
                <a:cxn ang="0">
                  <a:pos x="41" y="25"/>
                </a:cxn>
                <a:cxn ang="0">
                  <a:pos x="34" y="34"/>
                </a:cxn>
                <a:cxn ang="0">
                  <a:pos x="35" y="56"/>
                </a:cxn>
                <a:cxn ang="0">
                  <a:pos x="49" y="76"/>
                </a:cxn>
                <a:cxn ang="0">
                  <a:pos x="56" y="104"/>
                </a:cxn>
                <a:cxn ang="0">
                  <a:pos x="56" y="118"/>
                </a:cxn>
                <a:cxn ang="0">
                  <a:pos x="38" y="129"/>
                </a:cxn>
                <a:cxn ang="0">
                  <a:pos x="32" y="141"/>
                </a:cxn>
                <a:cxn ang="0">
                  <a:pos x="21" y="143"/>
                </a:cxn>
                <a:cxn ang="0">
                  <a:pos x="18" y="130"/>
                </a:cxn>
                <a:cxn ang="0">
                  <a:pos x="24" y="126"/>
                </a:cxn>
                <a:cxn ang="0">
                  <a:pos x="31" y="124"/>
                </a:cxn>
                <a:cxn ang="0">
                  <a:pos x="34" y="118"/>
                </a:cxn>
                <a:cxn ang="0">
                  <a:pos x="41" y="112"/>
                </a:cxn>
                <a:cxn ang="0">
                  <a:pos x="43" y="99"/>
                </a:cxn>
                <a:cxn ang="0">
                  <a:pos x="43" y="89"/>
                </a:cxn>
                <a:cxn ang="0">
                  <a:pos x="41" y="76"/>
                </a:cxn>
                <a:cxn ang="0">
                  <a:pos x="37" y="72"/>
                </a:cxn>
                <a:cxn ang="0">
                  <a:pos x="27" y="56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23" y="34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6" y="23"/>
                </a:cxn>
                <a:cxn ang="0">
                  <a:pos x="6" y="19"/>
                </a:cxn>
                <a:cxn ang="0">
                  <a:pos x="0" y="11"/>
                </a:cxn>
                <a:cxn ang="0">
                  <a:pos x="8" y="11"/>
                </a:cxn>
                <a:cxn ang="0">
                  <a:pos x="12" y="8"/>
                </a:cxn>
                <a:cxn ang="0">
                  <a:pos x="17" y="8"/>
                </a:cxn>
                <a:cxn ang="0">
                  <a:pos x="24" y="2"/>
                </a:cxn>
                <a:cxn ang="0">
                  <a:pos x="35" y="6"/>
                </a:cxn>
                <a:cxn ang="0">
                  <a:pos x="37" y="14"/>
                </a:cxn>
                <a:cxn ang="0">
                  <a:pos x="41" y="19"/>
                </a:cxn>
                <a:cxn ang="0">
                  <a:pos x="43" y="22"/>
                </a:cxn>
              </a:cxnLst>
              <a:rect l="0" t="0" r="r" b="b"/>
              <a:pathLst>
                <a:path w="59" h="152">
                  <a:moveTo>
                    <a:pt x="43" y="22"/>
                  </a:moveTo>
                  <a:cubicBezTo>
                    <a:pt x="41" y="23"/>
                    <a:pt x="43" y="25"/>
                    <a:pt x="41" y="25"/>
                  </a:cubicBezTo>
                  <a:cubicBezTo>
                    <a:pt x="40" y="27"/>
                    <a:pt x="40" y="25"/>
                    <a:pt x="38" y="27"/>
                  </a:cubicBezTo>
                  <a:cubicBezTo>
                    <a:pt x="35" y="28"/>
                    <a:pt x="38" y="31"/>
                    <a:pt x="34" y="34"/>
                  </a:cubicBezTo>
                  <a:cubicBezTo>
                    <a:pt x="31" y="37"/>
                    <a:pt x="27" y="44"/>
                    <a:pt x="29" y="50"/>
                  </a:cubicBezTo>
                  <a:cubicBezTo>
                    <a:pt x="32" y="54"/>
                    <a:pt x="34" y="53"/>
                    <a:pt x="35" y="56"/>
                  </a:cubicBezTo>
                  <a:cubicBezTo>
                    <a:pt x="35" y="59"/>
                    <a:pt x="38" y="64"/>
                    <a:pt x="43" y="68"/>
                  </a:cubicBezTo>
                  <a:cubicBezTo>
                    <a:pt x="47" y="73"/>
                    <a:pt x="49" y="72"/>
                    <a:pt x="49" y="76"/>
                  </a:cubicBezTo>
                  <a:cubicBezTo>
                    <a:pt x="50" y="79"/>
                    <a:pt x="53" y="79"/>
                    <a:pt x="56" y="89"/>
                  </a:cubicBezTo>
                  <a:cubicBezTo>
                    <a:pt x="58" y="98"/>
                    <a:pt x="56" y="103"/>
                    <a:pt x="56" y="104"/>
                  </a:cubicBezTo>
                  <a:cubicBezTo>
                    <a:pt x="58" y="106"/>
                    <a:pt x="59" y="109"/>
                    <a:pt x="58" y="109"/>
                  </a:cubicBezTo>
                  <a:cubicBezTo>
                    <a:pt x="56" y="109"/>
                    <a:pt x="58" y="113"/>
                    <a:pt x="56" y="118"/>
                  </a:cubicBezTo>
                  <a:cubicBezTo>
                    <a:pt x="55" y="124"/>
                    <a:pt x="50" y="123"/>
                    <a:pt x="46" y="127"/>
                  </a:cubicBezTo>
                  <a:cubicBezTo>
                    <a:pt x="40" y="134"/>
                    <a:pt x="40" y="130"/>
                    <a:pt x="38" y="129"/>
                  </a:cubicBezTo>
                  <a:cubicBezTo>
                    <a:pt x="37" y="127"/>
                    <a:pt x="37" y="138"/>
                    <a:pt x="34" y="140"/>
                  </a:cubicBezTo>
                  <a:cubicBezTo>
                    <a:pt x="32" y="140"/>
                    <a:pt x="35" y="140"/>
                    <a:pt x="32" y="141"/>
                  </a:cubicBezTo>
                  <a:cubicBezTo>
                    <a:pt x="29" y="143"/>
                    <a:pt x="27" y="144"/>
                    <a:pt x="24" y="148"/>
                  </a:cubicBezTo>
                  <a:cubicBezTo>
                    <a:pt x="21" y="152"/>
                    <a:pt x="21" y="149"/>
                    <a:pt x="21" y="143"/>
                  </a:cubicBezTo>
                  <a:cubicBezTo>
                    <a:pt x="21" y="135"/>
                    <a:pt x="24" y="137"/>
                    <a:pt x="23" y="134"/>
                  </a:cubicBezTo>
                  <a:cubicBezTo>
                    <a:pt x="21" y="130"/>
                    <a:pt x="20" y="135"/>
                    <a:pt x="18" y="130"/>
                  </a:cubicBezTo>
                  <a:cubicBezTo>
                    <a:pt x="20" y="129"/>
                    <a:pt x="24" y="130"/>
                    <a:pt x="23" y="127"/>
                  </a:cubicBezTo>
                  <a:cubicBezTo>
                    <a:pt x="23" y="127"/>
                    <a:pt x="24" y="124"/>
                    <a:pt x="24" y="126"/>
                  </a:cubicBezTo>
                  <a:cubicBezTo>
                    <a:pt x="26" y="127"/>
                    <a:pt x="29" y="123"/>
                    <a:pt x="29" y="126"/>
                  </a:cubicBezTo>
                  <a:cubicBezTo>
                    <a:pt x="31" y="127"/>
                    <a:pt x="35" y="127"/>
                    <a:pt x="31" y="124"/>
                  </a:cubicBezTo>
                  <a:cubicBezTo>
                    <a:pt x="29" y="123"/>
                    <a:pt x="31" y="121"/>
                    <a:pt x="31" y="120"/>
                  </a:cubicBezTo>
                  <a:cubicBezTo>
                    <a:pt x="29" y="118"/>
                    <a:pt x="31" y="117"/>
                    <a:pt x="34" y="118"/>
                  </a:cubicBezTo>
                  <a:cubicBezTo>
                    <a:pt x="37" y="120"/>
                    <a:pt x="32" y="115"/>
                    <a:pt x="37" y="115"/>
                  </a:cubicBezTo>
                  <a:cubicBezTo>
                    <a:pt x="40" y="115"/>
                    <a:pt x="40" y="112"/>
                    <a:pt x="41" y="112"/>
                  </a:cubicBezTo>
                  <a:cubicBezTo>
                    <a:pt x="44" y="113"/>
                    <a:pt x="44" y="110"/>
                    <a:pt x="43" y="107"/>
                  </a:cubicBezTo>
                  <a:cubicBezTo>
                    <a:pt x="43" y="104"/>
                    <a:pt x="44" y="103"/>
                    <a:pt x="43" y="99"/>
                  </a:cubicBezTo>
                  <a:cubicBezTo>
                    <a:pt x="43" y="96"/>
                    <a:pt x="43" y="96"/>
                    <a:pt x="41" y="95"/>
                  </a:cubicBezTo>
                  <a:cubicBezTo>
                    <a:pt x="41" y="95"/>
                    <a:pt x="43" y="90"/>
                    <a:pt x="43" y="89"/>
                  </a:cubicBezTo>
                  <a:cubicBezTo>
                    <a:pt x="43" y="85"/>
                    <a:pt x="46" y="84"/>
                    <a:pt x="43" y="81"/>
                  </a:cubicBezTo>
                  <a:cubicBezTo>
                    <a:pt x="40" y="78"/>
                    <a:pt x="40" y="78"/>
                    <a:pt x="41" y="76"/>
                  </a:cubicBezTo>
                  <a:cubicBezTo>
                    <a:pt x="43" y="76"/>
                    <a:pt x="43" y="75"/>
                    <a:pt x="41" y="75"/>
                  </a:cubicBezTo>
                  <a:cubicBezTo>
                    <a:pt x="41" y="76"/>
                    <a:pt x="38" y="70"/>
                    <a:pt x="37" y="72"/>
                  </a:cubicBezTo>
                  <a:cubicBezTo>
                    <a:pt x="35" y="72"/>
                    <a:pt x="37" y="64"/>
                    <a:pt x="34" y="62"/>
                  </a:cubicBezTo>
                  <a:cubicBezTo>
                    <a:pt x="31" y="62"/>
                    <a:pt x="27" y="59"/>
                    <a:pt x="27" y="56"/>
                  </a:cubicBezTo>
                  <a:cubicBezTo>
                    <a:pt x="26" y="51"/>
                    <a:pt x="26" y="54"/>
                    <a:pt x="24" y="51"/>
                  </a:cubicBezTo>
                  <a:cubicBezTo>
                    <a:pt x="23" y="50"/>
                    <a:pt x="24" y="50"/>
                    <a:pt x="24" y="48"/>
                  </a:cubicBezTo>
                  <a:cubicBezTo>
                    <a:pt x="23" y="48"/>
                    <a:pt x="21" y="48"/>
                    <a:pt x="17" y="45"/>
                  </a:cubicBezTo>
                  <a:cubicBezTo>
                    <a:pt x="12" y="40"/>
                    <a:pt x="17" y="42"/>
                    <a:pt x="15" y="40"/>
                  </a:cubicBezTo>
                  <a:cubicBezTo>
                    <a:pt x="14" y="36"/>
                    <a:pt x="20" y="40"/>
                    <a:pt x="21" y="39"/>
                  </a:cubicBezTo>
                  <a:cubicBezTo>
                    <a:pt x="21" y="36"/>
                    <a:pt x="24" y="36"/>
                    <a:pt x="23" y="34"/>
                  </a:cubicBezTo>
                  <a:cubicBezTo>
                    <a:pt x="21" y="33"/>
                    <a:pt x="21" y="34"/>
                    <a:pt x="20" y="33"/>
                  </a:cubicBezTo>
                  <a:cubicBezTo>
                    <a:pt x="20" y="31"/>
                    <a:pt x="17" y="33"/>
                    <a:pt x="18" y="31"/>
                  </a:cubicBezTo>
                  <a:cubicBezTo>
                    <a:pt x="21" y="30"/>
                    <a:pt x="21" y="28"/>
                    <a:pt x="18" y="27"/>
                  </a:cubicBezTo>
                  <a:cubicBezTo>
                    <a:pt x="15" y="25"/>
                    <a:pt x="15" y="25"/>
                    <a:pt x="14" y="27"/>
                  </a:cubicBezTo>
                  <a:cubicBezTo>
                    <a:pt x="12" y="31"/>
                    <a:pt x="11" y="27"/>
                    <a:pt x="9" y="27"/>
                  </a:cubicBezTo>
                  <a:cubicBezTo>
                    <a:pt x="8" y="28"/>
                    <a:pt x="8" y="25"/>
                    <a:pt x="6" y="23"/>
                  </a:cubicBezTo>
                  <a:cubicBezTo>
                    <a:pt x="6" y="22"/>
                    <a:pt x="8" y="22"/>
                    <a:pt x="6" y="22"/>
                  </a:cubicBezTo>
                  <a:cubicBezTo>
                    <a:pt x="6" y="20"/>
                    <a:pt x="8" y="19"/>
                    <a:pt x="6" y="19"/>
                  </a:cubicBezTo>
                  <a:cubicBezTo>
                    <a:pt x="6" y="19"/>
                    <a:pt x="6" y="16"/>
                    <a:pt x="5" y="19"/>
                  </a:cubicBezTo>
                  <a:cubicBezTo>
                    <a:pt x="5" y="20"/>
                    <a:pt x="6" y="17"/>
                    <a:pt x="0" y="11"/>
                  </a:cubicBezTo>
                  <a:cubicBezTo>
                    <a:pt x="3" y="11"/>
                    <a:pt x="2" y="6"/>
                    <a:pt x="5" y="8"/>
                  </a:cubicBezTo>
                  <a:cubicBezTo>
                    <a:pt x="8" y="9"/>
                    <a:pt x="6" y="11"/>
                    <a:pt x="8" y="11"/>
                  </a:cubicBezTo>
                  <a:cubicBezTo>
                    <a:pt x="9" y="11"/>
                    <a:pt x="9" y="5"/>
                    <a:pt x="11" y="8"/>
                  </a:cubicBezTo>
                  <a:cubicBezTo>
                    <a:pt x="12" y="9"/>
                    <a:pt x="12" y="8"/>
                    <a:pt x="12" y="8"/>
                  </a:cubicBezTo>
                  <a:cubicBezTo>
                    <a:pt x="14" y="9"/>
                    <a:pt x="15" y="13"/>
                    <a:pt x="15" y="9"/>
                  </a:cubicBezTo>
                  <a:cubicBezTo>
                    <a:pt x="15" y="6"/>
                    <a:pt x="17" y="6"/>
                    <a:pt x="17" y="8"/>
                  </a:cubicBezTo>
                  <a:cubicBezTo>
                    <a:pt x="18" y="9"/>
                    <a:pt x="23" y="6"/>
                    <a:pt x="21" y="5"/>
                  </a:cubicBezTo>
                  <a:cubicBezTo>
                    <a:pt x="21" y="3"/>
                    <a:pt x="23" y="5"/>
                    <a:pt x="24" y="2"/>
                  </a:cubicBezTo>
                  <a:cubicBezTo>
                    <a:pt x="26" y="0"/>
                    <a:pt x="27" y="6"/>
                    <a:pt x="31" y="6"/>
                  </a:cubicBezTo>
                  <a:cubicBezTo>
                    <a:pt x="34" y="5"/>
                    <a:pt x="32" y="8"/>
                    <a:pt x="35" y="6"/>
                  </a:cubicBezTo>
                  <a:cubicBezTo>
                    <a:pt x="37" y="6"/>
                    <a:pt x="38" y="6"/>
                    <a:pt x="37" y="9"/>
                  </a:cubicBezTo>
                  <a:cubicBezTo>
                    <a:pt x="34" y="13"/>
                    <a:pt x="37" y="11"/>
                    <a:pt x="37" y="14"/>
                  </a:cubicBezTo>
                  <a:cubicBezTo>
                    <a:pt x="37" y="16"/>
                    <a:pt x="38" y="14"/>
                    <a:pt x="40" y="17"/>
                  </a:cubicBezTo>
                  <a:cubicBezTo>
                    <a:pt x="40" y="19"/>
                    <a:pt x="41" y="17"/>
                    <a:pt x="41" y="19"/>
                  </a:cubicBezTo>
                  <a:cubicBezTo>
                    <a:pt x="43" y="20"/>
                    <a:pt x="44" y="19"/>
                    <a:pt x="47" y="20"/>
                  </a:cubicBezTo>
                  <a:cubicBezTo>
                    <a:pt x="47" y="20"/>
                    <a:pt x="46" y="20"/>
                    <a:pt x="43" y="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75"/>
            <p:cNvSpPr>
              <a:spLocks/>
            </p:cNvSpPr>
            <p:nvPr/>
          </p:nvSpPr>
          <p:spPr bwMode="auto">
            <a:xfrm>
              <a:off x="7427326" y="4443387"/>
              <a:ext cx="186387" cy="271541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22"/>
                </a:cxn>
                <a:cxn ang="0">
                  <a:pos x="3" y="29"/>
                </a:cxn>
                <a:cxn ang="0">
                  <a:pos x="8" y="28"/>
                </a:cxn>
                <a:cxn ang="0">
                  <a:pos x="9" y="32"/>
                </a:cxn>
                <a:cxn ang="0">
                  <a:pos x="8" y="42"/>
                </a:cxn>
                <a:cxn ang="0">
                  <a:pos x="6" y="50"/>
                </a:cxn>
                <a:cxn ang="0">
                  <a:pos x="12" y="45"/>
                </a:cxn>
                <a:cxn ang="0">
                  <a:pos x="18" y="45"/>
                </a:cxn>
                <a:cxn ang="0">
                  <a:pos x="20" y="45"/>
                </a:cxn>
                <a:cxn ang="0">
                  <a:pos x="27" y="40"/>
                </a:cxn>
                <a:cxn ang="0">
                  <a:pos x="32" y="43"/>
                </a:cxn>
                <a:cxn ang="0">
                  <a:pos x="36" y="56"/>
                </a:cxn>
                <a:cxn ang="0">
                  <a:pos x="41" y="65"/>
                </a:cxn>
                <a:cxn ang="0">
                  <a:pos x="42" y="76"/>
                </a:cxn>
                <a:cxn ang="0">
                  <a:pos x="39" y="81"/>
                </a:cxn>
                <a:cxn ang="0">
                  <a:pos x="44" y="84"/>
                </a:cxn>
                <a:cxn ang="0">
                  <a:pos x="47" y="83"/>
                </a:cxn>
                <a:cxn ang="0">
                  <a:pos x="50" y="79"/>
                </a:cxn>
                <a:cxn ang="0">
                  <a:pos x="53" y="81"/>
                </a:cxn>
                <a:cxn ang="0">
                  <a:pos x="56" y="79"/>
                </a:cxn>
                <a:cxn ang="0">
                  <a:pos x="57" y="78"/>
                </a:cxn>
                <a:cxn ang="0">
                  <a:pos x="57" y="70"/>
                </a:cxn>
                <a:cxn ang="0">
                  <a:pos x="56" y="65"/>
                </a:cxn>
                <a:cxn ang="0">
                  <a:pos x="56" y="64"/>
                </a:cxn>
                <a:cxn ang="0">
                  <a:pos x="51" y="61"/>
                </a:cxn>
                <a:cxn ang="0">
                  <a:pos x="48" y="51"/>
                </a:cxn>
                <a:cxn ang="0">
                  <a:pos x="42" y="45"/>
                </a:cxn>
                <a:cxn ang="0">
                  <a:pos x="39" y="40"/>
                </a:cxn>
                <a:cxn ang="0">
                  <a:pos x="39" y="37"/>
                </a:cxn>
                <a:cxn ang="0">
                  <a:pos x="32" y="34"/>
                </a:cxn>
                <a:cxn ang="0">
                  <a:pos x="30" y="29"/>
                </a:cxn>
                <a:cxn ang="0">
                  <a:pos x="36" y="28"/>
                </a:cxn>
                <a:cxn ang="0">
                  <a:pos x="38" y="23"/>
                </a:cxn>
                <a:cxn ang="0">
                  <a:pos x="35" y="22"/>
                </a:cxn>
                <a:cxn ang="0">
                  <a:pos x="33" y="20"/>
                </a:cxn>
                <a:cxn ang="0">
                  <a:pos x="33" y="15"/>
                </a:cxn>
                <a:cxn ang="0">
                  <a:pos x="29" y="15"/>
                </a:cxn>
                <a:cxn ang="0">
                  <a:pos x="24" y="15"/>
                </a:cxn>
                <a:cxn ang="0">
                  <a:pos x="21" y="12"/>
                </a:cxn>
                <a:cxn ang="0">
                  <a:pos x="21" y="11"/>
                </a:cxn>
                <a:cxn ang="0">
                  <a:pos x="21" y="7"/>
                </a:cxn>
                <a:cxn ang="0">
                  <a:pos x="20" y="7"/>
                </a:cxn>
                <a:cxn ang="0">
                  <a:pos x="15" y="0"/>
                </a:cxn>
                <a:cxn ang="0">
                  <a:pos x="12" y="4"/>
                </a:cxn>
                <a:cxn ang="0">
                  <a:pos x="12" y="11"/>
                </a:cxn>
                <a:cxn ang="0">
                  <a:pos x="12" y="12"/>
                </a:cxn>
                <a:cxn ang="0">
                  <a:pos x="8" y="9"/>
                </a:cxn>
                <a:cxn ang="0">
                  <a:pos x="3" y="14"/>
                </a:cxn>
                <a:cxn ang="0">
                  <a:pos x="0" y="20"/>
                </a:cxn>
              </a:cxnLst>
              <a:rect l="0" t="0" r="r" b="b"/>
              <a:pathLst>
                <a:path w="60" h="87">
                  <a:moveTo>
                    <a:pt x="0" y="20"/>
                  </a:moveTo>
                  <a:cubicBezTo>
                    <a:pt x="0" y="23"/>
                    <a:pt x="0" y="20"/>
                    <a:pt x="2" y="22"/>
                  </a:cubicBezTo>
                  <a:cubicBezTo>
                    <a:pt x="5" y="25"/>
                    <a:pt x="0" y="29"/>
                    <a:pt x="3" y="29"/>
                  </a:cubicBezTo>
                  <a:cubicBezTo>
                    <a:pt x="6" y="29"/>
                    <a:pt x="5" y="28"/>
                    <a:pt x="8" y="28"/>
                  </a:cubicBezTo>
                  <a:cubicBezTo>
                    <a:pt x="11" y="29"/>
                    <a:pt x="8" y="31"/>
                    <a:pt x="9" y="32"/>
                  </a:cubicBezTo>
                  <a:cubicBezTo>
                    <a:pt x="11" y="36"/>
                    <a:pt x="6" y="40"/>
                    <a:pt x="8" y="42"/>
                  </a:cubicBezTo>
                  <a:cubicBezTo>
                    <a:pt x="9" y="43"/>
                    <a:pt x="5" y="48"/>
                    <a:pt x="6" y="50"/>
                  </a:cubicBezTo>
                  <a:cubicBezTo>
                    <a:pt x="8" y="50"/>
                    <a:pt x="8" y="50"/>
                    <a:pt x="12" y="45"/>
                  </a:cubicBezTo>
                  <a:cubicBezTo>
                    <a:pt x="17" y="40"/>
                    <a:pt x="15" y="45"/>
                    <a:pt x="18" y="45"/>
                  </a:cubicBezTo>
                  <a:cubicBezTo>
                    <a:pt x="20" y="45"/>
                    <a:pt x="18" y="46"/>
                    <a:pt x="20" y="45"/>
                  </a:cubicBezTo>
                  <a:cubicBezTo>
                    <a:pt x="24" y="43"/>
                    <a:pt x="23" y="39"/>
                    <a:pt x="27" y="40"/>
                  </a:cubicBezTo>
                  <a:cubicBezTo>
                    <a:pt x="30" y="42"/>
                    <a:pt x="30" y="40"/>
                    <a:pt x="32" y="43"/>
                  </a:cubicBezTo>
                  <a:cubicBezTo>
                    <a:pt x="33" y="50"/>
                    <a:pt x="38" y="48"/>
                    <a:pt x="36" y="56"/>
                  </a:cubicBezTo>
                  <a:cubicBezTo>
                    <a:pt x="35" y="64"/>
                    <a:pt x="41" y="64"/>
                    <a:pt x="41" y="65"/>
                  </a:cubicBezTo>
                  <a:cubicBezTo>
                    <a:pt x="41" y="67"/>
                    <a:pt x="44" y="67"/>
                    <a:pt x="42" y="76"/>
                  </a:cubicBezTo>
                  <a:cubicBezTo>
                    <a:pt x="42" y="78"/>
                    <a:pt x="44" y="79"/>
                    <a:pt x="39" y="81"/>
                  </a:cubicBezTo>
                  <a:cubicBezTo>
                    <a:pt x="41" y="86"/>
                    <a:pt x="42" y="81"/>
                    <a:pt x="44" y="84"/>
                  </a:cubicBezTo>
                  <a:cubicBezTo>
                    <a:pt x="45" y="87"/>
                    <a:pt x="48" y="86"/>
                    <a:pt x="47" y="83"/>
                  </a:cubicBezTo>
                  <a:cubicBezTo>
                    <a:pt x="44" y="79"/>
                    <a:pt x="48" y="81"/>
                    <a:pt x="50" y="79"/>
                  </a:cubicBezTo>
                  <a:cubicBezTo>
                    <a:pt x="51" y="78"/>
                    <a:pt x="51" y="83"/>
                    <a:pt x="53" y="81"/>
                  </a:cubicBezTo>
                  <a:cubicBezTo>
                    <a:pt x="54" y="81"/>
                    <a:pt x="56" y="78"/>
                    <a:pt x="56" y="79"/>
                  </a:cubicBezTo>
                  <a:cubicBezTo>
                    <a:pt x="57" y="79"/>
                    <a:pt x="57" y="78"/>
                    <a:pt x="57" y="78"/>
                  </a:cubicBezTo>
                  <a:cubicBezTo>
                    <a:pt x="57" y="75"/>
                    <a:pt x="60" y="73"/>
                    <a:pt x="57" y="70"/>
                  </a:cubicBezTo>
                  <a:cubicBezTo>
                    <a:pt x="54" y="67"/>
                    <a:pt x="54" y="67"/>
                    <a:pt x="56" y="65"/>
                  </a:cubicBezTo>
                  <a:cubicBezTo>
                    <a:pt x="57" y="65"/>
                    <a:pt x="57" y="64"/>
                    <a:pt x="56" y="64"/>
                  </a:cubicBezTo>
                  <a:cubicBezTo>
                    <a:pt x="56" y="65"/>
                    <a:pt x="53" y="59"/>
                    <a:pt x="51" y="61"/>
                  </a:cubicBezTo>
                  <a:cubicBezTo>
                    <a:pt x="50" y="61"/>
                    <a:pt x="51" y="53"/>
                    <a:pt x="48" y="51"/>
                  </a:cubicBezTo>
                  <a:cubicBezTo>
                    <a:pt x="45" y="51"/>
                    <a:pt x="42" y="48"/>
                    <a:pt x="42" y="45"/>
                  </a:cubicBezTo>
                  <a:cubicBezTo>
                    <a:pt x="41" y="40"/>
                    <a:pt x="41" y="43"/>
                    <a:pt x="39" y="40"/>
                  </a:cubicBezTo>
                  <a:cubicBezTo>
                    <a:pt x="38" y="39"/>
                    <a:pt x="39" y="39"/>
                    <a:pt x="39" y="37"/>
                  </a:cubicBezTo>
                  <a:cubicBezTo>
                    <a:pt x="38" y="37"/>
                    <a:pt x="36" y="37"/>
                    <a:pt x="32" y="34"/>
                  </a:cubicBezTo>
                  <a:cubicBezTo>
                    <a:pt x="27" y="29"/>
                    <a:pt x="32" y="31"/>
                    <a:pt x="30" y="29"/>
                  </a:cubicBezTo>
                  <a:cubicBezTo>
                    <a:pt x="29" y="25"/>
                    <a:pt x="35" y="29"/>
                    <a:pt x="36" y="28"/>
                  </a:cubicBezTo>
                  <a:cubicBezTo>
                    <a:pt x="36" y="25"/>
                    <a:pt x="39" y="25"/>
                    <a:pt x="38" y="23"/>
                  </a:cubicBezTo>
                  <a:cubicBezTo>
                    <a:pt x="36" y="22"/>
                    <a:pt x="36" y="23"/>
                    <a:pt x="35" y="22"/>
                  </a:cubicBezTo>
                  <a:cubicBezTo>
                    <a:pt x="35" y="20"/>
                    <a:pt x="32" y="22"/>
                    <a:pt x="33" y="20"/>
                  </a:cubicBezTo>
                  <a:cubicBezTo>
                    <a:pt x="36" y="18"/>
                    <a:pt x="36" y="17"/>
                    <a:pt x="33" y="15"/>
                  </a:cubicBezTo>
                  <a:cubicBezTo>
                    <a:pt x="30" y="14"/>
                    <a:pt x="30" y="14"/>
                    <a:pt x="29" y="15"/>
                  </a:cubicBezTo>
                  <a:cubicBezTo>
                    <a:pt x="27" y="20"/>
                    <a:pt x="26" y="15"/>
                    <a:pt x="24" y="15"/>
                  </a:cubicBezTo>
                  <a:cubicBezTo>
                    <a:pt x="23" y="17"/>
                    <a:pt x="23" y="14"/>
                    <a:pt x="21" y="12"/>
                  </a:cubicBezTo>
                  <a:cubicBezTo>
                    <a:pt x="21" y="11"/>
                    <a:pt x="23" y="11"/>
                    <a:pt x="21" y="11"/>
                  </a:cubicBezTo>
                  <a:cubicBezTo>
                    <a:pt x="21" y="9"/>
                    <a:pt x="23" y="7"/>
                    <a:pt x="21" y="7"/>
                  </a:cubicBezTo>
                  <a:cubicBezTo>
                    <a:pt x="21" y="7"/>
                    <a:pt x="21" y="4"/>
                    <a:pt x="20" y="7"/>
                  </a:cubicBezTo>
                  <a:cubicBezTo>
                    <a:pt x="20" y="9"/>
                    <a:pt x="21" y="6"/>
                    <a:pt x="15" y="0"/>
                  </a:cubicBezTo>
                  <a:cubicBezTo>
                    <a:pt x="14" y="0"/>
                    <a:pt x="9" y="0"/>
                    <a:pt x="12" y="4"/>
                  </a:cubicBezTo>
                  <a:cubicBezTo>
                    <a:pt x="14" y="11"/>
                    <a:pt x="12" y="9"/>
                    <a:pt x="12" y="11"/>
                  </a:cubicBezTo>
                  <a:cubicBezTo>
                    <a:pt x="14" y="12"/>
                    <a:pt x="12" y="14"/>
                    <a:pt x="12" y="12"/>
                  </a:cubicBezTo>
                  <a:cubicBezTo>
                    <a:pt x="11" y="11"/>
                    <a:pt x="9" y="15"/>
                    <a:pt x="8" y="9"/>
                  </a:cubicBezTo>
                  <a:cubicBezTo>
                    <a:pt x="6" y="11"/>
                    <a:pt x="3" y="9"/>
                    <a:pt x="3" y="14"/>
                  </a:cubicBezTo>
                  <a:cubicBezTo>
                    <a:pt x="2" y="18"/>
                    <a:pt x="0" y="14"/>
                    <a:pt x="0" y="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 76"/>
            <p:cNvSpPr>
              <a:spLocks/>
            </p:cNvSpPr>
            <p:nvPr/>
          </p:nvSpPr>
          <p:spPr bwMode="auto">
            <a:xfrm>
              <a:off x="7473923" y="4686006"/>
              <a:ext cx="136577" cy="131754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6"/>
                </a:cxn>
                <a:cxn ang="0">
                  <a:pos x="42" y="11"/>
                </a:cxn>
                <a:cxn ang="0">
                  <a:pos x="42" y="18"/>
                </a:cxn>
                <a:cxn ang="0">
                  <a:pos x="41" y="23"/>
                </a:cxn>
                <a:cxn ang="0">
                  <a:pos x="36" y="26"/>
                </a:cxn>
                <a:cxn ang="0">
                  <a:pos x="33" y="29"/>
                </a:cxn>
                <a:cxn ang="0">
                  <a:pos x="30" y="31"/>
                </a:cxn>
                <a:cxn ang="0">
                  <a:pos x="30" y="35"/>
                </a:cxn>
                <a:cxn ang="0">
                  <a:pos x="29" y="37"/>
                </a:cxn>
                <a:cxn ang="0">
                  <a:pos x="24" y="37"/>
                </a:cxn>
                <a:cxn ang="0">
                  <a:pos x="23" y="39"/>
                </a:cxn>
                <a:cxn ang="0">
                  <a:pos x="18" y="42"/>
                </a:cxn>
                <a:cxn ang="0">
                  <a:pos x="14" y="40"/>
                </a:cxn>
                <a:cxn ang="0">
                  <a:pos x="12" y="40"/>
                </a:cxn>
                <a:cxn ang="0">
                  <a:pos x="12" y="35"/>
                </a:cxn>
                <a:cxn ang="0">
                  <a:pos x="11" y="37"/>
                </a:cxn>
                <a:cxn ang="0">
                  <a:pos x="8" y="35"/>
                </a:cxn>
                <a:cxn ang="0">
                  <a:pos x="6" y="29"/>
                </a:cxn>
                <a:cxn ang="0">
                  <a:pos x="5" y="21"/>
                </a:cxn>
                <a:cxn ang="0">
                  <a:pos x="2" y="14"/>
                </a:cxn>
                <a:cxn ang="0">
                  <a:pos x="3" y="11"/>
                </a:cxn>
                <a:cxn ang="0">
                  <a:pos x="6" y="6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9" y="6"/>
                </a:cxn>
                <a:cxn ang="0">
                  <a:pos x="32" y="4"/>
                </a:cxn>
                <a:cxn ang="0">
                  <a:pos x="35" y="1"/>
                </a:cxn>
                <a:cxn ang="0">
                  <a:pos x="38" y="3"/>
                </a:cxn>
                <a:cxn ang="0">
                  <a:pos x="41" y="1"/>
                </a:cxn>
                <a:cxn ang="0">
                  <a:pos x="42" y="0"/>
                </a:cxn>
              </a:cxnLst>
              <a:rect l="0" t="0" r="r" b="b"/>
              <a:pathLst>
                <a:path w="44" h="42">
                  <a:moveTo>
                    <a:pt x="42" y="0"/>
                  </a:moveTo>
                  <a:cubicBezTo>
                    <a:pt x="42" y="1"/>
                    <a:pt x="41" y="6"/>
                    <a:pt x="41" y="6"/>
                  </a:cubicBezTo>
                  <a:cubicBezTo>
                    <a:pt x="42" y="7"/>
                    <a:pt x="42" y="7"/>
                    <a:pt x="42" y="11"/>
                  </a:cubicBezTo>
                  <a:cubicBezTo>
                    <a:pt x="44" y="14"/>
                    <a:pt x="42" y="15"/>
                    <a:pt x="42" y="18"/>
                  </a:cubicBezTo>
                  <a:cubicBezTo>
                    <a:pt x="44" y="21"/>
                    <a:pt x="44" y="25"/>
                    <a:pt x="41" y="23"/>
                  </a:cubicBezTo>
                  <a:cubicBezTo>
                    <a:pt x="39" y="23"/>
                    <a:pt x="39" y="26"/>
                    <a:pt x="36" y="26"/>
                  </a:cubicBezTo>
                  <a:cubicBezTo>
                    <a:pt x="32" y="26"/>
                    <a:pt x="36" y="31"/>
                    <a:pt x="33" y="29"/>
                  </a:cubicBezTo>
                  <a:cubicBezTo>
                    <a:pt x="30" y="28"/>
                    <a:pt x="29" y="29"/>
                    <a:pt x="30" y="31"/>
                  </a:cubicBezTo>
                  <a:cubicBezTo>
                    <a:pt x="30" y="32"/>
                    <a:pt x="29" y="34"/>
                    <a:pt x="30" y="35"/>
                  </a:cubicBezTo>
                  <a:cubicBezTo>
                    <a:pt x="35" y="39"/>
                    <a:pt x="30" y="39"/>
                    <a:pt x="29" y="37"/>
                  </a:cubicBezTo>
                  <a:cubicBezTo>
                    <a:pt x="29" y="34"/>
                    <a:pt x="26" y="39"/>
                    <a:pt x="24" y="37"/>
                  </a:cubicBezTo>
                  <a:cubicBezTo>
                    <a:pt x="24" y="35"/>
                    <a:pt x="23" y="39"/>
                    <a:pt x="23" y="39"/>
                  </a:cubicBezTo>
                  <a:cubicBezTo>
                    <a:pt x="24" y="42"/>
                    <a:pt x="20" y="40"/>
                    <a:pt x="18" y="42"/>
                  </a:cubicBezTo>
                  <a:cubicBezTo>
                    <a:pt x="17" y="40"/>
                    <a:pt x="15" y="42"/>
                    <a:pt x="14" y="40"/>
                  </a:cubicBezTo>
                  <a:cubicBezTo>
                    <a:pt x="14" y="39"/>
                    <a:pt x="14" y="42"/>
                    <a:pt x="12" y="40"/>
                  </a:cubicBezTo>
                  <a:cubicBezTo>
                    <a:pt x="9" y="39"/>
                    <a:pt x="14" y="39"/>
                    <a:pt x="12" y="35"/>
                  </a:cubicBezTo>
                  <a:cubicBezTo>
                    <a:pt x="9" y="32"/>
                    <a:pt x="11" y="37"/>
                    <a:pt x="11" y="37"/>
                  </a:cubicBezTo>
                  <a:cubicBezTo>
                    <a:pt x="9" y="37"/>
                    <a:pt x="8" y="40"/>
                    <a:pt x="8" y="35"/>
                  </a:cubicBezTo>
                  <a:cubicBezTo>
                    <a:pt x="8" y="32"/>
                    <a:pt x="9" y="34"/>
                    <a:pt x="6" y="29"/>
                  </a:cubicBezTo>
                  <a:cubicBezTo>
                    <a:pt x="3" y="25"/>
                    <a:pt x="6" y="23"/>
                    <a:pt x="5" y="21"/>
                  </a:cubicBezTo>
                  <a:cubicBezTo>
                    <a:pt x="2" y="20"/>
                    <a:pt x="5" y="18"/>
                    <a:pt x="2" y="14"/>
                  </a:cubicBezTo>
                  <a:cubicBezTo>
                    <a:pt x="0" y="9"/>
                    <a:pt x="3" y="12"/>
                    <a:pt x="3" y="11"/>
                  </a:cubicBezTo>
                  <a:cubicBezTo>
                    <a:pt x="3" y="9"/>
                    <a:pt x="5" y="11"/>
                    <a:pt x="6" y="6"/>
                  </a:cubicBezTo>
                  <a:cubicBezTo>
                    <a:pt x="8" y="1"/>
                    <a:pt x="15" y="3"/>
                    <a:pt x="20" y="3"/>
                  </a:cubicBezTo>
                  <a:cubicBezTo>
                    <a:pt x="24" y="1"/>
                    <a:pt x="23" y="4"/>
                    <a:pt x="24" y="3"/>
                  </a:cubicBezTo>
                  <a:cubicBezTo>
                    <a:pt x="26" y="7"/>
                    <a:pt x="27" y="3"/>
                    <a:pt x="29" y="6"/>
                  </a:cubicBezTo>
                  <a:cubicBezTo>
                    <a:pt x="30" y="9"/>
                    <a:pt x="33" y="7"/>
                    <a:pt x="32" y="4"/>
                  </a:cubicBezTo>
                  <a:cubicBezTo>
                    <a:pt x="29" y="1"/>
                    <a:pt x="33" y="3"/>
                    <a:pt x="35" y="1"/>
                  </a:cubicBezTo>
                  <a:cubicBezTo>
                    <a:pt x="36" y="0"/>
                    <a:pt x="36" y="4"/>
                    <a:pt x="38" y="3"/>
                  </a:cubicBezTo>
                  <a:cubicBezTo>
                    <a:pt x="39" y="3"/>
                    <a:pt x="41" y="0"/>
                    <a:pt x="41" y="1"/>
                  </a:cubicBezTo>
                  <a:cubicBezTo>
                    <a:pt x="42" y="1"/>
                    <a:pt x="42" y="0"/>
                    <a:pt x="4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 77"/>
            <p:cNvSpPr>
              <a:spLocks/>
            </p:cNvSpPr>
            <p:nvPr/>
          </p:nvSpPr>
          <p:spPr bwMode="auto">
            <a:xfrm>
              <a:off x="5806084" y="4125249"/>
              <a:ext cx="517383" cy="530228"/>
            </a:xfrm>
            <a:custGeom>
              <a:avLst/>
              <a:gdLst/>
              <a:ahLst/>
              <a:cxnLst>
                <a:cxn ang="0">
                  <a:pos x="125" y="141"/>
                </a:cxn>
                <a:cxn ang="0">
                  <a:pos x="107" y="151"/>
                </a:cxn>
                <a:cxn ang="0">
                  <a:pos x="92" y="162"/>
                </a:cxn>
                <a:cxn ang="0">
                  <a:pos x="75" y="153"/>
                </a:cxn>
                <a:cxn ang="0">
                  <a:pos x="74" y="153"/>
                </a:cxn>
                <a:cxn ang="0">
                  <a:pos x="72" y="153"/>
                </a:cxn>
                <a:cxn ang="0">
                  <a:pos x="68" y="153"/>
                </a:cxn>
                <a:cxn ang="0">
                  <a:pos x="68" y="158"/>
                </a:cxn>
                <a:cxn ang="0">
                  <a:pos x="65" y="162"/>
                </a:cxn>
                <a:cxn ang="0">
                  <a:pos x="54" y="144"/>
                </a:cxn>
                <a:cxn ang="0">
                  <a:pos x="50" y="133"/>
                </a:cxn>
                <a:cxn ang="0">
                  <a:pos x="36" y="117"/>
                </a:cxn>
                <a:cxn ang="0">
                  <a:pos x="34" y="100"/>
                </a:cxn>
                <a:cxn ang="0">
                  <a:pos x="21" y="77"/>
                </a:cxn>
                <a:cxn ang="0">
                  <a:pos x="15" y="64"/>
                </a:cxn>
                <a:cxn ang="0">
                  <a:pos x="1" y="41"/>
                </a:cxn>
                <a:cxn ang="0">
                  <a:pos x="12" y="32"/>
                </a:cxn>
                <a:cxn ang="0">
                  <a:pos x="24" y="24"/>
                </a:cxn>
                <a:cxn ang="0">
                  <a:pos x="27" y="18"/>
                </a:cxn>
                <a:cxn ang="0">
                  <a:pos x="24" y="7"/>
                </a:cxn>
                <a:cxn ang="0">
                  <a:pos x="47" y="4"/>
                </a:cxn>
                <a:cxn ang="0">
                  <a:pos x="59" y="11"/>
                </a:cxn>
                <a:cxn ang="0">
                  <a:pos x="80" y="32"/>
                </a:cxn>
                <a:cxn ang="0">
                  <a:pos x="101" y="35"/>
                </a:cxn>
                <a:cxn ang="0">
                  <a:pos x="109" y="39"/>
                </a:cxn>
                <a:cxn ang="0">
                  <a:pos x="116" y="50"/>
                </a:cxn>
                <a:cxn ang="0">
                  <a:pos x="122" y="60"/>
                </a:cxn>
                <a:cxn ang="0">
                  <a:pos x="124" y="71"/>
                </a:cxn>
                <a:cxn ang="0">
                  <a:pos x="130" y="80"/>
                </a:cxn>
                <a:cxn ang="0">
                  <a:pos x="136" y="92"/>
                </a:cxn>
                <a:cxn ang="0">
                  <a:pos x="163" y="99"/>
                </a:cxn>
                <a:cxn ang="0">
                  <a:pos x="165" y="113"/>
                </a:cxn>
                <a:cxn ang="0">
                  <a:pos x="150" y="131"/>
                </a:cxn>
              </a:cxnLst>
              <a:rect l="0" t="0" r="r" b="b"/>
              <a:pathLst>
                <a:path w="166" h="170">
                  <a:moveTo>
                    <a:pt x="138" y="136"/>
                  </a:moveTo>
                  <a:cubicBezTo>
                    <a:pt x="133" y="137"/>
                    <a:pt x="130" y="139"/>
                    <a:pt x="125" y="141"/>
                  </a:cubicBezTo>
                  <a:cubicBezTo>
                    <a:pt x="122" y="141"/>
                    <a:pt x="115" y="142"/>
                    <a:pt x="112" y="144"/>
                  </a:cubicBezTo>
                  <a:cubicBezTo>
                    <a:pt x="110" y="145"/>
                    <a:pt x="107" y="150"/>
                    <a:pt x="107" y="151"/>
                  </a:cubicBezTo>
                  <a:cubicBezTo>
                    <a:pt x="103" y="158"/>
                    <a:pt x="97" y="164"/>
                    <a:pt x="92" y="170"/>
                  </a:cubicBezTo>
                  <a:cubicBezTo>
                    <a:pt x="92" y="167"/>
                    <a:pt x="92" y="164"/>
                    <a:pt x="92" y="162"/>
                  </a:cubicBezTo>
                  <a:cubicBezTo>
                    <a:pt x="92" y="161"/>
                    <a:pt x="92" y="159"/>
                    <a:pt x="92" y="159"/>
                  </a:cubicBezTo>
                  <a:cubicBezTo>
                    <a:pt x="92" y="159"/>
                    <a:pt x="77" y="151"/>
                    <a:pt x="75" y="153"/>
                  </a:cubicBezTo>
                  <a:cubicBezTo>
                    <a:pt x="75" y="153"/>
                    <a:pt x="75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2" y="153"/>
                    <a:pt x="72" y="153"/>
                    <a:pt x="72" y="153"/>
                  </a:cubicBezTo>
                  <a:cubicBezTo>
                    <a:pt x="72" y="153"/>
                    <a:pt x="71" y="151"/>
                    <a:pt x="69" y="151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8" y="153"/>
                    <a:pt x="69" y="153"/>
                    <a:pt x="68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58"/>
                    <a:pt x="68" y="159"/>
                  </a:cubicBezTo>
                  <a:cubicBezTo>
                    <a:pt x="68" y="159"/>
                    <a:pt x="66" y="161"/>
                    <a:pt x="65" y="162"/>
                  </a:cubicBezTo>
                  <a:cubicBezTo>
                    <a:pt x="62" y="151"/>
                    <a:pt x="62" y="159"/>
                    <a:pt x="60" y="155"/>
                  </a:cubicBezTo>
                  <a:cubicBezTo>
                    <a:pt x="60" y="150"/>
                    <a:pt x="54" y="147"/>
                    <a:pt x="54" y="144"/>
                  </a:cubicBezTo>
                  <a:cubicBezTo>
                    <a:pt x="54" y="141"/>
                    <a:pt x="53" y="141"/>
                    <a:pt x="53" y="137"/>
                  </a:cubicBezTo>
                  <a:cubicBezTo>
                    <a:pt x="53" y="134"/>
                    <a:pt x="51" y="136"/>
                    <a:pt x="50" y="133"/>
                  </a:cubicBezTo>
                  <a:cubicBezTo>
                    <a:pt x="48" y="130"/>
                    <a:pt x="47" y="125"/>
                    <a:pt x="44" y="123"/>
                  </a:cubicBezTo>
                  <a:cubicBezTo>
                    <a:pt x="39" y="123"/>
                    <a:pt x="40" y="122"/>
                    <a:pt x="36" y="117"/>
                  </a:cubicBezTo>
                  <a:cubicBezTo>
                    <a:pt x="33" y="111"/>
                    <a:pt x="37" y="114"/>
                    <a:pt x="34" y="109"/>
                  </a:cubicBezTo>
                  <a:cubicBezTo>
                    <a:pt x="33" y="105"/>
                    <a:pt x="37" y="106"/>
                    <a:pt x="34" y="100"/>
                  </a:cubicBezTo>
                  <a:cubicBezTo>
                    <a:pt x="33" y="95"/>
                    <a:pt x="30" y="85"/>
                    <a:pt x="27" y="85"/>
                  </a:cubicBezTo>
                  <a:cubicBezTo>
                    <a:pt x="22" y="83"/>
                    <a:pt x="19" y="78"/>
                    <a:pt x="21" y="77"/>
                  </a:cubicBezTo>
                  <a:cubicBezTo>
                    <a:pt x="22" y="74"/>
                    <a:pt x="21" y="71"/>
                    <a:pt x="18" y="69"/>
                  </a:cubicBezTo>
                  <a:cubicBezTo>
                    <a:pt x="16" y="66"/>
                    <a:pt x="18" y="66"/>
                    <a:pt x="15" y="64"/>
                  </a:cubicBezTo>
                  <a:cubicBezTo>
                    <a:pt x="12" y="60"/>
                    <a:pt x="7" y="44"/>
                    <a:pt x="4" y="44"/>
                  </a:cubicBezTo>
                  <a:cubicBezTo>
                    <a:pt x="0" y="43"/>
                    <a:pt x="0" y="47"/>
                    <a:pt x="1" y="41"/>
                  </a:cubicBezTo>
                  <a:cubicBezTo>
                    <a:pt x="3" y="36"/>
                    <a:pt x="1" y="39"/>
                    <a:pt x="3" y="30"/>
                  </a:cubicBezTo>
                  <a:cubicBezTo>
                    <a:pt x="4" y="30"/>
                    <a:pt x="10" y="32"/>
                    <a:pt x="12" y="32"/>
                  </a:cubicBezTo>
                  <a:cubicBezTo>
                    <a:pt x="15" y="32"/>
                    <a:pt x="15" y="27"/>
                    <a:pt x="18" y="25"/>
                  </a:cubicBezTo>
                  <a:cubicBezTo>
                    <a:pt x="18" y="24"/>
                    <a:pt x="22" y="25"/>
                    <a:pt x="24" y="24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5" y="19"/>
                    <a:pt x="27" y="19"/>
                    <a:pt x="27" y="1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22" y="7"/>
                    <a:pt x="24" y="7"/>
                  </a:cubicBezTo>
                  <a:cubicBezTo>
                    <a:pt x="25" y="5"/>
                    <a:pt x="34" y="4"/>
                    <a:pt x="36" y="0"/>
                  </a:cubicBezTo>
                  <a:cubicBezTo>
                    <a:pt x="39" y="2"/>
                    <a:pt x="44" y="2"/>
                    <a:pt x="47" y="4"/>
                  </a:cubicBezTo>
                  <a:cubicBezTo>
                    <a:pt x="50" y="4"/>
                    <a:pt x="51" y="7"/>
                    <a:pt x="54" y="10"/>
                  </a:cubicBezTo>
                  <a:cubicBezTo>
                    <a:pt x="56" y="10"/>
                    <a:pt x="57" y="11"/>
                    <a:pt x="59" y="11"/>
                  </a:cubicBezTo>
                  <a:cubicBezTo>
                    <a:pt x="62" y="15"/>
                    <a:pt x="65" y="16"/>
                    <a:pt x="66" y="19"/>
                  </a:cubicBezTo>
                  <a:cubicBezTo>
                    <a:pt x="69" y="21"/>
                    <a:pt x="78" y="32"/>
                    <a:pt x="80" y="32"/>
                  </a:cubicBezTo>
                  <a:cubicBezTo>
                    <a:pt x="81" y="33"/>
                    <a:pt x="94" y="33"/>
                    <a:pt x="95" y="33"/>
                  </a:cubicBezTo>
                  <a:cubicBezTo>
                    <a:pt x="95" y="33"/>
                    <a:pt x="101" y="33"/>
                    <a:pt x="101" y="35"/>
                  </a:cubicBezTo>
                  <a:cubicBezTo>
                    <a:pt x="103" y="35"/>
                    <a:pt x="103" y="38"/>
                    <a:pt x="103" y="38"/>
                  </a:cubicBezTo>
                  <a:cubicBezTo>
                    <a:pt x="104" y="39"/>
                    <a:pt x="109" y="39"/>
                    <a:pt x="109" y="39"/>
                  </a:cubicBezTo>
                  <a:cubicBezTo>
                    <a:pt x="112" y="44"/>
                    <a:pt x="113" y="46"/>
                    <a:pt x="113" y="47"/>
                  </a:cubicBezTo>
                  <a:cubicBezTo>
                    <a:pt x="113" y="49"/>
                    <a:pt x="116" y="47"/>
                    <a:pt x="116" y="50"/>
                  </a:cubicBezTo>
                  <a:cubicBezTo>
                    <a:pt x="116" y="53"/>
                    <a:pt x="122" y="57"/>
                    <a:pt x="122" y="58"/>
                  </a:cubicBezTo>
                  <a:cubicBezTo>
                    <a:pt x="124" y="60"/>
                    <a:pt x="121" y="57"/>
                    <a:pt x="122" y="60"/>
                  </a:cubicBezTo>
                  <a:cubicBezTo>
                    <a:pt x="124" y="63"/>
                    <a:pt x="121" y="64"/>
                    <a:pt x="122" y="67"/>
                  </a:cubicBezTo>
                  <a:cubicBezTo>
                    <a:pt x="124" y="69"/>
                    <a:pt x="122" y="69"/>
                    <a:pt x="124" y="71"/>
                  </a:cubicBezTo>
                  <a:cubicBezTo>
                    <a:pt x="127" y="72"/>
                    <a:pt x="125" y="75"/>
                    <a:pt x="128" y="78"/>
                  </a:cubicBezTo>
                  <a:cubicBezTo>
                    <a:pt x="128" y="80"/>
                    <a:pt x="130" y="80"/>
                    <a:pt x="130" y="80"/>
                  </a:cubicBezTo>
                  <a:cubicBezTo>
                    <a:pt x="130" y="83"/>
                    <a:pt x="130" y="83"/>
                    <a:pt x="133" y="85"/>
                  </a:cubicBezTo>
                  <a:cubicBezTo>
                    <a:pt x="136" y="88"/>
                    <a:pt x="136" y="88"/>
                    <a:pt x="136" y="92"/>
                  </a:cubicBezTo>
                  <a:cubicBezTo>
                    <a:pt x="138" y="95"/>
                    <a:pt x="136" y="95"/>
                    <a:pt x="145" y="97"/>
                  </a:cubicBezTo>
                  <a:cubicBezTo>
                    <a:pt x="154" y="99"/>
                    <a:pt x="162" y="103"/>
                    <a:pt x="163" y="99"/>
                  </a:cubicBezTo>
                  <a:cubicBezTo>
                    <a:pt x="163" y="100"/>
                    <a:pt x="166" y="105"/>
                    <a:pt x="166" y="106"/>
                  </a:cubicBezTo>
                  <a:cubicBezTo>
                    <a:pt x="166" y="108"/>
                    <a:pt x="165" y="111"/>
                    <a:pt x="165" y="113"/>
                  </a:cubicBezTo>
                  <a:cubicBezTo>
                    <a:pt x="165" y="114"/>
                    <a:pt x="162" y="125"/>
                    <a:pt x="162" y="127"/>
                  </a:cubicBezTo>
                  <a:cubicBezTo>
                    <a:pt x="160" y="128"/>
                    <a:pt x="153" y="130"/>
                    <a:pt x="150" y="131"/>
                  </a:cubicBezTo>
                  <a:cubicBezTo>
                    <a:pt x="145" y="133"/>
                    <a:pt x="142" y="134"/>
                    <a:pt x="138" y="13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 78"/>
            <p:cNvSpPr>
              <a:spLocks/>
            </p:cNvSpPr>
            <p:nvPr/>
          </p:nvSpPr>
          <p:spPr bwMode="auto">
            <a:xfrm>
              <a:off x="5905705" y="3953327"/>
              <a:ext cx="242624" cy="277968"/>
            </a:xfrm>
            <a:custGeom>
              <a:avLst/>
              <a:gdLst/>
              <a:ahLst/>
              <a:cxnLst>
                <a:cxn ang="0">
                  <a:pos x="48" y="3"/>
                </a:cxn>
                <a:cxn ang="0">
                  <a:pos x="52" y="14"/>
                </a:cxn>
                <a:cxn ang="0">
                  <a:pos x="61" y="17"/>
                </a:cxn>
                <a:cxn ang="0">
                  <a:pos x="58" y="22"/>
                </a:cxn>
                <a:cxn ang="0">
                  <a:pos x="54" y="34"/>
                </a:cxn>
                <a:cxn ang="0">
                  <a:pos x="60" y="45"/>
                </a:cxn>
                <a:cxn ang="0">
                  <a:pos x="70" y="56"/>
                </a:cxn>
                <a:cxn ang="0">
                  <a:pos x="72" y="68"/>
                </a:cxn>
                <a:cxn ang="0">
                  <a:pos x="75" y="75"/>
                </a:cxn>
                <a:cxn ang="0">
                  <a:pos x="78" y="79"/>
                </a:cxn>
                <a:cxn ang="0">
                  <a:pos x="73" y="79"/>
                </a:cxn>
                <a:cxn ang="0">
                  <a:pos x="67" y="79"/>
                </a:cxn>
                <a:cxn ang="0">
                  <a:pos x="63" y="89"/>
                </a:cxn>
                <a:cxn ang="0">
                  <a:pos x="48" y="87"/>
                </a:cxn>
                <a:cxn ang="0">
                  <a:pos x="34" y="75"/>
                </a:cxn>
                <a:cxn ang="0">
                  <a:pos x="26" y="67"/>
                </a:cxn>
                <a:cxn ang="0">
                  <a:pos x="22" y="65"/>
                </a:cxn>
                <a:cxn ang="0">
                  <a:pos x="14" y="59"/>
                </a:cxn>
                <a:cxn ang="0">
                  <a:pos x="3" y="56"/>
                </a:cxn>
                <a:cxn ang="0">
                  <a:pos x="5" y="56"/>
                </a:cxn>
                <a:cxn ang="0">
                  <a:pos x="2" y="54"/>
                </a:cxn>
                <a:cxn ang="0">
                  <a:pos x="2" y="53"/>
                </a:cxn>
                <a:cxn ang="0">
                  <a:pos x="3" y="53"/>
                </a:cxn>
                <a:cxn ang="0">
                  <a:pos x="3" y="51"/>
                </a:cxn>
                <a:cxn ang="0">
                  <a:pos x="0" y="43"/>
                </a:cxn>
                <a:cxn ang="0">
                  <a:pos x="11" y="37"/>
                </a:cxn>
                <a:cxn ang="0">
                  <a:pos x="19" y="33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6"/>
                </a:cxn>
                <a:cxn ang="0">
                  <a:pos x="20" y="23"/>
                </a:cxn>
                <a:cxn ang="0">
                  <a:pos x="22" y="17"/>
                </a:cxn>
                <a:cxn ang="0">
                  <a:pos x="20" y="11"/>
                </a:cxn>
                <a:cxn ang="0">
                  <a:pos x="25" y="9"/>
                </a:cxn>
                <a:cxn ang="0">
                  <a:pos x="29" y="3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4" y="0"/>
                </a:cxn>
                <a:cxn ang="0">
                  <a:pos x="35" y="0"/>
                </a:cxn>
                <a:cxn ang="0">
                  <a:pos x="38" y="2"/>
                </a:cxn>
                <a:cxn ang="0">
                  <a:pos x="43" y="2"/>
                </a:cxn>
                <a:cxn ang="0">
                  <a:pos x="44" y="5"/>
                </a:cxn>
                <a:cxn ang="0">
                  <a:pos x="46" y="3"/>
                </a:cxn>
                <a:cxn ang="0">
                  <a:pos x="48" y="3"/>
                </a:cxn>
              </a:cxnLst>
              <a:rect l="0" t="0" r="r" b="b"/>
              <a:pathLst>
                <a:path w="78" h="89">
                  <a:moveTo>
                    <a:pt x="48" y="3"/>
                  </a:moveTo>
                  <a:cubicBezTo>
                    <a:pt x="49" y="8"/>
                    <a:pt x="52" y="11"/>
                    <a:pt x="52" y="14"/>
                  </a:cubicBezTo>
                  <a:cubicBezTo>
                    <a:pt x="52" y="17"/>
                    <a:pt x="60" y="16"/>
                    <a:pt x="61" y="17"/>
                  </a:cubicBezTo>
                  <a:cubicBezTo>
                    <a:pt x="61" y="19"/>
                    <a:pt x="57" y="17"/>
                    <a:pt x="58" y="22"/>
                  </a:cubicBezTo>
                  <a:cubicBezTo>
                    <a:pt x="61" y="26"/>
                    <a:pt x="54" y="28"/>
                    <a:pt x="54" y="34"/>
                  </a:cubicBezTo>
                  <a:cubicBezTo>
                    <a:pt x="52" y="40"/>
                    <a:pt x="58" y="39"/>
                    <a:pt x="60" y="45"/>
                  </a:cubicBezTo>
                  <a:cubicBezTo>
                    <a:pt x="60" y="50"/>
                    <a:pt x="67" y="51"/>
                    <a:pt x="70" y="56"/>
                  </a:cubicBezTo>
                  <a:cubicBezTo>
                    <a:pt x="73" y="62"/>
                    <a:pt x="70" y="65"/>
                    <a:pt x="72" y="68"/>
                  </a:cubicBezTo>
                  <a:cubicBezTo>
                    <a:pt x="73" y="71"/>
                    <a:pt x="73" y="75"/>
                    <a:pt x="75" y="75"/>
                  </a:cubicBezTo>
                  <a:cubicBezTo>
                    <a:pt x="76" y="76"/>
                    <a:pt x="78" y="76"/>
                    <a:pt x="78" y="79"/>
                  </a:cubicBezTo>
                  <a:cubicBezTo>
                    <a:pt x="76" y="81"/>
                    <a:pt x="72" y="76"/>
                    <a:pt x="73" y="79"/>
                  </a:cubicBezTo>
                  <a:cubicBezTo>
                    <a:pt x="72" y="79"/>
                    <a:pt x="69" y="78"/>
                    <a:pt x="67" y="79"/>
                  </a:cubicBezTo>
                  <a:cubicBezTo>
                    <a:pt x="66" y="81"/>
                    <a:pt x="64" y="87"/>
                    <a:pt x="63" y="89"/>
                  </a:cubicBezTo>
                  <a:cubicBezTo>
                    <a:pt x="61" y="89"/>
                    <a:pt x="49" y="89"/>
                    <a:pt x="48" y="87"/>
                  </a:cubicBezTo>
                  <a:cubicBezTo>
                    <a:pt x="46" y="87"/>
                    <a:pt x="37" y="76"/>
                    <a:pt x="34" y="75"/>
                  </a:cubicBezTo>
                  <a:cubicBezTo>
                    <a:pt x="32" y="71"/>
                    <a:pt x="29" y="70"/>
                    <a:pt x="26" y="67"/>
                  </a:cubicBezTo>
                  <a:cubicBezTo>
                    <a:pt x="25" y="67"/>
                    <a:pt x="23" y="65"/>
                    <a:pt x="22" y="65"/>
                  </a:cubicBezTo>
                  <a:cubicBezTo>
                    <a:pt x="19" y="62"/>
                    <a:pt x="17" y="59"/>
                    <a:pt x="14" y="59"/>
                  </a:cubicBezTo>
                  <a:cubicBezTo>
                    <a:pt x="11" y="57"/>
                    <a:pt x="7" y="57"/>
                    <a:pt x="3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3" y="54"/>
                    <a:pt x="2" y="5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1"/>
                  </a:cubicBezTo>
                  <a:cubicBezTo>
                    <a:pt x="2" y="50"/>
                    <a:pt x="2" y="47"/>
                    <a:pt x="0" y="43"/>
                  </a:cubicBezTo>
                  <a:cubicBezTo>
                    <a:pt x="3" y="40"/>
                    <a:pt x="8" y="39"/>
                    <a:pt x="11" y="37"/>
                  </a:cubicBezTo>
                  <a:cubicBezTo>
                    <a:pt x="13" y="36"/>
                    <a:pt x="16" y="34"/>
                    <a:pt x="19" y="33"/>
                  </a:cubicBezTo>
                  <a:cubicBezTo>
                    <a:pt x="19" y="31"/>
                    <a:pt x="20" y="30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6"/>
                  </a:cubicBezTo>
                  <a:cubicBezTo>
                    <a:pt x="20" y="26"/>
                    <a:pt x="20" y="25"/>
                    <a:pt x="20" y="23"/>
                  </a:cubicBezTo>
                  <a:cubicBezTo>
                    <a:pt x="20" y="22"/>
                    <a:pt x="22" y="19"/>
                    <a:pt x="22" y="17"/>
                  </a:cubicBezTo>
                  <a:cubicBezTo>
                    <a:pt x="20" y="16"/>
                    <a:pt x="20" y="14"/>
                    <a:pt x="20" y="11"/>
                  </a:cubicBezTo>
                  <a:cubicBezTo>
                    <a:pt x="22" y="9"/>
                    <a:pt x="23" y="9"/>
                    <a:pt x="25" y="9"/>
                  </a:cubicBezTo>
                  <a:cubicBezTo>
                    <a:pt x="26" y="8"/>
                    <a:pt x="28" y="5"/>
                    <a:pt x="29" y="3"/>
                  </a:cubicBezTo>
                  <a:cubicBezTo>
                    <a:pt x="31" y="3"/>
                    <a:pt x="31" y="2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4" y="2"/>
                    <a:pt x="34" y="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7" y="2"/>
                    <a:pt x="38" y="2"/>
                  </a:cubicBezTo>
                  <a:cubicBezTo>
                    <a:pt x="41" y="3"/>
                    <a:pt x="41" y="0"/>
                    <a:pt x="43" y="2"/>
                  </a:cubicBezTo>
                  <a:cubicBezTo>
                    <a:pt x="44" y="2"/>
                    <a:pt x="43" y="3"/>
                    <a:pt x="44" y="5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 79"/>
            <p:cNvSpPr>
              <a:spLocks/>
            </p:cNvSpPr>
            <p:nvPr/>
          </p:nvSpPr>
          <p:spPr bwMode="auto">
            <a:xfrm>
              <a:off x="6101732" y="4197554"/>
              <a:ext cx="43383" cy="53023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8" y="15"/>
                </a:cxn>
                <a:cxn ang="0">
                  <a:pos x="6" y="12"/>
                </a:cxn>
                <a:cxn ang="0">
                  <a:pos x="0" y="10"/>
                </a:cxn>
                <a:cxn ang="0">
                  <a:pos x="5" y="1"/>
                </a:cxn>
                <a:cxn ang="0">
                  <a:pos x="11" y="1"/>
                </a:cxn>
                <a:cxn ang="0">
                  <a:pos x="9" y="6"/>
                </a:cxn>
                <a:cxn ang="0">
                  <a:pos x="12" y="9"/>
                </a:cxn>
                <a:cxn ang="0">
                  <a:pos x="14" y="17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cubicBezTo>
                    <a:pt x="14" y="17"/>
                    <a:pt x="9" y="17"/>
                    <a:pt x="8" y="15"/>
                  </a:cubicBezTo>
                  <a:cubicBezTo>
                    <a:pt x="8" y="15"/>
                    <a:pt x="8" y="12"/>
                    <a:pt x="6" y="12"/>
                  </a:cubicBezTo>
                  <a:cubicBezTo>
                    <a:pt x="6" y="10"/>
                    <a:pt x="0" y="10"/>
                    <a:pt x="0" y="10"/>
                  </a:cubicBezTo>
                  <a:cubicBezTo>
                    <a:pt x="1" y="9"/>
                    <a:pt x="3" y="3"/>
                    <a:pt x="5" y="1"/>
                  </a:cubicBezTo>
                  <a:cubicBezTo>
                    <a:pt x="6" y="0"/>
                    <a:pt x="9" y="1"/>
                    <a:pt x="11" y="1"/>
                  </a:cubicBezTo>
                  <a:cubicBezTo>
                    <a:pt x="14" y="9"/>
                    <a:pt x="11" y="3"/>
                    <a:pt x="9" y="6"/>
                  </a:cubicBezTo>
                  <a:cubicBezTo>
                    <a:pt x="8" y="9"/>
                    <a:pt x="12" y="6"/>
                    <a:pt x="12" y="9"/>
                  </a:cubicBezTo>
                  <a:cubicBezTo>
                    <a:pt x="12" y="13"/>
                    <a:pt x="14" y="10"/>
                    <a:pt x="14" y="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 80"/>
            <p:cNvSpPr>
              <a:spLocks/>
            </p:cNvSpPr>
            <p:nvPr/>
          </p:nvSpPr>
          <p:spPr bwMode="auto">
            <a:xfrm>
              <a:off x="6230275" y="4355015"/>
              <a:ext cx="199241" cy="268327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0" y="67"/>
                </a:cxn>
                <a:cxn ang="0">
                  <a:pos x="6" y="78"/>
                </a:cxn>
                <a:cxn ang="0">
                  <a:pos x="8" y="82"/>
                </a:cxn>
                <a:cxn ang="0">
                  <a:pos x="11" y="86"/>
                </a:cxn>
                <a:cxn ang="0">
                  <a:pos x="14" y="86"/>
                </a:cxn>
                <a:cxn ang="0">
                  <a:pos x="23" y="82"/>
                </a:cxn>
                <a:cxn ang="0">
                  <a:pos x="32" y="73"/>
                </a:cxn>
                <a:cxn ang="0">
                  <a:pos x="44" y="64"/>
                </a:cxn>
                <a:cxn ang="0">
                  <a:pos x="47" y="51"/>
                </a:cxn>
                <a:cxn ang="0">
                  <a:pos x="54" y="45"/>
                </a:cxn>
                <a:cxn ang="0">
                  <a:pos x="63" y="34"/>
                </a:cxn>
                <a:cxn ang="0">
                  <a:pos x="61" y="26"/>
                </a:cxn>
                <a:cxn ang="0">
                  <a:pos x="54" y="15"/>
                </a:cxn>
                <a:cxn ang="0">
                  <a:pos x="46" y="14"/>
                </a:cxn>
                <a:cxn ang="0">
                  <a:pos x="37" y="1"/>
                </a:cxn>
                <a:cxn ang="0">
                  <a:pos x="34" y="3"/>
                </a:cxn>
                <a:cxn ang="0">
                  <a:pos x="32" y="6"/>
                </a:cxn>
                <a:cxn ang="0">
                  <a:pos x="32" y="9"/>
                </a:cxn>
                <a:cxn ang="0">
                  <a:pos x="32" y="11"/>
                </a:cxn>
                <a:cxn ang="0">
                  <a:pos x="29" y="12"/>
                </a:cxn>
                <a:cxn ang="0">
                  <a:pos x="29" y="17"/>
                </a:cxn>
                <a:cxn ang="0">
                  <a:pos x="28" y="25"/>
                </a:cxn>
                <a:cxn ang="0">
                  <a:pos x="31" y="32"/>
                </a:cxn>
                <a:cxn ang="0">
                  <a:pos x="29" y="39"/>
                </a:cxn>
                <a:cxn ang="0">
                  <a:pos x="26" y="53"/>
                </a:cxn>
                <a:cxn ang="0">
                  <a:pos x="14" y="57"/>
                </a:cxn>
                <a:cxn ang="0">
                  <a:pos x="1" y="62"/>
                </a:cxn>
              </a:cxnLst>
              <a:rect l="0" t="0" r="r" b="b"/>
              <a:pathLst>
                <a:path w="64" h="86">
                  <a:moveTo>
                    <a:pt x="1" y="62"/>
                  </a:moveTo>
                  <a:cubicBezTo>
                    <a:pt x="1" y="64"/>
                    <a:pt x="0" y="65"/>
                    <a:pt x="0" y="67"/>
                  </a:cubicBezTo>
                  <a:cubicBezTo>
                    <a:pt x="1" y="70"/>
                    <a:pt x="5" y="75"/>
                    <a:pt x="6" y="78"/>
                  </a:cubicBezTo>
                  <a:cubicBezTo>
                    <a:pt x="8" y="79"/>
                    <a:pt x="6" y="79"/>
                    <a:pt x="8" y="82"/>
                  </a:cubicBezTo>
                  <a:cubicBezTo>
                    <a:pt x="8" y="84"/>
                    <a:pt x="9" y="86"/>
                    <a:pt x="11" y="86"/>
                  </a:cubicBezTo>
                  <a:cubicBezTo>
                    <a:pt x="11" y="86"/>
                    <a:pt x="12" y="86"/>
                    <a:pt x="14" y="86"/>
                  </a:cubicBezTo>
                  <a:cubicBezTo>
                    <a:pt x="15" y="86"/>
                    <a:pt x="17" y="82"/>
                    <a:pt x="23" y="82"/>
                  </a:cubicBezTo>
                  <a:cubicBezTo>
                    <a:pt x="29" y="84"/>
                    <a:pt x="26" y="73"/>
                    <a:pt x="32" y="73"/>
                  </a:cubicBezTo>
                  <a:cubicBezTo>
                    <a:pt x="41" y="73"/>
                    <a:pt x="35" y="65"/>
                    <a:pt x="44" y="64"/>
                  </a:cubicBezTo>
                  <a:cubicBezTo>
                    <a:pt x="52" y="62"/>
                    <a:pt x="44" y="61"/>
                    <a:pt x="47" y="51"/>
                  </a:cubicBezTo>
                  <a:cubicBezTo>
                    <a:pt x="52" y="40"/>
                    <a:pt x="50" y="54"/>
                    <a:pt x="54" y="45"/>
                  </a:cubicBezTo>
                  <a:cubicBezTo>
                    <a:pt x="57" y="39"/>
                    <a:pt x="60" y="42"/>
                    <a:pt x="63" y="34"/>
                  </a:cubicBezTo>
                  <a:cubicBezTo>
                    <a:pt x="64" y="28"/>
                    <a:pt x="64" y="28"/>
                    <a:pt x="61" y="26"/>
                  </a:cubicBezTo>
                  <a:cubicBezTo>
                    <a:pt x="60" y="25"/>
                    <a:pt x="57" y="15"/>
                    <a:pt x="54" y="15"/>
                  </a:cubicBezTo>
                  <a:cubicBezTo>
                    <a:pt x="50" y="17"/>
                    <a:pt x="52" y="14"/>
                    <a:pt x="46" y="14"/>
                  </a:cubicBezTo>
                  <a:cubicBezTo>
                    <a:pt x="41" y="14"/>
                    <a:pt x="37" y="6"/>
                    <a:pt x="37" y="1"/>
                  </a:cubicBezTo>
                  <a:cubicBezTo>
                    <a:pt x="34" y="3"/>
                    <a:pt x="35" y="6"/>
                    <a:pt x="34" y="3"/>
                  </a:cubicBezTo>
                  <a:cubicBezTo>
                    <a:pt x="32" y="0"/>
                    <a:pt x="32" y="3"/>
                    <a:pt x="32" y="6"/>
                  </a:cubicBezTo>
                  <a:cubicBezTo>
                    <a:pt x="32" y="9"/>
                    <a:pt x="31" y="9"/>
                    <a:pt x="32" y="9"/>
                  </a:cubicBezTo>
                  <a:cubicBezTo>
                    <a:pt x="34" y="9"/>
                    <a:pt x="35" y="11"/>
                    <a:pt x="32" y="11"/>
                  </a:cubicBezTo>
                  <a:cubicBezTo>
                    <a:pt x="31" y="12"/>
                    <a:pt x="29" y="12"/>
                    <a:pt x="29" y="12"/>
                  </a:cubicBezTo>
                  <a:cubicBezTo>
                    <a:pt x="31" y="14"/>
                    <a:pt x="31" y="12"/>
                    <a:pt x="29" y="17"/>
                  </a:cubicBezTo>
                  <a:cubicBezTo>
                    <a:pt x="26" y="21"/>
                    <a:pt x="28" y="23"/>
                    <a:pt x="28" y="25"/>
                  </a:cubicBezTo>
                  <a:cubicBezTo>
                    <a:pt x="28" y="26"/>
                    <a:pt x="31" y="31"/>
                    <a:pt x="31" y="32"/>
                  </a:cubicBezTo>
                  <a:cubicBezTo>
                    <a:pt x="31" y="34"/>
                    <a:pt x="29" y="37"/>
                    <a:pt x="29" y="39"/>
                  </a:cubicBezTo>
                  <a:cubicBezTo>
                    <a:pt x="29" y="40"/>
                    <a:pt x="26" y="51"/>
                    <a:pt x="26" y="53"/>
                  </a:cubicBezTo>
                  <a:cubicBezTo>
                    <a:pt x="24" y="54"/>
                    <a:pt x="17" y="56"/>
                    <a:pt x="14" y="57"/>
                  </a:cubicBezTo>
                  <a:cubicBezTo>
                    <a:pt x="9" y="59"/>
                    <a:pt x="6" y="61"/>
                    <a:pt x="1" y="6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 81"/>
            <p:cNvSpPr>
              <a:spLocks/>
            </p:cNvSpPr>
            <p:nvPr/>
          </p:nvSpPr>
          <p:spPr bwMode="auto">
            <a:xfrm>
              <a:off x="5995684" y="4549432"/>
              <a:ext cx="268333" cy="202450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75" y="5"/>
                </a:cxn>
                <a:cxn ang="0">
                  <a:pos x="81" y="16"/>
                </a:cxn>
                <a:cxn ang="0">
                  <a:pos x="83" y="20"/>
                </a:cxn>
                <a:cxn ang="0">
                  <a:pos x="86" y="23"/>
                </a:cxn>
                <a:cxn ang="0">
                  <a:pos x="77" y="36"/>
                </a:cxn>
                <a:cxn ang="0">
                  <a:pos x="69" y="39"/>
                </a:cxn>
                <a:cxn ang="0">
                  <a:pos x="61" y="42"/>
                </a:cxn>
                <a:cxn ang="0">
                  <a:pos x="46" y="50"/>
                </a:cxn>
                <a:cxn ang="0">
                  <a:pos x="31" y="56"/>
                </a:cxn>
                <a:cxn ang="0">
                  <a:pos x="23" y="61"/>
                </a:cxn>
                <a:cxn ang="0">
                  <a:pos x="19" y="62"/>
                </a:cxn>
                <a:cxn ang="0">
                  <a:pos x="16" y="64"/>
                </a:cxn>
                <a:cxn ang="0">
                  <a:pos x="13" y="64"/>
                </a:cxn>
                <a:cxn ang="0">
                  <a:pos x="8" y="62"/>
                </a:cxn>
                <a:cxn ang="0">
                  <a:pos x="7" y="56"/>
                </a:cxn>
                <a:cxn ang="0">
                  <a:pos x="5" y="47"/>
                </a:cxn>
                <a:cxn ang="0">
                  <a:pos x="4" y="40"/>
                </a:cxn>
                <a:cxn ang="0">
                  <a:pos x="2" y="37"/>
                </a:cxn>
                <a:cxn ang="0">
                  <a:pos x="2" y="33"/>
                </a:cxn>
                <a:cxn ang="0">
                  <a:pos x="4" y="26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4" y="17"/>
                </a:cxn>
                <a:cxn ang="0">
                  <a:pos x="31" y="23"/>
                </a:cxn>
                <a:cxn ang="0">
                  <a:pos x="31" y="26"/>
                </a:cxn>
                <a:cxn ang="0">
                  <a:pos x="31" y="34"/>
                </a:cxn>
                <a:cxn ang="0">
                  <a:pos x="46" y="16"/>
                </a:cxn>
                <a:cxn ang="0">
                  <a:pos x="51" y="8"/>
                </a:cxn>
                <a:cxn ang="0">
                  <a:pos x="65" y="5"/>
                </a:cxn>
                <a:cxn ang="0">
                  <a:pos x="77" y="0"/>
                </a:cxn>
              </a:cxnLst>
              <a:rect l="0" t="0" r="r" b="b"/>
              <a:pathLst>
                <a:path w="86" h="65">
                  <a:moveTo>
                    <a:pt x="77" y="0"/>
                  </a:moveTo>
                  <a:cubicBezTo>
                    <a:pt x="77" y="2"/>
                    <a:pt x="75" y="3"/>
                    <a:pt x="75" y="5"/>
                  </a:cubicBezTo>
                  <a:cubicBezTo>
                    <a:pt x="77" y="8"/>
                    <a:pt x="80" y="12"/>
                    <a:pt x="81" y="16"/>
                  </a:cubicBezTo>
                  <a:cubicBezTo>
                    <a:pt x="83" y="17"/>
                    <a:pt x="81" y="17"/>
                    <a:pt x="83" y="20"/>
                  </a:cubicBezTo>
                  <a:cubicBezTo>
                    <a:pt x="83" y="22"/>
                    <a:pt x="84" y="23"/>
                    <a:pt x="86" y="23"/>
                  </a:cubicBezTo>
                  <a:cubicBezTo>
                    <a:pt x="74" y="30"/>
                    <a:pt x="83" y="34"/>
                    <a:pt x="77" y="36"/>
                  </a:cubicBezTo>
                  <a:cubicBezTo>
                    <a:pt x="74" y="36"/>
                    <a:pt x="77" y="37"/>
                    <a:pt x="69" y="39"/>
                  </a:cubicBezTo>
                  <a:cubicBezTo>
                    <a:pt x="63" y="40"/>
                    <a:pt x="63" y="43"/>
                    <a:pt x="61" y="42"/>
                  </a:cubicBezTo>
                  <a:cubicBezTo>
                    <a:pt x="54" y="42"/>
                    <a:pt x="52" y="53"/>
                    <a:pt x="46" y="50"/>
                  </a:cubicBezTo>
                  <a:cubicBezTo>
                    <a:pt x="42" y="48"/>
                    <a:pt x="40" y="57"/>
                    <a:pt x="31" y="56"/>
                  </a:cubicBezTo>
                  <a:cubicBezTo>
                    <a:pt x="25" y="56"/>
                    <a:pt x="26" y="61"/>
                    <a:pt x="23" y="61"/>
                  </a:cubicBezTo>
                  <a:cubicBezTo>
                    <a:pt x="20" y="61"/>
                    <a:pt x="23" y="64"/>
                    <a:pt x="19" y="62"/>
                  </a:cubicBezTo>
                  <a:cubicBezTo>
                    <a:pt x="16" y="62"/>
                    <a:pt x="17" y="64"/>
                    <a:pt x="16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0" y="62"/>
                    <a:pt x="10" y="65"/>
                    <a:pt x="8" y="62"/>
                  </a:cubicBezTo>
                  <a:cubicBezTo>
                    <a:pt x="8" y="57"/>
                    <a:pt x="7" y="59"/>
                    <a:pt x="7" y="56"/>
                  </a:cubicBezTo>
                  <a:cubicBezTo>
                    <a:pt x="8" y="53"/>
                    <a:pt x="5" y="51"/>
                    <a:pt x="5" y="47"/>
                  </a:cubicBezTo>
                  <a:cubicBezTo>
                    <a:pt x="5" y="43"/>
                    <a:pt x="4" y="43"/>
                    <a:pt x="4" y="40"/>
                  </a:cubicBezTo>
                  <a:cubicBezTo>
                    <a:pt x="4" y="39"/>
                    <a:pt x="0" y="39"/>
                    <a:pt x="2" y="37"/>
                  </a:cubicBezTo>
                  <a:cubicBezTo>
                    <a:pt x="5" y="36"/>
                    <a:pt x="2" y="36"/>
                    <a:pt x="2" y="33"/>
                  </a:cubicBezTo>
                  <a:cubicBezTo>
                    <a:pt x="4" y="31"/>
                    <a:pt x="4" y="30"/>
                    <a:pt x="4" y="26"/>
                  </a:cubicBezTo>
                  <a:cubicBezTo>
                    <a:pt x="5" y="25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9"/>
                    <a:pt x="7" y="17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0" y="16"/>
                    <a:pt x="11" y="17"/>
                    <a:pt x="11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6"/>
                    <a:pt x="31" y="23"/>
                    <a:pt x="31" y="23"/>
                  </a:cubicBezTo>
                  <a:cubicBezTo>
                    <a:pt x="31" y="23"/>
                    <a:pt x="31" y="25"/>
                    <a:pt x="31" y="26"/>
                  </a:cubicBezTo>
                  <a:cubicBezTo>
                    <a:pt x="31" y="28"/>
                    <a:pt x="31" y="31"/>
                    <a:pt x="31" y="34"/>
                  </a:cubicBezTo>
                  <a:cubicBezTo>
                    <a:pt x="36" y="28"/>
                    <a:pt x="42" y="22"/>
                    <a:pt x="46" y="16"/>
                  </a:cubicBezTo>
                  <a:cubicBezTo>
                    <a:pt x="46" y="14"/>
                    <a:pt x="49" y="9"/>
                    <a:pt x="51" y="8"/>
                  </a:cubicBezTo>
                  <a:cubicBezTo>
                    <a:pt x="54" y="6"/>
                    <a:pt x="61" y="5"/>
                    <a:pt x="65" y="5"/>
                  </a:cubicBezTo>
                  <a:cubicBezTo>
                    <a:pt x="69" y="3"/>
                    <a:pt x="72" y="2"/>
                    <a:pt x="77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 82"/>
            <p:cNvSpPr>
              <a:spLocks/>
            </p:cNvSpPr>
            <p:nvPr/>
          </p:nvSpPr>
          <p:spPr bwMode="auto">
            <a:xfrm>
              <a:off x="5169799" y="4096328"/>
              <a:ext cx="404908" cy="437036"/>
            </a:xfrm>
            <a:custGeom>
              <a:avLst/>
              <a:gdLst/>
              <a:ahLst/>
              <a:cxnLst>
                <a:cxn ang="0">
                  <a:pos x="119" y="140"/>
                </a:cxn>
                <a:cxn ang="0">
                  <a:pos x="119" y="135"/>
                </a:cxn>
                <a:cxn ang="0">
                  <a:pos x="129" y="135"/>
                </a:cxn>
                <a:cxn ang="0">
                  <a:pos x="129" y="115"/>
                </a:cxn>
                <a:cxn ang="0">
                  <a:pos x="129" y="39"/>
                </a:cxn>
                <a:cxn ang="0">
                  <a:pos x="127" y="28"/>
                </a:cxn>
                <a:cxn ang="0">
                  <a:pos x="129" y="18"/>
                </a:cxn>
                <a:cxn ang="0">
                  <a:pos x="129" y="16"/>
                </a:cxn>
                <a:cxn ang="0">
                  <a:pos x="124" y="11"/>
                </a:cxn>
                <a:cxn ang="0">
                  <a:pos x="116" y="10"/>
                </a:cxn>
                <a:cxn ang="0">
                  <a:pos x="109" y="4"/>
                </a:cxn>
                <a:cxn ang="0">
                  <a:pos x="100" y="4"/>
                </a:cxn>
                <a:cxn ang="0">
                  <a:pos x="89" y="10"/>
                </a:cxn>
                <a:cxn ang="0">
                  <a:pos x="87" y="25"/>
                </a:cxn>
                <a:cxn ang="0">
                  <a:pos x="77" y="27"/>
                </a:cxn>
                <a:cxn ang="0">
                  <a:pos x="61" y="21"/>
                </a:cxn>
                <a:cxn ang="0">
                  <a:pos x="52" y="13"/>
                </a:cxn>
                <a:cxn ang="0">
                  <a:pos x="43" y="5"/>
                </a:cxn>
                <a:cxn ang="0">
                  <a:pos x="31" y="4"/>
                </a:cxn>
                <a:cxn ang="0">
                  <a:pos x="22" y="0"/>
                </a:cxn>
                <a:cxn ang="0">
                  <a:pos x="20" y="8"/>
                </a:cxn>
                <a:cxn ang="0">
                  <a:pos x="11" y="14"/>
                </a:cxn>
                <a:cxn ang="0">
                  <a:pos x="5" y="30"/>
                </a:cxn>
                <a:cxn ang="0">
                  <a:pos x="8" y="53"/>
                </a:cxn>
                <a:cxn ang="0">
                  <a:pos x="8" y="64"/>
                </a:cxn>
                <a:cxn ang="0">
                  <a:pos x="6" y="76"/>
                </a:cxn>
                <a:cxn ang="0">
                  <a:pos x="9" y="87"/>
                </a:cxn>
                <a:cxn ang="0">
                  <a:pos x="19" y="90"/>
                </a:cxn>
                <a:cxn ang="0">
                  <a:pos x="25" y="100"/>
                </a:cxn>
                <a:cxn ang="0">
                  <a:pos x="40" y="106"/>
                </a:cxn>
                <a:cxn ang="0">
                  <a:pos x="48" y="104"/>
                </a:cxn>
                <a:cxn ang="0">
                  <a:pos x="57" y="100"/>
                </a:cxn>
                <a:cxn ang="0">
                  <a:pos x="119" y="140"/>
                </a:cxn>
              </a:cxnLst>
              <a:rect l="0" t="0" r="r" b="b"/>
              <a:pathLst>
                <a:path w="130" h="140">
                  <a:moveTo>
                    <a:pt x="119" y="140"/>
                  </a:moveTo>
                  <a:cubicBezTo>
                    <a:pt x="119" y="135"/>
                    <a:pt x="119" y="135"/>
                    <a:pt x="119" y="135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6"/>
                    <a:pt x="124" y="35"/>
                    <a:pt x="127" y="28"/>
                  </a:cubicBezTo>
                  <a:cubicBezTo>
                    <a:pt x="130" y="24"/>
                    <a:pt x="125" y="21"/>
                    <a:pt x="129" y="18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29" y="14"/>
                    <a:pt x="129" y="11"/>
                    <a:pt x="124" y="11"/>
                  </a:cubicBezTo>
                  <a:cubicBezTo>
                    <a:pt x="119" y="11"/>
                    <a:pt x="121" y="11"/>
                    <a:pt x="116" y="10"/>
                  </a:cubicBezTo>
                  <a:cubicBezTo>
                    <a:pt x="112" y="10"/>
                    <a:pt x="116" y="7"/>
                    <a:pt x="109" y="4"/>
                  </a:cubicBezTo>
                  <a:cubicBezTo>
                    <a:pt x="103" y="0"/>
                    <a:pt x="101" y="2"/>
                    <a:pt x="100" y="4"/>
                  </a:cubicBezTo>
                  <a:cubicBezTo>
                    <a:pt x="98" y="5"/>
                    <a:pt x="96" y="2"/>
                    <a:pt x="89" y="10"/>
                  </a:cubicBezTo>
                  <a:cubicBezTo>
                    <a:pt x="86" y="14"/>
                    <a:pt x="92" y="21"/>
                    <a:pt x="87" y="25"/>
                  </a:cubicBezTo>
                  <a:cubicBezTo>
                    <a:pt x="83" y="32"/>
                    <a:pt x="80" y="32"/>
                    <a:pt x="77" y="27"/>
                  </a:cubicBezTo>
                  <a:cubicBezTo>
                    <a:pt x="74" y="24"/>
                    <a:pt x="67" y="21"/>
                    <a:pt x="61" y="21"/>
                  </a:cubicBezTo>
                  <a:cubicBezTo>
                    <a:pt x="57" y="19"/>
                    <a:pt x="54" y="19"/>
                    <a:pt x="52" y="13"/>
                  </a:cubicBezTo>
                  <a:cubicBezTo>
                    <a:pt x="51" y="5"/>
                    <a:pt x="46" y="8"/>
                    <a:pt x="43" y="5"/>
                  </a:cubicBezTo>
                  <a:cubicBezTo>
                    <a:pt x="41" y="4"/>
                    <a:pt x="35" y="2"/>
                    <a:pt x="31" y="4"/>
                  </a:cubicBezTo>
                  <a:cubicBezTo>
                    <a:pt x="28" y="4"/>
                    <a:pt x="23" y="0"/>
                    <a:pt x="22" y="0"/>
                  </a:cubicBezTo>
                  <a:cubicBezTo>
                    <a:pt x="19" y="5"/>
                    <a:pt x="23" y="7"/>
                    <a:pt x="20" y="8"/>
                  </a:cubicBezTo>
                  <a:cubicBezTo>
                    <a:pt x="17" y="10"/>
                    <a:pt x="15" y="11"/>
                    <a:pt x="11" y="14"/>
                  </a:cubicBezTo>
                  <a:cubicBezTo>
                    <a:pt x="6" y="19"/>
                    <a:pt x="15" y="24"/>
                    <a:pt x="5" y="30"/>
                  </a:cubicBezTo>
                  <a:cubicBezTo>
                    <a:pt x="9" y="44"/>
                    <a:pt x="6" y="47"/>
                    <a:pt x="8" y="53"/>
                  </a:cubicBezTo>
                  <a:cubicBezTo>
                    <a:pt x="9" y="58"/>
                    <a:pt x="6" y="59"/>
                    <a:pt x="8" y="64"/>
                  </a:cubicBezTo>
                  <a:cubicBezTo>
                    <a:pt x="9" y="72"/>
                    <a:pt x="0" y="69"/>
                    <a:pt x="6" y="76"/>
                  </a:cubicBezTo>
                  <a:cubicBezTo>
                    <a:pt x="11" y="84"/>
                    <a:pt x="8" y="83"/>
                    <a:pt x="9" y="87"/>
                  </a:cubicBezTo>
                  <a:cubicBezTo>
                    <a:pt x="12" y="92"/>
                    <a:pt x="12" y="87"/>
                    <a:pt x="19" y="90"/>
                  </a:cubicBezTo>
                  <a:cubicBezTo>
                    <a:pt x="23" y="94"/>
                    <a:pt x="22" y="94"/>
                    <a:pt x="25" y="100"/>
                  </a:cubicBezTo>
                  <a:cubicBezTo>
                    <a:pt x="28" y="103"/>
                    <a:pt x="37" y="101"/>
                    <a:pt x="40" y="106"/>
                  </a:cubicBezTo>
                  <a:cubicBezTo>
                    <a:pt x="43" y="111"/>
                    <a:pt x="41" y="109"/>
                    <a:pt x="48" y="104"/>
                  </a:cubicBezTo>
                  <a:cubicBezTo>
                    <a:pt x="51" y="103"/>
                    <a:pt x="55" y="100"/>
                    <a:pt x="57" y="100"/>
                  </a:cubicBezTo>
                  <a:cubicBezTo>
                    <a:pt x="78" y="112"/>
                    <a:pt x="119" y="140"/>
                    <a:pt x="119" y="14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Freeform 84"/>
            <p:cNvSpPr>
              <a:spLocks/>
            </p:cNvSpPr>
            <p:nvPr/>
          </p:nvSpPr>
          <p:spPr bwMode="auto">
            <a:xfrm>
              <a:off x="5746633" y="4012777"/>
              <a:ext cx="59451" cy="36955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8" y="3"/>
                </a:cxn>
                <a:cxn ang="0">
                  <a:pos x="17" y="0"/>
                </a:cxn>
                <a:cxn ang="0">
                  <a:pos x="17" y="1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5" y="10"/>
                </a:cxn>
                <a:cxn ang="0">
                  <a:pos x="2" y="9"/>
                </a:cxn>
              </a:cxnLst>
              <a:rect l="0" t="0" r="r" b="b"/>
              <a:pathLst>
                <a:path w="19" h="12">
                  <a:moveTo>
                    <a:pt x="2" y="9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7"/>
                    <a:pt x="2" y="4"/>
                    <a:pt x="5" y="6"/>
                  </a:cubicBezTo>
                  <a:cubicBezTo>
                    <a:pt x="6" y="6"/>
                    <a:pt x="3" y="3"/>
                    <a:pt x="8" y="3"/>
                  </a:cubicBezTo>
                  <a:cubicBezTo>
                    <a:pt x="12" y="4"/>
                    <a:pt x="15" y="1"/>
                    <a:pt x="17" y="0"/>
                  </a:cubicBezTo>
                  <a:cubicBezTo>
                    <a:pt x="19" y="0"/>
                    <a:pt x="19" y="0"/>
                    <a:pt x="17" y="1"/>
                  </a:cubicBezTo>
                  <a:cubicBezTo>
                    <a:pt x="14" y="4"/>
                    <a:pt x="12" y="4"/>
                    <a:pt x="14" y="6"/>
                  </a:cubicBezTo>
                  <a:cubicBezTo>
                    <a:pt x="15" y="7"/>
                    <a:pt x="12" y="6"/>
                    <a:pt x="11" y="7"/>
                  </a:cubicBezTo>
                  <a:cubicBezTo>
                    <a:pt x="9" y="10"/>
                    <a:pt x="6" y="10"/>
                    <a:pt x="6" y="10"/>
                  </a:cubicBezTo>
                  <a:cubicBezTo>
                    <a:pt x="6" y="12"/>
                    <a:pt x="6" y="10"/>
                    <a:pt x="5" y="10"/>
                  </a:cubicBezTo>
                  <a:cubicBezTo>
                    <a:pt x="3" y="10"/>
                    <a:pt x="2" y="10"/>
                    <a:pt x="2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 85"/>
            <p:cNvSpPr>
              <a:spLocks/>
            </p:cNvSpPr>
            <p:nvPr/>
          </p:nvSpPr>
          <p:spPr bwMode="auto">
            <a:xfrm>
              <a:off x="5301555" y="3996710"/>
              <a:ext cx="8034" cy="9640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3"/>
                </a:cxn>
                <a:cxn ang="0">
                  <a:pos x="1" y="2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1" y="0"/>
                    <a:pt x="3" y="3"/>
                    <a:pt x="3" y="3"/>
                  </a:cubicBezTo>
                  <a:cubicBezTo>
                    <a:pt x="1" y="3"/>
                    <a:pt x="0" y="2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 86"/>
            <p:cNvSpPr>
              <a:spLocks/>
            </p:cNvSpPr>
            <p:nvPr/>
          </p:nvSpPr>
          <p:spPr bwMode="auto">
            <a:xfrm>
              <a:off x="4737574" y="3956540"/>
              <a:ext cx="510957" cy="599318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0" y="106"/>
                </a:cxn>
                <a:cxn ang="0">
                  <a:pos x="32" y="129"/>
                </a:cxn>
                <a:cxn ang="0">
                  <a:pos x="77" y="168"/>
                </a:cxn>
                <a:cxn ang="0">
                  <a:pos x="80" y="173"/>
                </a:cxn>
                <a:cxn ang="0">
                  <a:pos x="85" y="178"/>
                </a:cxn>
                <a:cxn ang="0">
                  <a:pos x="91" y="181"/>
                </a:cxn>
                <a:cxn ang="0">
                  <a:pos x="94" y="188"/>
                </a:cxn>
                <a:cxn ang="0">
                  <a:pos x="102" y="188"/>
                </a:cxn>
                <a:cxn ang="0">
                  <a:pos x="129" y="171"/>
                </a:cxn>
                <a:cxn ang="0">
                  <a:pos x="164" y="145"/>
                </a:cxn>
                <a:cxn ang="0">
                  <a:pos x="158" y="136"/>
                </a:cxn>
                <a:cxn ang="0">
                  <a:pos x="148" y="133"/>
                </a:cxn>
                <a:cxn ang="0">
                  <a:pos x="145" y="122"/>
                </a:cxn>
                <a:cxn ang="0">
                  <a:pos x="147" y="109"/>
                </a:cxn>
                <a:cxn ang="0">
                  <a:pos x="147" y="98"/>
                </a:cxn>
                <a:cxn ang="0">
                  <a:pos x="144" y="75"/>
                </a:cxn>
                <a:cxn ang="0">
                  <a:pos x="133" y="49"/>
                </a:cxn>
                <a:cxn ang="0">
                  <a:pos x="127" y="36"/>
                </a:cxn>
                <a:cxn ang="0">
                  <a:pos x="133" y="28"/>
                </a:cxn>
                <a:cxn ang="0">
                  <a:pos x="135" y="18"/>
                </a:cxn>
                <a:cxn ang="0">
                  <a:pos x="133" y="10"/>
                </a:cxn>
                <a:cxn ang="0">
                  <a:pos x="136" y="4"/>
                </a:cxn>
                <a:cxn ang="0">
                  <a:pos x="132" y="5"/>
                </a:cxn>
                <a:cxn ang="0">
                  <a:pos x="127" y="2"/>
                </a:cxn>
                <a:cxn ang="0">
                  <a:pos x="123" y="4"/>
                </a:cxn>
                <a:cxn ang="0">
                  <a:pos x="115" y="5"/>
                </a:cxn>
                <a:cxn ang="0">
                  <a:pos x="109" y="7"/>
                </a:cxn>
                <a:cxn ang="0">
                  <a:pos x="98" y="5"/>
                </a:cxn>
                <a:cxn ang="0">
                  <a:pos x="91" y="7"/>
                </a:cxn>
                <a:cxn ang="0">
                  <a:pos x="83" y="8"/>
                </a:cxn>
                <a:cxn ang="0">
                  <a:pos x="70" y="14"/>
                </a:cxn>
                <a:cxn ang="0">
                  <a:pos x="65" y="16"/>
                </a:cxn>
                <a:cxn ang="0">
                  <a:pos x="59" y="19"/>
                </a:cxn>
                <a:cxn ang="0">
                  <a:pos x="51" y="24"/>
                </a:cxn>
                <a:cxn ang="0">
                  <a:pos x="59" y="50"/>
                </a:cxn>
                <a:cxn ang="0">
                  <a:pos x="59" y="55"/>
                </a:cxn>
                <a:cxn ang="0">
                  <a:pos x="45" y="58"/>
                </a:cxn>
                <a:cxn ang="0">
                  <a:pos x="38" y="63"/>
                </a:cxn>
                <a:cxn ang="0">
                  <a:pos x="36" y="70"/>
                </a:cxn>
                <a:cxn ang="0">
                  <a:pos x="27" y="77"/>
                </a:cxn>
                <a:cxn ang="0">
                  <a:pos x="7" y="86"/>
                </a:cxn>
                <a:cxn ang="0">
                  <a:pos x="0" y="91"/>
                </a:cxn>
                <a:cxn ang="0">
                  <a:pos x="0" y="102"/>
                </a:cxn>
              </a:cxnLst>
              <a:rect l="0" t="0" r="r" b="b"/>
              <a:pathLst>
                <a:path w="164" h="192">
                  <a:moveTo>
                    <a:pt x="0" y="102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76" y="167"/>
                    <a:pt x="77" y="168"/>
                  </a:cubicBezTo>
                  <a:cubicBezTo>
                    <a:pt x="80" y="171"/>
                    <a:pt x="77" y="171"/>
                    <a:pt x="80" y="173"/>
                  </a:cubicBezTo>
                  <a:cubicBezTo>
                    <a:pt x="83" y="175"/>
                    <a:pt x="82" y="179"/>
                    <a:pt x="85" y="178"/>
                  </a:cubicBezTo>
                  <a:cubicBezTo>
                    <a:pt x="89" y="178"/>
                    <a:pt x="86" y="181"/>
                    <a:pt x="91" y="181"/>
                  </a:cubicBezTo>
                  <a:cubicBezTo>
                    <a:pt x="95" y="181"/>
                    <a:pt x="95" y="185"/>
                    <a:pt x="94" y="188"/>
                  </a:cubicBezTo>
                  <a:cubicBezTo>
                    <a:pt x="92" y="190"/>
                    <a:pt x="94" y="192"/>
                    <a:pt x="102" y="188"/>
                  </a:cubicBezTo>
                  <a:cubicBezTo>
                    <a:pt x="123" y="188"/>
                    <a:pt x="120" y="178"/>
                    <a:pt x="129" y="171"/>
                  </a:cubicBezTo>
                  <a:cubicBezTo>
                    <a:pt x="138" y="164"/>
                    <a:pt x="159" y="148"/>
                    <a:pt x="164" y="145"/>
                  </a:cubicBezTo>
                  <a:cubicBezTo>
                    <a:pt x="161" y="139"/>
                    <a:pt x="162" y="139"/>
                    <a:pt x="158" y="136"/>
                  </a:cubicBezTo>
                  <a:cubicBezTo>
                    <a:pt x="152" y="133"/>
                    <a:pt x="152" y="137"/>
                    <a:pt x="148" y="133"/>
                  </a:cubicBezTo>
                  <a:cubicBezTo>
                    <a:pt x="147" y="128"/>
                    <a:pt x="150" y="129"/>
                    <a:pt x="145" y="122"/>
                  </a:cubicBezTo>
                  <a:cubicBezTo>
                    <a:pt x="139" y="114"/>
                    <a:pt x="148" y="117"/>
                    <a:pt x="147" y="109"/>
                  </a:cubicBezTo>
                  <a:cubicBezTo>
                    <a:pt x="145" y="105"/>
                    <a:pt x="148" y="103"/>
                    <a:pt x="147" y="98"/>
                  </a:cubicBezTo>
                  <a:cubicBezTo>
                    <a:pt x="145" y="92"/>
                    <a:pt x="148" y="89"/>
                    <a:pt x="144" y="75"/>
                  </a:cubicBezTo>
                  <a:cubicBezTo>
                    <a:pt x="141" y="47"/>
                    <a:pt x="136" y="58"/>
                    <a:pt x="133" y="49"/>
                  </a:cubicBezTo>
                  <a:cubicBezTo>
                    <a:pt x="133" y="46"/>
                    <a:pt x="127" y="39"/>
                    <a:pt x="127" y="36"/>
                  </a:cubicBezTo>
                  <a:cubicBezTo>
                    <a:pt x="129" y="33"/>
                    <a:pt x="133" y="30"/>
                    <a:pt x="133" y="28"/>
                  </a:cubicBezTo>
                  <a:cubicBezTo>
                    <a:pt x="133" y="22"/>
                    <a:pt x="136" y="25"/>
                    <a:pt x="135" y="18"/>
                  </a:cubicBezTo>
                  <a:cubicBezTo>
                    <a:pt x="133" y="13"/>
                    <a:pt x="135" y="10"/>
                    <a:pt x="133" y="10"/>
                  </a:cubicBezTo>
                  <a:cubicBezTo>
                    <a:pt x="132" y="8"/>
                    <a:pt x="136" y="7"/>
                    <a:pt x="136" y="4"/>
                  </a:cubicBezTo>
                  <a:cubicBezTo>
                    <a:pt x="135" y="4"/>
                    <a:pt x="133" y="4"/>
                    <a:pt x="132" y="5"/>
                  </a:cubicBezTo>
                  <a:cubicBezTo>
                    <a:pt x="130" y="7"/>
                    <a:pt x="130" y="4"/>
                    <a:pt x="127" y="2"/>
                  </a:cubicBezTo>
                  <a:cubicBezTo>
                    <a:pt x="124" y="0"/>
                    <a:pt x="126" y="5"/>
                    <a:pt x="123" y="4"/>
                  </a:cubicBezTo>
                  <a:cubicBezTo>
                    <a:pt x="118" y="2"/>
                    <a:pt x="120" y="4"/>
                    <a:pt x="115" y="5"/>
                  </a:cubicBezTo>
                  <a:cubicBezTo>
                    <a:pt x="111" y="5"/>
                    <a:pt x="112" y="8"/>
                    <a:pt x="109" y="7"/>
                  </a:cubicBezTo>
                  <a:cubicBezTo>
                    <a:pt x="108" y="4"/>
                    <a:pt x="102" y="4"/>
                    <a:pt x="98" y="5"/>
                  </a:cubicBezTo>
                  <a:cubicBezTo>
                    <a:pt x="94" y="7"/>
                    <a:pt x="92" y="4"/>
                    <a:pt x="91" y="7"/>
                  </a:cubicBezTo>
                  <a:cubicBezTo>
                    <a:pt x="89" y="8"/>
                    <a:pt x="88" y="8"/>
                    <a:pt x="83" y="8"/>
                  </a:cubicBezTo>
                  <a:cubicBezTo>
                    <a:pt x="77" y="8"/>
                    <a:pt x="70" y="11"/>
                    <a:pt x="70" y="14"/>
                  </a:cubicBezTo>
                  <a:cubicBezTo>
                    <a:pt x="68" y="19"/>
                    <a:pt x="67" y="14"/>
                    <a:pt x="65" y="16"/>
                  </a:cubicBezTo>
                  <a:cubicBezTo>
                    <a:pt x="62" y="19"/>
                    <a:pt x="62" y="14"/>
                    <a:pt x="59" y="19"/>
                  </a:cubicBezTo>
                  <a:cubicBezTo>
                    <a:pt x="58" y="21"/>
                    <a:pt x="54" y="25"/>
                    <a:pt x="51" y="24"/>
                  </a:cubicBezTo>
                  <a:cubicBezTo>
                    <a:pt x="58" y="27"/>
                    <a:pt x="53" y="47"/>
                    <a:pt x="59" y="50"/>
                  </a:cubicBezTo>
                  <a:cubicBezTo>
                    <a:pt x="62" y="52"/>
                    <a:pt x="59" y="52"/>
                    <a:pt x="59" y="55"/>
                  </a:cubicBezTo>
                  <a:cubicBezTo>
                    <a:pt x="59" y="58"/>
                    <a:pt x="48" y="53"/>
                    <a:pt x="45" y="58"/>
                  </a:cubicBezTo>
                  <a:cubicBezTo>
                    <a:pt x="42" y="61"/>
                    <a:pt x="36" y="58"/>
                    <a:pt x="38" y="63"/>
                  </a:cubicBezTo>
                  <a:cubicBezTo>
                    <a:pt x="41" y="67"/>
                    <a:pt x="42" y="67"/>
                    <a:pt x="36" y="70"/>
                  </a:cubicBezTo>
                  <a:cubicBezTo>
                    <a:pt x="30" y="72"/>
                    <a:pt x="30" y="72"/>
                    <a:pt x="27" y="77"/>
                  </a:cubicBezTo>
                  <a:cubicBezTo>
                    <a:pt x="27" y="78"/>
                    <a:pt x="9" y="83"/>
                    <a:pt x="7" y="8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02"/>
                    <a:pt x="0" y="102"/>
                    <a:pt x="0" y="10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 87"/>
            <p:cNvSpPr>
              <a:spLocks/>
            </p:cNvSpPr>
            <p:nvPr/>
          </p:nvSpPr>
          <p:spPr bwMode="auto">
            <a:xfrm>
              <a:off x="5132843" y="3953327"/>
              <a:ext cx="109261" cy="237799"/>
            </a:xfrm>
            <a:custGeom>
              <a:avLst/>
              <a:gdLst/>
              <a:ahLst/>
              <a:cxnLst>
                <a:cxn ang="0">
                  <a:pos x="9" y="5"/>
                </a:cxn>
                <a:cxn ang="0">
                  <a:pos x="6" y="11"/>
                </a:cxn>
                <a:cxn ang="0">
                  <a:pos x="8" y="19"/>
                </a:cxn>
                <a:cxn ang="0">
                  <a:pos x="6" y="30"/>
                </a:cxn>
                <a:cxn ang="0">
                  <a:pos x="0" y="37"/>
                </a:cxn>
                <a:cxn ang="0">
                  <a:pos x="6" y="50"/>
                </a:cxn>
                <a:cxn ang="0">
                  <a:pos x="17" y="76"/>
                </a:cxn>
                <a:cxn ang="0">
                  <a:pos x="23" y="61"/>
                </a:cxn>
                <a:cxn ang="0">
                  <a:pos x="32" y="54"/>
                </a:cxn>
                <a:cxn ang="0">
                  <a:pos x="34" y="47"/>
                </a:cxn>
                <a:cxn ang="0">
                  <a:pos x="29" y="42"/>
                </a:cxn>
                <a:cxn ang="0">
                  <a:pos x="28" y="40"/>
                </a:cxn>
                <a:cxn ang="0">
                  <a:pos x="21" y="36"/>
                </a:cxn>
                <a:cxn ang="0">
                  <a:pos x="29" y="23"/>
                </a:cxn>
                <a:cxn ang="0">
                  <a:pos x="26" y="17"/>
                </a:cxn>
                <a:cxn ang="0">
                  <a:pos x="25" y="11"/>
                </a:cxn>
                <a:cxn ang="0">
                  <a:pos x="29" y="5"/>
                </a:cxn>
                <a:cxn ang="0">
                  <a:pos x="23" y="8"/>
                </a:cxn>
                <a:cxn ang="0">
                  <a:pos x="20" y="2"/>
                </a:cxn>
                <a:cxn ang="0">
                  <a:pos x="11" y="5"/>
                </a:cxn>
                <a:cxn ang="0">
                  <a:pos x="9" y="5"/>
                </a:cxn>
              </a:cxnLst>
              <a:rect l="0" t="0" r="r" b="b"/>
              <a:pathLst>
                <a:path w="35" h="76">
                  <a:moveTo>
                    <a:pt x="9" y="5"/>
                  </a:moveTo>
                  <a:cubicBezTo>
                    <a:pt x="9" y="8"/>
                    <a:pt x="5" y="9"/>
                    <a:pt x="6" y="11"/>
                  </a:cubicBezTo>
                  <a:cubicBezTo>
                    <a:pt x="8" y="11"/>
                    <a:pt x="6" y="14"/>
                    <a:pt x="8" y="19"/>
                  </a:cubicBezTo>
                  <a:cubicBezTo>
                    <a:pt x="9" y="26"/>
                    <a:pt x="6" y="23"/>
                    <a:pt x="6" y="30"/>
                  </a:cubicBezTo>
                  <a:cubicBezTo>
                    <a:pt x="6" y="31"/>
                    <a:pt x="2" y="34"/>
                    <a:pt x="0" y="37"/>
                  </a:cubicBezTo>
                  <a:cubicBezTo>
                    <a:pt x="0" y="40"/>
                    <a:pt x="6" y="47"/>
                    <a:pt x="6" y="50"/>
                  </a:cubicBezTo>
                  <a:cubicBezTo>
                    <a:pt x="9" y="59"/>
                    <a:pt x="14" y="48"/>
                    <a:pt x="17" y="76"/>
                  </a:cubicBezTo>
                  <a:cubicBezTo>
                    <a:pt x="28" y="70"/>
                    <a:pt x="18" y="65"/>
                    <a:pt x="23" y="61"/>
                  </a:cubicBezTo>
                  <a:cubicBezTo>
                    <a:pt x="28" y="57"/>
                    <a:pt x="29" y="56"/>
                    <a:pt x="32" y="54"/>
                  </a:cubicBezTo>
                  <a:cubicBezTo>
                    <a:pt x="35" y="53"/>
                    <a:pt x="31" y="51"/>
                    <a:pt x="34" y="47"/>
                  </a:cubicBezTo>
                  <a:cubicBezTo>
                    <a:pt x="31" y="45"/>
                    <a:pt x="31" y="45"/>
                    <a:pt x="29" y="42"/>
                  </a:cubicBezTo>
                  <a:cubicBezTo>
                    <a:pt x="29" y="39"/>
                    <a:pt x="28" y="42"/>
                    <a:pt x="28" y="40"/>
                  </a:cubicBezTo>
                  <a:cubicBezTo>
                    <a:pt x="26" y="40"/>
                    <a:pt x="21" y="40"/>
                    <a:pt x="21" y="36"/>
                  </a:cubicBezTo>
                  <a:cubicBezTo>
                    <a:pt x="20" y="33"/>
                    <a:pt x="32" y="26"/>
                    <a:pt x="29" y="23"/>
                  </a:cubicBezTo>
                  <a:cubicBezTo>
                    <a:pt x="28" y="20"/>
                    <a:pt x="31" y="20"/>
                    <a:pt x="26" y="17"/>
                  </a:cubicBezTo>
                  <a:cubicBezTo>
                    <a:pt x="23" y="16"/>
                    <a:pt x="23" y="12"/>
                    <a:pt x="25" y="11"/>
                  </a:cubicBezTo>
                  <a:cubicBezTo>
                    <a:pt x="28" y="9"/>
                    <a:pt x="31" y="6"/>
                    <a:pt x="29" y="5"/>
                  </a:cubicBezTo>
                  <a:cubicBezTo>
                    <a:pt x="28" y="2"/>
                    <a:pt x="25" y="8"/>
                    <a:pt x="23" y="8"/>
                  </a:cubicBezTo>
                  <a:cubicBezTo>
                    <a:pt x="21" y="6"/>
                    <a:pt x="25" y="3"/>
                    <a:pt x="20" y="2"/>
                  </a:cubicBezTo>
                  <a:cubicBezTo>
                    <a:pt x="14" y="0"/>
                    <a:pt x="12" y="5"/>
                    <a:pt x="11" y="5"/>
                  </a:cubicBezTo>
                  <a:cubicBezTo>
                    <a:pt x="11" y="5"/>
                    <a:pt x="11" y="5"/>
                    <a:pt x="9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 88"/>
            <p:cNvSpPr>
              <a:spLocks/>
            </p:cNvSpPr>
            <p:nvPr/>
          </p:nvSpPr>
          <p:spPr bwMode="auto">
            <a:xfrm>
              <a:off x="5557032" y="4141317"/>
              <a:ext cx="282793" cy="332598"/>
            </a:xfrm>
            <a:custGeom>
              <a:avLst/>
              <a:gdLst/>
              <a:ahLst/>
              <a:cxnLst>
                <a:cxn ang="0">
                  <a:pos x="82" y="24"/>
                </a:cxn>
                <a:cxn ang="0">
                  <a:pos x="77" y="41"/>
                </a:cxn>
                <a:cxn ang="0">
                  <a:pos x="70" y="36"/>
                </a:cxn>
                <a:cxn ang="0">
                  <a:pos x="67" y="27"/>
                </a:cxn>
                <a:cxn ang="0">
                  <a:pos x="64" y="19"/>
                </a:cxn>
                <a:cxn ang="0">
                  <a:pos x="64" y="27"/>
                </a:cxn>
                <a:cxn ang="0">
                  <a:pos x="71" y="44"/>
                </a:cxn>
                <a:cxn ang="0">
                  <a:pos x="74" y="52"/>
                </a:cxn>
                <a:cxn ang="0">
                  <a:pos x="83" y="74"/>
                </a:cxn>
                <a:cxn ang="0">
                  <a:pos x="88" y="82"/>
                </a:cxn>
                <a:cxn ang="0">
                  <a:pos x="88" y="91"/>
                </a:cxn>
                <a:cxn ang="0">
                  <a:pos x="82" y="96"/>
                </a:cxn>
                <a:cxn ang="0">
                  <a:pos x="76" y="102"/>
                </a:cxn>
                <a:cxn ang="0">
                  <a:pos x="68" y="102"/>
                </a:cxn>
                <a:cxn ang="0">
                  <a:pos x="54" y="102"/>
                </a:cxn>
                <a:cxn ang="0">
                  <a:pos x="54" y="100"/>
                </a:cxn>
                <a:cxn ang="0">
                  <a:pos x="53" y="102"/>
                </a:cxn>
                <a:cxn ang="0">
                  <a:pos x="4" y="102"/>
                </a:cxn>
                <a:cxn ang="0">
                  <a:pos x="4" y="25"/>
                </a:cxn>
                <a:cxn ang="0">
                  <a:pos x="3" y="14"/>
                </a:cxn>
                <a:cxn ang="0">
                  <a:pos x="4" y="3"/>
                </a:cxn>
                <a:cxn ang="0">
                  <a:pos x="16" y="3"/>
                </a:cxn>
                <a:cxn ang="0">
                  <a:pos x="24" y="6"/>
                </a:cxn>
                <a:cxn ang="0">
                  <a:pos x="30" y="8"/>
                </a:cxn>
                <a:cxn ang="0">
                  <a:pos x="39" y="9"/>
                </a:cxn>
                <a:cxn ang="0">
                  <a:pos x="45" y="5"/>
                </a:cxn>
                <a:cxn ang="0">
                  <a:pos x="50" y="2"/>
                </a:cxn>
                <a:cxn ang="0">
                  <a:pos x="56" y="3"/>
                </a:cxn>
                <a:cxn ang="0">
                  <a:pos x="59" y="3"/>
                </a:cxn>
                <a:cxn ang="0">
                  <a:pos x="61" y="5"/>
                </a:cxn>
                <a:cxn ang="0">
                  <a:pos x="57" y="3"/>
                </a:cxn>
                <a:cxn ang="0">
                  <a:pos x="57" y="5"/>
                </a:cxn>
                <a:cxn ang="0">
                  <a:pos x="59" y="6"/>
                </a:cxn>
                <a:cxn ang="0">
                  <a:pos x="61" y="6"/>
                </a:cxn>
                <a:cxn ang="0">
                  <a:pos x="62" y="6"/>
                </a:cxn>
                <a:cxn ang="0">
                  <a:pos x="68" y="6"/>
                </a:cxn>
                <a:cxn ang="0">
                  <a:pos x="76" y="5"/>
                </a:cxn>
                <a:cxn ang="0">
                  <a:pos x="77" y="6"/>
                </a:cxn>
                <a:cxn ang="0">
                  <a:pos x="82" y="24"/>
                </a:cxn>
              </a:cxnLst>
              <a:rect l="0" t="0" r="r" b="b"/>
              <a:pathLst>
                <a:path w="91" h="107">
                  <a:moveTo>
                    <a:pt x="82" y="24"/>
                  </a:moveTo>
                  <a:cubicBezTo>
                    <a:pt x="77" y="38"/>
                    <a:pt x="79" y="38"/>
                    <a:pt x="77" y="41"/>
                  </a:cubicBezTo>
                  <a:cubicBezTo>
                    <a:pt x="76" y="44"/>
                    <a:pt x="74" y="41"/>
                    <a:pt x="70" y="36"/>
                  </a:cubicBezTo>
                  <a:cubicBezTo>
                    <a:pt x="67" y="33"/>
                    <a:pt x="70" y="30"/>
                    <a:pt x="67" y="27"/>
                  </a:cubicBezTo>
                  <a:cubicBezTo>
                    <a:pt x="62" y="22"/>
                    <a:pt x="65" y="20"/>
                    <a:pt x="64" y="19"/>
                  </a:cubicBezTo>
                  <a:cubicBezTo>
                    <a:pt x="59" y="25"/>
                    <a:pt x="64" y="22"/>
                    <a:pt x="64" y="27"/>
                  </a:cubicBezTo>
                  <a:cubicBezTo>
                    <a:pt x="64" y="33"/>
                    <a:pt x="71" y="39"/>
                    <a:pt x="71" y="44"/>
                  </a:cubicBezTo>
                  <a:cubicBezTo>
                    <a:pt x="71" y="47"/>
                    <a:pt x="74" y="49"/>
                    <a:pt x="74" y="52"/>
                  </a:cubicBezTo>
                  <a:cubicBezTo>
                    <a:pt x="73" y="56"/>
                    <a:pt x="79" y="63"/>
                    <a:pt x="83" y="74"/>
                  </a:cubicBezTo>
                  <a:cubicBezTo>
                    <a:pt x="86" y="82"/>
                    <a:pt x="91" y="82"/>
                    <a:pt x="88" y="82"/>
                  </a:cubicBezTo>
                  <a:cubicBezTo>
                    <a:pt x="85" y="82"/>
                    <a:pt x="86" y="88"/>
                    <a:pt x="88" y="91"/>
                  </a:cubicBezTo>
                  <a:cubicBezTo>
                    <a:pt x="85" y="96"/>
                    <a:pt x="83" y="91"/>
                    <a:pt x="82" y="96"/>
                  </a:cubicBezTo>
                  <a:cubicBezTo>
                    <a:pt x="80" y="100"/>
                    <a:pt x="77" y="99"/>
                    <a:pt x="76" y="102"/>
                  </a:cubicBezTo>
                  <a:cubicBezTo>
                    <a:pt x="74" y="105"/>
                    <a:pt x="71" y="107"/>
                    <a:pt x="68" y="102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2"/>
                    <a:pt x="0" y="20"/>
                    <a:pt x="3" y="14"/>
                  </a:cubicBezTo>
                  <a:cubicBezTo>
                    <a:pt x="6" y="9"/>
                    <a:pt x="1" y="6"/>
                    <a:pt x="4" y="3"/>
                  </a:cubicBezTo>
                  <a:cubicBezTo>
                    <a:pt x="6" y="3"/>
                    <a:pt x="7" y="0"/>
                    <a:pt x="16" y="3"/>
                  </a:cubicBezTo>
                  <a:cubicBezTo>
                    <a:pt x="27" y="5"/>
                    <a:pt x="22" y="6"/>
                    <a:pt x="24" y="6"/>
                  </a:cubicBezTo>
                  <a:cubicBezTo>
                    <a:pt x="27" y="5"/>
                    <a:pt x="27" y="8"/>
                    <a:pt x="30" y="8"/>
                  </a:cubicBezTo>
                  <a:cubicBezTo>
                    <a:pt x="32" y="6"/>
                    <a:pt x="36" y="13"/>
                    <a:pt x="39" y="9"/>
                  </a:cubicBezTo>
                  <a:cubicBezTo>
                    <a:pt x="45" y="3"/>
                    <a:pt x="44" y="6"/>
                    <a:pt x="45" y="5"/>
                  </a:cubicBezTo>
                  <a:cubicBezTo>
                    <a:pt x="47" y="2"/>
                    <a:pt x="47" y="3"/>
                    <a:pt x="50" y="2"/>
                  </a:cubicBezTo>
                  <a:cubicBezTo>
                    <a:pt x="53" y="0"/>
                    <a:pt x="54" y="5"/>
                    <a:pt x="56" y="3"/>
                  </a:cubicBezTo>
                  <a:cubicBezTo>
                    <a:pt x="57" y="2"/>
                    <a:pt x="57" y="2"/>
                    <a:pt x="59" y="3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59" y="5"/>
                    <a:pt x="57" y="3"/>
                    <a:pt x="57" y="3"/>
                  </a:cubicBezTo>
                  <a:cubicBezTo>
                    <a:pt x="57" y="5"/>
                    <a:pt x="56" y="5"/>
                    <a:pt x="57" y="5"/>
                  </a:cubicBezTo>
                  <a:cubicBezTo>
                    <a:pt x="57" y="6"/>
                    <a:pt x="59" y="5"/>
                    <a:pt x="59" y="6"/>
                  </a:cubicBezTo>
                  <a:cubicBezTo>
                    <a:pt x="61" y="8"/>
                    <a:pt x="62" y="6"/>
                    <a:pt x="61" y="6"/>
                  </a:cubicBezTo>
                  <a:cubicBezTo>
                    <a:pt x="61" y="5"/>
                    <a:pt x="61" y="5"/>
                    <a:pt x="62" y="6"/>
                  </a:cubicBezTo>
                  <a:cubicBezTo>
                    <a:pt x="65" y="9"/>
                    <a:pt x="67" y="5"/>
                    <a:pt x="68" y="6"/>
                  </a:cubicBezTo>
                  <a:cubicBezTo>
                    <a:pt x="70" y="8"/>
                    <a:pt x="68" y="8"/>
                    <a:pt x="76" y="5"/>
                  </a:cubicBezTo>
                  <a:cubicBezTo>
                    <a:pt x="76" y="5"/>
                    <a:pt x="76" y="6"/>
                    <a:pt x="77" y="6"/>
                  </a:cubicBezTo>
                  <a:cubicBezTo>
                    <a:pt x="79" y="11"/>
                    <a:pt x="80" y="17"/>
                    <a:pt x="82" y="2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89"/>
            <p:cNvSpPr>
              <a:spLocks/>
            </p:cNvSpPr>
            <p:nvPr/>
          </p:nvSpPr>
          <p:spPr bwMode="auto">
            <a:xfrm>
              <a:off x="5830186" y="3953327"/>
              <a:ext cx="165499" cy="168709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5" y="31"/>
                </a:cxn>
                <a:cxn ang="0">
                  <a:pos x="8" y="34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3" y="39"/>
                </a:cxn>
                <a:cxn ang="0">
                  <a:pos x="2" y="40"/>
                </a:cxn>
                <a:cxn ang="0">
                  <a:pos x="3" y="4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8"/>
                </a:cxn>
                <a:cxn ang="0">
                  <a:pos x="0" y="49"/>
                </a:cxn>
                <a:cxn ang="0">
                  <a:pos x="2" y="49"/>
                </a:cxn>
                <a:cxn ang="0">
                  <a:pos x="3" y="52"/>
                </a:cxn>
                <a:cxn ang="0">
                  <a:pos x="9" y="54"/>
                </a:cxn>
                <a:cxn ang="0">
                  <a:pos x="18" y="48"/>
                </a:cxn>
                <a:cxn ang="0">
                  <a:pos x="24" y="43"/>
                </a:cxn>
                <a:cxn ang="0">
                  <a:pos x="35" y="37"/>
                </a:cxn>
                <a:cxn ang="0">
                  <a:pos x="43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26"/>
                </a:cxn>
                <a:cxn ang="0">
                  <a:pos x="44" y="23"/>
                </a:cxn>
                <a:cxn ang="0">
                  <a:pos x="46" y="17"/>
                </a:cxn>
                <a:cxn ang="0">
                  <a:pos x="44" y="11"/>
                </a:cxn>
                <a:cxn ang="0">
                  <a:pos x="49" y="9"/>
                </a:cxn>
                <a:cxn ang="0">
                  <a:pos x="53" y="3"/>
                </a:cxn>
                <a:cxn ang="0">
                  <a:pos x="53" y="2"/>
                </a:cxn>
                <a:cxn ang="0">
                  <a:pos x="52" y="2"/>
                </a:cxn>
                <a:cxn ang="0">
                  <a:pos x="47" y="3"/>
                </a:cxn>
                <a:cxn ang="0">
                  <a:pos x="41" y="3"/>
                </a:cxn>
                <a:cxn ang="0">
                  <a:pos x="27" y="8"/>
                </a:cxn>
                <a:cxn ang="0">
                  <a:pos x="21" y="5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8" y="6"/>
                </a:cxn>
                <a:cxn ang="0">
                  <a:pos x="8" y="11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3" y="17"/>
                </a:cxn>
                <a:cxn ang="0">
                  <a:pos x="2" y="15"/>
                </a:cxn>
                <a:cxn ang="0">
                  <a:pos x="2" y="22"/>
                </a:cxn>
                <a:cxn ang="0">
                  <a:pos x="2" y="29"/>
                </a:cxn>
              </a:cxnLst>
              <a:rect l="0" t="0" r="r" b="b"/>
              <a:pathLst>
                <a:path w="53" h="54">
                  <a:moveTo>
                    <a:pt x="2" y="29"/>
                  </a:moveTo>
                  <a:cubicBezTo>
                    <a:pt x="3" y="29"/>
                    <a:pt x="3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5" y="31"/>
                    <a:pt x="5" y="31"/>
                  </a:cubicBezTo>
                  <a:cubicBezTo>
                    <a:pt x="6" y="31"/>
                    <a:pt x="8" y="32"/>
                    <a:pt x="8" y="34"/>
                  </a:cubicBezTo>
                  <a:cubicBezTo>
                    <a:pt x="8" y="36"/>
                    <a:pt x="5" y="36"/>
                    <a:pt x="5" y="37"/>
                  </a:cubicBezTo>
                  <a:cubicBezTo>
                    <a:pt x="5" y="37"/>
                    <a:pt x="6" y="37"/>
                    <a:pt x="6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2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49"/>
                    <a:pt x="2" y="49"/>
                  </a:cubicBezTo>
                  <a:cubicBezTo>
                    <a:pt x="3" y="51"/>
                    <a:pt x="3" y="51"/>
                    <a:pt x="3" y="52"/>
                  </a:cubicBezTo>
                  <a:cubicBezTo>
                    <a:pt x="5" y="52"/>
                    <a:pt x="8" y="54"/>
                    <a:pt x="9" y="54"/>
                  </a:cubicBezTo>
                  <a:cubicBezTo>
                    <a:pt x="11" y="54"/>
                    <a:pt x="15" y="49"/>
                    <a:pt x="18" y="48"/>
                  </a:cubicBezTo>
                  <a:cubicBezTo>
                    <a:pt x="20" y="46"/>
                    <a:pt x="23" y="45"/>
                    <a:pt x="24" y="43"/>
                  </a:cubicBezTo>
                  <a:cubicBezTo>
                    <a:pt x="27" y="40"/>
                    <a:pt x="32" y="39"/>
                    <a:pt x="35" y="37"/>
                  </a:cubicBezTo>
                  <a:cubicBezTo>
                    <a:pt x="37" y="36"/>
                    <a:pt x="40" y="34"/>
                    <a:pt x="43" y="32"/>
                  </a:cubicBezTo>
                  <a:cubicBezTo>
                    <a:pt x="43" y="31"/>
                    <a:pt x="44" y="29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6"/>
                  </a:cubicBezTo>
                  <a:cubicBezTo>
                    <a:pt x="44" y="26"/>
                    <a:pt x="44" y="25"/>
                    <a:pt x="44" y="23"/>
                  </a:cubicBezTo>
                  <a:cubicBezTo>
                    <a:pt x="44" y="22"/>
                    <a:pt x="46" y="19"/>
                    <a:pt x="46" y="17"/>
                  </a:cubicBezTo>
                  <a:cubicBezTo>
                    <a:pt x="44" y="15"/>
                    <a:pt x="44" y="14"/>
                    <a:pt x="44" y="11"/>
                  </a:cubicBezTo>
                  <a:cubicBezTo>
                    <a:pt x="46" y="9"/>
                    <a:pt x="47" y="9"/>
                    <a:pt x="49" y="9"/>
                  </a:cubicBezTo>
                  <a:cubicBezTo>
                    <a:pt x="50" y="8"/>
                    <a:pt x="52" y="5"/>
                    <a:pt x="53" y="3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2" y="0"/>
                    <a:pt x="52" y="2"/>
                  </a:cubicBezTo>
                  <a:cubicBezTo>
                    <a:pt x="50" y="3"/>
                    <a:pt x="49" y="3"/>
                    <a:pt x="47" y="3"/>
                  </a:cubicBezTo>
                  <a:cubicBezTo>
                    <a:pt x="44" y="3"/>
                    <a:pt x="43" y="3"/>
                    <a:pt x="41" y="3"/>
                  </a:cubicBezTo>
                  <a:cubicBezTo>
                    <a:pt x="37" y="5"/>
                    <a:pt x="34" y="8"/>
                    <a:pt x="27" y="8"/>
                  </a:cubicBezTo>
                  <a:cubicBezTo>
                    <a:pt x="24" y="8"/>
                    <a:pt x="24" y="6"/>
                    <a:pt x="21" y="5"/>
                  </a:cubicBezTo>
                  <a:cubicBezTo>
                    <a:pt x="18" y="5"/>
                    <a:pt x="17" y="8"/>
                    <a:pt x="14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8" y="6"/>
                    <a:pt x="8" y="6"/>
                  </a:cubicBezTo>
                  <a:cubicBezTo>
                    <a:pt x="8" y="6"/>
                    <a:pt x="6" y="9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7"/>
                    <a:pt x="3" y="17"/>
                  </a:cubicBezTo>
                  <a:cubicBezTo>
                    <a:pt x="3" y="17"/>
                    <a:pt x="3" y="15"/>
                    <a:pt x="2" y="15"/>
                  </a:cubicBezTo>
                  <a:cubicBezTo>
                    <a:pt x="2" y="17"/>
                    <a:pt x="0" y="19"/>
                    <a:pt x="2" y="22"/>
                  </a:cubicBezTo>
                  <a:cubicBezTo>
                    <a:pt x="3" y="23"/>
                    <a:pt x="2" y="25"/>
                    <a:pt x="2" y="2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 90"/>
            <p:cNvSpPr>
              <a:spLocks/>
            </p:cNvSpPr>
            <p:nvPr/>
          </p:nvSpPr>
          <p:spPr bwMode="auto">
            <a:xfrm>
              <a:off x="5815725" y="4043305"/>
              <a:ext cx="36956" cy="53023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3" y="16"/>
                </a:cxn>
                <a:cxn ang="0">
                  <a:pos x="3" y="17"/>
                </a:cxn>
                <a:cxn ang="0">
                  <a:pos x="0" y="17"/>
                </a:cxn>
                <a:cxn ang="0">
                  <a:pos x="3" y="11"/>
                </a:cxn>
                <a:cxn ang="0">
                  <a:pos x="5" y="6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12" y="5"/>
                </a:cxn>
                <a:cxn ang="0">
                  <a:pos x="9" y="8"/>
                </a:cxn>
                <a:cxn ang="0">
                  <a:pos x="11" y="10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8" y="11"/>
                </a:cxn>
                <a:cxn ang="0">
                  <a:pos x="5" y="16"/>
                </a:cxn>
              </a:cxnLst>
              <a:rect l="0" t="0" r="r" b="b"/>
              <a:pathLst>
                <a:path w="12" h="17">
                  <a:moveTo>
                    <a:pt x="5" y="16"/>
                  </a:moveTo>
                  <a:cubicBezTo>
                    <a:pt x="3" y="16"/>
                    <a:pt x="3" y="14"/>
                    <a:pt x="3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7"/>
                    <a:pt x="0" y="17"/>
                  </a:cubicBezTo>
                  <a:cubicBezTo>
                    <a:pt x="2" y="13"/>
                    <a:pt x="2" y="14"/>
                    <a:pt x="3" y="11"/>
                  </a:cubicBezTo>
                  <a:cubicBezTo>
                    <a:pt x="3" y="6"/>
                    <a:pt x="5" y="10"/>
                    <a:pt x="5" y="6"/>
                  </a:cubicBezTo>
                  <a:cubicBezTo>
                    <a:pt x="3" y="2"/>
                    <a:pt x="8" y="3"/>
                    <a:pt x="6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2"/>
                    <a:pt x="9" y="2"/>
                    <a:pt x="9" y="2"/>
                  </a:cubicBezTo>
                  <a:cubicBezTo>
                    <a:pt x="11" y="2"/>
                    <a:pt x="12" y="3"/>
                    <a:pt x="12" y="5"/>
                  </a:cubicBezTo>
                  <a:cubicBezTo>
                    <a:pt x="12" y="6"/>
                    <a:pt x="9" y="6"/>
                    <a:pt x="9" y="8"/>
                  </a:cubicBezTo>
                  <a:cubicBezTo>
                    <a:pt x="9" y="8"/>
                    <a:pt x="11" y="8"/>
                    <a:pt x="11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6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3"/>
                    <a:pt x="5" y="16"/>
                    <a:pt x="5" y="1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 91"/>
            <p:cNvSpPr>
              <a:spLocks/>
            </p:cNvSpPr>
            <p:nvPr/>
          </p:nvSpPr>
          <p:spPr bwMode="auto">
            <a:xfrm>
              <a:off x="5812511" y="4088294"/>
              <a:ext cx="109261" cy="136574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5" y="10"/>
                </a:cxn>
                <a:cxn ang="0">
                  <a:pos x="5" y="11"/>
                </a:cxn>
                <a:cxn ang="0">
                  <a:pos x="5" y="19"/>
                </a:cxn>
                <a:cxn ang="0">
                  <a:pos x="5" y="24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9" y="44"/>
                </a:cxn>
                <a:cxn ang="0">
                  <a:pos x="15" y="37"/>
                </a:cxn>
                <a:cxn ang="0">
                  <a:pos x="21" y="36"/>
                </a:cxn>
                <a:cxn ang="0">
                  <a:pos x="21" y="33"/>
                </a:cxn>
                <a:cxn ang="0">
                  <a:pos x="24" y="30"/>
                </a:cxn>
                <a:cxn ang="0">
                  <a:pos x="17" y="20"/>
                </a:cxn>
                <a:cxn ang="0">
                  <a:pos x="21" y="19"/>
                </a:cxn>
                <a:cxn ang="0">
                  <a:pos x="33" y="13"/>
                </a:cxn>
                <a:cxn ang="0">
                  <a:pos x="35" y="13"/>
                </a:cxn>
                <a:cxn ang="0">
                  <a:pos x="32" y="11"/>
                </a:cxn>
                <a:cxn ang="0">
                  <a:pos x="32" y="10"/>
                </a:cxn>
                <a:cxn ang="0">
                  <a:pos x="33" y="10"/>
                </a:cxn>
                <a:cxn ang="0">
                  <a:pos x="33" y="8"/>
                </a:cxn>
                <a:cxn ang="0">
                  <a:pos x="30" y="0"/>
                </a:cxn>
                <a:cxn ang="0">
                  <a:pos x="24" y="5"/>
                </a:cxn>
                <a:cxn ang="0">
                  <a:pos x="15" y="11"/>
                </a:cxn>
                <a:cxn ang="0">
                  <a:pos x="9" y="10"/>
                </a:cxn>
                <a:cxn ang="0">
                  <a:pos x="8" y="7"/>
                </a:cxn>
                <a:cxn ang="0">
                  <a:pos x="6" y="7"/>
                </a:cxn>
              </a:cxnLst>
              <a:rect l="0" t="0" r="r" b="b"/>
              <a:pathLst>
                <a:path w="35" h="44">
                  <a:moveTo>
                    <a:pt x="6" y="7"/>
                  </a:moveTo>
                  <a:cubicBezTo>
                    <a:pt x="5" y="7"/>
                    <a:pt x="5" y="8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6" y="17"/>
                    <a:pt x="5" y="19"/>
                  </a:cubicBezTo>
                  <a:cubicBezTo>
                    <a:pt x="5" y="20"/>
                    <a:pt x="5" y="22"/>
                    <a:pt x="5" y="24"/>
                  </a:cubicBezTo>
                  <a:cubicBezTo>
                    <a:pt x="5" y="25"/>
                    <a:pt x="2" y="30"/>
                    <a:pt x="2" y="34"/>
                  </a:cubicBezTo>
                  <a:cubicBezTo>
                    <a:pt x="2" y="36"/>
                    <a:pt x="0" y="40"/>
                    <a:pt x="0" y="40"/>
                  </a:cubicBezTo>
                  <a:cubicBezTo>
                    <a:pt x="0" y="40"/>
                    <a:pt x="0" y="40"/>
                    <a:pt x="0" y="42"/>
                  </a:cubicBezTo>
                  <a:cubicBezTo>
                    <a:pt x="2" y="42"/>
                    <a:pt x="8" y="44"/>
                    <a:pt x="9" y="44"/>
                  </a:cubicBezTo>
                  <a:cubicBezTo>
                    <a:pt x="12" y="44"/>
                    <a:pt x="12" y="39"/>
                    <a:pt x="15" y="37"/>
                  </a:cubicBezTo>
                  <a:cubicBezTo>
                    <a:pt x="15" y="36"/>
                    <a:pt x="20" y="37"/>
                    <a:pt x="21" y="36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3" y="31"/>
                    <a:pt x="24" y="31"/>
                    <a:pt x="24" y="3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20" y="19"/>
                    <a:pt x="21" y="19"/>
                  </a:cubicBezTo>
                  <a:cubicBezTo>
                    <a:pt x="23" y="17"/>
                    <a:pt x="32" y="16"/>
                    <a:pt x="33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0"/>
                    <a:pt x="33" y="11"/>
                    <a:pt x="32" y="11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8"/>
                  </a:cubicBezTo>
                  <a:cubicBezTo>
                    <a:pt x="32" y="7"/>
                    <a:pt x="32" y="4"/>
                    <a:pt x="30" y="0"/>
                  </a:cubicBezTo>
                  <a:cubicBezTo>
                    <a:pt x="29" y="2"/>
                    <a:pt x="26" y="4"/>
                    <a:pt x="24" y="5"/>
                  </a:cubicBezTo>
                  <a:cubicBezTo>
                    <a:pt x="21" y="7"/>
                    <a:pt x="17" y="11"/>
                    <a:pt x="15" y="11"/>
                  </a:cubicBezTo>
                  <a:cubicBezTo>
                    <a:pt x="14" y="11"/>
                    <a:pt x="11" y="10"/>
                    <a:pt x="9" y="10"/>
                  </a:cubicBezTo>
                  <a:cubicBezTo>
                    <a:pt x="9" y="8"/>
                    <a:pt x="9" y="8"/>
                    <a:pt x="8" y="7"/>
                  </a:cubicBezTo>
                  <a:cubicBezTo>
                    <a:pt x="6" y="7"/>
                    <a:pt x="6" y="8"/>
                    <a:pt x="6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 93"/>
            <p:cNvSpPr>
              <a:spLocks/>
            </p:cNvSpPr>
            <p:nvPr/>
          </p:nvSpPr>
          <p:spPr bwMode="auto">
            <a:xfrm>
              <a:off x="5756274" y="4669938"/>
              <a:ext cx="382414" cy="364732"/>
            </a:xfrm>
            <a:custGeom>
              <a:avLst/>
              <a:gdLst/>
              <a:ahLst/>
              <a:cxnLst>
                <a:cxn ang="0">
                  <a:pos x="26" y="104"/>
                </a:cxn>
                <a:cxn ang="0">
                  <a:pos x="38" y="109"/>
                </a:cxn>
                <a:cxn ang="0">
                  <a:pos x="49" y="114"/>
                </a:cxn>
                <a:cxn ang="0">
                  <a:pos x="53" y="115"/>
                </a:cxn>
                <a:cxn ang="0">
                  <a:pos x="61" y="109"/>
                </a:cxn>
                <a:cxn ang="0">
                  <a:pos x="67" y="109"/>
                </a:cxn>
                <a:cxn ang="0">
                  <a:pos x="75" y="110"/>
                </a:cxn>
                <a:cxn ang="0">
                  <a:pos x="79" y="107"/>
                </a:cxn>
                <a:cxn ang="0">
                  <a:pos x="85" y="103"/>
                </a:cxn>
                <a:cxn ang="0">
                  <a:pos x="101" y="98"/>
                </a:cxn>
                <a:cxn ang="0">
                  <a:pos x="116" y="78"/>
                </a:cxn>
                <a:cxn ang="0">
                  <a:pos x="120" y="70"/>
                </a:cxn>
                <a:cxn ang="0">
                  <a:pos x="105" y="67"/>
                </a:cxn>
                <a:cxn ang="0">
                  <a:pos x="90" y="59"/>
                </a:cxn>
                <a:cxn ang="0">
                  <a:pos x="85" y="54"/>
                </a:cxn>
                <a:cxn ang="0">
                  <a:pos x="82" y="50"/>
                </a:cxn>
                <a:cxn ang="0">
                  <a:pos x="82" y="42"/>
                </a:cxn>
                <a:cxn ang="0">
                  <a:pos x="73" y="40"/>
                </a:cxn>
                <a:cxn ang="0">
                  <a:pos x="78" y="26"/>
                </a:cxn>
                <a:cxn ang="0">
                  <a:pos x="72" y="17"/>
                </a:cxn>
                <a:cxn ang="0">
                  <a:pos x="64" y="9"/>
                </a:cxn>
                <a:cxn ang="0">
                  <a:pos x="56" y="6"/>
                </a:cxn>
                <a:cxn ang="0">
                  <a:pos x="52" y="6"/>
                </a:cxn>
                <a:cxn ang="0">
                  <a:pos x="44" y="3"/>
                </a:cxn>
                <a:cxn ang="0">
                  <a:pos x="38" y="7"/>
                </a:cxn>
                <a:cxn ang="0">
                  <a:pos x="32" y="7"/>
                </a:cxn>
                <a:cxn ang="0">
                  <a:pos x="29" y="23"/>
                </a:cxn>
                <a:cxn ang="0">
                  <a:pos x="21" y="31"/>
                </a:cxn>
                <a:cxn ang="0">
                  <a:pos x="18" y="43"/>
                </a:cxn>
                <a:cxn ang="0">
                  <a:pos x="14" y="43"/>
                </a:cxn>
                <a:cxn ang="0">
                  <a:pos x="14" y="51"/>
                </a:cxn>
                <a:cxn ang="0">
                  <a:pos x="9" y="67"/>
                </a:cxn>
                <a:cxn ang="0">
                  <a:pos x="5" y="70"/>
                </a:cxn>
                <a:cxn ang="0">
                  <a:pos x="12" y="78"/>
                </a:cxn>
                <a:cxn ang="0">
                  <a:pos x="18" y="87"/>
                </a:cxn>
                <a:cxn ang="0">
                  <a:pos x="24" y="96"/>
                </a:cxn>
                <a:cxn ang="0">
                  <a:pos x="26" y="104"/>
                </a:cxn>
              </a:cxnLst>
              <a:rect l="0" t="0" r="r" b="b"/>
              <a:pathLst>
                <a:path w="123" h="117">
                  <a:moveTo>
                    <a:pt x="26" y="104"/>
                  </a:moveTo>
                  <a:cubicBezTo>
                    <a:pt x="31" y="109"/>
                    <a:pt x="31" y="101"/>
                    <a:pt x="38" y="109"/>
                  </a:cubicBezTo>
                  <a:cubicBezTo>
                    <a:pt x="46" y="117"/>
                    <a:pt x="46" y="112"/>
                    <a:pt x="49" y="114"/>
                  </a:cubicBezTo>
                  <a:cubicBezTo>
                    <a:pt x="52" y="115"/>
                    <a:pt x="53" y="114"/>
                    <a:pt x="53" y="115"/>
                  </a:cubicBezTo>
                  <a:cubicBezTo>
                    <a:pt x="56" y="117"/>
                    <a:pt x="55" y="112"/>
                    <a:pt x="61" y="109"/>
                  </a:cubicBezTo>
                  <a:cubicBezTo>
                    <a:pt x="66" y="106"/>
                    <a:pt x="66" y="107"/>
                    <a:pt x="67" y="109"/>
                  </a:cubicBezTo>
                  <a:cubicBezTo>
                    <a:pt x="69" y="110"/>
                    <a:pt x="72" y="110"/>
                    <a:pt x="75" y="110"/>
                  </a:cubicBezTo>
                  <a:cubicBezTo>
                    <a:pt x="76" y="107"/>
                    <a:pt x="76" y="107"/>
                    <a:pt x="79" y="107"/>
                  </a:cubicBezTo>
                  <a:cubicBezTo>
                    <a:pt x="85" y="107"/>
                    <a:pt x="78" y="106"/>
                    <a:pt x="85" y="103"/>
                  </a:cubicBezTo>
                  <a:cubicBezTo>
                    <a:pt x="94" y="98"/>
                    <a:pt x="94" y="106"/>
                    <a:pt x="101" y="98"/>
                  </a:cubicBezTo>
                  <a:cubicBezTo>
                    <a:pt x="107" y="90"/>
                    <a:pt x="110" y="85"/>
                    <a:pt x="116" y="78"/>
                  </a:cubicBezTo>
                  <a:cubicBezTo>
                    <a:pt x="123" y="70"/>
                    <a:pt x="123" y="70"/>
                    <a:pt x="120" y="70"/>
                  </a:cubicBezTo>
                  <a:cubicBezTo>
                    <a:pt x="119" y="70"/>
                    <a:pt x="116" y="71"/>
                    <a:pt x="105" y="67"/>
                  </a:cubicBezTo>
                  <a:cubicBezTo>
                    <a:pt x="94" y="62"/>
                    <a:pt x="93" y="64"/>
                    <a:pt x="90" y="59"/>
                  </a:cubicBezTo>
                  <a:cubicBezTo>
                    <a:pt x="87" y="56"/>
                    <a:pt x="85" y="57"/>
                    <a:pt x="85" y="54"/>
                  </a:cubicBezTo>
                  <a:cubicBezTo>
                    <a:pt x="84" y="51"/>
                    <a:pt x="84" y="53"/>
                    <a:pt x="82" y="50"/>
                  </a:cubicBezTo>
                  <a:cubicBezTo>
                    <a:pt x="81" y="45"/>
                    <a:pt x="79" y="45"/>
                    <a:pt x="82" y="42"/>
                  </a:cubicBezTo>
                  <a:cubicBezTo>
                    <a:pt x="81" y="37"/>
                    <a:pt x="76" y="43"/>
                    <a:pt x="73" y="40"/>
                  </a:cubicBezTo>
                  <a:cubicBezTo>
                    <a:pt x="73" y="31"/>
                    <a:pt x="75" y="36"/>
                    <a:pt x="78" y="26"/>
                  </a:cubicBezTo>
                  <a:cubicBezTo>
                    <a:pt x="73" y="23"/>
                    <a:pt x="75" y="20"/>
                    <a:pt x="72" y="17"/>
                  </a:cubicBezTo>
                  <a:cubicBezTo>
                    <a:pt x="69" y="15"/>
                    <a:pt x="67" y="9"/>
                    <a:pt x="64" y="9"/>
                  </a:cubicBezTo>
                  <a:cubicBezTo>
                    <a:pt x="62" y="7"/>
                    <a:pt x="61" y="6"/>
                    <a:pt x="56" y="6"/>
                  </a:cubicBezTo>
                  <a:cubicBezTo>
                    <a:pt x="52" y="4"/>
                    <a:pt x="53" y="7"/>
                    <a:pt x="52" y="6"/>
                  </a:cubicBezTo>
                  <a:cubicBezTo>
                    <a:pt x="50" y="3"/>
                    <a:pt x="50" y="12"/>
                    <a:pt x="44" y="3"/>
                  </a:cubicBezTo>
                  <a:cubicBezTo>
                    <a:pt x="41" y="0"/>
                    <a:pt x="41" y="12"/>
                    <a:pt x="38" y="7"/>
                  </a:cubicBezTo>
                  <a:cubicBezTo>
                    <a:pt x="37" y="3"/>
                    <a:pt x="38" y="11"/>
                    <a:pt x="32" y="7"/>
                  </a:cubicBezTo>
                  <a:cubicBezTo>
                    <a:pt x="31" y="17"/>
                    <a:pt x="27" y="18"/>
                    <a:pt x="29" y="23"/>
                  </a:cubicBezTo>
                  <a:cubicBezTo>
                    <a:pt x="23" y="23"/>
                    <a:pt x="24" y="29"/>
                    <a:pt x="21" y="31"/>
                  </a:cubicBezTo>
                  <a:cubicBezTo>
                    <a:pt x="18" y="34"/>
                    <a:pt x="20" y="42"/>
                    <a:pt x="18" y="43"/>
                  </a:cubicBezTo>
                  <a:cubicBezTo>
                    <a:pt x="17" y="45"/>
                    <a:pt x="17" y="39"/>
                    <a:pt x="14" y="43"/>
                  </a:cubicBezTo>
                  <a:cubicBezTo>
                    <a:pt x="12" y="48"/>
                    <a:pt x="15" y="46"/>
                    <a:pt x="14" y="51"/>
                  </a:cubicBezTo>
                  <a:cubicBezTo>
                    <a:pt x="11" y="57"/>
                    <a:pt x="15" y="68"/>
                    <a:pt x="9" y="67"/>
                  </a:cubicBezTo>
                  <a:cubicBezTo>
                    <a:pt x="2" y="64"/>
                    <a:pt x="6" y="68"/>
                    <a:pt x="5" y="70"/>
                  </a:cubicBezTo>
                  <a:cubicBezTo>
                    <a:pt x="0" y="73"/>
                    <a:pt x="9" y="71"/>
                    <a:pt x="12" y="78"/>
                  </a:cubicBezTo>
                  <a:cubicBezTo>
                    <a:pt x="15" y="82"/>
                    <a:pt x="17" y="79"/>
                    <a:pt x="18" y="87"/>
                  </a:cubicBezTo>
                  <a:cubicBezTo>
                    <a:pt x="20" y="95"/>
                    <a:pt x="20" y="95"/>
                    <a:pt x="24" y="96"/>
                  </a:cubicBezTo>
                  <a:cubicBezTo>
                    <a:pt x="27" y="96"/>
                    <a:pt x="24" y="98"/>
                    <a:pt x="26" y="10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 94"/>
            <p:cNvSpPr>
              <a:spLocks/>
            </p:cNvSpPr>
            <p:nvPr/>
          </p:nvSpPr>
          <p:spPr bwMode="auto">
            <a:xfrm>
              <a:off x="5843040" y="4579960"/>
              <a:ext cx="171925" cy="181563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10" y="37"/>
                </a:cxn>
                <a:cxn ang="0">
                  <a:pos x="16" y="32"/>
                </a:cxn>
                <a:cxn ang="0">
                  <a:pos x="23" y="35"/>
                </a:cxn>
                <a:cxn ang="0">
                  <a:pos x="28" y="35"/>
                </a:cxn>
                <a:cxn ang="0">
                  <a:pos x="36" y="38"/>
                </a:cxn>
                <a:cxn ang="0">
                  <a:pos x="43" y="46"/>
                </a:cxn>
                <a:cxn ang="0">
                  <a:pos x="49" y="55"/>
                </a:cxn>
                <a:cxn ang="0">
                  <a:pos x="55" y="52"/>
                </a:cxn>
                <a:cxn ang="0">
                  <a:pos x="51" y="49"/>
                </a:cxn>
                <a:cxn ang="0">
                  <a:pos x="49" y="46"/>
                </a:cxn>
                <a:cxn ang="0">
                  <a:pos x="46" y="43"/>
                </a:cxn>
                <a:cxn ang="0">
                  <a:pos x="42" y="37"/>
                </a:cxn>
                <a:cxn ang="0">
                  <a:pos x="36" y="32"/>
                </a:cxn>
                <a:cxn ang="0">
                  <a:pos x="31" y="27"/>
                </a:cxn>
                <a:cxn ang="0">
                  <a:pos x="28" y="30"/>
                </a:cxn>
                <a:cxn ang="0">
                  <a:pos x="25" y="23"/>
                </a:cxn>
                <a:cxn ang="0">
                  <a:pos x="19" y="0"/>
                </a:cxn>
                <a:cxn ang="0">
                  <a:pos x="11" y="7"/>
                </a:cxn>
                <a:cxn ang="0">
                  <a:pos x="7" y="12"/>
                </a:cxn>
                <a:cxn ang="0">
                  <a:pos x="2" y="29"/>
                </a:cxn>
                <a:cxn ang="0">
                  <a:pos x="4" y="37"/>
                </a:cxn>
              </a:cxnLst>
              <a:rect l="0" t="0" r="r" b="b"/>
              <a:pathLst>
                <a:path w="55" h="58">
                  <a:moveTo>
                    <a:pt x="4" y="37"/>
                  </a:moveTo>
                  <a:cubicBezTo>
                    <a:pt x="10" y="40"/>
                    <a:pt x="8" y="32"/>
                    <a:pt x="10" y="37"/>
                  </a:cubicBezTo>
                  <a:cubicBezTo>
                    <a:pt x="13" y="41"/>
                    <a:pt x="13" y="29"/>
                    <a:pt x="16" y="32"/>
                  </a:cubicBezTo>
                  <a:cubicBezTo>
                    <a:pt x="22" y="41"/>
                    <a:pt x="22" y="32"/>
                    <a:pt x="23" y="35"/>
                  </a:cubicBezTo>
                  <a:cubicBezTo>
                    <a:pt x="25" y="37"/>
                    <a:pt x="23" y="34"/>
                    <a:pt x="28" y="35"/>
                  </a:cubicBezTo>
                  <a:cubicBezTo>
                    <a:pt x="33" y="35"/>
                    <a:pt x="34" y="37"/>
                    <a:pt x="36" y="38"/>
                  </a:cubicBezTo>
                  <a:cubicBezTo>
                    <a:pt x="39" y="38"/>
                    <a:pt x="40" y="44"/>
                    <a:pt x="43" y="46"/>
                  </a:cubicBezTo>
                  <a:cubicBezTo>
                    <a:pt x="46" y="49"/>
                    <a:pt x="45" y="52"/>
                    <a:pt x="49" y="55"/>
                  </a:cubicBezTo>
                  <a:cubicBezTo>
                    <a:pt x="51" y="54"/>
                    <a:pt x="51" y="58"/>
                    <a:pt x="55" y="52"/>
                  </a:cubicBezTo>
                  <a:cubicBezTo>
                    <a:pt x="54" y="50"/>
                    <a:pt x="52" y="52"/>
                    <a:pt x="51" y="49"/>
                  </a:cubicBezTo>
                  <a:cubicBezTo>
                    <a:pt x="51" y="47"/>
                    <a:pt x="51" y="49"/>
                    <a:pt x="49" y="46"/>
                  </a:cubicBezTo>
                  <a:cubicBezTo>
                    <a:pt x="46" y="40"/>
                    <a:pt x="48" y="46"/>
                    <a:pt x="46" y="43"/>
                  </a:cubicBezTo>
                  <a:cubicBezTo>
                    <a:pt x="45" y="38"/>
                    <a:pt x="45" y="44"/>
                    <a:pt x="42" y="37"/>
                  </a:cubicBezTo>
                  <a:cubicBezTo>
                    <a:pt x="37" y="30"/>
                    <a:pt x="39" y="37"/>
                    <a:pt x="36" y="32"/>
                  </a:cubicBezTo>
                  <a:cubicBezTo>
                    <a:pt x="34" y="27"/>
                    <a:pt x="34" y="35"/>
                    <a:pt x="31" y="27"/>
                  </a:cubicBezTo>
                  <a:cubicBezTo>
                    <a:pt x="28" y="21"/>
                    <a:pt x="29" y="30"/>
                    <a:pt x="28" y="30"/>
                  </a:cubicBezTo>
                  <a:cubicBezTo>
                    <a:pt x="28" y="29"/>
                    <a:pt x="28" y="27"/>
                    <a:pt x="25" y="23"/>
                  </a:cubicBezTo>
                  <a:cubicBezTo>
                    <a:pt x="23" y="18"/>
                    <a:pt x="23" y="7"/>
                    <a:pt x="19" y="0"/>
                  </a:cubicBezTo>
                  <a:cubicBezTo>
                    <a:pt x="16" y="9"/>
                    <a:pt x="13" y="4"/>
                    <a:pt x="11" y="7"/>
                  </a:cubicBezTo>
                  <a:cubicBezTo>
                    <a:pt x="8" y="13"/>
                    <a:pt x="5" y="6"/>
                    <a:pt x="7" y="12"/>
                  </a:cubicBezTo>
                  <a:cubicBezTo>
                    <a:pt x="7" y="21"/>
                    <a:pt x="4" y="26"/>
                    <a:pt x="2" y="29"/>
                  </a:cubicBezTo>
                  <a:cubicBezTo>
                    <a:pt x="0" y="30"/>
                    <a:pt x="4" y="34"/>
                    <a:pt x="4" y="3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95"/>
            <p:cNvSpPr>
              <a:spLocks/>
            </p:cNvSpPr>
            <p:nvPr/>
          </p:nvSpPr>
          <p:spPr bwMode="auto">
            <a:xfrm>
              <a:off x="5982830" y="4742242"/>
              <a:ext cx="44990" cy="65877"/>
            </a:xfrm>
            <a:custGeom>
              <a:avLst/>
              <a:gdLst/>
              <a:ahLst/>
              <a:cxnLst>
                <a:cxn ang="0">
                  <a:pos x="9" y="19"/>
                </a:cxn>
                <a:cxn ang="0">
                  <a:pos x="0" y="17"/>
                </a:cxn>
                <a:cxn ang="0">
                  <a:pos x="5" y="3"/>
                </a:cxn>
                <a:cxn ang="0">
                  <a:pos x="11" y="0"/>
                </a:cxn>
                <a:cxn ang="0">
                  <a:pos x="11" y="10"/>
                </a:cxn>
                <a:cxn ang="0">
                  <a:pos x="12" y="13"/>
                </a:cxn>
                <a:cxn ang="0">
                  <a:pos x="9" y="19"/>
                </a:cxn>
              </a:cxnLst>
              <a:rect l="0" t="0" r="r" b="b"/>
              <a:pathLst>
                <a:path w="14" h="21">
                  <a:moveTo>
                    <a:pt x="9" y="19"/>
                  </a:moveTo>
                  <a:cubicBezTo>
                    <a:pt x="8" y="14"/>
                    <a:pt x="3" y="21"/>
                    <a:pt x="0" y="17"/>
                  </a:cubicBezTo>
                  <a:cubicBezTo>
                    <a:pt x="0" y="8"/>
                    <a:pt x="2" y="13"/>
                    <a:pt x="5" y="3"/>
                  </a:cubicBezTo>
                  <a:cubicBezTo>
                    <a:pt x="6" y="2"/>
                    <a:pt x="6" y="6"/>
                    <a:pt x="11" y="0"/>
                  </a:cubicBezTo>
                  <a:cubicBezTo>
                    <a:pt x="12" y="5"/>
                    <a:pt x="14" y="6"/>
                    <a:pt x="11" y="10"/>
                  </a:cubicBezTo>
                  <a:cubicBezTo>
                    <a:pt x="3" y="14"/>
                    <a:pt x="9" y="11"/>
                    <a:pt x="12" y="13"/>
                  </a:cubicBezTo>
                  <a:cubicBezTo>
                    <a:pt x="9" y="19"/>
                    <a:pt x="9" y="19"/>
                    <a:pt x="9" y="1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96"/>
            <p:cNvSpPr>
              <a:spLocks/>
            </p:cNvSpPr>
            <p:nvPr/>
          </p:nvSpPr>
          <p:spPr bwMode="auto">
            <a:xfrm>
              <a:off x="5251745" y="4960760"/>
              <a:ext cx="482035" cy="600925"/>
            </a:xfrm>
            <a:custGeom>
              <a:avLst/>
              <a:gdLst/>
              <a:ahLst/>
              <a:cxnLst>
                <a:cxn ang="0">
                  <a:pos x="138" y="114"/>
                </a:cxn>
                <a:cxn ang="0">
                  <a:pos x="148" y="136"/>
                </a:cxn>
                <a:cxn ang="0">
                  <a:pos x="130" y="148"/>
                </a:cxn>
                <a:cxn ang="0">
                  <a:pos x="129" y="170"/>
                </a:cxn>
                <a:cxn ang="0">
                  <a:pos x="141" y="181"/>
                </a:cxn>
                <a:cxn ang="0">
                  <a:pos x="132" y="182"/>
                </a:cxn>
                <a:cxn ang="0">
                  <a:pos x="119" y="171"/>
                </a:cxn>
                <a:cxn ang="0">
                  <a:pos x="107" y="171"/>
                </a:cxn>
                <a:cxn ang="0">
                  <a:pos x="93" y="162"/>
                </a:cxn>
                <a:cxn ang="0">
                  <a:pos x="84" y="164"/>
                </a:cxn>
                <a:cxn ang="0">
                  <a:pos x="78" y="153"/>
                </a:cxn>
                <a:cxn ang="0">
                  <a:pos x="77" y="128"/>
                </a:cxn>
                <a:cxn ang="0">
                  <a:pos x="64" y="123"/>
                </a:cxn>
                <a:cxn ang="0">
                  <a:pos x="57" y="133"/>
                </a:cxn>
                <a:cxn ang="0">
                  <a:pos x="41" y="133"/>
                </a:cxn>
                <a:cxn ang="0">
                  <a:pos x="35" y="117"/>
                </a:cxn>
                <a:cxn ang="0">
                  <a:pos x="8" y="112"/>
                </a:cxn>
                <a:cxn ang="0">
                  <a:pos x="0" y="112"/>
                </a:cxn>
                <a:cxn ang="0">
                  <a:pos x="8" y="101"/>
                </a:cxn>
                <a:cxn ang="0">
                  <a:pos x="19" y="103"/>
                </a:cxn>
                <a:cxn ang="0">
                  <a:pos x="32" y="86"/>
                </a:cxn>
                <a:cxn ang="0">
                  <a:pos x="46" y="53"/>
                </a:cxn>
                <a:cxn ang="0">
                  <a:pos x="48" y="30"/>
                </a:cxn>
                <a:cxn ang="0">
                  <a:pos x="52" y="13"/>
                </a:cxn>
                <a:cxn ang="0">
                  <a:pos x="67" y="13"/>
                </a:cxn>
                <a:cxn ang="0">
                  <a:pos x="93" y="8"/>
                </a:cxn>
                <a:cxn ang="0">
                  <a:pos x="116" y="6"/>
                </a:cxn>
                <a:cxn ang="0">
                  <a:pos x="130" y="13"/>
                </a:cxn>
                <a:cxn ang="0">
                  <a:pos x="142" y="14"/>
                </a:cxn>
                <a:cxn ang="0">
                  <a:pos x="150" y="33"/>
                </a:cxn>
                <a:cxn ang="0">
                  <a:pos x="139" y="69"/>
                </a:cxn>
                <a:cxn ang="0">
                  <a:pos x="133" y="83"/>
                </a:cxn>
                <a:cxn ang="0">
                  <a:pos x="138" y="100"/>
                </a:cxn>
              </a:cxnLst>
              <a:rect l="0" t="0" r="r" b="b"/>
              <a:pathLst>
                <a:path w="155" h="193">
                  <a:moveTo>
                    <a:pt x="138" y="100"/>
                  </a:moveTo>
                  <a:cubicBezTo>
                    <a:pt x="136" y="106"/>
                    <a:pt x="139" y="109"/>
                    <a:pt x="138" y="114"/>
                  </a:cubicBezTo>
                  <a:cubicBezTo>
                    <a:pt x="136" y="119"/>
                    <a:pt x="144" y="125"/>
                    <a:pt x="145" y="128"/>
                  </a:cubicBezTo>
                  <a:cubicBezTo>
                    <a:pt x="145" y="133"/>
                    <a:pt x="147" y="134"/>
                    <a:pt x="148" y="136"/>
                  </a:cubicBezTo>
                  <a:cubicBezTo>
                    <a:pt x="142" y="137"/>
                    <a:pt x="133" y="136"/>
                    <a:pt x="133" y="140"/>
                  </a:cubicBezTo>
                  <a:cubicBezTo>
                    <a:pt x="133" y="147"/>
                    <a:pt x="127" y="145"/>
                    <a:pt x="130" y="148"/>
                  </a:cubicBezTo>
                  <a:cubicBezTo>
                    <a:pt x="135" y="154"/>
                    <a:pt x="129" y="153"/>
                    <a:pt x="130" y="157"/>
                  </a:cubicBezTo>
                  <a:cubicBezTo>
                    <a:pt x="133" y="161"/>
                    <a:pt x="127" y="167"/>
                    <a:pt x="129" y="170"/>
                  </a:cubicBezTo>
                  <a:cubicBezTo>
                    <a:pt x="130" y="173"/>
                    <a:pt x="132" y="176"/>
                    <a:pt x="135" y="178"/>
                  </a:cubicBezTo>
                  <a:cubicBezTo>
                    <a:pt x="139" y="179"/>
                    <a:pt x="141" y="168"/>
                    <a:pt x="141" y="181"/>
                  </a:cubicBezTo>
                  <a:cubicBezTo>
                    <a:pt x="139" y="193"/>
                    <a:pt x="139" y="184"/>
                    <a:pt x="138" y="186"/>
                  </a:cubicBezTo>
                  <a:cubicBezTo>
                    <a:pt x="135" y="189"/>
                    <a:pt x="135" y="189"/>
                    <a:pt x="132" y="182"/>
                  </a:cubicBezTo>
                  <a:cubicBezTo>
                    <a:pt x="129" y="178"/>
                    <a:pt x="127" y="176"/>
                    <a:pt x="124" y="176"/>
                  </a:cubicBezTo>
                  <a:cubicBezTo>
                    <a:pt x="122" y="176"/>
                    <a:pt x="121" y="173"/>
                    <a:pt x="119" y="171"/>
                  </a:cubicBezTo>
                  <a:cubicBezTo>
                    <a:pt x="119" y="168"/>
                    <a:pt x="118" y="167"/>
                    <a:pt x="118" y="171"/>
                  </a:cubicBezTo>
                  <a:cubicBezTo>
                    <a:pt x="116" y="175"/>
                    <a:pt x="115" y="173"/>
                    <a:pt x="107" y="171"/>
                  </a:cubicBezTo>
                  <a:cubicBezTo>
                    <a:pt x="101" y="170"/>
                    <a:pt x="109" y="162"/>
                    <a:pt x="101" y="167"/>
                  </a:cubicBezTo>
                  <a:cubicBezTo>
                    <a:pt x="95" y="170"/>
                    <a:pt x="101" y="162"/>
                    <a:pt x="93" y="162"/>
                  </a:cubicBezTo>
                  <a:cubicBezTo>
                    <a:pt x="93" y="164"/>
                    <a:pt x="93" y="164"/>
                    <a:pt x="90" y="164"/>
                  </a:cubicBezTo>
                  <a:cubicBezTo>
                    <a:pt x="89" y="162"/>
                    <a:pt x="87" y="165"/>
                    <a:pt x="84" y="164"/>
                  </a:cubicBezTo>
                  <a:cubicBezTo>
                    <a:pt x="81" y="164"/>
                    <a:pt x="83" y="167"/>
                    <a:pt x="80" y="167"/>
                  </a:cubicBezTo>
                  <a:cubicBezTo>
                    <a:pt x="77" y="165"/>
                    <a:pt x="83" y="159"/>
                    <a:pt x="78" y="153"/>
                  </a:cubicBezTo>
                  <a:cubicBezTo>
                    <a:pt x="74" y="147"/>
                    <a:pt x="78" y="140"/>
                    <a:pt x="77" y="136"/>
                  </a:cubicBezTo>
                  <a:cubicBezTo>
                    <a:pt x="75" y="131"/>
                    <a:pt x="77" y="131"/>
                    <a:pt x="77" y="128"/>
                  </a:cubicBezTo>
                  <a:cubicBezTo>
                    <a:pt x="77" y="125"/>
                    <a:pt x="64" y="129"/>
                    <a:pt x="67" y="125"/>
                  </a:cubicBezTo>
                  <a:cubicBezTo>
                    <a:pt x="67" y="123"/>
                    <a:pt x="66" y="122"/>
                    <a:pt x="64" y="123"/>
                  </a:cubicBezTo>
                  <a:cubicBezTo>
                    <a:pt x="63" y="125"/>
                    <a:pt x="58" y="122"/>
                    <a:pt x="58" y="126"/>
                  </a:cubicBezTo>
                  <a:cubicBezTo>
                    <a:pt x="58" y="131"/>
                    <a:pt x="57" y="128"/>
                    <a:pt x="57" y="133"/>
                  </a:cubicBezTo>
                  <a:cubicBezTo>
                    <a:pt x="58" y="136"/>
                    <a:pt x="54" y="134"/>
                    <a:pt x="52" y="134"/>
                  </a:cubicBezTo>
                  <a:cubicBezTo>
                    <a:pt x="51" y="133"/>
                    <a:pt x="43" y="137"/>
                    <a:pt x="41" y="133"/>
                  </a:cubicBezTo>
                  <a:cubicBezTo>
                    <a:pt x="40" y="128"/>
                    <a:pt x="38" y="129"/>
                    <a:pt x="38" y="125"/>
                  </a:cubicBezTo>
                  <a:cubicBezTo>
                    <a:pt x="38" y="122"/>
                    <a:pt x="37" y="122"/>
                    <a:pt x="35" y="117"/>
                  </a:cubicBezTo>
                  <a:cubicBezTo>
                    <a:pt x="35" y="112"/>
                    <a:pt x="35" y="112"/>
                    <a:pt x="25" y="114"/>
                  </a:cubicBezTo>
                  <a:cubicBezTo>
                    <a:pt x="12" y="114"/>
                    <a:pt x="14" y="112"/>
                    <a:pt x="8" y="112"/>
                  </a:cubicBezTo>
                  <a:cubicBezTo>
                    <a:pt x="6" y="112"/>
                    <a:pt x="6" y="112"/>
                    <a:pt x="3" y="112"/>
                  </a:cubicBezTo>
                  <a:cubicBezTo>
                    <a:pt x="2" y="114"/>
                    <a:pt x="2" y="114"/>
                    <a:pt x="0" y="112"/>
                  </a:cubicBezTo>
                  <a:cubicBezTo>
                    <a:pt x="5" y="112"/>
                    <a:pt x="2" y="106"/>
                    <a:pt x="3" y="103"/>
                  </a:cubicBezTo>
                  <a:cubicBezTo>
                    <a:pt x="6" y="101"/>
                    <a:pt x="6" y="101"/>
                    <a:pt x="8" y="101"/>
                  </a:cubicBezTo>
                  <a:cubicBezTo>
                    <a:pt x="11" y="106"/>
                    <a:pt x="14" y="97"/>
                    <a:pt x="17" y="98"/>
                  </a:cubicBezTo>
                  <a:cubicBezTo>
                    <a:pt x="20" y="100"/>
                    <a:pt x="15" y="103"/>
                    <a:pt x="19" y="103"/>
                  </a:cubicBezTo>
                  <a:cubicBezTo>
                    <a:pt x="23" y="105"/>
                    <a:pt x="26" y="95"/>
                    <a:pt x="28" y="95"/>
                  </a:cubicBezTo>
                  <a:cubicBezTo>
                    <a:pt x="31" y="95"/>
                    <a:pt x="34" y="89"/>
                    <a:pt x="32" y="86"/>
                  </a:cubicBezTo>
                  <a:cubicBezTo>
                    <a:pt x="29" y="80"/>
                    <a:pt x="37" y="67"/>
                    <a:pt x="41" y="66"/>
                  </a:cubicBezTo>
                  <a:cubicBezTo>
                    <a:pt x="46" y="62"/>
                    <a:pt x="43" y="59"/>
                    <a:pt x="46" y="53"/>
                  </a:cubicBezTo>
                  <a:cubicBezTo>
                    <a:pt x="48" y="48"/>
                    <a:pt x="45" y="50"/>
                    <a:pt x="46" y="42"/>
                  </a:cubicBezTo>
                  <a:cubicBezTo>
                    <a:pt x="48" y="34"/>
                    <a:pt x="45" y="36"/>
                    <a:pt x="48" y="30"/>
                  </a:cubicBezTo>
                  <a:cubicBezTo>
                    <a:pt x="52" y="25"/>
                    <a:pt x="52" y="24"/>
                    <a:pt x="52" y="22"/>
                  </a:cubicBezTo>
                  <a:cubicBezTo>
                    <a:pt x="51" y="17"/>
                    <a:pt x="49" y="14"/>
                    <a:pt x="52" y="13"/>
                  </a:cubicBezTo>
                  <a:cubicBezTo>
                    <a:pt x="54" y="11"/>
                    <a:pt x="54" y="3"/>
                    <a:pt x="61" y="6"/>
                  </a:cubicBezTo>
                  <a:cubicBezTo>
                    <a:pt x="67" y="10"/>
                    <a:pt x="64" y="13"/>
                    <a:pt x="67" y="13"/>
                  </a:cubicBezTo>
                  <a:cubicBezTo>
                    <a:pt x="77" y="13"/>
                    <a:pt x="81" y="19"/>
                    <a:pt x="84" y="11"/>
                  </a:cubicBezTo>
                  <a:cubicBezTo>
                    <a:pt x="87" y="3"/>
                    <a:pt x="84" y="14"/>
                    <a:pt x="93" y="8"/>
                  </a:cubicBezTo>
                  <a:cubicBezTo>
                    <a:pt x="101" y="3"/>
                    <a:pt x="101" y="10"/>
                    <a:pt x="104" y="5"/>
                  </a:cubicBezTo>
                  <a:cubicBezTo>
                    <a:pt x="107" y="0"/>
                    <a:pt x="115" y="10"/>
                    <a:pt x="116" y="6"/>
                  </a:cubicBezTo>
                  <a:cubicBezTo>
                    <a:pt x="119" y="3"/>
                    <a:pt x="119" y="6"/>
                    <a:pt x="122" y="6"/>
                  </a:cubicBezTo>
                  <a:cubicBezTo>
                    <a:pt x="125" y="11"/>
                    <a:pt x="129" y="16"/>
                    <a:pt x="130" y="13"/>
                  </a:cubicBezTo>
                  <a:cubicBezTo>
                    <a:pt x="133" y="10"/>
                    <a:pt x="135" y="16"/>
                    <a:pt x="136" y="11"/>
                  </a:cubicBezTo>
                  <a:cubicBezTo>
                    <a:pt x="139" y="8"/>
                    <a:pt x="141" y="10"/>
                    <a:pt x="142" y="14"/>
                  </a:cubicBezTo>
                  <a:cubicBezTo>
                    <a:pt x="145" y="19"/>
                    <a:pt x="145" y="16"/>
                    <a:pt x="148" y="22"/>
                  </a:cubicBezTo>
                  <a:cubicBezTo>
                    <a:pt x="148" y="30"/>
                    <a:pt x="145" y="31"/>
                    <a:pt x="150" y="33"/>
                  </a:cubicBezTo>
                  <a:cubicBezTo>
                    <a:pt x="155" y="36"/>
                    <a:pt x="148" y="39"/>
                    <a:pt x="144" y="44"/>
                  </a:cubicBezTo>
                  <a:cubicBezTo>
                    <a:pt x="139" y="48"/>
                    <a:pt x="139" y="59"/>
                    <a:pt x="139" y="69"/>
                  </a:cubicBezTo>
                  <a:cubicBezTo>
                    <a:pt x="130" y="75"/>
                    <a:pt x="138" y="75"/>
                    <a:pt x="135" y="78"/>
                  </a:cubicBezTo>
                  <a:cubicBezTo>
                    <a:pt x="132" y="80"/>
                    <a:pt x="133" y="80"/>
                    <a:pt x="133" y="83"/>
                  </a:cubicBezTo>
                  <a:cubicBezTo>
                    <a:pt x="135" y="86"/>
                    <a:pt x="136" y="86"/>
                    <a:pt x="135" y="90"/>
                  </a:cubicBezTo>
                  <a:cubicBezTo>
                    <a:pt x="135" y="95"/>
                    <a:pt x="138" y="97"/>
                    <a:pt x="138" y="10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 97"/>
            <p:cNvSpPr>
              <a:spLocks/>
            </p:cNvSpPr>
            <p:nvPr/>
          </p:nvSpPr>
          <p:spPr bwMode="auto">
            <a:xfrm>
              <a:off x="5783589" y="4978435"/>
              <a:ext cx="202455" cy="297249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8" y="22"/>
                </a:cxn>
                <a:cxn ang="0">
                  <a:pos x="6" y="41"/>
                </a:cxn>
                <a:cxn ang="0">
                  <a:pos x="2" y="59"/>
                </a:cxn>
                <a:cxn ang="0">
                  <a:pos x="29" y="78"/>
                </a:cxn>
                <a:cxn ang="0">
                  <a:pos x="32" y="86"/>
                </a:cxn>
                <a:cxn ang="0">
                  <a:pos x="44" y="95"/>
                </a:cxn>
                <a:cxn ang="0">
                  <a:pos x="49" y="86"/>
                </a:cxn>
                <a:cxn ang="0">
                  <a:pos x="52" y="78"/>
                </a:cxn>
                <a:cxn ang="0">
                  <a:pos x="56" y="70"/>
                </a:cxn>
                <a:cxn ang="0">
                  <a:pos x="62" y="66"/>
                </a:cxn>
                <a:cxn ang="0">
                  <a:pos x="58" y="56"/>
                </a:cxn>
                <a:cxn ang="0">
                  <a:pos x="58" y="22"/>
                </a:cxn>
                <a:cxn ang="0">
                  <a:pos x="65" y="11"/>
                </a:cxn>
                <a:cxn ang="0">
                  <a:pos x="58" y="10"/>
                </a:cxn>
                <a:cxn ang="0">
                  <a:pos x="52" y="10"/>
                </a:cxn>
                <a:cxn ang="0">
                  <a:pos x="44" y="16"/>
                </a:cxn>
                <a:cxn ang="0">
                  <a:pos x="40" y="14"/>
                </a:cxn>
                <a:cxn ang="0">
                  <a:pos x="29" y="10"/>
                </a:cxn>
                <a:cxn ang="0">
                  <a:pos x="17" y="5"/>
                </a:cxn>
                <a:cxn ang="0">
                  <a:pos x="14" y="2"/>
                </a:cxn>
                <a:cxn ang="0">
                  <a:pos x="8" y="2"/>
                </a:cxn>
                <a:cxn ang="0">
                  <a:pos x="2" y="8"/>
                </a:cxn>
              </a:cxnLst>
              <a:rect l="0" t="0" r="r" b="b"/>
              <a:pathLst>
                <a:path w="65" h="95">
                  <a:moveTo>
                    <a:pt x="2" y="8"/>
                  </a:moveTo>
                  <a:cubicBezTo>
                    <a:pt x="8" y="16"/>
                    <a:pt x="5" y="17"/>
                    <a:pt x="8" y="22"/>
                  </a:cubicBezTo>
                  <a:cubicBezTo>
                    <a:pt x="11" y="27"/>
                    <a:pt x="11" y="34"/>
                    <a:pt x="6" y="41"/>
                  </a:cubicBezTo>
                  <a:cubicBezTo>
                    <a:pt x="0" y="47"/>
                    <a:pt x="3" y="52"/>
                    <a:pt x="2" y="59"/>
                  </a:cubicBezTo>
                  <a:cubicBezTo>
                    <a:pt x="18" y="70"/>
                    <a:pt x="24" y="75"/>
                    <a:pt x="29" y="78"/>
                  </a:cubicBezTo>
                  <a:cubicBezTo>
                    <a:pt x="35" y="81"/>
                    <a:pt x="29" y="81"/>
                    <a:pt x="32" y="86"/>
                  </a:cubicBezTo>
                  <a:cubicBezTo>
                    <a:pt x="37" y="89"/>
                    <a:pt x="43" y="95"/>
                    <a:pt x="44" y="95"/>
                  </a:cubicBezTo>
                  <a:cubicBezTo>
                    <a:pt x="47" y="91"/>
                    <a:pt x="49" y="91"/>
                    <a:pt x="49" y="86"/>
                  </a:cubicBezTo>
                  <a:cubicBezTo>
                    <a:pt x="49" y="80"/>
                    <a:pt x="52" y="86"/>
                    <a:pt x="52" y="78"/>
                  </a:cubicBezTo>
                  <a:cubicBezTo>
                    <a:pt x="50" y="72"/>
                    <a:pt x="58" y="75"/>
                    <a:pt x="56" y="70"/>
                  </a:cubicBezTo>
                  <a:cubicBezTo>
                    <a:pt x="56" y="67"/>
                    <a:pt x="58" y="72"/>
                    <a:pt x="62" y="66"/>
                  </a:cubicBezTo>
                  <a:cubicBezTo>
                    <a:pt x="61" y="61"/>
                    <a:pt x="58" y="63"/>
                    <a:pt x="58" y="56"/>
                  </a:cubicBezTo>
                  <a:cubicBezTo>
                    <a:pt x="58" y="48"/>
                    <a:pt x="58" y="22"/>
                    <a:pt x="58" y="22"/>
                  </a:cubicBezTo>
                  <a:cubicBezTo>
                    <a:pt x="58" y="22"/>
                    <a:pt x="62" y="14"/>
                    <a:pt x="65" y="11"/>
                  </a:cubicBezTo>
                  <a:cubicBezTo>
                    <a:pt x="62" y="11"/>
                    <a:pt x="59" y="11"/>
                    <a:pt x="58" y="10"/>
                  </a:cubicBezTo>
                  <a:cubicBezTo>
                    <a:pt x="56" y="8"/>
                    <a:pt x="56" y="6"/>
                    <a:pt x="52" y="10"/>
                  </a:cubicBezTo>
                  <a:cubicBezTo>
                    <a:pt x="46" y="13"/>
                    <a:pt x="47" y="17"/>
                    <a:pt x="44" y="16"/>
                  </a:cubicBezTo>
                  <a:cubicBezTo>
                    <a:pt x="44" y="14"/>
                    <a:pt x="43" y="16"/>
                    <a:pt x="40" y="14"/>
                  </a:cubicBezTo>
                  <a:cubicBezTo>
                    <a:pt x="37" y="13"/>
                    <a:pt x="37" y="17"/>
                    <a:pt x="29" y="10"/>
                  </a:cubicBezTo>
                  <a:cubicBezTo>
                    <a:pt x="21" y="2"/>
                    <a:pt x="21" y="10"/>
                    <a:pt x="17" y="5"/>
                  </a:cubicBezTo>
                  <a:cubicBezTo>
                    <a:pt x="15" y="5"/>
                    <a:pt x="12" y="5"/>
                    <a:pt x="14" y="2"/>
                  </a:cubicBezTo>
                  <a:cubicBezTo>
                    <a:pt x="14" y="0"/>
                    <a:pt x="11" y="2"/>
                    <a:pt x="8" y="2"/>
                  </a:cubicBezTo>
                  <a:cubicBezTo>
                    <a:pt x="5" y="3"/>
                    <a:pt x="3" y="6"/>
                    <a:pt x="2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 98"/>
            <p:cNvSpPr>
              <a:spLocks/>
            </p:cNvSpPr>
            <p:nvPr/>
          </p:nvSpPr>
          <p:spPr bwMode="auto">
            <a:xfrm>
              <a:off x="5683969" y="5004143"/>
              <a:ext cx="131756" cy="175135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1" y="19"/>
                </a:cxn>
                <a:cxn ang="0">
                  <a:pos x="5" y="30"/>
                </a:cxn>
                <a:cxn ang="0">
                  <a:pos x="0" y="55"/>
                </a:cxn>
                <a:cxn ang="0">
                  <a:pos x="3" y="56"/>
                </a:cxn>
                <a:cxn ang="0">
                  <a:pos x="6" y="52"/>
                </a:cxn>
                <a:cxn ang="0">
                  <a:pos x="33" y="52"/>
                </a:cxn>
                <a:cxn ang="0">
                  <a:pos x="38" y="33"/>
                </a:cxn>
                <a:cxn ang="0">
                  <a:pos x="39" y="14"/>
                </a:cxn>
                <a:cxn ang="0">
                  <a:pos x="33" y="0"/>
                </a:cxn>
                <a:cxn ang="0">
                  <a:pos x="29" y="5"/>
                </a:cxn>
                <a:cxn ang="0">
                  <a:pos x="27" y="3"/>
                </a:cxn>
                <a:cxn ang="0">
                  <a:pos x="18" y="6"/>
                </a:cxn>
                <a:cxn ang="0">
                  <a:pos x="15" y="5"/>
                </a:cxn>
                <a:cxn ang="0">
                  <a:pos x="9" y="8"/>
                </a:cxn>
              </a:cxnLst>
              <a:rect l="0" t="0" r="r" b="b"/>
              <a:pathLst>
                <a:path w="42" h="56">
                  <a:moveTo>
                    <a:pt x="9" y="8"/>
                  </a:moveTo>
                  <a:cubicBezTo>
                    <a:pt x="9" y="16"/>
                    <a:pt x="6" y="17"/>
                    <a:pt x="11" y="19"/>
                  </a:cubicBezTo>
                  <a:cubicBezTo>
                    <a:pt x="15" y="22"/>
                    <a:pt x="9" y="25"/>
                    <a:pt x="5" y="30"/>
                  </a:cubicBezTo>
                  <a:cubicBezTo>
                    <a:pt x="0" y="34"/>
                    <a:pt x="0" y="45"/>
                    <a:pt x="0" y="55"/>
                  </a:cubicBezTo>
                  <a:cubicBezTo>
                    <a:pt x="3" y="53"/>
                    <a:pt x="0" y="56"/>
                    <a:pt x="3" y="56"/>
                  </a:cubicBezTo>
                  <a:cubicBezTo>
                    <a:pt x="5" y="55"/>
                    <a:pt x="5" y="53"/>
                    <a:pt x="6" y="52"/>
                  </a:cubicBezTo>
                  <a:cubicBezTo>
                    <a:pt x="9" y="52"/>
                    <a:pt x="29" y="52"/>
                    <a:pt x="33" y="52"/>
                  </a:cubicBezTo>
                  <a:cubicBezTo>
                    <a:pt x="35" y="44"/>
                    <a:pt x="32" y="39"/>
                    <a:pt x="38" y="33"/>
                  </a:cubicBezTo>
                  <a:cubicBezTo>
                    <a:pt x="42" y="27"/>
                    <a:pt x="42" y="19"/>
                    <a:pt x="39" y="14"/>
                  </a:cubicBezTo>
                  <a:cubicBezTo>
                    <a:pt x="36" y="10"/>
                    <a:pt x="39" y="8"/>
                    <a:pt x="33" y="0"/>
                  </a:cubicBezTo>
                  <a:cubicBezTo>
                    <a:pt x="32" y="3"/>
                    <a:pt x="32" y="5"/>
                    <a:pt x="29" y="5"/>
                  </a:cubicBezTo>
                  <a:cubicBezTo>
                    <a:pt x="26" y="5"/>
                    <a:pt x="29" y="5"/>
                    <a:pt x="27" y="3"/>
                  </a:cubicBezTo>
                  <a:cubicBezTo>
                    <a:pt x="23" y="3"/>
                    <a:pt x="20" y="10"/>
                    <a:pt x="18" y="6"/>
                  </a:cubicBezTo>
                  <a:cubicBezTo>
                    <a:pt x="17" y="5"/>
                    <a:pt x="17" y="3"/>
                    <a:pt x="15" y="5"/>
                  </a:cubicBezTo>
                  <a:cubicBezTo>
                    <a:pt x="14" y="8"/>
                    <a:pt x="12" y="0"/>
                    <a:pt x="9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 99"/>
            <p:cNvSpPr>
              <a:spLocks/>
            </p:cNvSpPr>
            <p:nvPr/>
          </p:nvSpPr>
          <p:spPr bwMode="auto">
            <a:xfrm>
              <a:off x="5232462" y="5309426"/>
              <a:ext cx="318143" cy="384013"/>
            </a:xfrm>
            <a:custGeom>
              <a:avLst/>
              <a:gdLst/>
              <a:ahLst/>
              <a:cxnLst>
                <a:cxn ang="0">
                  <a:pos x="95" y="117"/>
                </a:cxn>
                <a:cxn ang="0">
                  <a:pos x="84" y="100"/>
                </a:cxn>
                <a:cxn ang="0">
                  <a:pos x="84" y="73"/>
                </a:cxn>
                <a:cxn ang="0">
                  <a:pos x="98" y="72"/>
                </a:cxn>
                <a:cxn ang="0">
                  <a:pos x="99" y="65"/>
                </a:cxn>
                <a:cxn ang="0">
                  <a:pos x="99" y="59"/>
                </a:cxn>
                <a:cxn ang="0">
                  <a:pos x="99" y="50"/>
                </a:cxn>
                <a:cxn ang="0">
                  <a:pos x="96" y="51"/>
                </a:cxn>
                <a:cxn ang="0">
                  <a:pos x="90" y="51"/>
                </a:cxn>
                <a:cxn ang="0">
                  <a:pos x="85" y="55"/>
                </a:cxn>
                <a:cxn ang="0">
                  <a:pos x="84" y="41"/>
                </a:cxn>
                <a:cxn ang="0">
                  <a:pos x="82" y="24"/>
                </a:cxn>
                <a:cxn ang="0">
                  <a:pos x="82" y="16"/>
                </a:cxn>
                <a:cxn ang="0">
                  <a:pos x="73" y="13"/>
                </a:cxn>
                <a:cxn ang="0">
                  <a:pos x="70" y="11"/>
                </a:cxn>
                <a:cxn ang="0">
                  <a:pos x="64" y="14"/>
                </a:cxn>
                <a:cxn ang="0">
                  <a:pos x="63" y="20"/>
                </a:cxn>
                <a:cxn ang="0">
                  <a:pos x="58" y="22"/>
                </a:cxn>
                <a:cxn ang="0">
                  <a:pos x="47" y="20"/>
                </a:cxn>
                <a:cxn ang="0">
                  <a:pos x="44" y="13"/>
                </a:cxn>
                <a:cxn ang="0">
                  <a:pos x="41" y="5"/>
                </a:cxn>
                <a:cxn ang="0">
                  <a:pos x="31" y="2"/>
                </a:cxn>
                <a:cxn ang="0">
                  <a:pos x="14" y="0"/>
                </a:cxn>
                <a:cxn ang="0">
                  <a:pos x="8" y="3"/>
                </a:cxn>
                <a:cxn ang="0">
                  <a:pos x="14" y="28"/>
                </a:cxn>
                <a:cxn ang="0">
                  <a:pos x="18" y="47"/>
                </a:cxn>
                <a:cxn ang="0">
                  <a:pos x="14" y="67"/>
                </a:cxn>
                <a:cxn ang="0">
                  <a:pos x="5" y="96"/>
                </a:cxn>
                <a:cxn ang="0">
                  <a:pos x="2" y="114"/>
                </a:cxn>
                <a:cxn ang="0">
                  <a:pos x="12" y="110"/>
                </a:cxn>
                <a:cxn ang="0">
                  <a:pos x="22" y="115"/>
                </a:cxn>
                <a:cxn ang="0">
                  <a:pos x="50" y="115"/>
                </a:cxn>
                <a:cxn ang="0">
                  <a:pos x="58" y="117"/>
                </a:cxn>
                <a:cxn ang="0">
                  <a:pos x="72" y="120"/>
                </a:cxn>
                <a:cxn ang="0">
                  <a:pos x="76" y="120"/>
                </a:cxn>
                <a:cxn ang="0">
                  <a:pos x="79" y="121"/>
                </a:cxn>
                <a:cxn ang="0">
                  <a:pos x="95" y="117"/>
                </a:cxn>
              </a:cxnLst>
              <a:rect l="0" t="0" r="r" b="b"/>
              <a:pathLst>
                <a:path w="102" h="123">
                  <a:moveTo>
                    <a:pt x="95" y="117"/>
                  </a:moveTo>
                  <a:cubicBezTo>
                    <a:pt x="90" y="112"/>
                    <a:pt x="84" y="106"/>
                    <a:pt x="84" y="100"/>
                  </a:cubicBezTo>
                  <a:cubicBezTo>
                    <a:pt x="84" y="96"/>
                    <a:pt x="84" y="78"/>
                    <a:pt x="84" y="73"/>
                  </a:cubicBezTo>
                  <a:cubicBezTo>
                    <a:pt x="84" y="70"/>
                    <a:pt x="88" y="72"/>
                    <a:pt x="98" y="72"/>
                  </a:cubicBezTo>
                  <a:cubicBezTo>
                    <a:pt x="101" y="72"/>
                    <a:pt x="98" y="69"/>
                    <a:pt x="99" y="65"/>
                  </a:cubicBezTo>
                  <a:cubicBezTo>
                    <a:pt x="102" y="64"/>
                    <a:pt x="98" y="64"/>
                    <a:pt x="99" y="59"/>
                  </a:cubicBezTo>
                  <a:cubicBezTo>
                    <a:pt x="101" y="53"/>
                    <a:pt x="99" y="51"/>
                    <a:pt x="99" y="50"/>
                  </a:cubicBezTo>
                  <a:cubicBezTo>
                    <a:pt x="99" y="51"/>
                    <a:pt x="99" y="51"/>
                    <a:pt x="96" y="51"/>
                  </a:cubicBezTo>
                  <a:cubicBezTo>
                    <a:pt x="95" y="50"/>
                    <a:pt x="93" y="53"/>
                    <a:pt x="90" y="51"/>
                  </a:cubicBezTo>
                  <a:cubicBezTo>
                    <a:pt x="87" y="51"/>
                    <a:pt x="88" y="55"/>
                    <a:pt x="85" y="55"/>
                  </a:cubicBezTo>
                  <a:cubicBezTo>
                    <a:pt x="82" y="53"/>
                    <a:pt x="88" y="47"/>
                    <a:pt x="84" y="41"/>
                  </a:cubicBezTo>
                  <a:cubicBezTo>
                    <a:pt x="79" y="34"/>
                    <a:pt x="84" y="28"/>
                    <a:pt x="82" y="24"/>
                  </a:cubicBezTo>
                  <a:cubicBezTo>
                    <a:pt x="81" y="19"/>
                    <a:pt x="82" y="19"/>
                    <a:pt x="82" y="16"/>
                  </a:cubicBezTo>
                  <a:cubicBezTo>
                    <a:pt x="82" y="13"/>
                    <a:pt x="70" y="17"/>
                    <a:pt x="73" y="13"/>
                  </a:cubicBezTo>
                  <a:cubicBezTo>
                    <a:pt x="73" y="11"/>
                    <a:pt x="72" y="10"/>
                    <a:pt x="70" y="11"/>
                  </a:cubicBezTo>
                  <a:cubicBezTo>
                    <a:pt x="69" y="13"/>
                    <a:pt x="64" y="10"/>
                    <a:pt x="64" y="14"/>
                  </a:cubicBezTo>
                  <a:cubicBezTo>
                    <a:pt x="64" y="19"/>
                    <a:pt x="63" y="16"/>
                    <a:pt x="63" y="20"/>
                  </a:cubicBezTo>
                  <a:cubicBezTo>
                    <a:pt x="64" y="24"/>
                    <a:pt x="60" y="22"/>
                    <a:pt x="58" y="22"/>
                  </a:cubicBezTo>
                  <a:cubicBezTo>
                    <a:pt x="56" y="20"/>
                    <a:pt x="49" y="25"/>
                    <a:pt x="47" y="20"/>
                  </a:cubicBezTo>
                  <a:cubicBezTo>
                    <a:pt x="46" y="16"/>
                    <a:pt x="44" y="17"/>
                    <a:pt x="44" y="13"/>
                  </a:cubicBezTo>
                  <a:cubicBezTo>
                    <a:pt x="44" y="10"/>
                    <a:pt x="43" y="10"/>
                    <a:pt x="41" y="5"/>
                  </a:cubicBezTo>
                  <a:cubicBezTo>
                    <a:pt x="41" y="0"/>
                    <a:pt x="41" y="0"/>
                    <a:pt x="31" y="2"/>
                  </a:cubicBezTo>
                  <a:cubicBezTo>
                    <a:pt x="18" y="2"/>
                    <a:pt x="20" y="0"/>
                    <a:pt x="14" y="0"/>
                  </a:cubicBezTo>
                  <a:cubicBezTo>
                    <a:pt x="9" y="3"/>
                    <a:pt x="6" y="2"/>
                    <a:pt x="8" y="3"/>
                  </a:cubicBezTo>
                  <a:cubicBezTo>
                    <a:pt x="8" y="6"/>
                    <a:pt x="17" y="25"/>
                    <a:pt x="14" y="28"/>
                  </a:cubicBezTo>
                  <a:cubicBezTo>
                    <a:pt x="11" y="33"/>
                    <a:pt x="15" y="41"/>
                    <a:pt x="18" y="47"/>
                  </a:cubicBezTo>
                  <a:cubicBezTo>
                    <a:pt x="20" y="53"/>
                    <a:pt x="20" y="62"/>
                    <a:pt x="14" y="67"/>
                  </a:cubicBezTo>
                  <a:cubicBezTo>
                    <a:pt x="5" y="73"/>
                    <a:pt x="8" y="90"/>
                    <a:pt x="5" y="96"/>
                  </a:cubicBezTo>
                  <a:cubicBezTo>
                    <a:pt x="0" y="103"/>
                    <a:pt x="3" y="104"/>
                    <a:pt x="2" y="114"/>
                  </a:cubicBezTo>
                  <a:cubicBezTo>
                    <a:pt x="8" y="114"/>
                    <a:pt x="8" y="114"/>
                    <a:pt x="12" y="110"/>
                  </a:cubicBezTo>
                  <a:cubicBezTo>
                    <a:pt x="18" y="107"/>
                    <a:pt x="17" y="115"/>
                    <a:pt x="22" y="115"/>
                  </a:cubicBezTo>
                  <a:cubicBezTo>
                    <a:pt x="26" y="115"/>
                    <a:pt x="46" y="115"/>
                    <a:pt x="50" y="115"/>
                  </a:cubicBezTo>
                  <a:cubicBezTo>
                    <a:pt x="55" y="115"/>
                    <a:pt x="56" y="114"/>
                    <a:pt x="58" y="117"/>
                  </a:cubicBezTo>
                  <a:cubicBezTo>
                    <a:pt x="60" y="123"/>
                    <a:pt x="69" y="118"/>
                    <a:pt x="72" y="120"/>
                  </a:cubicBezTo>
                  <a:cubicBezTo>
                    <a:pt x="75" y="121"/>
                    <a:pt x="75" y="121"/>
                    <a:pt x="76" y="120"/>
                  </a:cubicBezTo>
                  <a:cubicBezTo>
                    <a:pt x="76" y="118"/>
                    <a:pt x="78" y="121"/>
                    <a:pt x="79" y="121"/>
                  </a:cubicBezTo>
                  <a:cubicBezTo>
                    <a:pt x="82" y="120"/>
                    <a:pt x="95" y="117"/>
                    <a:pt x="95" y="1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 100"/>
            <p:cNvSpPr>
              <a:spLocks/>
            </p:cNvSpPr>
            <p:nvPr/>
          </p:nvSpPr>
          <p:spPr bwMode="auto">
            <a:xfrm>
              <a:off x="5494369" y="5381729"/>
              <a:ext cx="289221" cy="313317"/>
            </a:xfrm>
            <a:custGeom>
              <a:avLst/>
              <a:gdLst/>
              <a:ahLst/>
              <a:cxnLst>
                <a:cxn ang="0">
                  <a:pos x="26" y="95"/>
                </a:cxn>
                <a:cxn ang="0">
                  <a:pos x="11" y="94"/>
                </a:cxn>
                <a:cxn ang="0">
                  <a:pos x="0" y="76"/>
                </a:cxn>
                <a:cxn ang="0">
                  <a:pos x="0" y="50"/>
                </a:cxn>
                <a:cxn ang="0">
                  <a:pos x="14" y="48"/>
                </a:cxn>
                <a:cxn ang="0">
                  <a:pos x="15" y="42"/>
                </a:cxn>
                <a:cxn ang="0">
                  <a:pos x="15" y="36"/>
                </a:cxn>
                <a:cxn ang="0">
                  <a:pos x="15" y="27"/>
                </a:cxn>
                <a:cxn ang="0">
                  <a:pos x="23" y="31"/>
                </a:cxn>
                <a:cxn ang="0">
                  <a:pos x="29" y="36"/>
                </a:cxn>
                <a:cxn ang="0">
                  <a:pos x="40" y="36"/>
                </a:cxn>
                <a:cxn ang="0">
                  <a:pos x="41" y="36"/>
                </a:cxn>
                <a:cxn ang="0">
                  <a:pos x="46" y="41"/>
                </a:cxn>
                <a:cxn ang="0">
                  <a:pos x="53" y="47"/>
                </a:cxn>
                <a:cxn ang="0">
                  <a:pos x="59" y="50"/>
                </a:cxn>
                <a:cxn ang="0">
                  <a:pos x="63" y="45"/>
                </a:cxn>
                <a:cxn ang="0">
                  <a:pos x="56" y="42"/>
                </a:cxn>
                <a:cxn ang="0">
                  <a:pos x="50" y="35"/>
                </a:cxn>
                <a:cxn ang="0">
                  <a:pos x="52" y="22"/>
                </a:cxn>
                <a:cxn ang="0">
                  <a:pos x="52" y="13"/>
                </a:cxn>
                <a:cxn ang="0">
                  <a:pos x="55" y="5"/>
                </a:cxn>
                <a:cxn ang="0">
                  <a:pos x="70" y="0"/>
                </a:cxn>
                <a:cxn ang="0">
                  <a:pos x="76" y="6"/>
                </a:cxn>
                <a:cxn ang="0">
                  <a:pos x="79" y="8"/>
                </a:cxn>
                <a:cxn ang="0">
                  <a:pos x="87" y="13"/>
                </a:cxn>
                <a:cxn ang="0">
                  <a:pos x="90" y="16"/>
                </a:cxn>
                <a:cxn ang="0">
                  <a:pos x="90" y="20"/>
                </a:cxn>
                <a:cxn ang="0">
                  <a:pos x="91" y="27"/>
                </a:cxn>
                <a:cxn ang="0">
                  <a:pos x="90" y="31"/>
                </a:cxn>
                <a:cxn ang="0">
                  <a:pos x="90" y="38"/>
                </a:cxn>
                <a:cxn ang="0">
                  <a:pos x="90" y="44"/>
                </a:cxn>
                <a:cxn ang="0">
                  <a:pos x="85" y="53"/>
                </a:cxn>
                <a:cxn ang="0">
                  <a:pos x="88" y="58"/>
                </a:cxn>
                <a:cxn ang="0">
                  <a:pos x="66" y="67"/>
                </a:cxn>
                <a:cxn ang="0">
                  <a:pos x="67" y="73"/>
                </a:cxn>
                <a:cxn ang="0">
                  <a:pos x="56" y="76"/>
                </a:cxn>
                <a:cxn ang="0">
                  <a:pos x="52" y="84"/>
                </a:cxn>
                <a:cxn ang="0">
                  <a:pos x="40" y="97"/>
                </a:cxn>
                <a:cxn ang="0">
                  <a:pos x="32" y="97"/>
                </a:cxn>
                <a:cxn ang="0">
                  <a:pos x="26" y="95"/>
                </a:cxn>
              </a:cxnLst>
              <a:rect l="0" t="0" r="r" b="b"/>
              <a:pathLst>
                <a:path w="93" h="101">
                  <a:moveTo>
                    <a:pt x="26" y="95"/>
                  </a:moveTo>
                  <a:cubicBezTo>
                    <a:pt x="23" y="90"/>
                    <a:pt x="18" y="92"/>
                    <a:pt x="11" y="94"/>
                  </a:cubicBezTo>
                  <a:cubicBezTo>
                    <a:pt x="6" y="89"/>
                    <a:pt x="0" y="83"/>
                    <a:pt x="0" y="76"/>
                  </a:cubicBezTo>
                  <a:cubicBezTo>
                    <a:pt x="0" y="73"/>
                    <a:pt x="0" y="55"/>
                    <a:pt x="0" y="50"/>
                  </a:cubicBezTo>
                  <a:cubicBezTo>
                    <a:pt x="0" y="47"/>
                    <a:pt x="5" y="48"/>
                    <a:pt x="14" y="48"/>
                  </a:cubicBezTo>
                  <a:cubicBezTo>
                    <a:pt x="17" y="48"/>
                    <a:pt x="14" y="45"/>
                    <a:pt x="15" y="42"/>
                  </a:cubicBezTo>
                  <a:cubicBezTo>
                    <a:pt x="18" y="41"/>
                    <a:pt x="14" y="41"/>
                    <a:pt x="15" y="36"/>
                  </a:cubicBezTo>
                  <a:cubicBezTo>
                    <a:pt x="17" y="30"/>
                    <a:pt x="15" y="28"/>
                    <a:pt x="15" y="27"/>
                  </a:cubicBezTo>
                  <a:cubicBezTo>
                    <a:pt x="23" y="27"/>
                    <a:pt x="17" y="35"/>
                    <a:pt x="23" y="31"/>
                  </a:cubicBezTo>
                  <a:cubicBezTo>
                    <a:pt x="31" y="27"/>
                    <a:pt x="23" y="35"/>
                    <a:pt x="29" y="36"/>
                  </a:cubicBezTo>
                  <a:cubicBezTo>
                    <a:pt x="37" y="38"/>
                    <a:pt x="38" y="39"/>
                    <a:pt x="40" y="36"/>
                  </a:cubicBezTo>
                  <a:cubicBezTo>
                    <a:pt x="40" y="31"/>
                    <a:pt x="41" y="33"/>
                    <a:pt x="41" y="36"/>
                  </a:cubicBezTo>
                  <a:cubicBezTo>
                    <a:pt x="43" y="38"/>
                    <a:pt x="44" y="41"/>
                    <a:pt x="46" y="41"/>
                  </a:cubicBezTo>
                  <a:cubicBezTo>
                    <a:pt x="49" y="41"/>
                    <a:pt x="50" y="42"/>
                    <a:pt x="53" y="47"/>
                  </a:cubicBezTo>
                  <a:cubicBezTo>
                    <a:pt x="56" y="53"/>
                    <a:pt x="56" y="53"/>
                    <a:pt x="59" y="50"/>
                  </a:cubicBezTo>
                  <a:cubicBezTo>
                    <a:pt x="61" y="48"/>
                    <a:pt x="61" y="58"/>
                    <a:pt x="63" y="45"/>
                  </a:cubicBezTo>
                  <a:cubicBezTo>
                    <a:pt x="63" y="33"/>
                    <a:pt x="61" y="44"/>
                    <a:pt x="56" y="42"/>
                  </a:cubicBezTo>
                  <a:cubicBezTo>
                    <a:pt x="53" y="41"/>
                    <a:pt x="52" y="38"/>
                    <a:pt x="50" y="35"/>
                  </a:cubicBezTo>
                  <a:cubicBezTo>
                    <a:pt x="49" y="31"/>
                    <a:pt x="55" y="25"/>
                    <a:pt x="52" y="22"/>
                  </a:cubicBezTo>
                  <a:cubicBezTo>
                    <a:pt x="50" y="17"/>
                    <a:pt x="56" y="19"/>
                    <a:pt x="52" y="13"/>
                  </a:cubicBezTo>
                  <a:cubicBezTo>
                    <a:pt x="49" y="10"/>
                    <a:pt x="55" y="11"/>
                    <a:pt x="55" y="5"/>
                  </a:cubicBezTo>
                  <a:cubicBezTo>
                    <a:pt x="55" y="0"/>
                    <a:pt x="64" y="2"/>
                    <a:pt x="70" y="0"/>
                  </a:cubicBezTo>
                  <a:cubicBezTo>
                    <a:pt x="72" y="5"/>
                    <a:pt x="75" y="3"/>
                    <a:pt x="76" y="6"/>
                  </a:cubicBezTo>
                  <a:cubicBezTo>
                    <a:pt x="78" y="10"/>
                    <a:pt x="78" y="5"/>
                    <a:pt x="79" y="8"/>
                  </a:cubicBezTo>
                  <a:cubicBezTo>
                    <a:pt x="81" y="11"/>
                    <a:pt x="79" y="8"/>
                    <a:pt x="87" y="13"/>
                  </a:cubicBezTo>
                  <a:cubicBezTo>
                    <a:pt x="87" y="16"/>
                    <a:pt x="87" y="13"/>
                    <a:pt x="90" y="16"/>
                  </a:cubicBezTo>
                  <a:cubicBezTo>
                    <a:pt x="91" y="17"/>
                    <a:pt x="88" y="17"/>
                    <a:pt x="90" y="20"/>
                  </a:cubicBezTo>
                  <a:cubicBezTo>
                    <a:pt x="93" y="22"/>
                    <a:pt x="93" y="24"/>
                    <a:pt x="91" y="27"/>
                  </a:cubicBezTo>
                  <a:cubicBezTo>
                    <a:pt x="88" y="28"/>
                    <a:pt x="91" y="30"/>
                    <a:pt x="90" y="31"/>
                  </a:cubicBezTo>
                  <a:cubicBezTo>
                    <a:pt x="88" y="33"/>
                    <a:pt x="90" y="35"/>
                    <a:pt x="90" y="38"/>
                  </a:cubicBezTo>
                  <a:cubicBezTo>
                    <a:pt x="88" y="42"/>
                    <a:pt x="93" y="44"/>
                    <a:pt x="90" y="44"/>
                  </a:cubicBezTo>
                  <a:cubicBezTo>
                    <a:pt x="85" y="44"/>
                    <a:pt x="88" y="50"/>
                    <a:pt x="85" y="53"/>
                  </a:cubicBezTo>
                  <a:cubicBezTo>
                    <a:pt x="84" y="55"/>
                    <a:pt x="87" y="56"/>
                    <a:pt x="88" y="58"/>
                  </a:cubicBezTo>
                  <a:cubicBezTo>
                    <a:pt x="87" y="59"/>
                    <a:pt x="67" y="67"/>
                    <a:pt x="66" y="67"/>
                  </a:cubicBezTo>
                  <a:cubicBezTo>
                    <a:pt x="64" y="67"/>
                    <a:pt x="66" y="72"/>
                    <a:pt x="67" y="73"/>
                  </a:cubicBezTo>
                  <a:cubicBezTo>
                    <a:pt x="64" y="75"/>
                    <a:pt x="61" y="73"/>
                    <a:pt x="56" y="76"/>
                  </a:cubicBezTo>
                  <a:cubicBezTo>
                    <a:pt x="52" y="80"/>
                    <a:pt x="56" y="83"/>
                    <a:pt x="52" y="84"/>
                  </a:cubicBezTo>
                  <a:cubicBezTo>
                    <a:pt x="46" y="87"/>
                    <a:pt x="43" y="92"/>
                    <a:pt x="40" y="97"/>
                  </a:cubicBezTo>
                  <a:cubicBezTo>
                    <a:pt x="37" y="101"/>
                    <a:pt x="35" y="95"/>
                    <a:pt x="32" y="97"/>
                  </a:cubicBezTo>
                  <a:cubicBezTo>
                    <a:pt x="31" y="98"/>
                    <a:pt x="31" y="95"/>
                    <a:pt x="26" y="9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 101"/>
            <p:cNvSpPr>
              <a:spLocks/>
            </p:cNvSpPr>
            <p:nvPr/>
          </p:nvSpPr>
          <p:spPr bwMode="auto">
            <a:xfrm>
              <a:off x="5693609" y="5455640"/>
              <a:ext cx="271546" cy="507733"/>
            </a:xfrm>
            <a:custGeom>
              <a:avLst/>
              <a:gdLst/>
              <a:ahLst/>
              <a:cxnLst>
                <a:cxn ang="0">
                  <a:pos x="17" y="163"/>
                </a:cxn>
                <a:cxn ang="0">
                  <a:pos x="23" y="163"/>
                </a:cxn>
                <a:cxn ang="0">
                  <a:pos x="21" y="156"/>
                </a:cxn>
                <a:cxn ang="0">
                  <a:pos x="34" y="145"/>
                </a:cxn>
                <a:cxn ang="0">
                  <a:pos x="43" y="132"/>
                </a:cxn>
                <a:cxn ang="0">
                  <a:pos x="44" y="120"/>
                </a:cxn>
                <a:cxn ang="0">
                  <a:pos x="41" y="114"/>
                </a:cxn>
                <a:cxn ang="0">
                  <a:pos x="38" y="101"/>
                </a:cxn>
                <a:cxn ang="0">
                  <a:pos x="37" y="93"/>
                </a:cxn>
                <a:cxn ang="0">
                  <a:pos x="43" y="87"/>
                </a:cxn>
                <a:cxn ang="0">
                  <a:pos x="53" y="78"/>
                </a:cxn>
                <a:cxn ang="0">
                  <a:pos x="69" y="65"/>
                </a:cxn>
                <a:cxn ang="0">
                  <a:pos x="82" y="48"/>
                </a:cxn>
                <a:cxn ang="0">
                  <a:pos x="85" y="42"/>
                </a:cxn>
                <a:cxn ang="0">
                  <a:pos x="82" y="31"/>
                </a:cxn>
                <a:cxn ang="0">
                  <a:pos x="82" y="12"/>
                </a:cxn>
                <a:cxn ang="0">
                  <a:pos x="82" y="0"/>
                </a:cxn>
                <a:cxn ang="0">
                  <a:pos x="70" y="8"/>
                </a:cxn>
                <a:cxn ang="0">
                  <a:pos x="63" y="8"/>
                </a:cxn>
                <a:cxn ang="0">
                  <a:pos x="55" y="11"/>
                </a:cxn>
                <a:cxn ang="0">
                  <a:pos x="47" y="11"/>
                </a:cxn>
                <a:cxn ang="0">
                  <a:pos x="37" y="9"/>
                </a:cxn>
                <a:cxn ang="0">
                  <a:pos x="35" y="14"/>
                </a:cxn>
                <a:cxn ang="0">
                  <a:pos x="35" y="26"/>
                </a:cxn>
                <a:cxn ang="0">
                  <a:pos x="43" y="36"/>
                </a:cxn>
                <a:cxn ang="0">
                  <a:pos x="46" y="48"/>
                </a:cxn>
                <a:cxn ang="0">
                  <a:pos x="44" y="56"/>
                </a:cxn>
                <a:cxn ang="0">
                  <a:pos x="41" y="61"/>
                </a:cxn>
                <a:cxn ang="0">
                  <a:pos x="40" y="65"/>
                </a:cxn>
                <a:cxn ang="0">
                  <a:pos x="35" y="56"/>
                </a:cxn>
                <a:cxn ang="0">
                  <a:pos x="35" y="47"/>
                </a:cxn>
                <a:cxn ang="0">
                  <a:pos x="29" y="39"/>
                </a:cxn>
                <a:cxn ang="0">
                  <a:pos x="24" y="34"/>
                </a:cxn>
                <a:cxn ang="0">
                  <a:pos x="2" y="43"/>
                </a:cxn>
                <a:cxn ang="0">
                  <a:pos x="3" y="50"/>
                </a:cxn>
                <a:cxn ang="0">
                  <a:pos x="12" y="56"/>
                </a:cxn>
                <a:cxn ang="0">
                  <a:pos x="21" y="61"/>
                </a:cxn>
                <a:cxn ang="0">
                  <a:pos x="23" y="67"/>
                </a:cxn>
                <a:cxn ang="0">
                  <a:pos x="21" y="82"/>
                </a:cxn>
                <a:cxn ang="0">
                  <a:pos x="21" y="87"/>
                </a:cxn>
                <a:cxn ang="0">
                  <a:pos x="23" y="96"/>
                </a:cxn>
                <a:cxn ang="0">
                  <a:pos x="17" y="109"/>
                </a:cxn>
                <a:cxn ang="0">
                  <a:pos x="9" y="118"/>
                </a:cxn>
                <a:cxn ang="0">
                  <a:pos x="15" y="156"/>
                </a:cxn>
                <a:cxn ang="0">
                  <a:pos x="17" y="163"/>
                </a:cxn>
              </a:cxnLst>
              <a:rect l="0" t="0" r="r" b="b"/>
              <a:pathLst>
                <a:path w="87" h="163">
                  <a:moveTo>
                    <a:pt x="17" y="163"/>
                  </a:moveTo>
                  <a:cubicBezTo>
                    <a:pt x="23" y="163"/>
                    <a:pt x="23" y="163"/>
                    <a:pt x="23" y="163"/>
                  </a:cubicBezTo>
                  <a:cubicBezTo>
                    <a:pt x="24" y="152"/>
                    <a:pt x="21" y="160"/>
                    <a:pt x="21" y="156"/>
                  </a:cubicBezTo>
                  <a:cubicBezTo>
                    <a:pt x="20" y="152"/>
                    <a:pt x="26" y="148"/>
                    <a:pt x="34" y="145"/>
                  </a:cubicBezTo>
                  <a:cubicBezTo>
                    <a:pt x="41" y="142"/>
                    <a:pt x="44" y="137"/>
                    <a:pt x="43" y="132"/>
                  </a:cubicBezTo>
                  <a:cubicBezTo>
                    <a:pt x="41" y="129"/>
                    <a:pt x="44" y="129"/>
                    <a:pt x="44" y="120"/>
                  </a:cubicBezTo>
                  <a:cubicBezTo>
                    <a:pt x="43" y="110"/>
                    <a:pt x="43" y="121"/>
                    <a:pt x="41" y="114"/>
                  </a:cubicBezTo>
                  <a:cubicBezTo>
                    <a:pt x="40" y="104"/>
                    <a:pt x="41" y="106"/>
                    <a:pt x="38" y="101"/>
                  </a:cubicBezTo>
                  <a:cubicBezTo>
                    <a:pt x="35" y="98"/>
                    <a:pt x="37" y="96"/>
                    <a:pt x="37" y="93"/>
                  </a:cubicBezTo>
                  <a:cubicBezTo>
                    <a:pt x="37" y="90"/>
                    <a:pt x="38" y="95"/>
                    <a:pt x="43" y="87"/>
                  </a:cubicBezTo>
                  <a:cubicBezTo>
                    <a:pt x="49" y="81"/>
                    <a:pt x="47" y="87"/>
                    <a:pt x="53" y="78"/>
                  </a:cubicBezTo>
                  <a:cubicBezTo>
                    <a:pt x="58" y="67"/>
                    <a:pt x="64" y="67"/>
                    <a:pt x="69" y="65"/>
                  </a:cubicBezTo>
                  <a:cubicBezTo>
                    <a:pt x="75" y="64"/>
                    <a:pt x="78" y="57"/>
                    <a:pt x="82" y="48"/>
                  </a:cubicBezTo>
                  <a:cubicBezTo>
                    <a:pt x="85" y="42"/>
                    <a:pt x="82" y="47"/>
                    <a:pt x="85" y="42"/>
                  </a:cubicBezTo>
                  <a:cubicBezTo>
                    <a:pt x="87" y="37"/>
                    <a:pt x="82" y="40"/>
                    <a:pt x="82" y="31"/>
                  </a:cubicBezTo>
                  <a:cubicBezTo>
                    <a:pt x="84" y="23"/>
                    <a:pt x="84" y="18"/>
                    <a:pt x="82" y="12"/>
                  </a:cubicBezTo>
                  <a:cubicBezTo>
                    <a:pt x="81" y="3"/>
                    <a:pt x="87" y="8"/>
                    <a:pt x="82" y="0"/>
                  </a:cubicBezTo>
                  <a:cubicBezTo>
                    <a:pt x="79" y="3"/>
                    <a:pt x="76" y="4"/>
                    <a:pt x="70" y="8"/>
                  </a:cubicBezTo>
                  <a:cubicBezTo>
                    <a:pt x="64" y="11"/>
                    <a:pt x="63" y="3"/>
                    <a:pt x="63" y="8"/>
                  </a:cubicBezTo>
                  <a:cubicBezTo>
                    <a:pt x="61" y="12"/>
                    <a:pt x="56" y="12"/>
                    <a:pt x="55" y="11"/>
                  </a:cubicBezTo>
                  <a:cubicBezTo>
                    <a:pt x="53" y="9"/>
                    <a:pt x="50" y="14"/>
                    <a:pt x="47" y="11"/>
                  </a:cubicBezTo>
                  <a:cubicBezTo>
                    <a:pt x="44" y="6"/>
                    <a:pt x="44" y="12"/>
                    <a:pt x="37" y="9"/>
                  </a:cubicBezTo>
                  <a:cubicBezTo>
                    <a:pt x="35" y="11"/>
                    <a:pt x="37" y="12"/>
                    <a:pt x="35" y="14"/>
                  </a:cubicBezTo>
                  <a:cubicBezTo>
                    <a:pt x="34" y="17"/>
                    <a:pt x="35" y="22"/>
                    <a:pt x="35" y="26"/>
                  </a:cubicBezTo>
                  <a:cubicBezTo>
                    <a:pt x="37" y="29"/>
                    <a:pt x="38" y="29"/>
                    <a:pt x="43" y="36"/>
                  </a:cubicBezTo>
                  <a:cubicBezTo>
                    <a:pt x="49" y="42"/>
                    <a:pt x="46" y="43"/>
                    <a:pt x="46" y="48"/>
                  </a:cubicBezTo>
                  <a:cubicBezTo>
                    <a:pt x="46" y="53"/>
                    <a:pt x="46" y="54"/>
                    <a:pt x="44" y="56"/>
                  </a:cubicBezTo>
                  <a:cubicBezTo>
                    <a:pt x="41" y="56"/>
                    <a:pt x="40" y="57"/>
                    <a:pt x="41" y="61"/>
                  </a:cubicBezTo>
                  <a:cubicBezTo>
                    <a:pt x="41" y="64"/>
                    <a:pt x="41" y="67"/>
                    <a:pt x="40" y="65"/>
                  </a:cubicBezTo>
                  <a:cubicBezTo>
                    <a:pt x="38" y="65"/>
                    <a:pt x="40" y="62"/>
                    <a:pt x="35" y="56"/>
                  </a:cubicBezTo>
                  <a:cubicBezTo>
                    <a:pt x="31" y="51"/>
                    <a:pt x="35" y="53"/>
                    <a:pt x="35" y="47"/>
                  </a:cubicBezTo>
                  <a:cubicBezTo>
                    <a:pt x="37" y="40"/>
                    <a:pt x="35" y="37"/>
                    <a:pt x="29" y="39"/>
                  </a:cubicBezTo>
                  <a:cubicBezTo>
                    <a:pt x="27" y="40"/>
                    <a:pt x="26" y="37"/>
                    <a:pt x="24" y="34"/>
                  </a:cubicBezTo>
                  <a:cubicBezTo>
                    <a:pt x="23" y="36"/>
                    <a:pt x="3" y="43"/>
                    <a:pt x="2" y="43"/>
                  </a:cubicBezTo>
                  <a:cubicBezTo>
                    <a:pt x="0" y="43"/>
                    <a:pt x="2" y="48"/>
                    <a:pt x="3" y="50"/>
                  </a:cubicBezTo>
                  <a:cubicBezTo>
                    <a:pt x="2" y="57"/>
                    <a:pt x="8" y="51"/>
                    <a:pt x="12" y="56"/>
                  </a:cubicBezTo>
                  <a:cubicBezTo>
                    <a:pt x="17" y="59"/>
                    <a:pt x="18" y="57"/>
                    <a:pt x="21" y="61"/>
                  </a:cubicBezTo>
                  <a:cubicBezTo>
                    <a:pt x="24" y="62"/>
                    <a:pt x="21" y="62"/>
                    <a:pt x="23" y="67"/>
                  </a:cubicBezTo>
                  <a:cubicBezTo>
                    <a:pt x="24" y="70"/>
                    <a:pt x="23" y="82"/>
                    <a:pt x="21" y="82"/>
                  </a:cubicBezTo>
                  <a:cubicBezTo>
                    <a:pt x="20" y="82"/>
                    <a:pt x="23" y="84"/>
                    <a:pt x="21" y="87"/>
                  </a:cubicBezTo>
                  <a:cubicBezTo>
                    <a:pt x="20" y="92"/>
                    <a:pt x="26" y="90"/>
                    <a:pt x="23" y="96"/>
                  </a:cubicBezTo>
                  <a:cubicBezTo>
                    <a:pt x="17" y="104"/>
                    <a:pt x="20" y="106"/>
                    <a:pt x="17" y="109"/>
                  </a:cubicBezTo>
                  <a:cubicBezTo>
                    <a:pt x="15" y="112"/>
                    <a:pt x="9" y="118"/>
                    <a:pt x="9" y="118"/>
                  </a:cubicBezTo>
                  <a:cubicBezTo>
                    <a:pt x="12" y="126"/>
                    <a:pt x="17" y="146"/>
                    <a:pt x="15" y="156"/>
                  </a:cubicBezTo>
                  <a:cubicBezTo>
                    <a:pt x="17" y="163"/>
                    <a:pt x="17" y="163"/>
                    <a:pt x="17" y="16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 102"/>
            <p:cNvSpPr>
              <a:spLocks/>
            </p:cNvSpPr>
            <p:nvPr/>
          </p:nvSpPr>
          <p:spPr bwMode="auto">
            <a:xfrm>
              <a:off x="5232462" y="5645236"/>
              <a:ext cx="342245" cy="390441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15" y="42"/>
                </a:cxn>
                <a:cxn ang="0">
                  <a:pos x="23" y="68"/>
                </a:cxn>
                <a:cxn ang="0">
                  <a:pos x="29" y="101"/>
                </a:cxn>
                <a:cxn ang="0">
                  <a:pos x="40" y="121"/>
                </a:cxn>
                <a:cxn ang="0">
                  <a:pos x="46" y="116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9" y="119"/>
                </a:cxn>
                <a:cxn ang="0">
                  <a:pos x="69" y="82"/>
                </a:cxn>
                <a:cxn ang="0">
                  <a:pos x="69" y="54"/>
                </a:cxn>
                <a:cxn ang="0">
                  <a:pos x="77" y="54"/>
                </a:cxn>
                <a:cxn ang="0">
                  <a:pos x="77" y="17"/>
                </a:cxn>
                <a:cxn ang="0">
                  <a:pos x="87" y="14"/>
                </a:cxn>
                <a:cxn ang="0">
                  <a:pos x="96" y="15"/>
                </a:cxn>
                <a:cxn ang="0">
                  <a:pos x="102" y="14"/>
                </a:cxn>
                <a:cxn ang="0">
                  <a:pos x="110" y="11"/>
                </a:cxn>
                <a:cxn ang="0">
                  <a:pos x="95" y="9"/>
                </a:cxn>
                <a:cxn ang="0">
                  <a:pos x="80" y="14"/>
                </a:cxn>
                <a:cxn ang="0">
                  <a:pos x="77" y="12"/>
                </a:cxn>
                <a:cxn ang="0">
                  <a:pos x="72" y="12"/>
                </a:cxn>
                <a:cxn ang="0">
                  <a:pos x="58" y="9"/>
                </a:cxn>
                <a:cxn ang="0">
                  <a:pos x="51" y="8"/>
                </a:cxn>
                <a:cxn ang="0">
                  <a:pos x="22" y="8"/>
                </a:cxn>
                <a:cxn ang="0">
                  <a:pos x="12" y="3"/>
                </a:cxn>
                <a:cxn ang="0">
                  <a:pos x="2" y="6"/>
                </a:cxn>
              </a:cxnLst>
              <a:rect l="0" t="0" r="r" b="b"/>
              <a:pathLst>
                <a:path w="110" h="125">
                  <a:moveTo>
                    <a:pt x="2" y="6"/>
                  </a:moveTo>
                  <a:cubicBezTo>
                    <a:pt x="0" y="15"/>
                    <a:pt x="11" y="25"/>
                    <a:pt x="15" y="42"/>
                  </a:cubicBezTo>
                  <a:cubicBezTo>
                    <a:pt x="19" y="57"/>
                    <a:pt x="26" y="49"/>
                    <a:pt x="23" y="68"/>
                  </a:cubicBezTo>
                  <a:cubicBezTo>
                    <a:pt x="23" y="76"/>
                    <a:pt x="28" y="90"/>
                    <a:pt x="29" y="101"/>
                  </a:cubicBezTo>
                  <a:cubicBezTo>
                    <a:pt x="29" y="113"/>
                    <a:pt x="37" y="118"/>
                    <a:pt x="40" y="121"/>
                  </a:cubicBezTo>
                  <a:cubicBezTo>
                    <a:pt x="44" y="119"/>
                    <a:pt x="43" y="113"/>
                    <a:pt x="46" y="116"/>
                  </a:cubicBezTo>
                  <a:cubicBezTo>
                    <a:pt x="49" y="119"/>
                    <a:pt x="44" y="121"/>
                    <a:pt x="51" y="124"/>
                  </a:cubicBezTo>
                  <a:cubicBezTo>
                    <a:pt x="55" y="125"/>
                    <a:pt x="58" y="122"/>
                    <a:pt x="60" y="124"/>
                  </a:cubicBezTo>
                  <a:cubicBezTo>
                    <a:pt x="61" y="125"/>
                    <a:pt x="64" y="121"/>
                    <a:pt x="69" y="119"/>
                  </a:cubicBezTo>
                  <a:cubicBezTo>
                    <a:pt x="69" y="82"/>
                    <a:pt x="69" y="82"/>
                    <a:pt x="69" y="82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7"/>
                    <a:pt x="81" y="15"/>
                    <a:pt x="87" y="14"/>
                  </a:cubicBezTo>
                  <a:cubicBezTo>
                    <a:pt x="93" y="14"/>
                    <a:pt x="95" y="12"/>
                    <a:pt x="96" y="15"/>
                  </a:cubicBezTo>
                  <a:cubicBezTo>
                    <a:pt x="98" y="20"/>
                    <a:pt x="99" y="14"/>
                    <a:pt x="102" y="14"/>
                  </a:cubicBezTo>
                  <a:cubicBezTo>
                    <a:pt x="105" y="14"/>
                    <a:pt x="105" y="12"/>
                    <a:pt x="110" y="11"/>
                  </a:cubicBezTo>
                  <a:cubicBezTo>
                    <a:pt x="107" y="6"/>
                    <a:pt x="102" y="8"/>
                    <a:pt x="95" y="9"/>
                  </a:cubicBezTo>
                  <a:cubicBezTo>
                    <a:pt x="95" y="9"/>
                    <a:pt x="83" y="12"/>
                    <a:pt x="80" y="14"/>
                  </a:cubicBezTo>
                  <a:cubicBezTo>
                    <a:pt x="78" y="14"/>
                    <a:pt x="77" y="11"/>
                    <a:pt x="77" y="12"/>
                  </a:cubicBezTo>
                  <a:cubicBezTo>
                    <a:pt x="75" y="14"/>
                    <a:pt x="75" y="14"/>
                    <a:pt x="72" y="12"/>
                  </a:cubicBezTo>
                  <a:cubicBezTo>
                    <a:pt x="69" y="11"/>
                    <a:pt x="60" y="15"/>
                    <a:pt x="58" y="9"/>
                  </a:cubicBezTo>
                  <a:cubicBezTo>
                    <a:pt x="57" y="6"/>
                    <a:pt x="55" y="8"/>
                    <a:pt x="51" y="8"/>
                  </a:cubicBezTo>
                  <a:cubicBezTo>
                    <a:pt x="46" y="8"/>
                    <a:pt x="26" y="8"/>
                    <a:pt x="22" y="8"/>
                  </a:cubicBezTo>
                  <a:cubicBezTo>
                    <a:pt x="17" y="8"/>
                    <a:pt x="19" y="0"/>
                    <a:pt x="12" y="3"/>
                  </a:cubicBezTo>
                  <a:cubicBezTo>
                    <a:pt x="8" y="6"/>
                    <a:pt x="8" y="6"/>
                    <a:pt x="2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 103"/>
            <p:cNvSpPr>
              <a:spLocks/>
            </p:cNvSpPr>
            <p:nvPr/>
          </p:nvSpPr>
          <p:spPr bwMode="auto">
            <a:xfrm>
              <a:off x="5447772" y="5677371"/>
              <a:ext cx="226556" cy="295642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4" y="3"/>
                </a:cxn>
                <a:cxn ang="0">
                  <a:pos x="27" y="5"/>
                </a:cxn>
                <a:cxn ang="0">
                  <a:pos x="18" y="3"/>
                </a:cxn>
                <a:cxn ang="0">
                  <a:pos x="8" y="7"/>
                </a:cxn>
                <a:cxn ang="0">
                  <a:pos x="8" y="44"/>
                </a:cxn>
                <a:cxn ang="0">
                  <a:pos x="0" y="44"/>
                </a:cxn>
                <a:cxn ang="0">
                  <a:pos x="0" y="72"/>
                </a:cxn>
                <a:cxn ang="0">
                  <a:pos x="5" y="88"/>
                </a:cxn>
                <a:cxn ang="0">
                  <a:pos x="6" y="94"/>
                </a:cxn>
                <a:cxn ang="0">
                  <a:pos x="17" y="89"/>
                </a:cxn>
                <a:cxn ang="0">
                  <a:pos x="30" y="80"/>
                </a:cxn>
                <a:cxn ang="0">
                  <a:pos x="46" y="75"/>
                </a:cxn>
                <a:cxn ang="0">
                  <a:pos x="55" y="63"/>
                </a:cxn>
                <a:cxn ang="0">
                  <a:pos x="62" y="53"/>
                </a:cxn>
                <a:cxn ang="0">
                  <a:pos x="73" y="46"/>
                </a:cxn>
                <a:cxn ang="0">
                  <a:pos x="65" y="39"/>
                </a:cxn>
                <a:cxn ang="0">
                  <a:pos x="61" y="30"/>
                </a:cxn>
                <a:cxn ang="0">
                  <a:pos x="58" y="25"/>
                </a:cxn>
                <a:cxn ang="0">
                  <a:pos x="47" y="16"/>
                </a:cxn>
                <a:cxn ang="0">
                  <a:pos x="41" y="0"/>
                </a:cxn>
              </a:cxnLst>
              <a:rect l="0" t="0" r="r" b="b"/>
              <a:pathLst>
                <a:path w="73" h="95">
                  <a:moveTo>
                    <a:pt x="41" y="0"/>
                  </a:moveTo>
                  <a:cubicBezTo>
                    <a:pt x="37" y="2"/>
                    <a:pt x="37" y="3"/>
                    <a:pt x="34" y="3"/>
                  </a:cubicBezTo>
                  <a:cubicBezTo>
                    <a:pt x="30" y="3"/>
                    <a:pt x="29" y="10"/>
                    <a:pt x="27" y="5"/>
                  </a:cubicBezTo>
                  <a:cubicBezTo>
                    <a:pt x="26" y="2"/>
                    <a:pt x="24" y="3"/>
                    <a:pt x="18" y="3"/>
                  </a:cubicBezTo>
                  <a:cubicBezTo>
                    <a:pt x="12" y="5"/>
                    <a:pt x="8" y="7"/>
                    <a:pt x="8" y="7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3" y="75"/>
                    <a:pt x="6" y="84"/>
                    <a:pt x="5" y="88"/>
                  </a:cubicBezTo>
                  <a:cubicBezTo>
                    <a:pt x="3" y="89"/>
                    <a:pt x="3" y="94"/>
                    <a:pt x="6" y="94"/>
                  </a:cubicBezTo>
                  <a:cubicBezTo>
                    <a:pt x="9" y="92"/>
                    <a:pt x="11" y="95"/>
                    <a:pt x="17" y="89"/>
                  </a:cubicBezTo>
                  <a:cubicBezTo>
                    <a:pt x="21" y="83"/>
                    <a:pt x="20" y="72"/>
                    <a:pt x="30" y="80"/>
                  </a:cubicBezTo>
                  <a:cubicBezTo>
                    <a:pt x="41" y="86"/>
                    <a:pt x="43" y="80"/>
                    <a:pt x="46" y="75"/>
                  </a:cubicBezTo>
                  <a:cubicBezTo>
                    <a:pt x="47" y="69"/>
                    <a:pt x="53" y="70"/>
                    <a:pt x="55" y="63"/>
                  </a:cubicBezTo>
                  <a:cubicBezTo>
                    <a:pt x="56" y="56"/>
                    <a:pt x="61" y="58"/>
                    <a:pt x="62" y="53"/>
                  </a:cubicBezTo>
                  <a:cubicBezTo>
                    <a:pt x="64" y="49"/>
                    <a:pt x="68" y="50"/>
                    <a:pt x="73" y="46"/>
                  </a:cubicBezTo>
                  <a:cubicBezTo>
                    <a:pt x="72" y="41"/>
                    <a:pt x="70" y="41"/>
                    <a:pt x="65" y="39"/>
                  </a:cubicBezTo>
                  <a:cubicBezTo>
                    <a:pt x="62" y="38"/>
                    <a:pt x="59" y="35"/>
                    <a:pt x="61" y="30"/>
                  </a:cubicBezTo>
                  <a:cubicBezTo>
                    <a:pt x="61" y="25"/>
                    <a:pt x="58" y="30"/>
                    <a:pt x="58" y="25"/>
                  </a:cubicBezTo>
                  <a:cubicBezTo>
                    <a:pt x="58" y="22"/>
                    <a:pt x="49" y="22"/>
                    <a:pt x="47" y="16"/>
                  </a:cubicBezTo>
                  <a:cubicBezTo>
                    <a:pt x="46" y="11"/>
                    <a:pt x="43" y="8"/>
                    <a:pt x="4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 104"/>
            <p:cNvSpPr>
              <a:spLocks/>
            </p:cNvSpPr>
            <p:nvPr/>
          </p:nvSpPr>
          <p:spPr bwMode="auto">
            <a:xfrm>
              <a:off x="5574707" y="5608281"/>
              <a:ext cx="199241" cy="21530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6" y="38"/>
                </a:cxn>
                <a:cxn ang="0">
                  <a:pos x="17" y="47"/>
                </a:cxn>
                <a:cxn ang="0">
                  <a:pos x="20" y="52"/>
                </a:cxn>
                <a:cxn ang="0">
                  <a:pos x="24" y="61"/>
                </a:cxn>
                <a:cxn ang="0">
                  <a:pos x="32" y="67"/>
                </a:cxn>
                <a:cxn ang="0">
                  <a:pos x="43" y="69"/>
                </a:cxn>
                <a:cxn ang="0">
                  <a:pos x="47" y="69"/>
                </a:cxn>
                <a:cxn ang="0">
                  <a:pos x="55" y="59"/>
                </a:cxn>
                <a:cxn ang="0">
                  <a:pos x="61" y="47"/>
                </a:cxn>
                <a:cxn ang="0">
                  <a:pos x="59" y="38"/>
                </a:cxn>
                <a:cxn ang="0">
                  <a:pos x="59" y="33"/>
                </a:cxn>
                <a:cxn ang="0">
                  <a:pos x="61" y="17"/>
                </a:cxn>
                <a:cxn ang="0">
                  <a:pos x="59" y="11"/>
                </a:cxn>
                <a:cxn ang="0">
                  <a:pos x="50" y="7"/>
                </a:cxn>
                <a:cxn ang="0">
                  <a:pos x="41" y="0"/>
                </a:cxn>
                <a:cxn ang="0">
                  <a:pos x="31" y="3"/>
                </a:cxn>
                <a:cxn ang="0">
                  <a:pos x="26" y="11"/>
                </a:cxn>
                <a:cxn ang="0">
                  <a:pos x="14" y="24"/>
                </a:cxn>
                <a:cxn ang="0">
                  <a:pos x="6" y="24"/>
                </a:cxn>
                <a:cxn ang="0">
                  <a:pos x="0" y="22"/>
                </a:cxn>
              </a:cxnLst>
              <a:rect l="0" t="0" r="r" b="b"/>
              <a:pathLst>
                <a:path w="64" h="69">
                  <a:moveTo>
                    <a:pt x="0" y="22"/>
                  </a:moveTo>
                  <a:cubicBezTo>
                    <a:pt x="2" y="30"/>
                    <a:pt x="5" y="33"/>
                    <a:pt x="6" y="38"/>
                  </a:cubicBezTo>
                  <a:cubicBezTo>
                    <a:pt x="8" y="44"/>
                    <a:pt x="17" y="44"/>
                    <a:pt x="17" y="47"/>
                  </a:cubicBezTo>
                  <a:cubicBezTo>
                    <a:pt x="17" y="52"/>
                    <a:pt x="20" y="47"/>
                    <a:pt x="20" y="52"/>
                  </a:cubicBezTo>
                  <a:cubicBezTo>
                    <a:pt x="18" y="56"/>
                    <a:pt x="21" y="59"/>
                    <a:pt x="24" y="61"/>
                  </a:cubicBezTo>
                  <a:cubicBezTo>
                    <a:pt x="29" y="63"/>
                    <a:pt x="31" y="63"/>
                    <a:pt x="32" y="67"/>
                  </a:cubicBezTo>
                  <a:cubicBezTo>
                    <a:pt x="37" y="66"/>
                    <a:pt x="40" y="69"/>
                    <a:pt x="43" y="69"/>
                  </a:cubicBezTo>
                  <a:cubicBezTo>
                    <a:pt x="44" y="67"/>
                    <a:pt x="46" y="69"/>
                    <a:pt x="47" y="69"/>
                  </a:cubicBezTo>
                  <a:cubicBezTo>
                    <a:pt x="47" y="69"/>
                    <a:pt x="53" y="63"/>
                    <a:pt x="55" y="59"/>
                  </a:cubicBezTo>
                  <a:cubicBezTo>
                    <a:pt x="58" y="56"/>
                    <a:pt x="55" y="55"/>
                    <a:pt x="61" y="47"/>
                  </a:cubicBezTo>
                  <a:cubicBezTo>
                    <a:pt x="64" y="41"/>
                    <a:pt x="58" y="42"/>
                    <a:pt x="59" y="38"/>
                  </a:cubicBezTo>
                  <a:cubicBezTo>
                    <a:pt x="61" y="35"/>
                    <a:pt x="58" y="33"/>
                    <a:pt x="59" y="33"/>
                  </a:cubicBezTo>
                  <a:cubicBezTo>
                    <a:pt x="61" y="33"/>
                    <a:pt x="62" y="21"/>
                    <a:pt x="61" y="17"/>
                  </a:cubicBezTo>
                  <a:cubicBezTo>
                    <a:pt x="59" y="13"/>
                    <a:pt x="62" y="13"/>
                    <a:pt x="59" y="11"/>
                  </a:cubicBezTo>
                  <a:cubicBezTo>
                    <a:pt x="56" y="8"/>
                    <a:pt x="55" y="10"/>
                    <a:pt x="50" y="7"/>
                  </a:cubicBezTo>
                  <a:cubicBezTo>
                    <a:pt x="46" y="2"/>
                    <a:pt x="40" y="8"/>
                    <a:pt x="41" y="0"/>
                  </a:cubicBezTo>
                  <a:cubicBezTo>
                    <a:pt x="38" y="2"/>
                    <a:pt x="35" y="0"/>
                    <a:pt x="31" y="3"/>
                  </a:cubicBezTo>
                  <a:cubicBezTo>
                    <a:pt x="26" y="7"/>
                    <a:pt x="31" y="10"/>
                    <a:pt x="26" y="11"/>
                  </a:cubicBezTo>
                  <a:cubicBezTo>
                    <a:pt x="20" y="14"/>
                    <a:pt x="17" y="19"/>
                    <a:pt x="14" y="24"/>
                  </a:cubicBezTo>
                  <a:cubicBezTo>
                    <a:pt x="11" y="28"/>
                    <a:pt x="9" y="22"/>
                    <a:pt x="6" y="24"/>
                  </a:cubicBezTo>
                  <a:cubicBezTo>
                    <a:pt x="5" y="25"/>
                    <a:pt x="5" y="22"/>
                    <a:pt x="0" y="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 105"/>
            <p:cNvSpPr>
              <a:spLocks/>
            </p:cNvSpPr>
            <p:nvPr/>
          </p:nvSpPr>
          <p:spPr bwMode="auto">
            <a:xfrm>
              <a:off x="5357792" y="5813946"/>
              <a:ext cx="408123" cy="414542"/>
            </a:xfrm>
            <a:custGeom>
              <a:avLst/>
              <a:gdLst/>
              <a:ahLst/>
              <a:cxnLst>
                <a:cxn ang="0">
                  <a:pos x="102" y="1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23" y="40"/>
                </a:cxn>
                <a:cxn ang="0">
                  <a:pos x="114" y="43"/>
                </a:cxn>
                <a:cxn ang="0">
                  <a:pos x="122" y="54"/>
                </a:cxn>
                <a:cxn ang="0">
                  <a:pos x="125" y="48"/>
                </a:cxn>
                <a:cxn ang="0">
                  <a:pos x="131" y="48"/>
                </a:cxn>
                <a:cxn ang="0">
                  <a:pos x="116" y="81"/>
                </a:cxn>
                <a:cxn ang="0">
                  <a:pos x="102" y="101"/>
                </a:cxn>
                <a:cxn ang="0">
                  <a:pos x="84" y="119"/>
                </a:cxn>
                <a:cxn ang="0">
                  <a:pos x="73" y="123"/>
                </a:cxn>
                <a:cxn ang="0">
                  <a:pos x="67" y="124"/>
                </a:cxn>
                <a:cxn ang="0">
                  <a:pos x="56" y="124"/>
                </a:cxn>
                <a:cxn ang="0">
                  <a:pos x="47" y="124"/>
                </a:cxn>
                <a:cxn ang="0">
                  <a:pos x="41" y="127"/>
                </a:cxn>
                <a:cxn ang="0">
                  <a:pos x="34" y="129"/>
                </a:cxn>
                <a:cxn ang="0">
                  <a:pos x="29" y="132"/>
                </a:cxn>
                <a:cxn ang="0">
                  <a:pos x="24" y="132"/>
                </a:cxn>
                <a:cxn ang="0">
                  <a:pos x="23" y="129"/>
                </a:cxn>
                <a:cxn ang="0">
                  <a:pos x="20" y="126"/>
                </a:cxn>
                <a:cxn ang="0">
                  <a:pos x="17" y="126"/>
                </a:cxn>
                <a:cxn ang="0">
                  <a:pos x="15" y="123"/>
                </a:cxn>
                <a:cxn ang="0">
                  <a:pos x="12" y="116"/>
                </a:cxn>
                <a:cxn ang="0">
                  <a:pos x="12" y="110"/>
                </a:cxn>
                <a:cxn ang="0">
                  <a:pos x="11" y="95"/>
                </a:cxn>
                <a:cxn ang="0">
                  <a:pos x="0" y="67"/>
                </a:cxn>
                <a:cxn ang="0">
                  <a:pos x="6" y="62"/>
                </a:cxn>
                <a:cxn ang="0">
                  <a:pos x="11" y="70"/>
                </a:cxn>
                <a:cxn ang="0">
                  <a:pos x="20" y="70"/>
                </a:cxn>
                <a:cxn ang="0">
                  <a:pos x="29" y="65"/>
                </a:cxn>
                <a:cxn ang="0">
                  <a:pos x="29" y="28"/>
                </a:cxn>
                <a:cxn ang="0">
                  <a:pos x="34" y="43"/>
                </a:cxn>
                <a:cxn ang="0">
                  <a:pos x="35" y="50"/>
                </a:cxn>
                <a:cxn ang="0">
                  <a:pos x="46" y="45"/>
                </a:cxn>
                <a:cxn ang="0">
                  <a:pos x="59" y="36"/>
                </a:cxn>
                <a:cxn ang="0">
                  <a:pos x="75" y="31"/>
                </a:cxn>
                <a:cxn ang="0">
                  <a:pos x="84" y="19"/>
                </a:cxn>
                <a:cxn ang="0">
                  <a:pos x="91" y="9"/>
                </a:cxn>
                <a:cxn ang="0">
                  <a:pos x="102" y="1"/>
                </a:cxn>
              </a:cxnLst>
              <a:rect l="0" t="0" r="r" b="b"/>
              <a:pathLst>
                <a:path w="131" h="133">
                  <a:moveTo>
                    <a:pt x="102" y="1"/>
                  </a:moveTo>
                  <a:cubicBezTo>
                    <a:pt x="107" y="0"/>
                    <a:pt x="110" y="3"/>
                    <a:pt x="113" y="3"/>
                  </a:cubicBezTo>
                  <a:cubicBezTo>
                    <a:pt x="114" y="1"/>
                    <a:pt x="116" y="3"/>
                    <a:pt x="117" y="3"/>
                  </a:cubicBezTo>
                  <a:cubicBezTo>
                    <a:pt x="120" y="11"/>
                    <a:pt x="125" y="31"/>
                    <a:pt x="123" y="40"/>
                  </a:cubicBezTo>
                  <a:cubicBezTo>
                    <a:pt x="117" y="36"/>
                    <a:pt x="116" y="39"/>
                    <a:pt x="114" y="43"/>
                  </a:cubicBezTo>
                  <a:cubicBezTo>
                    <a:pt x="113" y="50"/>
                    <a:pt x="119" y="54"/>
                    <a:pt x="122" y="54"/>
                  </a:cubicBezTo>
                  <a:cubicBezTo>
                    <a:pt x="125" y="54"/>
                    <a:pt x="122" y="48"/>
                    <a:pt x="125" y="48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28" y="74"/>
                    <a:pt x="123" y="62"/>
                    <a:pt x="116" y="81"/>
                  </a:cubicBezTo>
                  <a:cubicBezTo>
                    <a:pt x="108" y="98"/>
                    <a:pt x="105" y="95"/>
                    <a:pt x="102" y="101"/>
                  </a:cubicBezTo>
                  <a:cubicBezTo>
                    <a:pt x="94" y="112"/>
                    <a:pt x="87" y="116"/>
                    <a:pt x="84" y="119"/>
                  </a:cubicBezTo>
                  <a:cubicBezTo>
                    <a:pt x="79" y="123"/>
                    <a:pt x="73" y="119"/>
                    <a:pt x="73" y="123"/>
                  </a:cubicBezTo>
                  <a:cubicBezTo>
                    <a:pt x="75" y="126"/>
                    <a:pt x="69" y="121"/>
                    <a:pt x="67" y="124"/>
                  </a:cubicBezTo>
                  <a:cubicBezTo>
                    <a:pt x="64" y="129"/>
                    <a:pt x="58" y="123"/>
                    <a:pt x="56" y="124"/>
                  </a:cubicBezTo>
                  <a:cubicBezTo>
                    <a:pt x="53" y="126"/>
                    <a:pt x="50" y="123"/>
                    <a:pt x="47" y="124"/>
                  </a:cubicBezTo>
                  <a:cubicBezTo>
                    <a:pt x="44" y="124"/>
                    <a:pt x="46" y="126"/>
                    <a:pt x="41" y="127"/>
                  </a:cubicBezTo>
                  <a:cubicBezTo>
                    <a:pt x="37" y="129"/>
                    <a:pt x="38" y="127"/>
                    <a:pt x="34" y="129"/>
                  </a:cubicBezTo>
                  <a:cubicBezTo>
                    <a:pt x="29" y="129"/>
                    <a:pt x="31" y="133"/>
                    <a:pt x="29" y="132"/>
                  </a:cubicBezTo>
                  <a:cubicBezTo>
                    <a:pt x="28" y="132"/>
                    <a:pt x="26" y="133"/>
                    <a:pt x="24" y="132"/>
                  </a:cubicBezTo>
                  <a:cubicBezTo>
                    <a:pt x="24" y="130"/>
                    <a:pt x="23" y="132"/>
                    <a:pt x="23" y="129"/>
                  </a:cubicBezTo>
                  <a:cubicBezTo>
                    <a:pt x="23" y="126"/>
                    <a:pt x="20" y="130"/>
                    <a:pt x="20" y="126"/>
                  </a:cubicBezTo>
                  <a:cubicBezTo>
                    <a:pt x="20" y="124"/>
                    <a:pt x="17" y="124"/>
                    <a:pt x="17" y="126"/>
                  </a:cubicBezTo>
                  <a:cubicBezTo>
                    <a:pt x="15" y="129"/>
                    <a:pt x="14" y="124"/>
                    <a:pt x="15" y="123"/>
                  </a:cubicBezTo>
                  <a:cubicBezTo>
                    <a:pt x="17" y="121"/>
                    <a:pt x="15" y="119"/>
                    <a:pt x="12" y="116"/>
                  </a:cubicBezTo>
                  <a:cubicBezTo>
                    <a:pt x="9" y="112"/>
                    <a:pt x="11" y="109"/>
                    <a:pt x="12" y="110"/>
                  </a:cubicBezTo>
                  <a:cubicBezTo>
                    <a:pt x="14" y="112"/>
                    <a:pt x="18" y="105"/>
                    <a:pt x="11" y="95"/>
                  </a:cubicBezTo>
                  <a:cubicBezTo>
                    <a:pt x="3" y="81"/>
                    <a:pt x="6" y="74"/>
                    <a:pt x="0" y="67"/>
                  </a:cubicBezTo>
                  <a:cubicBezTo>
                    <a:pt x="5" y="65"/>
                    <a:pt x="3" y="59"/>
                    <a:pt x="6" y="62"/>
                  </a:cubicBezTo>
                  <a:cubicBezTo>
                    <a:pt x="9" y="65"/>
                    <a:pt x="5" y="67"/>
                    <a:pt x="11" y="70"/>
                  </a:cubicBezTo>
                  <a:cubicBezTo>
                    <a:pt x="15" y="71"/>
                    <a:pt x="18" y="68"/>
                    <a:pt x="20" y="70"/>
                  </a:cubicBezTo>
                  <a:cubicBezTo>
                    <a:pt x="21" y="71"/>
                    <a:pt x="24" y="67"/>
                    <a:pt x="29" y="65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32" y="31"/>
                    <a:pt x="35" y="40"/>
                    <a:pt x="34" y="43"/>
                  </a:cubicBezTo>
                  <a:cubicBezTo>
                    <a:pt x="32" y="45"/>
                    <a:pt x="32" y="50"/>
                    <a:pt x="35" y="50"/>
                  </a:cubicBezTo>
                  <a:cubicBezTo>
                    <a:pt x="38" y="48"/>
                    <a:pt x="40" y="51"/>
                    <a:pt x="46" y="45"/>
                  </a:cubicBezTo>
                  <a:cubicBezTo>
                    <a:pt x="50" y="39"/>
                    <a:pt x="49" y="28"/>
                    <a:pt x="59" y="36"/>
                  </a:cubicBezTo>
                  <a:cubicBezTo>
                    <a:pt x="70" y="42"/>
                    <a:pt x="72" y="36"/>
                    <a:pt x="75" y="31"/>
                  </a:cubicBezTo>
                  <a:cubicBezTo>
                    <a:pt x="76" y="25"/>
                    <a:pt x="82" y="26"/>
                    <a:pt x="84" y="19"/>
                  </a:cubicBezTo>
                  <a:cubicBezTo>
                    <a:pt x="85" y="12"/>
                    <a:pt x="90" y="14"/>
                    <a:pt x="91" y="9"/>
                  </a:cubicBezTo>
                  <a:cubicBezTo>
                    <a:pt x="93" y="5"/>
                    <a:pt x="98" y="6"/>
                    <a:pt x="102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 106"/>
            <p:cNvSpPr>
              <a:spLocks/>
            </p:cNvSpPr>
            <p:nvPr/>
          </p:nvSpPr>
          <p:spPr bwMode="auto">
            <a:xfrm>
              <a:off x="5613270" y="6009970"/>
              <a:ext cx="70699" cy="85158"/>
            </a:xfrm>
            <a:custGeom>
              <a:avLst/>
              <a:gdLst/>
              <a:ahLst/>
              <a:cxnLst>
                <a:cxn ang="0">
                  <a:pos x="8" y="25"/>
                </a:cxn>
                <a:cxn ang="0">
                  <a:pos x="3" y="13"/>
                </a:cxn>
                <a:cxn ang="0">
                  <a:pos x="15" y="3"/>
                </a:cxn>
                <a:cxn ang="0">
                  <a:pos x="20" y="14"/>
                </a:cxn>
                <a:cxn ang="0">
                  <a:pos x="11" y="22"/>
                </a:cxn>
                <a:cxn ang="0">
                  <a:pos x="8" y="25"/>
                </a:cxn>
              </a:cxnLst>
              <a:rect l="0" t="0" r="r" b="b"/>
              <a:pathLst>
                <a:path w="23" h="27">
                  <a:moveTo>
                    <a:pt x="8" y="25"/>
                  </a:moveTo>
                  <a:cubicBezTo>
                    <a:pt x="5" y="21"/>
                    <a:pt x="0" y="18"/>
                    <a:pt x="3" y="13"/>
                  </a:cubicBezTo>
                  <a:cubicBezTo>
                    <a:pt x="6" y="8"/>
                    <a:pt x="14" y="0"/>
                    <a:pt x="15" y="3"/>
                  </a:cubicBezTo>
                  <a:cubicBezTo>
                    <a:pt x="18" y="7"/>
                    <a:pt x="23" y="8"/>
                    <a:pt x="20" y="14"/>
                  </a:cubicBezTo>
                  <a:cubicBezTo>
                    <a:pt x="18" y="19"/>
                    <a:pt x="12" y="19"/>
                    <a:pt x="11" y="22"/>
                  </a:cubicBezTo>
                  <a:cubicBezTo>
                    <a:pt x="9" y="25"/>
                    <a:pt x="9" y="27"/>
                    <a:pt x="8" y="2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 107"/>
            <p:cNvSpPr>
              <a:spLocks/>
            </p:cNvSpPr>
            <p:nvPr/>
          </p:nvSpPr>
          <p:spPr bwMode="auto">
            <a:xfrm>
              <a:off x="5709677" y="5923204"/>
              <a:ext cx="36956" cy="59450"/>
            </a:xfrm>
            <a:custGeom>
              <a:avLst/>
              <a:gdLst/>
              <a:ahLst/>
              <a:cxnLst>
                <a:cxn ang="0">
                  <a:pos x="10" y="5"/>
                </a:cxn>
                <a:cxn ang="0">
                  <a:pos x="12" y="13"/>
                </a:cxn>
                <a:cxn ang="0">
                  <a:pos x="9" y="19"/>
                </a:cxn>
                <a:cxn ang="0">
                  <a:pos x="1" y="8"/>
                </a:cxn>
                <a:cxn ang="0">
                  <a:pos x="10" y="5"/>
                </a:cxn>
              </a:cxnLst>
              <a:rect l="0" t="0" r="r" b="b"/>
              <a:pathLst>
                <a:path w="12" h="19">
                  <a:moveTo>
                    <a:pt x="10" y="5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9" y="13"/>
                    <a:pt x="12" y="19"/>
                    <a:pt x="9" y="19"/>
                  </a:cubicBezTo>
                  <a:cubicBezTo>
                    <a:pt x="6" y="19"/>
                    <a:pt x="0" y="15"/>
                    <a:pt x="1" y="8"/>
                  </a:cubicBezTo>
                  <a:cubicBezTo>
                    <a:pt x="3" y="4"/>
                    <a:pt x="4" y="0"/>
                    <a:pt x="10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 108"/>
            <p:cNvSpPr>
              <a:spLocks/>
            </p:cNvSpPr>
            <p:nvPr/>
          </p:nvSpPr>
          <p:spPr bwMode="auto">
            <a:xfrm>
              <a:off x="5756274" y="5421898"/>
              <a:ext cx="86766" cy="242620"/>
            </a:xfrm>
            <a:custGeom>
              <a:avLst/>
              <a:gdLst/>
              <a:ahLst/>
              <a:cxnLst>
                <a:cxn ang="0">
                  <a:pos x="4" y="45"/>
                </a:cxn>
                <a:cxn ang="0">
                  <a:pos x="9" y="50"/>
                </a:cxn>
                <a:cxn ang="0">
                  <a:pos x="15" y="58"/>
                </a:cxn>
                <a:cxn ang="0">
                  <a:pos x="15" y="67"/>
                </a:cxn>
                <a:cxn ang="0">
                  <a:pos x="19" y="76"/>
                </a:cxn>
                <a:cxn ang="0">
                  <a:pos x="21" y="72"/>
                </a:cxn>
                <a:cxn ang="0">
                  <a:pos x="24" y="67"/>
                </a:cxn>
                <a:cxn ang="0">
                  <a:pos x="25" y="59"/>
                </a:cxn>
                <a:cxn ang="0">
                  <a:pos x="22" y="47"/>
                </a:cxn>
                <a:cxn ang="0">
                  <a:pos x="15" y="37"/>
                </a:cxn>
                <a:cxn ang="0">
                  <a:pos x="15" y="25"/>
                </a:cxn>
                <a:cxn ang="0">
                  <a:pos x="16" y="20"/>
                </a:cxn>
                <a:cxn ang="0">
                  <a:pos x="15" y="11"/>
                </a:cxn>
                <a:cxn ang="0">
                  <a:pos x="10" y="2"/>
                </a:cxn>
                <a:cxn ang="0">
                  <a:pos x="3" y="0"/>
                </a:cxn>
                <a:cxn ang="0">
                  <a:pos x="6" y="3"/>
                </a:cxn>
                <a:cxn ang="0">
                  <a:pos x="6" y="8"/>
                </a:cxn>
                <a:cxn ang="0">
                  <a:pos x="7" y="14"/>
                </a:cxn>
                <a:cxn ang="0">
                  <a:pos x="6" y="19"/>
                </a:cxn>
                <a:cxn ang="0">
                  <a:pos x="6" y="25"/>
                </a:cxn>
                <a:cxn ang="0">
                  <a:pos x="6" y="31"/>
                </a:cxn>
                <a:cxn ang="0">
                  <a:pos x="1" y="41"/>
                </a:cxn>
                <a:cxn ang="0">
                  <a:pos x="4" y="45"/>
                </a:cxn>
              </a:cxnLst>
              <a:rect l="0" t="0" r="r" b="b"/>
              <a:pathLst>
                <a:path w="28" h="78">
                  <a:moveTo>
                    <a:pt x="4" y="45"/>
                  </a:moveTo>
                  <a:cubicBezTo>
                    <a:pt x="6" y="48"/>
                    <a:pt x="7" y="51"/>
                    <a:pt x="9" y="50"/>
                  </a:cubicBezTo>
                  <a:cubicBezTo>
                    <a:pt x="15" y="48"/>
                    <a:pt x="16" y="51"/>
                    <a:pt x="15" y="58"/>
                  </a:cubicBezTo>
                  <a:cubicBezTo>
                    <a:pt x="15" y="64"/>
                    <a:pt x="10" y="62"/>
                    <a:pt x="15" y="67"/>
                  </a:cubicBezTo>
                  <a:cubicBezTo>
                    <a:pt x="19" y="73"/>
                    <a:pt x="18" y="76"/>
                    <a:pt x="19" y="76"/>
                  </a:cubicBezTo>
                  <a:cubicBezTo>
                    <a:pt x="21" y="78"/>
                    <a:pt x="21" y="75"/>
                    <a:pt x="21" y="72"/>
                  </a:cubicBezTo>
                  <a:cubicBezTo>
                    <a:pt x="19" y="69"/>
                    <a:pt x="21" y="67"/>
                    <a:pt x="24" y="67"/>
                  </a:cubicBezTo>
                  <a:cubicBezTo>
                    <a:pt x="25" y="65"/>
                    <a:pt x="25" y="64"/>
                    <a:pt x="25" y="59"/>
                  </a:cubicBezTo>
                  <a:cubicBezTo>
                    <a:pt x="25" y="55"/>
                    <a:pt x="28" y="53"/>
                    <a:pt x="22" y="47"/>
                  </a:cubicBezTo>
                  <a:cubicBezTo>
                    <a:pt x="18" y="41"/>
                    <a:pt x="16" y="41"/>
                    <a:pt x="15" y="37"/>
                  </a:cubicBezTo>
                  <a:cubicBezTo>
                    <a:pt x="15" y="33"/>
                    <a:pt x="13" y="28"/>
                    <a:pt x="15" y="25"/>
                  </a:cubicBezTo>
                  <a:cubicBezTo>
                    <a:pt x="16" y="24"/>
                    <a:pt x="15" y="22"/>
                    <a:pt x="16" y="20"/>
                  </a:cubicBezTo>
                  <a:cubicBezTo>
                    <a:pt x="13" y="16"/>
                    <a:pt x="16" y="16"/>
                    <a:pt x="15" y="11"/>
                  </a:cubicBezTo>
                  <a:cubicBezTo>
                    <a:pt x="13" y="6"/>
                    <a:pt x="12" y="3"/>
                    <a:pt x="10" y="2"/>
                  </a:cubicBezTo>
                  <a:cubicBezTo>
                    <a:pt x="7" y="2"/>
                    <a:pt x="4" y="2"/>
                    <a:pt x="3" y="0"/>
                  </a:cubicBezTo>
                  <a:cubicBezTo>
                    <a:pt x="3" y="3"/>
                    <a:pt x="3" y="0"/>
                    <a:pt x="6" y="3"/>
                  </a:cubicBezTo>
                  <a:cubicBezTo>
                    <a:pt x="7" y="5"/>
                    <a:pt x="4" y="5"/>
                    <a:pt x="6" y="8"/>
                  </a:cubicBezTo>
                  <a:cubicBezTo>
                    <a:pt x="9" y="10"/>
                    <a:pt x="9" y="11"/>
                    <a:pt x="7" y="14"/>
                  </a:cubicBezTo>
                  <a:cubicBezTo>
                    <a:pt x="4" y="16"/>
                    <a:pt x="7" y="17"/>
                    <a:pt x="6" y="19"/>
                  </a:cubicBezTo>
                  <a:cubicBezTo>
                    <a:pt x="4" y="20"/>
                    <a:pt x="6" y="22"/>
                    <a:pt x="6" y="25"/>
                  </a:cubicBezTo>
                  <a:cubicBezTo>
                    <a:pt x="4" y="30"/>
                    <a:pt x="9" y="31"/>
                    <a:pt x="6" y="31"/>
                  </a:cubicBezTo>
                  <a:cubicBezTo>
                    <a:pt x="1" y="31"/>
                    <a:pt x="4" y="37"/>
                    <a:pt x="1" y="41"/>
                  </a:cubicBezTo>
                  <a:cubicBezTo>
                    <a:pt x="0" y="42"/>
                    <a:pt x="3" y="44"/>
                    <a:pt x="4" y="4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 109"/>
            <p:cNvSpPr>
              <a:spLocks/>
            </p:cNvSpPr>
            <p:nvPr/>
          </p:nvSpPr>
          <p:spPr bwMode="auto">
            <a:xfrm>
              <a:off x="5275846" y="4408038"/>
              <a:ext cx="274759" cy="499700"/>
            </a:xfrm>
            <a:custGeom>
              <a:avLst/>
              <a:gdLst/>
              <a:ahLst/>
              <a:cxnLst>
                <a:cxn ang="0">
                  <a:pos x="18" y="159"/>
                </a:cxn>
                <a:cxn ang="0">
                  <a:pos x="26" y="157"/>
                </a:cxn>
                <a:cxn ang="0">
                  <a:pos x="31" y="157"/>
                </a:cxn>
                <a:cxn ang="0">
                  <a:pos x="46" y="151"/>
                </a:cxn>
                <a:cxn ang="0">
                  <a:pos x="46" y="145"/>
                </a:cxn>
                <a:cxn ang="0">
                  <a:pos x="62" y="138"/>
                </a:cxn>
                <a:cxn ang="0">
                  <a:pos x="67" y="129"/>
                </a:cxn>
                <a:cxn ang="0">
                  <a:pos x="77" y="126"/>
                </a:cxn>
                <a:cxn ang="0">
                  <a:pos x="74" y="118"/>
                </a:cxn>
                <a:cxn ang="0">
                  <a:pos x="73" y="110"/>
                </a:cxn>
                <a:cxn ang="0">
                  <a:pos x="68" y="109"/>
                </a:cxn>
                <a:cxn ang="0">
                  <a:pos x="71" y="100"/>
                </a:cxn>
                <a:cxn ang="0">
                  <a:pos x="73" y="92"/>
                </a:cxn>
                <a:cxn ang="0">
                  <a:pos x="76" y="87"/>
                </a:cxn>
                <a:cxn ang="0">
                  <a:pos x="77" y="82"/>
                </a:cxn>
                <a:cxn ang="0">
                  <a:pos x="84" y="78"/>
                </a:cxn>
                <a:cxn ang="0">
                  <a:pos x="85" y="76"/>
                </a:cxn>
                <a:cxn ang="0">
                  <a:pos x="85" y="40"/>
                </a:cxn>
                <a:cxn ang="0">
                  <a:pos x="23" y="0"/>
                </a:cxn>
                <a:cxn ang="0">
                  <a:pos x="14" y="5"/>
                </a:cxn>
                <a:cxn ang="0">
                  <a:pos x="18" y="27"/>
                </a:cxn>
                <a:cxn ang="0">
                  <a:pos x="20" y="44"/>
                </a:cxn>
                <a:cxn ang="0">
                  <a:pos x="17" y="68"/>
                </a:cxn>
                <a:cxn ang="0">
                  <a:pos x="3" y="98"/>
                </a:cxn>
                <a:cxn ang="0">
                  <a:pos x="8" y="104"/>
                </a:cxn>
                <a:cxn ang="0">
                  <a:pos x="12" y="107"/>
                </a:cxn>
                <a:cxn ang="0">
                  <a:pos x="14" y="114"/>
                </a:cxn>
                <a:cxn ang="0">
                  <a:pos x="20" y="134"/>
                </a:cxn>
                <a:cxn ang="0">
                  <a:pos x="11" y="135"/>
                </a:cxn>
                <a:cxn ang="0">
                  <a:pos x="8" y="140"/>
                </a:cxn>
                <a:cxn ang="0">
                  <a:pos x="17" y="152"/>
                </a:cxn>
                <a:cxn ang="0">
                  <a:pos x="18" y="159"/>
                </a:cxn>
              </a:cxnLst>
              <a:rect l="0" t="0" r="r" b="b"/>
              <a:pathLst>
                <a:path w="88" h="160">
                  <a:moveTo>
                    <a:pt x="18" y="159"/>
                  </a:moveTo>
                  <a:cubicBezTo>
                    <a:pt x="21" y="160"/>
                    <a:pt x="24" y="159"/>
                    <a:pt x="26" y="157"/>
                  </a:cubicBezTo>
                  <a:cubicBezTo>
                    <a:pt x="27" y="154"/>
                    <a:pt x="27" y="160"/>
                    <a:pt x="31" y="157"/>
                  </a:cubicBezTo>
                  <a:cubicBezTo>
                    <a:pt x="37" y="152"/>
                    <a:pt x="41" y="157"/>
                    <a:pt x="46" y="151"/>
                  </a:cubicBezTo>
                  <a:cubicBezTo>
                    <a:pt x="49" y="146"/>
                    <a:pt x="44" y="146"/>
                    <a:pt x="46" y="145"/>
                  </a:cubicBezTo>
                  <a:cubicBezTo>
                    <a:pt x="47" y="143"/>
                    <a:pt x="56" y="146"/>
                    <a:pt x="62" y="138"/>
                  </a:cubicBezTo>
                  <a:cubicBezTo>
                    <a:pt x="67" y="131"/>
                    <a:pt x="68" y="134"/>
                    <a:pt x="67" y="129"/>
                  </a:cubicBezTo>
                  <a:cubicBezTo>
                    <a:pt x="67" y="128"/>
                    <a:pt x="74" y="124"/>
                    <a:pt x="77" y="126"/>
                  </a:cubicBezTo>
                  <a:cubicBezTo>
                    <a:pt x="79" y="120"/>
                    <a:pt x="74" y="123"/>
                    <a:pt x="74" y="118"/>
                  </a:cubicBezTo>
                  <a:cubicBezTo>
                    <a:pt x="74" y="114"/>
                    <a:pt x="73" y="115"/>
                    <a:pt x="73" y="110"/>
                  </a:cubicBezTo>
                  <a:cubicBezTo>
                    <a:pt x="73" y="106"/>
                    <a:pt x="70" y="110"/>
                    <a:pt x="68" y="109"/>
                  </a:cubicBezTo>
                  <a:cubicBezTo>
                    <a:pt x="67" y="104"/>
                    <a:pt x="74" y="104"/>
                    <a:pt x="71" y="100"/>
                  </a:cubicBezTo>
                  <a:cubicBezTo>
                    <a:pt x="68" y="95"/>
                    <a:pt x="76" y="96"/>
                    <a:pt x="73" y="92"/>
                  </a:cubicBezTo>
                  <a:cubicBezTo>
                    <a:pt x="71" y="87"/>
                    <a:pt x="76" y="92"/>
                    <a:pt x="76" y="87"/>
                  </a:cubicBezTo>
                  <a:cubicBezTo>
                    <a:pt x="74" y="84"/>
                    <a:pt x="77" y="87"/>
                    <a:pt x="77" y="82"/>
                  </a:cubicBezTo>
                  <a:cubicBezTo>
                    <a:pt x="77" y="78"/>
                    <a:pt x="81" y="78"/>
                    <a:pt x="84" y="78"/>
                  </a:cubicBezTo>
                  <a:cubicBezTo>
                    <a:pt x="88" y="79"/>
                    <a:pt x="85" y="76"/>
                    <a:pt x="85" y="76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0"/>
                    <a:pt x="44" y="13"/>
                    <a:pt x="23" y="0"/>
                  </a:cubicBezTo>
                  <a:cubicBezTo>
                    <a:pt x="21" y="0"/>
                    <a:pt x="17" y="3"/>
                    <a:pt x="14" y="5"/>
                  </a:cubicBezTo>
                  <a:cubicBezTo>
                    <a:pt x="18" y="14"/>
                    <a:pt x="14" y="17"/>
                    <a:pt x="18" y="27"/>
                  </a:cubicBezTo>
                  <a:cubicBezTo>
                    <a:pt x="24" y="37"/>
                    <a:pt x="20" y="33"/>
                    <a:pt x="20" y="44"/>
                  </a:cubicBezTo>
                  <a:cubicBezTo>
                    <a:pt x="20" y="53"/>
                    <a:pt x="18" y="67"/>
                    <a:pt x="17" y="68"/>
                  </a:cubicBezTo>
                  <a:cubicBezTo>
                    <a:pt x="15" y="70"/>
                    <a:pt x="0" y="89"/>
                    <a:pt x="3" y="98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7" y="104"/>
                    <a:pt x="8" y="106"/>
                    <a:pt x="12" y="107"/>
                  </a:cubicBezTo>
                  <a:cubicBezTo>
                    <a:pt x="15" y="109"/>
                    <a:pt x="12" y="114"/>
                    <a:pt x="14" y="114"/>
                  </a:cubicBezTo>
                  <a:cubicBezTo>
                    <a:pt x="17" y="115"/>
                    <a:pt x="12" y="129"/>
                    <a:pt x="20" y="134"/>
                  </a:cubicBezTo>
                  <a:cubicBezTo>
                    <a:pt x="15" y="137"/>
                    <a:pt x="12" y="135"/>
                    <a:pt x="11" y="135"/>
                  </a:cubicBezTo>
                  <a:cubicBezTo>
                    <a:pt x="8" y="134"/>
                    <a:pt x="6" y="138"/>
                    <a:pt x="8" y="140"/>
                  </a:cubicBezTo>
                  <a:cubicBezTo>
                    <a:pt x="14" y="149"/>
                    <a:pt x="17" y="148"/>
                    <a:pt x="17" y="152"/>
                  </a:cubicBezTo>
                  <a:cubicBezTo>
                    <a:pt x="18" y="159"/>
                    <a:pt x="20" y="156"/>
                    <a:pt x="18" y="15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 110"/>
            <p:cNvSpPr>
              <a:spLocks/>
            </p:cNvSpPr>
            <p:nvPr/>
          </p:nvSpPr>
          <p:spPr bwMode="auto">
            <a:xfrm>
              <a:off x="4951276" y="4408038"/>
              <a:ext cx="403302" cy="367946"/>
            </a:xfrm>
            <a:custGeom>
              <a:avLst/>
              <a:gdLst/>
              <a:ahLst/>
              <a:cxnLst>
                <a:cxn ang="0">
                  <a:pos x="32" y="44"/>
                </a:cxn>
                <a:cxn ang="0">
                  <a:pos x="32" y="72"/>
                </a:cxn>
                <a:cxn ang="0">
                  <a:pos x="29" y="79"/>
                </a:cxn>
                <a:cxn ang="0">
                  <a:pos x="26" y="81"/>
                </a:cxn>
                <a:cxn ang="0">
                  <a:pos x="14" y="82"/>
                </a:cxn>
                <a:cxn ang="0">
                  <a:pos x="2" y="86"/>
                </a:cxn>
                <a:cxn ang="0">
                  <a:pos x="3" y="95"/>
                </a:cxn>
                <a:cxn ang="0">
                  <a:pos x="6" y="100"/>
                </a:cxn>
                <a:cxn ang="0">
                  <a:pos x="8" y="101"/>
                </a:cxn>
                <a:cxn ang="0">
                  <a:pos x="8" y="104"/>
                </a:cxn>
                <a:cxn ang="0">
                  <a:pos x="14" y="109"/>
                </a:cxn>
                <a:cxn ang="0">
                  <a:pos x="17" y="112"/>
                </a:cxn>
                <a:cxn ang="0">
                  <a:pos x="19" y="117"/>
                </a:cxn>
                <a:cxn ang="0">
                  <a:pos x="20" y="112"/>
                </a:cxn>
                <a:cxn ang="0">
                  <a:pos x="23" y="112"/>
                </a:cxn>
                <a:cxn ang="0">
                  <a:pos x="28" y="118"/>
                </a:cxn>
                <a:cxn ang="0">
                  <a:pos x="31" y="109"/>
                </a:cxn>
                <a:cxn ang="0">
                  <a:pos x="32" y="100"/>
                </a:cxn>
                <a:cxn ang="0">
                  <a:pos x="40" y="98"/>
                </a:cxn>
                <a:cxn ang="0">
                  <a:pos x="45" y="96"/>
                </a:cxn>
                <a:cxn ang="0">
                  <a:pos x="52" y="103"/>
                </a:cxn>
                <a:cxn ang="0">
                  <a:pos x="63" y="101"/>
                </a:cxn>
                <a:cxn ang="0">
                  <a:pos x="72" y="107"/>
                </a:cxn>
                <a:cxn ang="0">
                  <a:pos x="84" y="101"/>
                </a:cxn>
                <a:cxn ang="0">
                  <a:pos x="100" y="103"/>
                </a:cxn>
                <a:cxn ang="0">
                  <a:pos x="107" y="98"/>
                </a:cxn>
                <a:cxn ang="0">
                  <a:pos x="121" y="68"/>
                </a:cxn>
                <a:cxn ang="0">
                  <a:pos x="124" y="44"/>
                </a:cxn>
                <a:cxn ang="0">
                  <a:pos x="123" y="27"/>
                </a:cxn>
                <a:cxn ang="0">
                  <a:pos x="118" y="5"/>
                </a:cxn>
                <a:cxn ang="0">
                  <a:pos x="110" y="6"/>
                </a:cxn>
                <a:cxn ang="0">
                  <a:pos x="95" y="0"/>
                </a:cxn>
                <a:cxn ang="0">
                  <a:pos x="60" y="27"/>
                </a:cxn>
                <a:cxn ang="0">
                  <a:pos x="32" y="44"/>
                </a:cxn>
              </a:cxnLst>
              <a:rect l="0" t="0" r="r" b="b"/>
              <a:pathLst>
                <a:path w="129" h="118">
                  <a:moveTo>
                    <a:pt x="32" y="44"/>
                  </a:moveTo>
                  <a:cubicBezTo>
                    <a:pt x="32" y="44"/>
                    <a:pt x="34" y="70"/>
                    <a:pt x="32" y="72"/>
                  </a:cubicBezTo>
                  <a:cubicBezTo>
                    <a:pt x="31" y="75"/>
                    <a:pt x="32" y="79"/>
                    <a:pt x="29" y="79"/>
                  </a:cubicBezTo>
                  <a:cubicBezTo>
                    <a:pt x="26" y="79"/>
                    <a:pt x="28" y="82"/>
                    <a:pt x="26" y="81"/>
                  </a:cubicBezTo>
                  <a:cubicBezTo>
                    <a:pt x="25" y="81"/>
                    <a:pt x="23" y="82"/>
                    <a:pt x="14" y="82"/>
                  </a:cubicBezTo>
                  <a:cubicBezTo>
                    <a:pt x="6" y="82"/>
                    <a:pt x="11" y="87"/>
                    <a:pt x="2" y="86"/>
                  </a:cubicBezTo>
                  <a:cubicBezTo>
                    <a:pt x="0" y="92"/>
                    <a:pt x="2" y="89"/>
                    <a:pt x="3" y="95"/>
                  </a:cubicBezTo>
                  <a:cubicBezTo>
                    <a:pt x="3" y="100"/>
                    <a:pt x="5" y="96"/>
                    <a:pt x="6" y="100"/>
                  </a:cubicBezTo>
                  <a:cubicBezTo>
                    <a:pt x="9" y="101"/>
                    <a:pt x="9" y="103"/>
                    <a:pt x="8" y="101"/>
                  </a:cubicBezTo>
                  <a:cubicBezTo>
                    <a:pt x="6" y="101"/>
                    <a:pt x="6" y="104"/>
                    <a:pt x="8" y="104"/>
                  </a:cubicBezTo>
                  <a:cubicBezTo>
                    <a:pt x="9" y="106"/>
                    <a:pt x="12" y="110"/>
                    <a:pt x="14" y="109"/>
                  </a:cubicBezTo>
                  <a:cubicBezTo>
                    <a:pt x="16" y="106"/>
                    <a:pt x="19" y="110"/>
                    <a:pt x="17" y="112"/>
                  </a:cubicBezTo>
                  <a:cubicBezTo>
                    <a:pt x="16" y="112"/>
                    <a:pt x="17" y="114"/>
                    <a:pt x="19" y="117"/>
                  </a:cubicBezTo>
                  <a:cubicBezTo>
                    <a:pt x="20" y="114"/>
                    <a:pt x="17" y="112"/>
                    <a:pt x="20" y="112"/>
                  </a:cubicBezTo>
                  <a:cubicBezTo>
                    <a:pt x="22" y="112"/>
                    <a:pt x="20" y="109"/>
                    <a:pt x="23" y="112"/>
                  </a:cubicBezTo>
                  <a:cubicBezTo>
                    <a:pt x="26" y="115"/>
                    <a:pt x="26" y="115"/>
                    <a:pt x="28" y="118"/>
                  </a:cubicBezTo>
                  <a:cubicBezTo>
                    <a:pt x="29" y="115"/>
                    <a:pt x="26" y="110"/>
                    <a:pt x="31" y="109"/>
                  </a:cubicBezTo>
                  <a:cubicBezTo>
                    <a:pt x="34" y="106"/>
                    <a:pt x="31" y="103"/>
                    <a:pt x="32" y="100"/>
                  </a:cubicBezTo>
                  <a:cubicBezTo>
                    <a:pt x="35" y="98"/>
                    <a:pt x="35" y="98"/>
                    <a:pt x="40" y="98"/>
                  </a:cubicBezTo>
                  <a:cubicBezTo>
                    <a:pt x="43" y="98"/>
                    <a:pt x="42" y="95"/>
                    <a:pt x="45" y="96"/>
                  </a:cubicBezTo>
                  <a:cubicBezTo>
                    <a:pt x="48" y="98"/>
                    <a:pt x="51" y="96"/>
                    <a:pt x="52" y="103"/>
                  </a:cubicBezTo>
                  <a:cubicBezTo>
                    <a:pt x="55" y="109"/>
                    <a:pt x="60" y="101"/>
                    <a:pt x="63" y="101"/>
                  </a:cubicBezTo>
                  <a:cubicBezTo>
                    <a:pt x="64" y="101"/>
                    <a:pt x="68" y="106"/>
                    <a:pt x="72" y="107"/>
                  </a:cubicBezTo>
                  <a:cubicBezTo>
                    <a:pt x="78" y="107"/>
                    <a:pt x="77" y="103"/>
                    <a:pt x="84" y="101"/>
                  </a:cubicBezTo>
                  <a:cubicBezTo>
                    <a:pt x="94" y="100"/>
                    <a:pt x="98" y="107"/>
                    <a:pt x="100" y="103"/>
                  </a:cubicBezTo>
                  <a:cubicBezTo>
                    <a:pt x="101" y="98"/>
                    <a:pt x="103" y="101"/>
                    <a:pt x="107" y="98"/>
                  </a:cubicBezTo>
                  <a:cubicBezTo>
                    <a:pt x="104" y="89"/>
                    <a:pt x="119" y="70"/>
                    <a:pt x="121" y="68"/>
                  </a:cubicBezTo>
                  <a:cubicBezTo>
                    <a:pt x="123" y="67"/>
                    <a:pt x="124" y="53"/>
                    <a:pt x="124" y="44"/>
                  </a:cubicBezTo>
                  <a:cubicBezTo>
                    <a:pt x="124" y="33"/>
                    <a:pt x="129" y="37"/>
                    <a:pt x="123" y="27"/>
                  </a:cubicBezTo>
                  <a:cubicBezTo>
                    <a:pt x="118" y="17"/>
                    <a:pt x="123" y="14"/>
                    <a:pt x="118" y="5"/>
                  </a:cubicBezTo>
                  <a:cubicBezTo>
                    <a:pt x="112" y="9"/>
                    <a:pt x="113" y="11"/>
                    <a:pt x="110" y="6"/>
                  </a:cubicBezTo>
                  <a:cubicBezTo>
                    <a:pt x="107" y="2"/>
                    <a:pt x="98" y="3"/>
                    <a:pt x="95" y="0"/>
                  </a:cubicBezTo>
                  <a:cubicBezTo>
                    <a:pt x="90" y="3"/>
                    <a:pt x="69" y="19"/>
                    <a:pt x="60" y="27"/>
                  </a:cubicBezTo>
                  <a:cubicBezTo>
                    <a:pt x="51" y="33"/>
                    <a:pt x="54" y="44"/>
                    <a:pt x="32" y="4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 111"/>
            <p:cNvSpPr>
              <a:spLocks/>
            </p:cNvSpPr>
            <p:nvPr/>
          </p:nvSpPr>
          <p:spPr bwMode="auto">
            <a:xfrm>
              <a:off x="4642774" y="4358229"/>
              <a:ext cx="414549" cy="477205"/>
            </a:xfrm>
            <a:custGeom>
              <a:avLst/>
              <a:gdLst/>
              <a:ahLst/>
              <a:cxnLst>
                <a:cxn ang="0">
                  <a:pos x="101" y="101"/>
                </a:cxn>
                <a:cxn ang="0">
                  <a:pos x="113" y="98"/>
                </a:cxn>
                <a:cxn ang="0">
                  <a:pos x="126" y="97"/>
                </a:cxn>
                <a:cxn ang="0">
                  <a:pos x="129" y="95"/>
                </a:cxn>
                <a:cxn ang="0">
                  <a:pos x="132" y="87"/>
                </a:cxn>
                <a:cxn ang="0">
                  <a:pos x="132" y="59"/>
                </a:cxn>
                <a:cxn ang="0">
                  <a:pos x="124" y="59"/>
                </a:cxn>
                <a:cxn ang="0">
                  <a:pos x="121" y="51"/>
                </a:cxn>
                <a:cxn ang="0">
                  <a:pos x="115" y="48"/>
                </a:cxn>
                <a:cxn ang="0">
                  <a:pos x="110" y="44"/>
                </a:cxn>
                <a:cxn ang="0">
                  <a:pos x="107" y="39"/>
                </a:cxn>
                <a:cxn ang="0">
                  <a:pos x="61" y="0"/>
                </a:cxn>
                <a:cxn ang="0">
                  <a:pos x="46" y="0"/>
                </a:cxn>
                <a:cxn ang="0">
                  <a:pos x="54" y="86"/>
                </a:cxn>
                <a:cxn ang="0">
                  <a:pos x="55" y="97"/>
                </a:cxn>
                <a:cxn ang="0">
                  <a:pos x="26" y="97"/>
                </a:cxn>
                <a:cxn ang="0">
                  <a:pos x="23" y="97"/>
                </a:cxn>
                <a:cxn ang="0">
                  <a:pos x="16" y="97"/>
                </a:cxn>
                <a:cxn ang="0">
                  <a:pos x="11" y="100"/>
                </a:cxn>
                <a:cxn ang="0">
                  <a:pos x="5" y="97"/>
                </a:cxn>
                <a:cxn ang="0">
                  <a:pos x="2" y="104"/>
                </a:cxn>
                <a:cxn ang="0">
                  <a:pos x="3" y="111"/>
                </a:cxn>
                <a:cxn ang="0">
                  <a:pos x="3" y="115"/>
                </a:cxn>
                <a:cxn ang="0">
                  <a:pos x="8" y="120"/>
                </a:cxn>
                <a:cxn ang="0">
                  <a:pos x="8" y="126"/>
                </a:cxn>
                <a:cxn ang="0">
                  <a:pos x="11" y="129"/>
                </a:cxn>
                <a:cxn ang="0">
                  <a:pos x="13" y="131"/>
                </a:cxn>
                <a:cxn ang="0">
                  <a:pos x="20" y="129"/>
                </a:cxn>
                <a:cxn ang="0">
                  <a:pos x="23" y="128"/>
                </a:cxn>
                <a:cxn ang="0">
                  <a:pos x="26" y="126"/>
                </a:cxn>
                <a:cxn ang="0">
                  <a:pos x="28" y="131"/>
                </a:cxn>
                <a:cxn ang="0">
                  <a:pos x="29" y="134"/>
                </a:cxn>
                <a:cxn ang="0">
                  <a:pos x="31" y="137"/>
                </a:cxn>
                <a:cxn ang="0">
                  <a:pos x="31" y="140"/>
                </a:cxn>
                <a:cxn ang="0">
                  <a:pos x="32" y="145"/>
                </a:cxn>
                <a:cxn ang="0">
                  <a:pos x="35" y="150"/>
                </a:cxn>
                <a:cxn ang="0">
                  <a:pos x="45" y="148"/>
                </a:cxn>
                <a:cxn ang="0">
                  <a:pos x="49" y="146"/>
                </a:cxn>
                <a:cxn ang="0">
                  <a:pos x="55" y="146"/>
                </a:cxn>
                <a:cxn ang="0">
                  <a:pos x="55" y="140"/>
                </a:cxn>
                <a:cxn ang="0">
                  <a:pos x="57" y="132"/>
                </a:cxn>
                <a:cxn ang="0">
                  <a:pos x="63" y="129"/>
                </a:cxn>
                <a:cxn ang="0">
                  <a:pos x="63" y="125"/>
                </a:cxn>
                <a:cxn ang="0">
                  <a:pos x="66" y="122"/>
                </a:cxn>
                <a:cxn ang="0">
                  <a:pos x="66" y="117"/>
                </a:cxn>
                <a:cxn ang="0">
                  <a:pos x="69" y="118"/>
                </a:cxn>
                <a:cxn ang="0">
                  <a:pos x="72" y="115"/>
                </a:cxn>
                <a:cxn ang="0">
                  <a:pos x="77" y="114"/>
                </a:cxn>
                <a:cxn ang="0">
                  <a:pos x="81" y="109"/>
                </a:cxn>
                <a:cxn ang="0">
                  <a:pos x="86" y="104"/>
                </a:cxn>
                <a:cxn ang="0">
                  <a:pos x="95" y="100"/>
                </a:cxn>
                <a:cxn ang="0">
                  <a:pos x="98" y="101"/>
                </a:cxn>
                <a:cxn ang="0">
                  <a:pos x="101" y="101"/>
                </a:cxn>
              </a:cxnLst>
              <a:rect l="0" t="0" r="r" b="b"/>
              <a:pathLst>
                <a:path w="133" h="153">
                  <a:moveTo>
                    <a:pt x="101" y="101"/>
                  </a:moveTo>
                  <a:cubicBezTo>
                    <a:pt x="110" y="103"/>
                    <a:pt x="106" y="98"/>
                    <a:pt x="113" y="98"/>
                  </a:cubicBezTo>
                  <a:cubicBezTo>
                    <a:pt x="123" y="98"/>
                    <a:pt x="124" y="97"/>
                    <a:pt x="126" y="97"/>
                  </a:cubicBezTo>
                  <a:cubicBezTo>
                    <a:pt x="127" y="98"/>
                    <a:pt x="126" y="95"/>
                    <a:pt x="129" y="95"/>
                  </a:cubicBezTo>
                  <a:cubicBezTo>
                    <a:pt x="132" y="95"/>
                    <a:pt x="130" y="90"/>
                    <a:pt x="132" y="87"/>
                  </a:cubicBezTo>
                  <a:cubicBezTo>
                    <a:pt x="133" y="86"/>
                    <a:pt x="132" y="59"/>
                    <a:pt x="132" y="59"/>
                  </a:cubicBezTo>
                  <a:cubicBezTo>
                    <a:pt x="124" y="62"/>
                    <a:pt x="123" y="61"/>
                    <a:pt x="124" y="59"/>
                  </a:cubicBezTo>
                  <a:cubicBezTo>
                    <a:pt x="126" y="56"/>
                    <a:pt x="126" y="51"/>
                    <a:pt x="121" y="51"/>
                  </a:cubicBezTo>
                  <a:cubicBezTo>
                    <a:pt x="116" y="51"/>
                    <a:pt x="120" y="48"/>
                    <a:pt x="115" y="48"/>
                  </a:cubicBezTo>
                  <a:cubicBezTo>
                    <a:pt x="112" y="50"/>
                    <a:pt x="113" y="45"/>
                    <a:pt x="110" y="44"/>
                  </a:cubicBezTo>
                  <a:cubicBezTo>
                    <a:pt x="107" y="42"/>
                    <a:pt x="110" y="42"/>
                    <a:pt x="107" y="39"/>
                  </a:cubicBezTo>
                  <a:cubicBezTo>
                    <a:pt x="106" y="37"/>
                    <a:pt x="61" y="0"/>
                    <a:pt x="6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54" y="81"/>
                    <a:pt x="54" y="86"/>
                  </a:cubicBezTo>
                  <a:cubicBezTo>
                    <a:pt x="55" y="90"/>
                    <a:pt x="58" y="83"/>
                    <a:pt x="55" y="97"/>
                  </a:cubicBezTo>
                  <a:cubicBezTo>
                    <a:pt x="55" y="97"/>
                    <a:pt x="31" y="97"/>
                    <a:pt x="26" y="97"/>
                  </a:cubicBezTo>
                  <a:cubicBezTo>
                    <a:pt x="23" y="97"/>
                    <a:pt x="25" y="93"/>
                    <a:pt x="23" y="97"/>
                  </a:cubicBezTo>
                  <a:cubicBezTo>
                    <a:pt x="23" y="98"/>
                    <a:pt x="19" y="98"/>
                    <a:pt x="16" y="97"/>
                  </a:cubicBezTo>
                  <a:cubicBezTo>
                    <a:pt x="11" y="95"/>
                    <a:pt x="13" y="103"/>
                    <a:pt x="11" y="100"/>
                  </a:cubicBezTo>
                  <a:cubicBezTo>
                    <a:pt x="10" y="97"/>
                    <a:pt x="8" y="92"/>
                    <a:pt x="5" y="97"/>
                  </a:cubicBezTo>
                  <a:cubicBezTo>
                    <a:pt x="2" y="101"/>
                    <a:pt x="8" y="101"/>
                    <a:pt x="2" y="104"/>
                  </a:cubicBezTo>
                  <a:cubicBezTo>
                    <a:pt x="0" y="109"/>
                    <a:pt x="3" y="106"/>
                    <a:pt x="3" y="111"/>
                  </a:cubicBezTo>
                  <a:cubicBezTo>
                    <a:pt x="3" y="115"/>
                    <a:pt x="2" y="112"/>
                    <a:pt x="3" y="115"/>
                  </a:cubicBezTo>
                  <a:cubicBezTo>
                    <a:pt x="5" y="120"/>
                    <a:pt x="5" y="115"/>
                    <a:pt x="8" y="120"/>
                  </a:cubicBezTo>
                  <a:cubicBezTo>
                    <a:pt x="10" y="123"/>
                    <a:pt x="8" y="123"/>
                    <a:pt x="8" y="126"/>
                  </a:cubicBezTo>
                  <a:cubicBezTo>
                    <a:pt x="6" y="131"/>
                    <a:pt x="10" y="132"/>
                    <a:pt x="11" y="129"/>
                  </a:cubicBezTo>
                  <a:cubicBezTo>
                    <a:pt x="11" y="128"/>
                    <a:pt x="13" y="129"/>
                    <a:pt x="13" y="131"/>
                  </a:cubicBezTo>
                  <a:cubicBezTo>
                    <a:pt x="16" y="134"/>
                    <a:pt x="14" y="126"/>
                    <a:pt x="20" y="129"/>
                  </a:cubicBezTo>
                  <a:cubicBezTo>
                    <a:pt x="23" y="132"/>
                    <a:pt x="22" y="129"/>
                    <a:pt x="23" y="128"/>
                  </a:cubicBezTo>
                  <a:cubicBezTo>
                    <a:pt x="26" y="128"/>
                    <a:pt x="22" y="125"/>
                    <a:pt x="26" y="126"/>
                  </a:cubicBezTo>
                  <a:cubicBezTo>
                    <a:pt x="29" y="128"/>
                    <a:pt x="28" y="129"/>
                    <a:pt x="28" y="131"/>
                  </a:cubicBezTo>
                  <a:cubicBezTo>
                    <a:pt x="29" y="131"/>
                    <a:pt x="28" y="134"/>
                    <a:pt x="29" y="134"/>
                  </a:cubicBezTo>
                  <a:cubicBezTo>
                    <a:pt x="31" y="134"/>
                    <a:pt x="34" y="137"/>
                    <a:pt x="31" y="137"/>
                  </a:cubicBezTo>
                  <a:cubicBezTo>
                    <a:pt x="29" y="139"/>
                    <a:pt x="29" y="143"/>
                    <a:pt x="31" y="140"/>
                  </a:cubicBezTo>
                  <a:cubicBezTo>
                    <a:pt x="32" y="139"/>
                    <a:pt x="34" y="140"/>
                    <a:pt x="32" y="145"/>
                  </a:cubicBezTo>
                  <a:cubicBezTo>
                    <a:pt x="32" y="148"/>
                    <a:pt x="34" y="145"/>
                    <a:pt x="35" y="150"/>
                  </a:cubicBezTo>
                  <a:cubicBezTo>
                    <a:pt x="42" y="142"/>
                    <a:pt x="40" y="153"/>
                    <a:pt x="45" y="148"/>
                  </a:cubicBezTo>
                  <a:cubicBezTo>
                    <a:pt x="48" y="143"/>
                    <a:pt x="49" y="140"/>
                    <a:pt x="49" y="146"/>
                  </a:cubicBezTo>
                  <a:cubicBezTo>
                    <a:pt x="49" y="151"/>
                    <a:pt x="52" y="146"/>
                    <a:pt x="55" y="146"/>
                  </a:cubicBezTo>
                  <a:cubicBezTo>
                    <a:pt x="57" y="142"/>
                    <a:pt x="54" y="140"/>
                    <a:pt x="55" y="140"/>
                  </a:cubicBezTo>
                  <a:cubicBezTo>
                    <a:pt x="57" y="139"/>
                    <a:pt x="57" y="134"/>
                    <a:pt x="57" y="132"/>
                  </a:cubicBezTo>
                  <a:cubicBezTo>
                    <a:pt x="55" y="131"/>
                    <a:pt x="61" y="132"/>
                    <a:pt x="63" y="129"/>
                  </a:cubicBezTo>
                  <a:cubicBezTo>
                    <a:pt x="65" y="126"/>
                    <a:pt x="65" y="126"/>
                    <a:pt x="63" y="125"/>
                  </a:cubicBezTo>
                  <a:cubicBezTo>
                    <a:pt x="63" y="123"/>
                    <a:pt x="68" y="125"/>
                    <a:pt x="66" y="122"/>
                  </a:cubicBezTo>
                  <a:cubicBezTo>
                    <a:pt x="65" y="120"/>
                    <a:pt x="65" y="118"/>
                    <a:pt x="66" y="117"/>
                  </a:cubicBezTo>
                  <a:cubicBezTo>
                    <a:pt x="68" y="115"/>
                    <a:pt x="66" y="118"/>
                    <a:pt x="69" y="118"/>
                  </a:cubicBezTo>
                  <a:cubicBezTo>
                    <a:pt x="72" y="120"/>
                    <a:pt x="72" y="117"/>
                    <a:pt x="72" y="115"/>
                  </a:cubicBezTo>
                  <a:cubicBezTo>
                    <a:pt x="72" y="112"/>
                    <a:pt x="77" y="117"/>
                    <a:pt x="77" y="114"/>
                  </a:cubicBezTo>
                  <a:cubicBezTo>
                    <a:pt x="77" y="109"/>
                    <a:pt x="78" y="108"/>
                    <a:pt x="81" y="109"/>
                  </a:cubicBezTo>
                  <a:cubicBezTo>
                    <a:pt x="84" y="111"/>
                    <a:pt x="81" y="106"/>
                    <a:pt x="86" y="104"/>
                  </a:cubicBezTo>
                  <a:cubicBezTo>
                    <a:pt x="95" y="101"/>
                    <a:pt x="92" y="98"/>
                    <a:pt x="95" y="100"/>
                  </a:cubicBezTo>
                  <a:cubicBezTo>
                    <a:pt x="97" y="101"/>
                    <a:pt x="97" y="100"/>
                    <a:pt x="98" y="101"/>
                  </a:cubicBezTo>
                  <a:cubicBezTo>
                    <a:pt x="100" y="101"/>
                    <a:pt x="100" y="101"/>
                    <a:pt x="101" y="10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 112"/>
            <p:cNvSpPr>
              <a:spLocks/>
            </p:cNvSpPr>
            <p:nvPr/>
          </p:nvSpPr>
          <p:spPr bwMode="auto">
            <a:xfrm>
              <a:off x="4525479" y="4287531"/>
              <a:ext cx="308502" cy="398474"/>
            </a:xfrm>
            <a:custGeom>
              <a:avLst/>
              <a:gdLst/>
              <a:ahLst/>
              <a:cxnLst>
                <a:cxn ang="0">
                  <a:pos x="7" y="112"/>
                </a:cxn>
                <a:cxn ang="0">
                  <a:pos x="22" y="109"/>
                </a:cxn>
                <a:cxn ang="0">
                  <a:pos x="29" y="114"/>
                </a:cxn>
                <a:cxn ang="0">
                  <a:pos x="40" y="128"/>
                </a:cxn>
                <a:cxn ang="0">
                  <a:pos x="43" y="120"/>
                </a:cxn>
                <a:cxn ang="0">
                  <a:pos x="49" y="123"/>
                </a:cxn>
                <a:cxn ang="0">
                  <a:pos x="54" y="120"/>
                </a:cxn>
                <a:cxn ang="0">
                  <a:pos x="61" y="120"/>
                </a:cxn>
                <a:cxn ang="0">
                  <a:pos x="64" y="120"/>
                </a:cxn>
                <a:cxn ang="0">
                  <a:pos x="93" y="120"/>
                </a:cxn>
                <a:cxn ang="0">
                  <a:pos x="92" y="109"/>
                </a:cxn>
                <a:cxn ang="0">
                  <a:pos x="84" y="23"/>
                </a:cxn>
                <a:cxn ang="0">
                  <a:pos x="99" y="23"/>
                </a:cxn>
                <a:cxn ang="0">
                  <a:pos x="67" y="0"/>
                </a:cxn>
                <a:cxn ang="0">
                  <a:pos x="67" y="14"/>
                </a:cxn>
                <a:cxn ang="0">
                  <a:pos x="42" y="14"/>
                </a:cxn>
                <a:cxn ang="0">
                  <a:pos x="42" y="39"/>
                </a:cxn>
                <a:cxn ang="0">
                  <a:pos x="34" y="61"/>
                </a:cxn>
                <a:cxn ang="0">
                  <a:pos x="3" y="61"/>
                </a:cxn>
                <a:cxn ang="0">
                  <a:pos x="2" y="67"/>
                </a:cxn>
                <a:cxn ang="0">
                  <a:pos x="3" y="64"/>
                </a:cxn>
                <a:cxn ang="0">
                  <a:pos x="5" y="69"/>
                </a:cxn>
                <a:cxn ang="0">
                  <a:pos x="8" y="75"/>
                </a:cxn>
                <a:cxn ang="0">
                  <a:pos x="7" y="81"/>
                </a:cxn>
                <a:cxn ang="0">
                  <a:pos x="8" y="101"/>
                </a:cxn>
                <a:cxn ang="0">
                  <a:pos x="7" y="112"/>
                </a:cxn>
              </a:cxnLst>
              <a:rect l="0" t="0" r="r" b="b"/>
              <a:pathLst>
                <a:path w="99" h="128">
                  <a:moveTo>
                    <a:pt x="7" y="112"/>
                  </a:moveTo>
                  <a:cubicBezTo>
                    <a:pt x="7" y="107"/>
                    <a:pt x="17" y="109"/>
                    <a:pt x="22" y="109"/>
                  </a:cubicBezTo>
                  <a:cubicBezTo>
                    <a:pt x="25" y="107"/>
                    <a:pt x="28" y="112"/>
                    <a:pt x="29" y="114"/>
                  </a:cubicBezTo>
                  <a:cubicBezTo>
                    <a:pt x="32" y="115"/>
                    <a:pt x="37" y="125"/>
                    <a:pt x="40" y="128"/>
                  </a:cubicBezTo>
                  <a:cubicBezTo>
                    <a:pt x="46" y="125"/>
                    <a:pt x="40" y="125"/>
                    <a:pt x="43" y="120"/>
                  </a:cubicBezTo>
                  <a:cubicBezTo>
                    <a:pt x="46" y="115"/>
                    <a:pt x="48" y="120"/>
                    <a:pt x="49" y="123"/>
                  </a:cubicBezTo>
                  <a:cubicBezTo>
                    <a:pt x="51" y="126"/>
                    <a:pt x="49" y="118"/>
                    <a:pt x="54" y="120"/>
                  </a:cubicBezTo>
                  <a:cubicBezTo>
                    <a:pt x="57" y="121"/>
                    <a:pt x="61" y="121"/>
                    <a:pt x="61" y="120"/>
                  </a:cubicBezTo>
                  <a:cubicBezTo>
                    <a:pt x="63" y="117"/>
                    <a:pt x="61" y="120"/>
                    <a:pt x="64" y="120"/>
                  </a:cubicBezTo>
                  <a:cubicBezTo>
                    <a:pt x="69" y="120"/>
                    <a:pt x="93" y="120"/>
                    <a:pt x="93" y="120"/>
                  </a:cubicBezTo>
                  <a:cubicBezTo>
                    <a:pt x="96" y="106"/>
                    <a:pt x="93" y="114"/>
                    <a:pt x="92" y="109"/>
                  </a:cubicBezTo>
                  <a:cubicBezTo>
                    <a:pt x="92" y="104"/>
                    <a:pt x="84" y="23"/>
                    <a:pt x="84" y="23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32" y="44"/>
                    <a:pt x="31" y="42"/>
                    <a:pt x="34" y="61"/>
                  </a:cubicBezTo>
                  <a:cubicBezTo>
                    <a:pt x="34" y="61"/>
                    <a:pt x="5" y="61"/>
                    <a:pt x="3" y="61"/>
                  </a:cubicBezTo>
                  <a:cubicBezTo>
                    <a:pt x="2" y="61"/>
                    <a:pt x="0" y="64"/>
                    <a:pt x="2" y="67"/>
                  </a:cubicBezTo>
                  <a:cubicBezTo>
                    <a:pt x="3" y="67"/>
                    <a:pt x="2" y="62"/>
                    <a:pt x="3" y="64"/>
                  </a:cubicBezTo>
                  <a:cubicBezTo>
                    <a:pt x="5" y="64"/>
                    <a:pt x="3" y="69"/>
                    <a:pt x="5" y="69"/>
                  </a:cubicBezTo>
                  <a:cubicBezTo>
                    <a:pt x="7" y="67"/>
                    <a:pt x="8" y="72"/>
                    <a:pt x="8" y="75"/>
                  </a:cubicBezTo>
                  <a:cubicBezTo>
                    <a:pt x="8" y="79"/>
                    <a:pt x="3" y="79"/>
                    <a:pt x="7" y="81"/>
                  </a:cubicBezTo>
                  <a:cubicBezTo>
                    <a:pt x="8" y="82"/>
                    <a:pt x="11" y="93"/>
                    <a:pt x="8" y="101"/>
                  </a:cubicBezTo>
                  <a:cubicBezTo>
                    <a:pt x="7" y="107"/>
                    <a:pt x="5" y="109"/>
                    <a:pt x="7" y="11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 113"/>
            <p:cNvSpPr>
              <a:spLocks/>
            </p:cNvSpPr>
            <p:nvPr/>
          </p:nvSpPr>
          <p:spPr bwMode="auto">
            <a:xfrm>
              <a:off x="5020368" y="4705287"/>
              <a:ext cx="298861" cy="298855"/>
            </a:xfrm>
            <a:custGeom>
              <a:avLst/>
              <a:gdLst/>
              <a:ahLst/>
              <a:cxnLst>
                <a:cxn ang="0">
                  <a:pos x="90" y="9"/>
                </a:cxn>
                <a:cxn ang="0">
                  <a:pos x="93" y="22"/>
                </a:cxn>
                <a:cxn ang="0">
                  <a:pos x="84" y="39"/>
                </a:cxn>
                <a:cxn ang="0">
                  <a:pos x="77" y="54"/>
                </a:cxn>
                <a:cxn ang="0">
                  <a:pos x="70" y="70"/>
                </a:cxn>
                <a:cxn ang="0">
                  <a:pos x="64" y="71"/>
                </a:cxn>
                <a:cxn ang="0">
                  <a:pos x="56" y="73"/>
                </a:cxn>
                <a:cxn ang="0">
                  <a:pos x="50" y="79"/>
                </a:cxn>
                <a:cxn ang="0">
                  <a:pos x="45" y="92"/>
                </a:cxn>
                <a:cxn ang="0">
                  <a:pos x="42" y="88"/>
                </a:cxn>
                <a:cxn ang="0">
                  <a:pos x="35" y="93"/>
                </a:cxn>
                <a:cxn ang="0">
                  <a:pos x="32" y="95"/>
                </a:cxn>
                <a:cxn ang="0">
                  <a:pos x="26" y="96"/>
                </a:cxn>
                <a:cxn ang="0">
                  <a:pos x="18" y="81"/>
                </a:cxn>
                <a:cxn ang="0">
                  <a:pos x="9" y="75"/>
                </a:cxn>
                <a:cxn ang="0">
                  <a:pos x="4" y="75"/>
                </a:cxn>
                <a:cxn ang="0">
                  <a:pos x="0" y="76"/>
                </a:cxn>
                <a:cxn ang="0">
                  <a:pos x="0" y="54"/>
                </a:cxn>
                <a:cxn ang="0">
                  <a:pos x="3" y="47"/>
                </a:cxn>
                <a:cxn ang="0">
                  <a:pos x="7" y="36"/>
                </a:cxn>
                <a:cxn ang="0">
                  <a:pos x="6" y="23"/>
                </a:cxn>
                <a:cxn ang="0">
                  <a:pos x="9" y="14"/>
                </a:cxn>
                <a:cxn ang="0">
                  <a:pos x="10" y="5"/>
                </a:cxn>
                <a:cxn ang="0">
                  <a:pos x="18" y="3"/>
                </a:cxn>
                <a:cxn ang="0">
                  <a:pos x="23" y="2"/>
                </a:cxn>
                <a:cxn ang="0">
                  <a:pos x="30" y="8"/>
                </a:cxn>
                <a:cxn ang="0">
                  <a:pos x="41" y="6"/>
                </a:cxn>
                <a:cxn ang="0">
                  <a:pos x="50" y="13"/>
                </a:cxn>
                <a:cxn ang="0">
                  <a:pos x="62" y="6"/>
                </a:cxn>
                <a:cxn ang="0">
                  <a:pos x="77" y="8"/>
                </a:cxn>
                <a:cxn ang="0">
                  <a:pos x="85" y="3"/>
                </a:cxn>
                <a:cxn ang="0">
                  <a:pos x="90" y="9"/>
                </a:cxn>
              </a:cxnLst>
              <a:rect l="0" t="0" r="r" b="b"/>
              <a:pathLst>
                <a:path w="96" h="96">
                  <a:moveTo>
                    <a:pt x="90" y="9"/>
                  </a:moveTo>
                  <a:cubicBezTo>
                    <a:pt x="88" y="22"/>
                    <a:pt x="96" y="14"/>
                    <a:pt x="93" y="22"/>
                  </a:cubicBezTo>
                  <a:cubicBezTo>
                    <a:pt x="91" y="31"/>
                    <a:pt x="88" y="23"/>
                    <a:pt x="84" y="39"/>
                  </a:cubicBezTo>
                  <a:cubicBezTo>
                    <a:pt x="80" y="53"/>
                    <a:pt x="80" y="53"/>
                    <a:pt x="77" y="54"/>
                  </a:cubicBezTo>
                  <a:cubicBezTo>
                    <a:pt x="74" y="56"/>
                    <a:pt x="73" y="65"/>
                    <a:pt x="70" y="70"/>
                  </a:cubicBezTo>
                  <a:cubicBezTo>
                    <a:pt x="67" y="76"/>
                    <a:pt x="68" y="76"/>
                    <a:pt x="64" y="71"/>
                  </a:cubicBezTo>
                  <a:cubicBezTo>
                    <a:pt x="61" y="67"/>
                    <a:pt x="56" y="68"/>
                    <a:pt x="56" y="73"/>
                  </a:cubicBezTo>
                  <a:cubicBezTo>
                    <a:pt x="55" y="76"/>
                    <a:pt x="52" y="73"/>
                    <a:pt x="50" y="79"/>
                  </a:cubicBezTo>
                  <a:cubicBezTo>
                    <a:pt x="47" y="84"/>
                    <a:pt x="49" y="85"/>
                    <a:pt x="45" y="9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7" y="95"/>
                    <a:pt x="36" y="95"/>
                    <a:pt x="35" y="93"/>
                  </a:cubicBezTo>
                  <a:cubicBezTo>
                    <a:pt x="33" y="92"/>
                    <a:pt x="36" y="95"/>
                    <a:pt x="32" y="95"/>
                  </a:cubicBezTo>
                  <a:cubicBezTo>
                    <a:pt x="30" y="96"/>
                    <a:pt x="30" y="96"/>
                    <a:pt x="26" y="96"/>
                  </a:cubicBezTo>
                  <a:cubicBezTo>
                    <a:pt x="21" y="96"/>
                    <a:pt x="20" y="84"/>
                    <a:pt x="18" y="81"/>
                  </a:cubicBezTo>
                  <a:cubicBezTo>
                    <a:pt x="13" y="76"/>
                    <a:pt x="12" y="75"/>
                    <a:pt x="9" y="75"/>
                  </a:cubicBezTo>
                  <a:cubicBezTo>
                    <a:pt x="4" y="76"/>
                    <a:pt x="6" y="73"/>
                    <a:pt x="4" y="75"/>
                  </a:cubicBezTo>
                  <a:cubicBezTo>
                    <a:pt x="4" y="76"/>
                    <a:pt x="3" y="76"/>
                    <a:pt x="0" y="76"/>
                  </a:cubicBezTo>
                  <a:cubicBezTo>
                    <a:pt x="1" y="67"/>
                    <a:pt x="0" y="62"/>
                    <a:pt x="0" y="54"/>
                  </a:cubicBezTo>
                  <a:cubicBezTo>
                    <a:pt x="0" y="47"/>
                    <a:pt x="1" y="51"/>
                    <a:pt x="3" y="47"/>
                  </a:cubicBezTo>
                  <a:cubicBezTo>
                    <a:pt x="3" y="42"/>
                    <a:pt x="4" y="44"/>
                    <a:pt x="7" y="36"/>
                  </a:cubicBezTo>
                  <a:cubicBezTo>
                    <a:pt x="10" y="28"/>
                    <a:pt x="4" y="28"/>
                    <a:pt x="6" y="23"/>
                  </a:cubicBezTo>
                  <a:cubicBezTo>
                    <a:pt x="7" y="20"/>
                    <a:pt x="4" y="16"/>
                    <a:pt x="9" y="14"/>
                  </a:cubicBezTo>
                  <a:cubicBezTo>
                    <a:pt x="12" y="11"/>
                    <a:pt x="9" y="8"/>
                    <a:pt x="10" y="5"/>
                  </a:cubicBezTo>
                  <a:cubicBezTo>
                    <a:pt x="13" y="3"/>
                    <a:pt x="13" y="3"/>
                    <a:pt x="18" y="3"/>
                  </a:cubicBezTo>
                  <a:cubicBezTo>
                    <a:pt x="21" y="3"/>
                    <a:pt x="20" y="0"/>
                    <a:pt x="23" y="2"/>
                  </a:cubicBezTo>
                  <a:cubicBezTo>
                    <a:pt x="26" y="3"/>
                    <a:pt x="29" y="2"/>
                    <a:pt x="30" y="8"/>
                  </a:cubicBezTo>
                  <a:cubicBezTo>
                    <a:pt x="33" y="14"/>
                    <a:pt x="38" y="6"/>
                    <a:pt x="41" y="6"/>
                  </a:cubicBezTo>
                  <a:cubicBezTo>
                    <a:pt x="42" y="6"/>
                    <a:pt x="45" y="11"/>
                    <a:pt x="50" y="13"/>
                  </a:cubicBezTo>
                  <a:cubicBezTo>
                    <a:pt x="56" y="13"/>
                    <a:pt x="55" y="8"/>
                    <a:pt x="62" y="6"/>
                  </a:cubicBezTo>
                  <a:cubicBezTo>
                    <a:pt x="71" y="5"/>
                    <a:pt x="76" y="13"/>
                    <a:pt x="77" y="8"/>
                  </a:cubicBezTo>
                  <a:cubicBezTo>
                    <a:pt x="79" y="3"/>
                    <a:pt x="80" y="6"/>
                    <a:pt x="85" y="3"/>
                  </a:cubicBezTo>
                  <a:cubicBezTo>
                    <a:pt x="90" y="9"/>
                    <a:pt x="90" y="9"/>
                    <a:pt x="90" y="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 114"/>
            <p:cNvSpPr>
              <a:spLocks/>
            </p:cNvSpPr>
            <p:nvPr/>
          </p:nvSpPr>
          <p:spPr bwMode="auto">
            <a:xfrm>
              <a:off x="5304768" y="4798478"/>
              <a:ext cx="326177" cy="268327"/>
            </a:xfrm>
            <a:custGeom>
              <a:avLst/>
              <a:gdLst/>
              <a:ahLst/>
              <a:cxnLst>
                <a:cxn ang="0">
                  <a:pos x="105" y="58"/>
                </a:cxn>
                <a:cxn ang="0">
                  <a:pos x="99" y="58"/>
                </a:cxn>
                <a:cxn ang="0">
                  <a:pos x="87" y="57"/>
                </a:cxn>
                <a:cxn ang="0">
                  <a:pos x="76" y="60"/>
                </a:cxn>
                <a:cxn ang="0">
                  <a:pos x="67" y="63"/>
                </a:cxn>
                <a:cxn ang="0">
                  <a:pos x="50" y="65"/>
                </a:cxn>
                <a:cxn ang="0">
                  <a:pos x="44" y="58"/>
                </a:cxn>
                <a:cxn ang="0">
                  <a:pos x="35" y="65"/>
                </a:cxn>
                <a:cxn ang="0">
                  <a:pos x="35" y="74"/>
                </a:cxn>
                <a:cxn ang="0">
                  <a:pos x="28" y="72"/>
                </a:cxn>
                <a:cxn ang="0">
                  <a:pos x="20" y="72"/>
                </a:cxn>
                <a:cxn ang="0">
                  <a:pos x="15" y="86"/>
                </a:cxn>
                <a:cxn ang="0">
                  <a:pos x="8" y="71"/>
                </a:cxn>
                <a:cxn ang="0">
                  <a:pos x="5" y="65"/>
                </a:cxn>
                <a:cxn ang="0">
                  <a:pos x="2" y="52"/>
                </a:cxn>
                <a:cxn ang="0">
                  <a:pos x="2" y="48"/>
                </a:cxn>
                <a:cxn ang="0">
                  <a:pos x="9" y="34"/>
                </a:cxn>
                <a:cxn ang="0">
                  <a:pos x="17" y="32"/>
                </a:cxn>
                <a:cxn ang="0">
                  <a:pos x="21" y="32"/>
                </a:cxn>
                <a:cxn ang="0">
                  <a:pos x="37" y="26"/>
                </a:cxn>
                <a:cxn ang="0">
                  <a:pos x="37" y="20"/>
                </a:cxn>
                <a:cxn ang="0">
                  <a:pos x="53" y="14"/>
                </a:cxn>
                <a:cxn ang="0">
                  <a:pos x="58" y="4"/>
                </a:cxn>
                <a:cxn ang="0">
                  <a:pos x="69" y="1"/>
                </a:cxn>
                <a:cxn ang="0">
                  <a:pos x="73" y="17"/>
                </a:cxn>
                <a:cxn ang="0">
                  <a:pos x="78" y="24"/>
                </a:cxn>
                <a:cxn ang="0">
                  <a:pos x="85" y="29"/>
                </a:cxn>
                <a:cxn ang="0">
                  <a:pos x="90" y="37"/>
                </a:cxn>
                <a:cxn ang="0">
                  <a:pos x="96" y="44"/>
                </a:cxn>
                <a:cxn ang="0">
                  <a:pos x="101" y="51"/>
                </a:cxn>
                <a:cxn ang="0">
                  <a:pos x="105" y="58"/>
                </a:cxn>
              </a:cxnLst>
              <a:rect l="0" t="0" r="r" b="b"/>
              <a:pathLst>
                <a:path w="105" h="86">
                  <a:moveTo>
                    <a:pt x="105" y="58"/>
                  </a:moveTo>
                  <a:cubicBezTo>
                    <a:pt x="102" y="58"/>
                    <a:pt x="102" y="55"/>
                    <a:pt x="99" y="58"/>
                  </a:cubicBezTo>
                  <a:cubicBezTo>
                    <a:pt x="97" y="62"/>
                    <a:pt x="90" y="52"/>
                    <a:pt x="87" y="57"/>
                  </a:cubicBezTo>
                  <a:cubicBezTo>
                    <a:pt x="84" y="62"/>
                    <a:pt x="84" y="55"/>
                    <a:pt x="76" y="60"/>
                  </a:cubicBezTo>
                  <a:cubicBezTo>
                    <a:pt x="67" y="66"/>
                    <a:pt x="70" y="55"/>
                    <a:pt x="67" y="63"/>
                  </a:cubicBezTo>
                  <a:cubicBezTo>
                    <a:pt x="64" y="71"/>
                    <a:pt x="59" y="65"/>
                    <a:pt x="50" y="65"/>
                  </a:cubicBezTo>
                  <a:cubicBezTo>
                    <a:pt x="47" y="65"/>
                    <a:pt x="50" y="62"/>
                    <a:pt x="44" y="58"/>
                  </a:cubicBezTo>
                  <a:cubicBezTo>
                    <a:pt x="37" y="55"/>
                    <a:pt x="37" y="63"/>
                    <a:pt x="35" y="65"/>
                  </a:cubicBezTo>
                  <a:cubicBezTo>
                    <a:pt x="32" y="66"/>
                    <a:pt x="34" y="69"/>
                    <a:pt x="35" y="74"/>
                  </a:cubicBezTo>
                  <a:cubicBezTo>
                    <a:pt x="32" y="71"/>
                    <a:pt x="31" y="75"/>
                    <a:pt x="28" y="72"/>
                  </a:cubicBezTo>
                  <a:cubicBezTo>
                    <a:pt x="25" y="71"/>
                    <a:pt x="25" y="74"/>
                    <a:pt x="20" y="72"/>
                  </a:cubicBezTo>
                  <a:cubicBezTo>
                    <a:pt x="15" y="72"/>
                    <a:pt x="18" y="80"/>
                    <a:pt x="15" y="86"/>
                  </a:cubicBezTo>
                  <a:cubicBezTo>
                    <a:pt x="14" y="75"/>
                    <a:pt x="11" y="74"/>
                    <a:pt x="8" y="71"/>
                  </a:cubicBezTo>
                  <a:cubicBezTo>
                    <a:pt x="5" y="68"/>
                    <a:pt x="8" y="65"/>
                    <a:pt x="5" y="65"/>
                  </a:cubicBezTo>
                  <a:cubicBezTo>
                    <a:pt x="3" y="63"/>
                    <a:pt x="2" y="58"/>
                    <a:pt x="2" y="52"/>
                  </a:cubicBezTo>
                  <a:cubicBezTo>
                    <a:pt x="3" y="48"/>
                    <a:pt x="0" y="49"/>
                    <a:pt x="2" y="48"/>
                  </a:cubicBezTo>
                  <a:cubicBezTo>
                    <a:pt x="5" y="46"/>
                    <a:pt x="6" y="40"/>
                    <a:pt x="9" y="34"/>
                  </a:cubicBezTo>
                  <a:cubicBezTo>
                    <a:pt x="12" y="35"/>
                    <a:pt x="15" y="34"/>
                    <a:pt x="17" y="32"/>
                  </a:cubicBezTo>
                  <a:cubicBezTo>
                    <a:pt x="18" y="29"/>
                    <a:pt x="18" y="35"/>
                    <a:pt x="21" y="32"/>
                  </a:cubicBezTo>
                  <a:cubicBezTo>
                    <a:pt x="28" y="27"/>
                    <a:pt x="32" y="32"/>
                    <a:pt x="37" y="26"/>
                  </a:cubicBezTo>
                  <a:cubicBezTo>
                    <a:pt x="40" y="21"/>
                    <a:pt x="35" y="21"/>
                    <a:pt x="37" y="20"/>
                  </a:cubicBezTo>
                  <a:cubicBezTo>
                    <a:pt x="38" y="18"/>
                    <a:pt x="47" y="21"/>
                    <a:pt x="53" y="14"/>
                  </a:cubicBezTo>
                  <a:cubicBezTo>
                    <a:pt x="58" y="6"/>
                    <a:pt x="59" y="9"/>
                    <a:pt x="58" y="4"/>
                  </a:cubicBezTo>
                  <a:cubicBezTo>
                    <a:pt x="58" y="3"/>
                    <a:pt x="66" y="0"/>
                    <a:pt x="69" y="1"/>
                  </a:cubicBezTo>
                  <a:cubicBezTo>
                    <a:pt x="72" y="6"/>
                    <a:pt x="76" y="10"/>
                    <a:pt x="73" y="17"/>
                  </a:cubicBezTo>
                  <a:cubicBezTo>
                    <a:pt x="72" y="27"/>
                    <a:pt x="81" y="21"/>
                    <a:pt x="78" y="24"/>
                  </a:cubicBezTo>
                  <a:cubicBezTo>
                    <a:pt x="76" y="29"/>
                    <a:pt x="82" y="26"/>
                    <a:pt x="85" y="29"/>
                  </a:cubicBezTo>
                  <a:cubicBezTo>
                    <a:pt x="88" y="34"/>
                    <a:pt x="84" y="32"/>
                    <a:pt x="90" y="37"/>
                  </a:cubicBezTo>
                  <a:cubicBezTo>
                    <a:pt x="94" y="41"/>
                    <a:pt x="96" y="41"/>
                    <a:pt x="96" y="44"/>
                  </a:cubicBezTo>
                  <a:cubicBezTo>
                    <a:pt x="94" y="48"/>
                    <a:pt x="96" y="48"/>
                    <a:pt x="101" y="51"/>
                  </a:cubicBezTo>
                  <a:cubicBezTo>
                    <a:pt x="104" y="51"/>
                    <a:pt x="102" y="55"/>
                    <a:pt x="105" y="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115"/>
            <p:cNvSpPr>
              <a:spLocks/>
            </p:cNvSpPr>
            <p:nvPr/>
          </p:nvSpPr>
          <p:spPr bwMode="auto">
            <a:xfrm>
              <a:off x="5160158" y="4732602"/>
              <a:ext cx="194421" cy="351879"/>
            </a:xfrm>
            <a:custGeom>
              <a:avLst/>
              <a:gdLst/>
              <a:ahLst/>
              <a:cxnLst>
                <a:cxn ang="0">
                  <a:pos x="39" y="107"/>
                </a:cxn>
                <a:cxn ang="0">
                  <a:pos x="49" y="107"/>
                </a:cxn>
                <a:cxn ang="0">
                  <a:pos x="56" y="109"/>
                </a:cxn>
                <a:cxn ang="0">
                  <a:pos x="60" y="112"/>
                </a:cxn>
                <a:cxn ang="0">
                  <a:pos x="62" y="107"/>
                </a:cxn>
                <a:cxn ang="0">
                  <a:pos x="54" y="92"/>
                </a:cxn>
                <a:cxn ang="0">
                  <a:pos x="51" y="85"/>
                </a:cxn>
                <a:cxn ang="0">
                  <a:pos x="48" y="73"/>
                </a:cxn>
                <a:cxn ang="0">
                  <a:pos x="48" y="68"/>
                </a:cxn>
                <a:cxn ang="0">
                  <a:pos x="56" y="54"/>
                </a:cxn>
                <a:cxn ang="0">
                  <a:pos x="54" y="48"/>
                </a:cxn>
                <a:cxn ang="0">
                  <a:pos x="45" y="36"/>
                </a:cxn>
                <a:cxn ang="0">
                  <a:pos x="48" y="31"/>
                </a:cxn>
                <a:cxn ang="0">
                  <a:pos x="57" y="30"/>
                </a:cxn>
                <a:cxn ang="0">
                  <a:pos x="51" y="9"/>
                </a:cxn>
                <a:cxn ang="0">
                  <a:pos x="49" y="3"/>
                </a:cxn>
                <a:cxn ang="0">
                  <a:pos x="45" y="0"/>
                </a:cxn>
                <a:cxn ang="0">
                  <a:pos x="48" y="13"/>
                </a:cxn>
                <a:cxn ang="0">
                  <a:pos x="39" y="30"/>
                </a:cxn>
                <a:cxn ang="0">
                  <a:pos x="32" y="45"/>
                </a:cxn>
                <a:cxn ang="0">
                  <a:pos x="25" y="61"/>
                </a:cxn>
                <a:cxn ang="0">
                  <a:pos x="19" y="62"/>
                </a:cxn>
                <a:cxn ang="0">
                  <a:pos x="11" y="64"/>
                </a:cxn>
                <a:cxn ang="0">
                  <a:pos x="5" y="70"/>
                </a:cxn>
                <a:cxn ang="0">
                  <a:pos x="0" y="82"/>
                </a:cxn>
                <a:cxn ang="0">
                  <a:pos x="3" y="85"/>
                </a:cxn>
                <a:cxn ang="0">
                  <a:pos x="5" y="90"/>
                </a:cxn>
                <a:cxn ang="0">
                  <a:pos x="9" y="88"/>
                </a:cxn>
                <a:cxn ang="0">
                  <a:pos x="9" y="93"/>
                </a:cxn>
                <a:cxn ang="0">
                  <a:pos x="9" y="96"/>
                </a:cxn>
                <a:cxn ang="0">
                  <a:pos x="9" y="105"/>
                </a:cxn>
                <a:cxn ang="0">
                  <a:pos x="22" y="107"/>
                </a:cxn>
                <a:cxn ang="0">
                  <a:pos x="31" y="105"/>
                </a:cxn>
                <a:cxn ang="0">
                  <a:pos x="39" y="107"/>
                </a:cxn>
              </a:cxnLst>
              <a:rect l="0" t="0" r="r" b="b"/>
              <a:pathLst>
                <a:path w="62" h="113">
                  <a:moveTo>
                    <a:pt x="3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52" y="109"/>
                    <a:pt x="56" y="109"/>
                  </a:cubicBezTo>
                  <a:cubicBezTo>
                    <a:pt x="59" y="110"/>
                    <a:pt x="60" y="113"/>
                    <a:pt x="60" y="112"/>
                  </a:cubicBezTo>
                  <a:cubicBezTo>
                    <a:pt x="62" y="112"/>
                    <a:pt x="60" y="109"/>
                    <a:pt x="62" y="107"/>
                  </a:cubicBezTo>
                  <a:cubicBezTo>
                    <a:pt x="60" y="96"/>
                    <a:pt x="57" y="95"/>
                    <a:pt x="54" y="92"/>
                  </a:cubicBezTo>
                  <a:cubicBezTo>
                    <a:pt x="51" y="88"/>
                    <a:pt x="54" y="85"/>
                    <a:pt x="51" y="85"/>
                  </a:cubicBezTo>
                  <a:cubicBezTo>
                    <a:pt x="49" y="84"/>
                    <a:pt x="48" y="79"/>
                    <a:pt x="48" y="73"/>
                  </a:cubicBezTo>
                  <a:cubicBezTo>
                    <a:pt x="49" y="68"/>
                    <a:pt x="46" y="70"/>
                    <a:pt x="48" y="68"/>
                  </a:cubicBezTo>
                  <a:cubicBezTo>
                    <a:pt x="51" y="67"/>
                    <a:pt x="52" y="61"/>
                    <a:pt x="56" y="54"/>
                  </a:cubicBezTo>
                  <a:cubicBezTo>
                    <a:pt x="57" y="51"/>
                    <a:pt x="56" y="54"/>
                    <a:pt x="54" y="48"/>
                  </a:cubicBezTo>
                  <a:cubicBezTo>
                    <a:pt x="54" y="44"/>
                    <a:pt x="51" y="45"/>
                    <a:pt x="45" y="36"/>
                  </a:cubicBezTo>
                  <a:cubicBezTo>
                    <a:pt x="43" y="34"/>
                    <a:pt x="45" y="30"/>
                    <a:pt x="48" y="31"/>
                  </a:cubicBezTo>
                  <a:cubicBezTo>
                    <a:pt x="49" y="31"/>
                    <a:pt x="52" y="33"/>
                    <a:pt x="57" y="30"/>
                  </a:cubicBezTo>
                  <a:cubicBezTo>
                    <a:pt x="49" y="25"/>
                    <a:pt x="54" y="11"/>
                    <a:pt x="51" y="9"/>
                  </a:cubicBezTo>
                  <a:cubicBezTo>
                    <a:pt x="49" y="9"/>
                    <a:pt x="52" y="5"/>
                    <a:pt x="49" y="3"/>
                  </a:cubicBezTo>
                  <a:cubicBezTo>
                    <a:pt x="45" y="2"/>
                    <a:pt x="54" y="0"/>
                    <a:pt x="45" y="0"/>
                  </a:cubicBezTo>
                  <a:cubicBezTo>
                    <a:pt x="43" y="13"/>
                    <a:pt x="51" y="5"/>
                    <a:pt x="48" y="13"/>
                  </a:cubicBezTo>
                  <a:cubicBezTo>
                    <a:pt x="46" y="22"/>
                    <a:pt x="43" y="14"/>
                    <a:pt x="39" y="30"/>
                  </a:cubicBezTo>
                  <a:cubicBezTo>
                    <a:pt x="36" y="44"/>
                    <a:pt x="36" y="44"/>
                    <a:pt x="32" y="45"/>
                  </a:cubicBezTo>
                  <a:cubicBezTo>
                    <a:pt x="29" y="47"/>
                    <a:pt x="28" y="56"/>
                    <a:pt x="25" y="61"/>
                  </a:cubicBezTo>
                  <a:cubicBezTo>
                    <a:pt x="22" y="67"/>
                    <a:pt x="23" y="67"/>
                    <a:pt x="19" y="62"/>
                  </a:cubicBezTo>
                  <a:cubicBezTo>
                    <a:pt x="16" y="57"/>
                    <a:pt x="11" y="59"/>
                    <a:pt x="11" y="64"/>
                  </a:cubicBezTo>
                  <a:cubicBezTo>
                    <a:pt x="9" y="67"/>
                    <a:pt x="6" y="64"/>
                    <a:pt x="5" y="70"/>
                  </a:cubicBezTo>
                  <a:cubicBezTo>
                    <a:pt x="2" y="74"/>
                    <a:pt x="3" y="76"/>
                    <a:pt x="0" y="82"/>
                  </a:cubicBezTo>
                  <a:cubicBezTo>
                    <a:pt x="0" y="87"/>
                    <a:pt x="2" y="81"/>
                    <a:pt x="3" y="85"/>
                  </a:cubicBezTo>
                  <a:cubicBezTo>
                    <a:pt x="3" y="88"/>
                    <a:pt x="3" y="88"/>
                    <a:pt x="5" y="90"/>
                  </a:cubicBezTo>
                  <a:cubicBezTo>
                    <a:pt x="8" y="92"/>
                    <a:pt x="6" y="87"/>
                    <a:pt x="9" y="88"/>
                  </a:cubicBezTo>
                  <a:cubicBezTo>
                    <a:pt x="11" y="90"/>
                    <a:pt x="6" y="90"/>
                    <a:pt x="9" y="93"/>
                  </a:cubicBezTo>
                  <a:cubicBezTo>
                    <a:pt x="11" y="95"/>
                    <a:pt x="8" y="93"/>
                    <a:pt x="9" y="96"/>
                  </a:cubicBezTo>
                  <a:cubicBezTo>
                    <a:pt x="12" y="99"/>
                    <a:pt x="9" y="102"/>
                    <a:pt x="9" y="105"/>
                  </a:cubicBezTo>
                  <a:cubicBezTo>
                    <a:pt x="12" y="109"/>
                    <a:pt x="14" y="107"/>
                    <a:pt x="22" y="107"/>
                  </a:cubicBezTo>
                  <a:cubicBezTo>
                    <a:pt x="23" y="105"/>
                    <a:pt x="23" y="105"/>
                    <a:pt x="31" y="105"/>
                  </a:cubicBezTo>
                  <a:cubicBezTo>
                    <a:pt x="40" y="105"/>
                    <a:pt x="37" y="105"/>
                    <a:pt x="39" y="10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116"/>
            <p:cNvSpPr>
              <a:spLocks/>
            </p:cNvSpPr>
            <p:nvPr/>
          </p:nvSpPr>
          <p:spPr bwMode="auto">
            <a:xfrm>
              <a:off x="5248530" y="5266043"/>
              <a:ext cx="27315" cy="4338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6" y="2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1" y="14"/>
                </a:cxn>
                <a:cxn ang="0">
                  <a:pos x="1" y="11"/>
                </a:cxn>
                <a:cxn ang="0">
                  <a:pos x="0" y="6"/>
                </a:cxn>
              </a:cxnLst>
              <a:rect l="0" t="0" r="r" b="b"/>
              <a:pathLst>
                <a:path w="9" h="14">
                  <a:moveTo>
                    <a:pt x="0" y="6"/>
                  </a:moveTo>
                  <a:cubicBezTo>
                    <a:pt x="1" y="3"/>
                    <a:pt x="4" y="2"/>
                    <a:pt x="6" y="2"/>
                  </a:cubicBezTo>
                  <a:cubicBezTo>
                    <a:pt x="6" y="0"/>
                    <a:pt x="8" y="2"/>
                    <a:pt x="9" y="3"/>
                  </a:cubicBezTo>
                  <a:cubicBezTo>
                    <a:pt x="8" y="3"/>
                    <a:pt x="8" y="3"/>
                    <a:pt x="4" y="5"/>
                  </a:cubicBezTo>
                  <a:cubicBezTo>
                    <a:pt x="3" y="8"/>
                    <a:pt x="6" y="14"/>
                    <a:pt x="1" y="14"/>
                  </a:cubicBezTo>
                  <a:cubicBezTo>
                    <a:pt x="1" y="13"/>
                    <a:pt x="0" y="14"/>
                    <a:pt x="1" y="11"/>
                  </a:cubicBezTo>
                  <a:cubicBezTo>
                    <a:pt x="1" y="10"/>
                    <a:pt x="1" y="8"/>
                    <a:pt x="0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 117"/>
            <p:cNvSpPr>
              <a:spLocks/>
            </p:cNvSpPr>
            <p:nvPr/>
          </p:nvSpPr>
          <p:spPr bwMode="auto">
            <a:xfrm>
              <a:off x="5222822" y="5020210"/>
              <a:ext cx="189600" cy="269934"/>
            </a:xfrm>
            <a:custGeom>
              <a:avLst/>
              <a:gdLst/>
              <a:ahLst/>
              <a:cxnLst>
                <a:cxn ang="0">
                  <a:pos x="18" y="16"/>
                </a:cxn>
                <a:cxn ang="0">
                  <a:pos x="17" y="23"/>
                </a:cxn>
                <a:cxn ang="0">
                  <a:pos x="23" y="23"/>
                </a:cxn>
                <a:cxn ang="0">
                  <a:pos x="26" y="30"/>
                </a:cxn>
                <a:cxn ang="0">
                  <a:pos x="23" y="37"/>
                </a:cxn>
                <a:cxn ang="0">
                  <a:pos x="28" y="43"/>
                </a:cxn>
                <a:cxn ang="0">
                  <a:pos x="26" y="56"/>
                </a:cxn>
                <a:cxn ang="0">
                  <a:pos x="25" y="60"/>
                </a:cxn>
                <a:cxn ang="0">
                  <a:pos x="22" y="59"/>
                </a:cxn>
                <a:cxn ang="0">
                  <a:pos x="14" y="56"/>
                </a:cxn>
                <a:cxn ang="0">
                  <a:pos x="12" y="57"/>
                </a:cxn>
                <a:cxn ang="0">
                  <a:pos x="6" y="60"/>
                </a:cxn>
                <a:cxn ang="0">
                  <a:pos x="6" y="68"/>
                </a:cxn>
                <a:cxn ang="0">
                  <a:pos x="5" y="73"/>
                </a:cxn>
                <a:cxn ang="0">
                  <a:pos x="0" y="74"/>
                </a:cxn>
                <a:cxn ang="0">
                  <a:pos x="6" y="82"/>
                </a:cxn>
                <a:cxn ang="0">
                  <a:pos x="8" y="85"/>
                </a:cxn>
                <a:cxn ang="0">
                  <a:pos x="14" y="81"/>
                </a:cxn>
                <a:cxn ang="0">
                  <a:pos x="17" y="82"/>
                </a:cxn>
                <a:cxn ang="0">
                  <a:pos x="26" y="79"/>
                </a:cxn>
                <a:cxn ang="0">
                  <a:pos x="28" y="84"/>
                </a:cxn>
                <a:cxn ang="0">
                  <a:pos x="37" y="76"/>
                </a:cxn>
                <a:cxn ang="0">
                  <a:pos x="41" y="67"/>
                </a:cxn>
                <a:cxn ang="0">
                  <a:pos x="50" y="47"/>
                </a:cxn>
                <a:cxn ang="0">
                  <a:pos x="55" y="34"/>
                </a:cxn>
                <a:cxn ang="0">
                  <a:pos x="55" y="23"/>
                </a:cxn>
                <a:cxn ang="0">
                  <a:pos x="57" y="11"/>
                </a:cxn>
                <a:cxn ang="0">
                  <a:pos x="61" y="3"/>
                </a:cxn>
                <a:cxn ang="0">
                  <a:pos x="54" y="2"/>
                </a:cxn>
                <a:cxn ang="0">
                  <a:pos x="46" y="2"/>
                </a:cxn>
                <a:cxn ang="0">
                  <a:pos x="41" y="16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9" y="16"/>
                </a:cxn>
                <a:cxn ang="0">
                  <a:pos x="18" y="16"/>
                </a:cxn>
              </a:cxnLst>
              <a:rect l="0" t="0" r="r" b="b"/>
              <a:pathLst>
                <a:path w="61" h="87">
                  <a:moveTo>
                    <a:pt x="18" y="16"/>
                  </a:moveTo>
                  <a:cubicBezTo>
                    <a:pt x="18" y="19"/>
                    <a:pt x="15" y="19"/>
                    <a:pt x="17" y="23"/>
                  </a:cubicBezTo>
                  <a:cubicBezTo>
                    <a:pt x="18" y="26"/>
                    <a:pt x="22" y="23"/>
                    <a:pt x="23" y="23"/>
                  </a:cubicBezTo>
                  <a:cubicBezTo>
                    <a:pt x="26" y="23"/>
                    <a:pt x="28" y="26"/>
                    <a:pt x="26" y="30"/>
                  </a:cubicBezTo>
                  <a:cubicBezTo>
                    <a:pt x="25" y="34"/>
                    <a:pt x="25" y="28"/>
                    <a:pt x="23" y="37"/>
                  </a:cubicBezTo>
                  <a:cubicBezTo>
                    <a:pt x="22" y="42"/>
                    <a:pt x="28" y="40"/>
                    <a:pt x="28" y="43"/>
                  </a:cubicBezTo>
                  <a:cubicBezTo>
                    <a:pt x="26" y="47"/>
                    <a:pt x="28" y="53"/>
                    <a:pt x="26" y="56"/>
                  </a:cubicBezTo>
                  <a:cubicBezTo>
                    <a:pt x="25" y="59"/>
                    <a:pt x="28" y="60"/>
                    <a:pt x="25" y="60"/>
                  </a:cubicBezTo>
                  <a:cubicBezTo>
                    <a:pt x="22" y="62"/>
                    <a:pt x="23" y="56"/>
                    <a:pt x="22" y="59"/>
                  </a:cubicBezTo>
                  <a:cubicBezTo>
                    <a:pt x="18" y="62"/>
                    <a:pt x="17" y="62"/>
                    <a:pt x="14" y="56"/>
                  </a:cubicBezTo>
                  <a:cubicBezTo>
                    <a:pt x="11" y="51"/>
                    <a:pt x="11" y="54"/>
                    <a:pt x="12" y="57"/>
                  </a:cubicBezTo>
                  <a:cubicBezTo>
                    <a:pt x="12" y="60"/>
                    <a:pt x="9" y="60"/>
                    <a:pt x="6" y="60"/>
                  </a:cubicBezTo>
                  <a:cubicBezTo>
                    <a:pt x="3" y="60"/>
                    <a:pt x="5" y="67"/>
                    <a:pt x="6" y="68"/>
                  </a:cubicBezTo>
                  <a:cubicBezTo>
                    <a:pt x="8" y="70"/>
                    <a:pt x="8" y="74"/>
                    <a:pt x="5" y="73"/>
                  </a:cubicBezTo>
                  <a:cubicBezTo>
                    <a:pt x="3" y="71"/>
                    <a:pt x="3" y="71"/>
                    <a:pt x="0" y="74"/>
                  </a:cubicBezTo>
                  <a:cubicBezTo>
                    <a:pt x="5" y="79"/>
                    <a:pt x="5" y="79"/>
                    <a:pt x="6" y="82"/>
                  </a:cubicBezTo>
                  <a:cubicBezTo>
                    <a:pt x="6" y="84"/>
                    <a:pt x="8" y="85"/>
                    <a:pt x="8" y="85"/>
                  </a:cubicBezTo>
                  <a:cubicBezTo>
                    <a:pt x="9" y="82"/>
                    <a:pt x="12" y="81"/>
                    <a:pt x="14" y="81"/>
                  </a:cubicBezTo>
                  <a:cubicBezTo>
                    <a:pt x="14" y="79"/>
                    <a:pt x="15" y="81"/>
                    <a:pt x="17" y="82"/>
                  </a:cubicBezTo>
                  <a:cubicBezTo>
                    <a:pt x="20" y="87"/>
                    <a:pt x="23" y="77"/>
                    <a:pt x="26" y="79"/>
                  </a:cubicBezTo>
                  <a:cubicBezTo>
                    <a:pt x="29" y="81"/>
                    <a:pt x="25" y="84"/>
                    <a:pt x="28" y="84"/>
                  </a:cubicBezTo>
                  <a:cubicBezTo>
                    <a:pt x="32" y="85"/>
                    <a:pt x="35" y="76"/>
                    <a:pt x="37" y="76"/>
                  </a:cubicBezTo>
                  <a:cubicBezTo>
                    <a:pt x="40" y="76"/>
                    <a:pt x="43" y="70"/>
                    <a:pt x="41" y="67"/>
                  </a:cubicBezTo>
                  <a:cubicBezTo>
                    <a:pt x="38" y="60"/>
                    <a:pt x="46" y="48"/>
                    <a:pt x="50" y="47"/>
                  </a:cubicBezTo>
                  <a:cubicBezTo>
                    <a:pt x="55" y="43"/>
                    <a:pt x="52" y="40"/>
                    <a:pt x="55" y="34"/>
                  </a:cubicBezTo>
                  <a:cubicBezTo>
                    <a:pt x="57" y="30"/>
                    <a:pt x="54" y="31"/>
                    <a:pt x="55" y="23"/>
                  </a:cubicBezTo>
                  <a:cubicBezTo>
                    <a:pt x="57" y="16"/>
                    <a:pt x="54" y="17"/>
                    <a:pt x="57" y="11"/>
                  </a:cubicBezTo>
                  <a:cubicBezTo>
                    <a:pt x="61" y="6"/>
                    <a:pt x="61" y="5"/>
                    <a:pt x="61" y="3"/>
                  </a:cubicBezTo>
                  <a:cubicBezTo>
                    <a:pt x="58" y="0"/>
                    <a:pt x="57" y="5"/>
                    <a:pt x="54" y="2"/>
                  </a:cubicBezTo>
                  <a:cubicBezTo>
                    <a:pt x="50" y="0"/>
                    <a:pt x="50" y="3"/>
                    <a:pt x="46" y="2"/>
                  </a:cubicBezTo>
                  <a:cubicBezTo>
                    <a:pt x="41" y="2"/>
                    <a:pt x="44" y="9"/>
                    <a:pt x="41" y="16"/>
                  </a:cubicBezTo>
                  <a:cubicBezTo>
                    <a:pt x="40" y="17"/>
                    <a:pt x="41" y="20"/>
                    <a:pt x="40" y="20"/>
                  </a:cubicBezTo>
                  <a:cubicBezTo>
                    <a:pt x="40" y="22"/>
                    <a:pt x="38" y="19"/>
                    <a:pt x="35" y="17"/>
                  </a:cubicBezTo>
                  <a:cubicBezTo>
                    <a:pt x="32" y="17"/>
                    <a:pt x="29" y="16"/>
                    <a:pt x="29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 118"/>
            <p:cNvSpPr>
              <a:spLocks/>
            </p:cNvSpPr>
            <p:nvPr/>
          </p:nvSpPr>
          <p:spPr bwMode="auto">
            <a:xfrm>
              <a:off x="5160158" y="5063593"/>
              <a:ext cx="149431" cy="189597"/>
            </a:xfrm>
            <a:custGeom>
              <a:avLst/>
              <a:gdLst/>
              <a:ahLst/>
              <a:cxnLst>
                <a:cxn ang="0">
                  <a:pos x="22" y="1"/>
                </a:cxn>
                <a:cxn ang="0">
                  <a:pos x="31" y="0"/>
                </a:cxn>
                <a:cxn ang="0">
                  <a:pos x="39" y="1"/>
                </a:cxn>
                <a:cxn ang="0">
                  <a:pos x="37" y="9"/>
                </a:cxn>
                <a:cxn ang="0">
                  <a:pos x="43" y="9"/>
                </a:cxn>
                <a:cxn ang="0">
                  <a:pos x="46" y="15"/>
                </a:cxn>
                <a:cxn ang="0">
                  <a:pos x="43" y="23"/>
                </a:cxn>
                <a:cxn ang="0">
                  <a:pos x="48" y="29"/>
                </a:cxn>
                <a:cxn ang="0">
                  <a:pos x="46" y="42"/>
                </a:cxn>
                <a:cxn ang="0">
                  <a:pos x="45" y="47"/>
                </a:cxn>
                <a:cxn ang="0">
                  <a:pos x="42" y="45"/>
                </a:cxn>
                <a:cxn ang="0">
                  <a:pos x="34" y="42"/>
                </a:cxn>
                <a:cxn ang="0">
                  <a:pos x="32" y="44"/>
                </a:cxn>
                <a:cxn ang="0">
                  <a:pos x="26" y="47"/>
                </a:cxn>
                <a:cxn ang="0">
                  <a:pos x="26" y="54"/>
                </a:cxn>
                <a:cxn ang="0">
                  <a:pos x="25" y="59"/>
                </a:cxn>
                <a:cxn ang="0">
                  <a:pos x="20" y="61"/>
                </a:cxn>
                <a:cxn ang="0">
                  <a:pos x="12" y="50"/>
                </a:cxn>
                <a:cxn ang="0">
                  <a:pos x="6" y="44"/>
                </a:cxn>
                <a:cxn ang="0">
                  <a:pos x="3" y="34"/>
                </a:cxn>
                <a:cxn ang="0">
                  <a:pos x="3" y="29"/>
                </a:cxn>
                <a:cxn ang="0">
                  <a:pos x="6" y="23"/>
                </a:cxn>
                <a:cxn ang="0">
                  <a:pos x="8" y="22"/>
                </a:cxn>
                <a:cxn ang="0">
                  <a:pos x="11" y="20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12"/>
                </a:cxn>
                <a:cxn ang="0">
                  <a:pos x="22" y="12"/>
                </a:cxn>
                <a:cxn ang="0">
                  <a:pos x="22" y="1"/>
                </a:cxn>
              </a:cxnLst>
              <a:rect l="0" t="0" r="r" b="b"/>
              <a:pathLst>
                <a:path w="48" h="61">
                  <a:moveTo>
                    <a:pt x="22" y="1"/>
                  </a:moveTo>
                  <a:cubicBezTo>
                    <a:pt x="23" y="0"/>
                    <a:pt x="23" y="0"/>
                    <a:pt x="31" y="0"/>
                  </a:cubicBezTo>
                  <a:cubicBezTo>
                    <a:pt x="40" y="0"/>
                    <a:pt x="37" y="0"/>
                    <a:pt x="39" y="1"/>
                  </a:cubicBezTo>
                  <a:cubicBezTo>
                    <a:pt x="39" y="4"/>
                    <a:pt x="35" y="4"/>
                    <a:pt x="37" y="9"/>
                  </a:cubicBezTo>
                  <a:cubicBezTo>
                    <a:pt x="39" y="12"/>
                    <a:pt x="42" y="9"/>
                    <a:pt x="43" y="9"/>
                  </a:cubicBezTo>
                  <a:cubicBezTo>
                    <a:pt x="46" y="9"/>
                    <a:pt x="48" y="12"/>
                    <a:pt x="46" y="15"/>
                  </a:cubicBezTo>
                  <a:cubicBezTo>
                    <a:pt x="45" y="20"/>
                    <a:pt x="45" y="14"/>
                    <a:pt x="43" y="23"/>
                  </a:cubicBezTo>
                  <a:cubicBezTo>
                    <a:pt x="42" y="28"/>
                    <a:pt x="48" y="26"/>
                    <a:pt x="48" y="29"/>
                  </a:cubicBezTo>
                  <a:cubicBezTo>
                    <a:pt x="46" y="33"/>
                    <a:pt x="48" y="39"/>
                    <a:pt x="46" y="42"/>
                  </a:cubicBezTo>
                  <a:cubicBezTo>
                    <a:pt x="45" y="45"/>
                    <a:pt x="48" y="47"/>
                    <a:pt x="45" y="47"/>
                  </a:cubicBezTo>
                  <a:cubicBezTo>
                    <a:pt x="42" y="48"/>
                    <a:pt x="43" y="42"/>
                    <a:pt x="42" y="45"/>
                  </a:cubicBezTo>
                  <a:cubicBezTo>
                    <a:pt x="39" y="48"/>
                    <a:pt x="37" y="48"/>
                    <a:pt x="34" y="42"/>
                  </a:cubicBezTo>
                  <a:cubicBezTo>
                    <a:pt x="31" y="37"/>
                    <a:pt x="31" y="40"/>
                    <a:pt x="32" y="44"/>
                  </a:cubicBezTo>
                  <a:cubicBezTo>
                    <a:pt x="32" y="47"/>
                    <a:pt x="29" y="47"/>
                    <a:pt x="26" y="47"/>
                  </a:cubicBezTo>
                  <a:cubicBezTo>
                    <a:pt x="23" y="47"/>
                    <a:pt x="25" y="53"/>
                    <a:pt x="26" y="54"/>
                  </a:cubicBezTo>
                  <a:cubicBezTo>
                    <a:pt x="28" y="56"/>
                    <a:pt x="28" y="61"/>
                    <a:pt x="25" y="59"/>
                  </a:cubicBezTo>
                  <a:cubicBezTo>
                    <a:pt x="23" y="58"/>
                    <a:pt x="23" y="58"/>
                    <a:pt x="20" y="61"/>
                  </a:cubicBezTo>
                  <a:cubicBezTo>
                    <a:pt x="16" y="56"/>
                    <a:pt x="22" y="59"/>
                    <a:pt x="12" y="50"/>
                  </a:cubicBezTo>
                  <a:cubicBezTo>
                    <a:pt x="9" y="47"/>
                    <a:pt x="8" y="45"/>
                    <a:pt x="6" y="44"/>
                  </a:cubicBezTo>
                  <a:cubicBezTo>
                    <a:pt x="5" y="40"/>
                    <a:pt x="5" y="39"/>
                    <a:pt x="3" y="34"/>
                  </a:cubicBezTo>
                  <a:cubicBezTo>
                    <a:pt x="0" y="29"/>
                    <a:pt x="0" y="26"/>
                    <a:pt x="3" y="29"/>
                  </a:cubicBezTo>
                  <a:cubicBezTo>
                    <a:pt x="5" y="31"/>
                    <a:pt x="6" y="26"/>
                    <a:pt x="6" y="23"/>
                  </a:cubicBezTo>
                  <a:cubicBezTo>
                    <a:pt x="6" y="18"/>
                    <a:pt x="6" y="18"/>
                    <a:pt x="8" y="22"/>
                  </a:cubicBezTo>
                  <a:cubicBezTo>
                    <a:pt x="9" y="23"/>
                    <a:pt x="14" y="22"/>
                    <a:pt x="11" y="20"/>
                  </a:cubicBezTo>
                  <a:cubicBezTo>
                    <a:pt x="8" y="20"/>
                    <a:pt x="6" y="18"/>
                    <a:pt x="6" y="17"/>
                  </a:cubicBezTo>
                  <a:cubicBezTo>
                    <a:pt x="8" y="15"/>
                    <a:pt x="8" y="17"/>
                    <a:pt x="8" y="17"/>
                  </a:cubicBezTo>
                  <a:cubicBezTo>
                    <a:pt x="9" y="15"/>
                    <a:pt x="8" y="14"/>
                    <a:pt x="8" y="12"/>
                  </a:cubicBezTo>
                  <a:cubicBezTo>
                    <a:pt x="16" y="12"/>
                    <a:pt x="17" y="14"/>
                    <a:pt x="22" y="12"/>
                  </a:cubicBezTo>
                  <a:cubicBezTo>
                    <a:pt x="22" y="1"/>
                    <a:pt x="22" y="1"/>
                    <a:pt x="22" y="1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 119"/>
            <p:cNvSpPr>
              <a:spLocks/>
            </p:cNvSpPr>
            <p:nvPr/>
          </p:nvSpPr>
          <p:spPr bwMode="auto">
            <a:xfrm>
              <a:off x="5179439" y="5063593"/>
              <a:ext cx="49810" cy="4338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6" y="1"/>
                </a:cxn>
                <a:cxn ang="0">
                  <a:pos x="16" y="13"/>
                </a:cxn>
                <a:cxn ang="0">
                  <a:pos x="2" y="13"/>
                </a:cxn>
                <a:cxn ang="0">
                  <a:pos x="0" y="11"/>
                </a:cxn>
                <a:cxn ang="0">
                  <a:pos x="3" y="0"/>
                </a:cxn>
              </a:cxnLst>
              <a:rect l="0" t="0" r="r" b="b"/>
              <a:pathLst>
                <a:path w="16" h="14">
                  <a:moveTo>
                    <a:pt x="3" y="0"/>
                  </a:moveTo>
                  <a:cubicBezTo>
                    <a:pt x="6" y="3"/>
                    <a:pt x="8" y="1"/>
                    <a:pt x="16" y="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1" y="14"/>
                    <a:pt x="9" y="13"/>
                    <a:pt x="2" y="13"/>
                  </a:cubicBezTo>
                  <a:cubicBezTo>
                    <a:pt x="3" y="11"/>
                    <a:pt x="0" y="14"/>
                    <a:pt x="0" y="11"/>
                  </a:cubicBezTo>
                  <a:cubicBezTo>
                    <a:pt x="0" y="8"/>
                    <a:pt x="5" y="8"/>
                    <a:pt x="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120"/>
            <p:cNvSpPr>
              <a:spLocks/>
            </p:cNvSpPr>
            <p:nvPr/>
          </p:nvSpPr>
          <p:spPr bwMode="auto">
            <a:xfrm>
              <a:off x="5152124" y="5020210"/>
              <a:ext cx="17675" cy="1767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6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0" y="5"/>
                    <a:pt x="3" y="3"/>
                    <a:pt x="3" y="2"/>
                  </a:cubicBezTo>
                  <a:cubicBezTo>
                    <a:pt x="5" y="0"/>
                    <a:pt x="6" y="0"/>
                    <a:pt x="5" y="3"/>
                  </a:cubicBezTo>
                  <a:cubicBezTo>
                    <a:pt x="3" y="6"/>
                    <a:pt x="3" y="6"/>
                    <a:pt x="3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 121"/>
            <p:cNvSpPr>
              <a:spLocks/>
            </p:cNvSpPr>
            <p:nvPr/>
          </p:nvSpPr>
          <p:spPr bwMode="auto">
            <a:xfrm>
              <a:off x="5103921" y="5123042"/>
              <a:ext cx="16068" cy="1124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" y="4"/>
                </a:cxn>
                <a:cxn ang="0">
                  <a:pos x="3" y="0"/>
                </a:cxn>
              </a:cxnLst>
              <a:rect l="0" t="0" r="r" b="b"/>
              <a:pathLst>
                <a:path w="5" h="4">
                  <a:moveTo>
                    <a:pt x="3" y="0"/>
                  </a:moveTo>
                  <a:cubicBezTo>
                    <a:pt x="5" y="1"/>
                    <a:pt x="3" y="4"/>
                    <a:pt x="2" y="4"/>
                  </a:cubicBezTo>
                  <a:cubicBezTo>
                    <a:pt x="0" y="3"/>
                    <a:pt x="2" y="0"/>
                    <a:pt x="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122"/>
            <p:cNvSpPr>
              <a:spLocks/>
            </p:cNvSpPr>
            <p:nvPr/>
          </p:nvSpPr>
          <p:spPr bwMode="auto">
            <a:xfrm>
              <a:off x="5656653" y="5163211"/>
              <a:ext cx="56237" cy="59450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6" y="18"/>
                </a:cxn>
                <a:cxn ang="0">
                  <a:pos x="11" y="16"/>
                </a:cxn>
                <a:cxn ang="0">
                  <a:pos x="12" y="15"/>
                </a:cxn>
                <a:cxn ang="0">
                  <a:pos x="17" y="15"/>
                </a:cxn>
                <a:cxn ang="0">
                  <a:pos x="18" y="8"/>
                </a:cxn>
                <a:cxn ang="0">
                  <a:pos x="15" y="0"/>
                </a:cxn>
                <a:cxn ang="0">
                  <a:pos x="12" y="5"/>
                </a:cxn>
                <a:cxn ang="0">
                  <a:pos x="9" y="3"/>
                </a:cxn>
                <a:cxn ang="0">
                  <a:pos x="5" y="13"/>
                </a:cxn>
                <a:cxn ang="0">
                  <a:pos x="3" y="18"/>
                </a:cxn>
              </a:cxnLst>
              <a:rect l="0" t="0" r="r" b="b"/>
              <a:pathLst>
                <a:path w="18" h="19">
                  <a:moveTo>
                    <a:pt x="3" y="18"/>
                  </a:moveTo>
                  <a:cubicBezTo>
                    <a:pt x="5" y="15"/>
                    <a:pt x="6" y="16"/>
                    <a:pt x="6" y="18"/>
                  </a:cubicBezTo>
                  <a:cubicBezTo>
                    <a:pt x="6" y="19"/>
                    <a:pt x="11" y="19"/>
                    <a:pt x="11" y="16"/>
                  </a:cubicBezTo>
                  <a:cubicBezTo>
                    <a:pt x="11" y="13"/>
                    <a:pt x="12" y="13"/>
                    <a:pt x="12" y="15"/>
                  </a:cubicBezTo>
                  <a:cubicBezTo>
                    <a:pt x="12" y="15"/>
                    <a:pt x="14" y="13"/>
                    <a:pt x="17" y="15"/>
                  </a:cubicBezTo>
                  <a:cubicBezTo>
                    <a:pt x="18" y="15"/>
                    <a:pt x="18" y="13"/>
                    <a:pt x="18" y="8"/>
                  </a:cubicBezTo>
                  <a:cubicBezTo>
                    <a:pt x="17" y="2"/>
                    <a:pt x="15" y="3"/>
                    <a:pt x="15" y="0"/>
                  </a:cubicBezTo>
                  <a:cubicBezTo>
                    <a:pt x="14" y="2"/>
                    <a:pt x="14" y="3"/>
                    <a:pt x="12" y="5"/>
                  </a:cubicBezTo>
                  <a:cubicBezTo>
                    <a:pt x="9" y="5"/>
                    <a:pt x="12" y="2"/>
                    <a:pt x="9" y="3"/>
                  </a:cubicBezTo>
                  <a:cubicBezTo>
                    <a:pt x="0" y="10"/>
                    <a:pt x="8" y="10"/>
                    <a:pt x="5" y="13"/>
                  </a:cubicBezTo>
                  <a:cubicBezTo>
                    <a:pt x="2" y="15"/>
                    <a:pt x="3" y="15"/>
                    <a:pt x="3" y="1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 123"/>
            <p:cNvSpPr>
              <a:spLocks/>
            </p:cNvSpPr>
            <p:nvPr/>
          </p:nvSpPr>
          <p:spPr bwMode="auto">
            <a:xfrm>
              <a:off x="5666294" y="5203380"/>
              <a:ext cx="57844" cy="69090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12" y="5"/>
                </a:cxn>
                <a:cxn ang="0">
                  <a:pos x="14" y="11"/>
                </a:cxn>
                <a:cxn ang="0">
                  <a:pos x="5" y="22"/>
                </a:cxn>
                <a:cxn ang="0">
                  <a:pos x="2" y="13"/>
                </a:cxn>
                <a:cxn ang="0">
                  <a:pos x="0" y="5"/>
                </a:cxn>
                <a:cxn ang="0">
                  <a:pos x="3" y="5"/>
                </a:cxn>
                <a:cxn ang="0">
                  <a:pos x="8" y="3"/>
                </a:cxn>
                <a:cxn ang="0">
                  <a:pos x="9" y="2"/>
                </a:cxn>
                <a:cxn ang="0">
                  <a:pos x="14" y="2"/>
                </a:cxn>
              </a:cxnLst>
              <a:rect l="0" t="0" r="r" b="b"/>
              <a:pathLst>
                <a:path w="19" h="22">
                  <a:moveTo>
                    <a:pt x="14" y="2"/>
                  </a:moveTo>
                  <a:cubicBezTo>
                    <a:pt x="14" y="3"/>
                    <a:pt x="12" y="3"/>
                    <a:pt x="12" y="5"/>
                  </a:cubicBezTo>
                  <a:cubicBezTo>
                    <a:pt x="12" y="6"/>
                    <a:pt x="19" y="6"/>
                    <a:pt x="14" y="11"/>
                  </a:cubicBezTo>
                  <a:cubicBezTo>
                    <a:pt x="9" y="16"/>
                    <a:pt x="11" y="20"/>
                    <a:pt x="5" y="22"/>
                  </a:cubicBezTo>
                  <a:cubicBezTo>
                    <a:pt x="5" y="17"/>
                    <a:pt x="2" y="17"/>
                    <a:pt x="2" y="13"/>
                  </a:cubicBezTo>
                  <a:cubicBezTo>
                    <a:pt x="3" y="8"/>
                    <a:pt x="2" y="8"/>
                    <a:pt x="0" y="5"/>
                  </a:cubicBezTo>
                  <a:cubicBezTo>
                    <a:pt x="2" y="2"/>
                    <a:pt x="3" y="3"/>
                    <a:pt x="3" y="5"/>
                  </a:cubicBezTo>
                  <a:cubicBezTo>
                    <a:pt x="3" y="6"/>
                    <a:pt x="8" y="6"/>
                    <a:pt x="8" y="3"/>
                  </a:cubicBezTo>
                  <a:cubicBezTo>
                    <a:pt x="8" y="0"/>
                    <a:pt x="9" y="0"/>
                    <a:pt x="9" y="2"/>
                  </a:cubicBezTo>
                  <a:cubicBezTo>
                    <a:pt x="9" y="2"/>
                    <a:pt x="11" y="0"/>
                    <a:pt x="14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 124"/>
            <p:cNvSpPr>
              <a:spLocks/>
            </p:cNvSpPr>
            <p:nvPr/>
          </p:nvSpPr>
          <p:spPr bwMode="auto">
            <a:xfrm>
              <a:off x="4811486" y="4663511"/>
              <a:ext cx="199241" cy="184776"/>
            </a:xfrm>
            <a:custGeom>
              <a:avLst/>
              <a:gdLst/>
              <a:ahLst/>
              <a:cxnLst>
                <a:cxn ang="0">
                  <a:pos x="24" y="58"/>
                </a:cxn>
                <a:cxn ang="0">
                  <a:pos x="23" y="48"/>
                </a:cxn>
                <a:cxn ang="0">
                  <a:pos x="23" y="42"/>
                </a:cxn>
                <a:cxn ang="0">
                  <a:pos x="38" y="42"/>
                </a:cxn>
                <a:cxn ang="0">
                  <a:pos x="41" y="42"/>
                </a:cxn>
                <a:cxn ang="0">
                  <a:pos x="44" y="41"/>
                </a:cxn>
                <a:cxn ang="0">
                  <a:pos x="49" y="44"/>
                </a:cxn>
                <a:cxn ang="0">
                  <a:pos x="52" y="42"/>
                </a:cxn>
                <a:cxn ang="0">
                  <a:pos x="64" y="34"/>
                </a:cxn>
                <a:cxn ang="0">
                  <a:pos x="62" y="30"/>
                </a:cxn>
                <a:cxn ang="0">
                  <a:pos x="59" y="27"/>
                </a:cxn>
                <a:cxn ang="0">
                  <a:pos x="53" y="22"/>
                </a:cxn>
                <a:cxn ang="0">
                  <a:pos x="53" y="19"/>
                </a:cxn>
                <a:cxn ang="0">
                  <a:pos x="52" y="17"/>
                </a:cxn>
                <a:cxn ang="0">
                  <a:pos x="49" y="13"/>
                </a:cxn>
                <a:cxn ang="0">
                  <a:pos x="47" y="3"/>
                </a:cxn>
                <a:cxn ang="0">
                  <a:pos x="44" y="3"/>
                </a:cxn>
                <a:cxn ang="0">
                  <a:pos x="41" y="2"/>
                </a:cxn>
                <a:cxn ang="0">
                  <a:pos x="32" y="6"/>
                </a:cxn>
                <a:cxn ang="0">
                  <a:pos x="27" y="11"/>
                </a:cxn>
                <a:cxn ang="0">
                  <a:pos x="23" y="16"/>
                </a:cxn>
                <a:cxn ang="0">
                  <a:pos x="18" y="17"/>
                </a:cxn>
                <a:cxn ang="0">
                  <a:pos x="15" y="20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9" y="27"/>
                </a:cxn>
                <a:cxn ang="0">
                  <a:pos x="9" y="31"/>
                </a:cxn>
                <a:cxn ang="0">
                  <a:pos x="3" y="34"/>
                </a:cxn>
                <a:cxn ang="0">
                  <a:pos x="1" y="42"/>
                </a:cxn>
                <a:cxn ang="0">
                  <a:pos x="1" y="48"/>
                </a:cxn>
                <a:cxn ang="0">
                  <a:pos x="7" y="54"/>
                </a:cxn>
                <a:cxn ang="0">
                  <a:pos x="15" y="53"/>
                </a:cxn>
                <a:cxn ang="0">
                  <a:pos x="24" y="58"/>
                </a:cxn>
              </a:cxnLst>
              <a:rect l="0" t="0" r="r" b="b"/>
              <a:pathLst>
                <a:path w="64" h="59">
                  <a:moveTo>
                    <a:pt x="24" y="58"/>
                  </a:moveTo>
                  <a:cubicBezTo>
                    <a:pt x="23" y="54"/>
                    <a:pt x="23" y="50"/>
                    <a:pt x="23" y="48"/>
                  </a:cubicBezTo>
                  <a:cubicBezTo>
                    <a:pt x="23" y="48"/>
                    <a:pt x="20" y="42"/>
                    <a:pt x="23" y="42"/>
                  </a:cubicBezTo>
                  <a:cubicBezTo>
                    <a:pt x="26" y="42"/>
                    <a:pt x="36" y="42"/>
                    <a:pt x="38" y="42"/>
                  </a:cubicBezTo>
                  <a:cubicBezTo>
                    <a:pt x="39" y="42"/>
                    <a:pt x="39" y="44"/>
                    <a:pt x="41" y="42"/>
                  </a:cubicBezTo>
                  <a:cubicBezTo>
                    <a:pt x="42" y="42"/>
                    <a:pt x="42" y="41"/>
                    <a:pt x="44" y="41"/>
                  </a:cubicBezTo>
                  <a:cubicBezTo>
                    <a:pt x="49" y="42"/>
                    <a:pt x="49" y="44"/>
                    <a:pt x="49" y="44"/>
                  </a:cubicBezTo>
                  <a:cubicBezTo>
                    <a:pt x="50" y="44"/>
                    <a:pt x="52" y="42"/>
                    <a:pt x="52" y="42"/>
                  </a:cubicBezTo>
                  <a:cubicBezTo>
                    <a:pt x="58" y="36"/>
                    <a:pt x="59" y="42"/>
                    <a:pt x="64" y="34"/>
                  </a:cubicBezTo>
                  <a:cubicBezTo>
                    <a:pt x="62" y="31"/>
                    <a:pt x="61" y="30"/>
                    <a:pt x="62" y="30"/>
                  </a:cubicBezTo>
                  <a:cubicBezTo>
                    <a:pt x="64" y="28"/>
                    <a:pt x="61" y="23"/>
                    <a:pt x="59" y="27"/>
                  </a:cubicBezTo>
                  <a:cubicBezTo>
                    <a:pt x="58" y="28"/>
                    <a:pt x="55" y="23"/>
                    <a:pt x="53" y="22"/>
                  </a:cubicBezTo>
                  <a:cubicBezTo>
                    <a:pt x="52" y="22"/>
                    <a:pt x="52" y="19"/>
                    <a:pt x="53" y="19"/>
                  </a:cubicBezTo>
                  <a:cubicBezTo>
                    <a:pt x="55" y="20"/>
                    <a:pt x="55" y="19"/>
                    <a:pt x="52" y="17"/>
                  </a:cubicBezTo>
                  <a:cubicBezTo>
                    <a:pt x="50" y="14"/>
                    <a:pt x="49" y="17"/>
                    <a:pt x="49" y="13"/>
                  </a:cubicBezTo>
                  <a:cubicBezTo>
                    <a:pt x="47" y="6"/>
                    <a:pt x="45" y="9"/>
                    <a:pt x="47" y="3"/>
                  </a:cubicBezTo>
                  <a:cubicBezTo>
                    <a:pt x="45" y="3"/>
                    <a:pt x="45" y="3"/>
                    <a:pt x="44" y="3"/>
                  </a:cubicBezTo>
                  <a:cubicBezTo>
                    <a:pt x="42" y="2"/>
                    <a:pt x="42" y="3"/>
                    <a:pt x="41" y="2"/>
                  </a:cubicBezTo>
                  <a:cubicBezTo>
                    <a:pt x="38" y="0"/>
                    <a:pt x="41" y="3"/>
                    <a:pt x="32" y="6"/>
                  </a:cubicBezTo>
                  <a:cubicBezTo>
                    <a:pt x="27" y="8"/>
                    <a:pt x="30" y="13"/>
                    <a:pt x="27" y="11"/>
                  </a:cubicBezTo>
                  <a:cubicBezTo>
                    <a:pt x="24" y="9"/>
                    <a:pt x="23" y="11"/>
                    <a:pt x="23" y="16"/>
                  </a:cubicBezTo>
                  <a:cubicBezTo>
                    <a:pt x="23" y="19"/>
                    <a:pt x="18" y="14"/>
                    <a:pt x="18" y="17"/>
                  </a:cubicBezTo>
                  <a:cubicBezTo>
                    <a:pt x="18" y="19"/>
                    <a:pt x="18" y="22"/>
                    <a:pt x="15" y="20"/>
                  </a:cubicBezTo>
                  <a:cubicBezTo>
                    <a:pt x="12" y="20"/>
                    <a:pt x="14" y="17"/>
                    <a:pt x="12" y="19"/>
                  </a:cubicBezTo>
                  <a:cubicBezTo>
                    <a:pt x="10" y="20"/>
                    <a:pt x="10" y="22"/>
                    <a:pt x="12" y="23"/>
                  </a:cubicBezTo>
                  <a:cubicBezTo>
                    <a:pt x="14" y="27"/>
                    <a:pt x="9" y="25"/>
                    <a:pt x="9" y="27"/>
                  </a:cubicBezTo>
                  <a:cubicBezTo>
                    <a:pt x="10" y="28"/>
                    <a:pt x="10" y="28"/>
                    <a:pt x="9" y="31"/>
                  </a:cubicBezTo>
                  <a:cubicBezTo>
                    <a:pt x="7" y="34"/>
                    <a:pt x="1" y="33"/>
                    <a:pt x="3" y="34"/>
                  </a:cubicBezTo>
                  <a:cubicBezTo>
                    <a:pt x="3" y="36"/>
                    <a:pt x="3" y="41"/>
                    <a:pt x="1" y="42"/>
                  </a:cubicBezTo>
                  <a:cubicBezTo>
                    <a:pt x="0" y="42"/>
                    <a:pt x="3" y="44"/>
                    <a:pt x="1" y="48"/>
                  </a:cubicBezTo>
                  <a:cubicBezTo>
                    <a:pt x="7" y="50"/>
                    <a:pt x="1" y="50"/>
                    <a:pt x="7" y="54"/>
                  </a:cubicBezTo>
                  <a:cubicBezTo>
                    <a:pt x="14" y="59"/>
                    <a:pt x="9" y="53"/>
                    <a:pt x="15" y="53"/>
                  </a:cubicBezTo>
                  <a:cubicBezTo>
                    <a:pt x="21" y="53"/>
                    <a:pt x="20" y="58"/>
                    <a:pt x="24" y="5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125"/>
            <p:cNvSpPr>
              <a:spLocks/>
            </p:cNvSpPr>
            <p:nvPr/>
          </p:nvSpPr>
          <p:spPr bwMode="auto">
            <a:xfrm>
              <a:off x="4967344" y="4748669"/>
              <a:ext cx="86766" cy="192810"/>
            </a:xfrm>
            <a:custGeom>
              <a:avLst/>
              <a:gdLst/>
              <a:ahLst/>
              <a:cxnLst>
                <a:cxn ang="0">
                  <a:pos x="14" y="7"/>
                </a:cxn>
                <a:cxn ang="0">
                  <a:pos x="2" y="15"/>
                </a:cxn>
                <a:cxn ang="0">
                  <a:pos x="5" y="25"/>
                </a:cxn>
                <a:cxn ang="0">
                  <a:pos x="6" y="32"/>
                </a:cxn>
                <a:cxn ang="0">
                  <a:pos x="8" y="54"/>
                </a:cxn>
                <a:cxn ang="0">
                  <a:pos x="6" y="56"/>
                </a:cxn>
                <a:cxn ang="0">
                  <a:pos x="8" y="62"/>
                </a:cxn>
                <a:cxn ang="0">
                  <a:pos x="17" y="62"/>
                </a:cxn>
                <a:cxn ang="0">
                  <a:pos x="17" y="40"/>
                </a:cxn>
                <a:cxn ang="0">
                  <a:pos x="20" y="32"/>
                </a:cxn>
                <a:cxn ang="0">
                  <a:pos x="25" y="22"/>
                </a:cxn>
                <a:cxn ang="0">
                  <a:pos x="23" y="9"/>
                </a:cxn>
                <a:cxn ang="0">
                  <a:pos x="19" y="3"/>
                </a:cxn>
                <a:cxn ang="0">
                  <a:pos x="16" y="3"/>
                </a:cxn>
                <a:cxn ang="0">
                  <a:pos x="14" y="7"/>
                </a:cxn>
              </a:cxnLst>
              <a:rect l="0" t="0" r="r" b="b"/>
              <a:pathLst>
                <a:path w="28" h="62">
                  <a:moveTo>
                    <a:pt x="14" y="7"/>
                  </a:moveTo>
                  <a:cubicBezTo>
                    <a:pt x="9" y="15"/>
                    <a:pt x="8" y="9"/>
                    <a:pt x="2" y="15"/>
                  </a:cubicBezTo>
                  <a:cubicBezTo>
                    <a:pt x="0" y="22"/>
                    <a:pt x="2" y="23"/>
                    <a:pt x="5" y="25"/>
                  </a:cubicBezTo>
                  <a:cubicBezTo>
                    <a:pt x="8" y="25"/>
                    <a:pt x="5" y="32"/>
                    <a:pt x="6" y="32"/>
                  </a:cubicBezTo>
                  <a:cubicBezTo>
                    <a:pt x="9" y="34"/>
                    <a:pt x="8" y="51"/>
                    <a:pt x="8" y="54"/>
                  </a:cubicBezTo>
                  <a:cubicBezTo>
                    <a:pt x="8" y="56"/>
                    <a:pt x="6" y="54"/>
                    <a:pt x="6" y="56"/>
                  </a:cubicBezTo>
                  <a:cubicBezTo>
                    <a:pt x="8" y="58"/>
                    <a:pt x="9" y="61"/>
                    <a:pt x="8" y="62"/>
                  </a:cubicBezTo>
                  <a:cubicBezTo>
                    <a:pt x="13" y="62"/>
                    <a:pt x="14" y="62"/>
                    <a:pt x="17" y="62"/>
                  </a:cubicBezTo>
                  <a:cubicBezTo>
                    <a:pt x="19" y="53"/>
                    <a:pt x="17" y="48"/>
                    <a:pt x="17" y="40"/>
                  </a:cubicBezTo>
                  <a:cubicBezTo>
                    <a:pt x="17" y="32"/>
                    <a:pt x="19" y="37"/>
                    <a:pt x="20" y="32"/>
                  </a:cubicBezTo>
                  <a:cubicBezTo>
                    <a:pt x="20" y="28"/>
                    <a:pt x="22" y="29"/>
                    <a:pt x="25" y="22"/>
                  </a:cubicBezTo>
                  <a:cubicBezTo>
                    <a:pt x="28" y="14"/>
                    <a:pt x="22" y="14"/>
                    <a:pt x="23" y="9"/>
                  </a:cubicBezTo>
                  <a:cubicBezTo>
                    <a:pt x="22" y="6"/>
                    <a:pt x="22" y="6"/>
                    <a:pt x="19" y="3"/>
                  </a:cubicBezTo>
                  <a:cubicBezTo>
                    <a:pt x="16" y="0"/>
                    <a:pt x="17" y="3"/>
                    <a:pt x="16" y="3"/>
                  </a:cubicBezTo>
                  <a:cubicBezTo>
                    <a:pt x="13" y="3"/>
                    <a:pt x="16" y="4"/>
                    <a:pt x="14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 126"/>
            <p:cNvSpPr>
              <a:spLocks/>
            </p:cNvSpPr>
            <p:nvPr/>
          </p:nvSpPr>
          <p:spPr bwMode="auto">
            <a:xfrm>
              <a:off x="4737574" y="4798478"/>
              <a:ext cx="157465" cy="202450"/>
            </a:xfrm>
            <a:custGeom>
              <a:avLst/>
              <a:gdLst/>
              <a:ahLst/>
              <a:cxnLst>
                <a:cxn ang="0">
                  <a:pos x="48" y="15"/>
                </a:cxn>
                <a:cxn ang="0">
                  <a:pos x="48" y="29"/>
                </a:cxn>
                <a:cxn ang="0">
                  <a:pos x="44" y="43"/>
                </a:cxn>
                <a:cxn ang="0">
                  <a:pos x="45" y="52"/>
                </a:cxn>
                <a:cxn ang="0">
                  <a:pos x="47" y="57"/>
                </a:cxn>
                <a:cxn ang="0">
                  <a:pos x="44" y="57"/>
                </a:cxn>
                <a:cxn ang="0">
                  <a:pos x="39" y="57"/>
                </a:cxn>
                <a:cxn ang="0">
                  <a:pos x="35" y="57"/>
                </a:cxn>
                <a:cxn ang="0">
                  <a:pos x="21" y="59"/>
                </a:cxn>
                <a:cxn ang="0">
                  <a:pos x="9" y="65"/>
                </a:cxn>
                <a:cxn ang="0">
                  <a:pos x="10" y="52"/>
                </a:cxn>
                <a:cxn ang="0">
                  <a:pos x="7" y="48"/>
                </a:cxn>
                <a:cxn ang="0">
                  <a:pos x="1" y="43"/>
                </a:cxn>
                <a:cxn ang="0">
                  <a:pos x="1" y="32"/>
                </a:cxn>
                <a:cxn ang="0">
                  <a:pos x="6" y="29"/>
                </a:cxn>
                <a:cxn ang="0">
                  <a:pos x="3" y="26"/>
                </a:cxn>
                <a:cxn ang="0">
                  <a:pos x="9" y="26"/>
                </a:cxn>
                <a:cxn ang="0">
                  <a:pos x="7" y="20"/>
                </a:cxn>
                <a:cxn ang="0">
                  <a:pos x="4" y="14"/>
                </a:cxn>
                <a:cxn ang="0">
                  <a:pos x="6" y="9"/>
                </a:cxn>
                <a:cxn ang="0">
                  <a:pos x="15" y="7"/>
                </a:cxn>
                <a:cxn ang="0">
                  <a:pos x="20" y="6"/>
                </a:cxn>
                <a:cxn ang="0">
                  <a:pos x="26" y="6"/>
                </a:cxn>
                <a:cxn ang="0">
                  <a:pos x="32" y="12"/>
                </a:cxn>
                <a:cxn ang="0">
                  <a:pos x="39" y="10"/>
                </a:cxn>
                <a:cxn ang="0">
                  <a:pos x="48" y="15"/>
                </a:cxn>
              </a:cxnLst>
              <a:rect l="0" t="0" r="r" b="b"/>
              <a:pathLst>
                <a:path w="51" h="65">
                  <a:moveTo>
                    <a:pt x="48" y="15"/>
                  </a:moveTo>
                  <a:cubicBezTo>
                    <a:pt x="47" y="18"/>
                    <a:pt x="51" y="29"/>
                    <a:pt x="48" y="29"/>
                  </a:cubicBezTo>
                  <a:cubicBezTo>
                    <a:pt x="47" y="31"/>
                    <a:pt x="45" y="37"/>
                    <a:pt x="44" y="43"/>
                  </a:cubicBezTo>
                  <a:cubicBezTo>
                    <a:pt x="42" y="45"/>
                    <a:pt x="45" y="51"/>
                    <a:pt x="45" y="52"/>
                  </a:cubicBezTo>
                  <a:cubicBezTo>
                    <a:pt x="47" y="54"/>
                    <a:pt x="48" y="59"/>
                    <a:pt x="47" y="57"/>
                  </a:cubicBezTo>
                  <a:cubicBezTo>
                    <a:pt x="47" y="57"/>
                    <a:pt x="47" y="57"/>
                    <a:pt x="44" y="57"/>
                  </a:cubicBezTo>
                  <a:cubicBezTo>
                    <a:pt x="42" y="57"/>
                    <a:pt x="44" y="59"/>
                    <a:pt x="39" y="57"/>
                  </a:cubicBezTo>
                  <a:cubicBezTo>
                    <a:pt x="35" y="57"/>
                    <a:pt x="38" y="57"/>
                    <a:pt x="35" y="57"/>
                  </a:cubicBezTo>
                  <a:cubicBezTo>
                    <a:pt x="30" y="59"/>
                    <a:pt x="30" y="57"/>
                    <a:pt x="21" y="59"/>
                  </a:cubicBezTo>
                  <a:cubicBezTo>
                    <a:pt x="12" y="62"/>
                    <a:pt x="12" y="65"/>
                    <a:pt x="9" y="65"/>
                  </a:cubicBezTo>
                  <a:cubicBezTo>
                    <a:pt x="9" y="60"/>
                    <a:pt x="10" y="57"/>
                    <a:pt x="10" y="52"/>
                  </a:cubicBezTo>
                  <a:cubicBezTo>
                    <a:pt x="10" y="49"/>
                    <a:pt x="7" y="51"/>
                    <a:pt x="7" y="48"/>
                  </a:cubicBezTo>
                  <a:cubicBezTo>
                    <a:pt x="7" y="45"/>
                    <a:pt x="0" y="46"/>
                    <a:pt x="1" y="43"/>
                  </a:cubicBezTo>
                  <a:cubicBezTo>
                    <a:pt x="3" y="40"/>
                    <a:pt x="4" y="38"/>
                    <a:pt x="1" y="32"/>
                  </a:cubicBezTo>
                  <a:cubicBezTo>
                    <a:pt x="4" y="35"/>
                    <a:pt x="6" y="32"/>
                    <a:pt x="6" y="29"/>
                  </a:cubicBezTo>
                  <a:cubicBezTo>
                    <a:pt x="6" y="26"/>
                    <a:pt x="4" y="29"/>
                    <a:pt x="3" y="26"/>
                  </a:cubicBezTo>
                  <a:cubicBezTo>
                    <a:pt x="3" y="24"/>
                    <a:pt x="4" y="24"/>
                    <a:pt x="9" y="26"/>
                  </a:cubicBezTo>
                  <a:cubicBezTo>
                    <a:pt x="9" y="21"/>
                    <a:pt x="4" y="23"/>
                    <a:pt x="7" y="20"/>
                  </a:cubicBezTo>
                  <a:cubicBezTo>
                    <a:pt x="9" y="17"/>
                    <a:pt x="4" y="17"/>
                    <a:pt x="4" y="14"/>
                  </a:cubicBezTo>
                  <a:cubicBezTo>
                    <a:pt x="6" y="10"/>
                    <a:pt x="3" y="10"/>
                    <a:pt x="6" y="9"/>
                  </a:cubicBezTo>
                  <a:cubicBezTo>
                    <a:pt x="12" y="1"/>
                    <a:pt x="10" y="12"/>
                    <a:pt x="15" y="7"/>
                  </a:cubicBezTo>
                  <a:cubicBezTo>
                    <a:pt x="18" y="3"/>
                    <a:pt x="20" y="0"/>
                    <a:pt x="20" y="6"/>
                  </a:cubicBezTo>
                  <a:cubicBezTo>
                    <a:pt x="20" y="10"/>
                    <a:pt x="23" y="6"/>
                    <a:pt x="26" y="6"/>
                  </a:cubicBezTo>
                  <a:cubicBezTo>
                    <a:pt x="32" y="7"/>
                    <a:pt x="26" y="7"/>
                    <a:pt x="32" y="12"/>
                  </a:cubicBezTo>
                  <a:cubicBezTo>
                    <a:pt x="38" y="17"/>
                    <a:pt x="33" y="10"/>
                    <a:pt x="39" y="10"/>
                  </a:cubicBezTo>
                  <a:cubicBezTo>
                    <a:pt x="45" y="10"/>
                    <a:pt x="44" y="15"/>
                    <a:pt x="48" y="1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 127"/>
            <p:cNvSpPr>
              <a:spLocks/>
            </p:cNvSpPr>
            <p:nvPr/>
          </p:nvSpPr>
          <p:spPr bwMode="auto">
            <a:xfrm>
              <a:off x="4867723" y="4792051"/>
              <a:ext cx="115688" cy="202450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9" y="14"/>
                </a:cxn>
                <a:cxn ang="0">
                  <a:pos x="31" y="22"/>
                </a:cxn>
                <a:cxn ang="0">
                  <a:pos x="31" y="33"/>
                </a:cxn>
                <a:cxn ang="0">
                  <a:pos x="32" y="40"/>
                </a:cxn>
                <a:cxn ang="0">
                  <a:pos x="37" y="50"/>
                </a:cxn>
                <a:cxn ang="0">
                  <a:pos x="32" y="53"/>
                </a:cxn>
                <a:cxn ang="0">
                  <a:pos x="18" y="59"/>
                </a:cxn>
                <a:cxn ang="0">
                  <a:pos x="9" y="64"/>
                </a:cxn>
                <a:cxn ang="0">
                  <a:pos x="1" y="61"/>
                </a:cxn>
                <a:cxn ang="0">
                  <a:pos x="4" y="59"/>
                </a:cxn>
                <a:cxn ang="0">
                  <a:pos x="3" y="54"/>
                </a:cxn>
                <a:cxn ang="0">
                  <a:pos x="1" y="45"/>
                </a:cxn>
                <a:cxn ang="0">
                  <a:pos x="6" y="31"/>
                </a:cxn>
                <a:cxn ang="0">
                  <a:pos x="6" y="17"/>
                </a:cxn>
                <a:cxn ang="0">
                  <a:pos x="4" y="8"/>
                </a:cxn>
                <a:cxn ang="0">
                  <a:pos x="4" y="2"/>
                </a:cxn>
                <a:cxn ang="0">
                  <a:pos x="20" y="2"/>
                </a:cxn>
                <a:cxn ang="0">
                  <a:pos x="23" y="2"/>
                </a:cxn>
                <a:cxn ang="0">
                  <a:pos x="26" y="0"/>
                </a:cxn>
              </a:cxnLst>
              <a:rect l="0" t="0" r="r" b="b"/>
              <a:pathLst>
                <a:path w="37" h="65">
                  <a:moveTo>
                    <a:pt x="26" y="0"/>
                  </a:moveTo>
                  <a:cubicBezTo>
                    <a:pt x="26" y="9"/>
                    <a:pt x="31" y="6"/>
                    <a:pt x="29" y="14"/>
                  </a:cubicBezTo>
                  <a:cubicBezTo>
                    <a:pt x="28" y="22"/>
                    <a:pt x="32" y="14"/>
                    <a:pt x="31" y="22"/>
                  </a:cubicBezTo>
                  <a:cubicBezTo>
                    <a:pt x="29" y="28"/>
                    <a:pt x="34" y="23"/>
                    <a:pt x="31" y="33"/>
                  </a:cubicBezTo>
                  <a:cubicBezTo>
                    <a:pt x="29" y="42"/>
                    <a:pt x="32" y="34"/>
                    <a:pt x="32" y="40"/>
                  </a:cubicBezTo>
                  <a:cubicBezTo>
                    <a:pt x="31" y="45"/>
                    <a:pt x="34" y="47"/>
                    <a:pt x="37" y="50"/>
                  </a:cubicBezTo>
                  <a:cubicBezTo>
                    <a:pt x="34" y="51"/>
                    <a:pt x="37" y="53"/>
                    <a:pt x="32" y="53"/>
                  </a:cubicBezTo>
                  <a:cubicBezTo>
                    <a:pt x="23" y="54"/>
                    <a:pt x="24" y="59"/>
                    <a:pt x="18" y="59"/>
                  </a:cubicBezTo>
                  <a:cubicBezTo>
                    <a:pt x="14" y="61"/>
                    <a:pt x="12" y="65"/>
                    <a:pt x="9" y="64"/>
                  </a:cubicBezTo>
                  <a:cubicBezTo>
                    <a:pt x="8" y="61"/>
                    <a:pt x="3" y="61"/>
                    <a:pt x="1" y="61"/>
                  </a:cubicBezTo>
                  <a:cubicBezTo>
                    <a:pt x="0" y="61"/>
                    <a:pt x="3" y="61"/>
                    <a:pt x="4" y="59"/>
                  </a:cubicBezTo>
                  <a:cubicBezTo>
                    <a:pt x="6" y="61"/>
                    <a:pt x="4" y="56"/>
                    <a:pt x="3" y="54"/>
                  </a:cubicBezTo>
                  <a:cubicBezTo>
                    <a:pt x="3" y="53"/>
                    <a:pt x="0" y="47"/>
                    <a:pt x="1" y="45"/>
                  </a:cubicBezTo>
                  <a:cubicBezTo>
                    <a:pt x="3" y="39"/>
                    <a:pt x="4" y="33"/>
                    <a:pt x="6" y="31"/>
                  </a:cubicBezTo>
                  <a:cubicBezTo>
                    <a:pt x="9" y="31"/>
                    <a:pt x="4" y="20"/>
                    <a:pt x="6" y="17"/>
                  </a:cubicBezTo>
                  <a:cubicBezTo>
                    <a:pt x="4" y="14"/>
                    <a:pt x="4" y="9"/>
                    <a:pt x="4" y="8"/>
                  </a:cubicBezTo>
                  <a:cubicBezTo>
                    <a:pt x="4" y="8"/>
                    <a:pt x="1" y="2"/>
                    <a:pt x="4" y="2"/>
                  </a:cubicBezTo>
                  <a:cubicBezTo>
                    <a:pt x="8" y="2"/>
                    <a:pt x="18" y="2"/>
                    <a:pt x="20" y="2"/>
                  </a:cubicBezTo>
                  <a:cubicBezTo>
                    <a:pt x="21" y="2"/>
                    <a:pt x="21" y="3"/>
                    <a:pt x="23" y="2"/>
                  </a:cubicBezTo>
                  <a:cubicBezTo>
                    <a:pt x="24" y="2"/>
                    <a:pt x="24" y="0"/>
                    <a:pt x="26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 128"/>
            <p:cNvSpPr>
              <a:spLocks/>
            </p:cNvSpPr>
            <p:nvPr/>
          </p:nvSpPr>
          <p:spPr bwMode="auto">
            <a:xfrm>
              <a:off x="4948063" y="4792051"/>
              <a:ext cx="48203" cy="15585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3"/>
                </a:cxn>
                <a:cxn ang="0">
                  <a:pos x="8" y="2"/>
                </a:cxn>
                <a:cxn ang="0">
                  <a:pos x="11" y="11"/>
                </a:cxn>
                <a:cxn ang="0">
                  <a:pos x="12" y="19"/>
                </a:cxn>
                <a:cxn ang="0">
                  <a:pos x="14" y="40"/>
                </a:cxn>
                <a:cxn ang="0">
                  <a:pos x="12" y="42"/>
                </a:cxn>
                <a:cxn ang="0">
                  <a:pos x="14" y="48"/>
                </a:cxn>
                <a:cxn ang="0">
                  <a:pos x="11" y="50"/>
                </a:cxn>
                <a:cxn ang="0">
                  <a:pos x="6" y="40"/>
                </a:cxn>
                <a:cxn ang="0">
                  <a:pos x="4" y="33"/>
                </a:cxn>
                <a:cxn ang="0">
                  <a:pos x="4" y="22"/>
                </a:cxn>
                <a:cxn ang="0">
                  <a:pos x="3" y="14"/>
                </a:cxn>
                <a:cxn ang="0">
                  <a:pos x="0" y="0"/>
                </a:cxn>
              </a:cxnLst>
              <a:rect l="0" t="0" r="r" b="b"/>
              <a:pathLst>
                <a:path w="15" h="50">
                  <a:moveTo>
                    <a:pt x="0" y="0"/>
                  </a:moveTo>
                  <a:cubicBezTo>
                    <a:pt x="4" y="2"/>
                    <a:pt x="4" y="3"/>
                    <a:pt x="4" y="3"/>
                  </a:cubicBezTo>
                  <a:cubicBezTo>
                    <a:pt x="6" y="3"/>
                    <a:pt x="8" y="2"/>
                    <a:pt x="8" y="2"/>
                  </a:cubicBezTo>
                  <a:cubicBezTo>
                    <a:pt x="6" y="8"/>
                    <a:pt x="8" y="9"/>
                    <a:pt x="11" y="11"/>
                  </a:cubicBezTo>
                  <a:cubicBezTo>
                    <a:pt x="14" y="11"/>
                    <a:pt x="11" y="19"/>
                    <a:pt x="12" y="19"/>
                  </a:cubicBezTo>
                  <a:cubicBezTo>
                    <a:pt x="15" y="20"/>
                    <a:pt x="14" y="37"/>
                    <a:pt x="14" y="40"/>
                  </a:cubicBezTo>
                  <a:cubicBezTo>
                    <a:pt x="14" y="42"/>
                    <a:pt x="12" y="40"/>
                    <a:pt x="12" y="42"/>
                  </a:cubicBezTo>
                  <a:cubicBezTo>
                    <a:pt x="14" y="44"/>
                    <a:pt x="15" y="47"/>
                    <a:pt x="14" y="48"/>
                  </a:cubicBezTo>
                  <a:cubicBezTo>
                    <a:pt x="12" y="50"/>
                    <a:pt x="11" y="50"/>
                    <a:pt x="11" y="50"/>
                  </a:cubicBezTo>
                  <a:cubicBezTo>
                    <a:pt x="8" y="47"/>
                    <a:pt x="4" y="45"/>
                    <a:pt x="6" y="40"/>
                  </a:cubicBezTo>
                  <a:cubicBezTo>
                    <a:pt x="6" y="34"/>
                    <a:pt x="3" y="42"/>
                    <a:pt x="4" y="33"/>
                  </a:cubicBezTo>
                  <a:cubicBezTo>
                    <a:pt x="8" y="23"/>
                    <a:pt x="3" y="28"/>
                    <a:pt x="4" y="22"/>
                  </a:cubicBezTo>
                  <a:cubicBezTo>
                    <a:pt x="6" y="14"/>
                    <a:pt x="1" y="22"/>
                    <a:pt x="3" y="14"/>
                  </a:cubicBezTo>
                  <a:cubicBezTo>
                    <a:pt x="4" y="6"/>
                    <a:pt x="0" y="9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 129"/>
            <p:cNvSpPr>
              <a:spLocks/>
            </p:cNvSpPr>
            <p:nvPr/>
          </p:nvSpPr>
          <p:spPr bwMode="auto">
            <a:xfrm>
              <a:off x="4625099" y="4003136"/>
              <a:ext cx="305289" cy="271541"/>
            </a:xfrm>
            <a:custGeom>
              <a:avLst/>
              <a:gdLst/>
              <a:ahLst/>
              <a:cxnLst>
                <a:cxn ang="0">
                  <a:pos x="35" y="87"/>
                </a:cxn>
                <a:cxn ang="0">
                  <a:pos x="0" y="87"/>
                </a:cxn>
                <a:cxn ang="0">
                  <a:pos x="16" y="79"/>
                </a:cxn>
                <a:cxn ang="0">
                  <a:pos x="26" y="65"/>
                </a:cxn>
                <a:cxn ang="0">
                  <a:pos x="29" y="43"/>
                </a:cxn>
                <a:cxn ang="0">
                  <a:pos x="32" y="34"/>
                </a:cxn>
                <a:cxn ang="0">
                  <a:pos x="45" y="24"/>
                </a:cxn>
                <a:cxn ang="0">
                  <a:pos x="60" y="1"/>
                </a:cxn>
                <a:cxn ang="0">
                  <a:pos x="66" y="7"/>
                </a:cxn>
                <a:cxn ang="0">
                  <a:pos x="76" y="7"/>
                </a:cxn>
                <a:cxn ang="0">
                  <a:pos x="81" y="6"/>
                </a:cxn>
                <a:cxn ang="0">
                  <a:pos x="87" y="9"/>
                </a:cxn>
                <a:cxn ang="0">
                  <a:pos x="95" y="35"/>
                </a:cxn>
                <a:cxn ang="0">
                  <a:pos x="95" y="40"/>
                </a:cxn>
                <a:cxn ang="0">
                  <a:pos x="81" y="43"/>
                </a:cxn>
                <a:cxn ang="0">
                  <a:pos x="73" y="48"/>
                </a:cxn>
                <a:cxn ang="0">
                  <a:pos x="72" y="55"/>
                </a:cxn>
                <a:cxn ang="0">
                  <a:pos x="63" y="62"/>
                </a:cxn>
                <a:cxn ang="0">
                  <a:pos x="43" y="71"/>
                </a:cxn>
                <a:cxn ang="0">
                  <a:pos x="35" y="76"/>
                </a:cxn>
                <a:cxn ang="0">
                  <a:pos x="35" y="87"/>
                </a:cxn>
              </a:cxnLst>
              <a:rect l="0" t="0" r="r" b="b"/>
              <a:pathLst>
                <a:path w="98" h="87">
                  <a:moveTo>
                    <a:pt x="35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2" y="80"/>
                    <a:pt x="10" y="85"/>
                    <a:pt x="16" y="79"/>
                  </a:cubicBezTo>
                  <a:cubicBezTo>
                    <a:pt x="20" y="71"/>
                    <a:pt x="20" y="79"/>
                    <a:pt x="26" y="65"/>
                  </a:cubicBezTo>
                  <a:cubicBezTo>
                    <a:pt x="29" y="59"/>
                    <a:pt x="23" y="51"/>
                    <a:pt x="29" y="43"/>
                  </a:cubicBezTo>
                  <a:cubicBezTo>
                    <a:pt x="34" y="37"/>
                    <a:pt x="28" y="38"/>
                    <a:pt x="32" y="34"/>
                  </a:cubicBezTo>
                  <a:cubicBezTo>
                    <a:pt x="37" y="29"/>
                    <a:pt x="32" y="29"/>
                    <a:pt x="45" y="24"/>
                  </a:cubicBezTo>
                  <a:cubicBezTo>
                    <a:pt x="57" y="20"/>
                    <a:pt x="54" y="3"/>
                    <a:pt x="60" y="1"/>
                  </a:cubicBezTo>
                  <a:cubicBezTo>
                    <a:pt x="64" y="0"/>
                    <a:pt x="60" y="4"/>
                    <a:pt x="66" y="7"/>
                  </a:cubicBezTo>
                  <a:cubicBezTo>
                    <a:pt x="72" y="10"/>
                    <a:pt x="73" y="6"/>
                    <a:pt x="76" y="7"/>
                  </a:cubicBezTo>
                  <a:cubicBezTo>
                    <a:pt x="80" y="9"/>
                    <a:pt x="81" y="3"/>
                    <a:pt x="81" y="6"/>
                  </a:cubicBezTo>
                  <a:cubicBezTo>
                    <a:pt x="81" y="10"/>
                    <a:pt x="86" y="9"/>
                    <a:pt x="87" y="9"/>
                  </a:cubicBezTo>
                  <a:cubicBezTo>
                    <a:pt x="93" y="12"/>
                    <a:pt x="89" y="32"/>
                    <a:pt x="95" y="35"/>
                  </a:cubicBezTo>
                  <a:cubicBezTo>
                    <a:pt x="98" y="37"/>
                    <a:pt x="95" y="37"/>
                    <a:pt x="95" y="40"/>
                  </a:cubicBezTo>
                  <a:cubicBezTo>
                    <a:pt x="95" y="43"/>
                    <a:pt x="84" y="38"/>
                    <a:pt x="81" y="43"/>
                  </a:cubicBezTo>
                  <a:cubicBezTo>
                    <a:pt x="78" y="46"/>
                    <a:pt x="72" y="43"/>
                    <a:pt x="73" y="48"/>
                  </a:cubicBezTo>
                  <a:cubicBezTo>
                    <a:pt x="76" y="52"/>
                    <a:pt x="78" y="52"/>
                    <a:pt x="72" y="55"/>
                  </a:cubicBezTo>
                  <a:cubicBezTo>
                    <a:pt x="66" y="57"/>
                    <a:pt x="66" y="57"/>
                    <a:pt x="63" y="62"/>
                  </a:cubicBezTo>
                  <a:cubicBezTo>
                    <a:pt x="63" y="63"/>
                    <a:pt x="45" y="68"/>
                    <a:pt x="43" y="7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87"/>
                    <a:pt x="35" y="87"/>
                    <a:pt x="35" y="8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 130"/>
            <p:cNvSpPr>
              <a:spLocks/>
            </p:cNvSpPr>
            <p:nvPr/>
          </p:nvSpPr>
          <p:spPr bwMode="auto">
            <a:xfrm>
              <a:off x="4525479" y="4274677"/>
              <a:ext cx="212095" cy="221731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18"/>
                </a:cxn>
                <a:cxn ang="0">
                  <a:pos x="42" y="18"/>
                </a:cxn>
                <a:cxn ang="0">
                  <a:pos x="42" y="43"/>
                </a:cxn>
                <a:cxn ang="0">
                  <a:pos x="34" y="65"/>
                </a:cxn>
                <a:cxn ang="0">
                  <a:pos x="3" y="65"/>
                </a:cxn>
                <a:cxn ang="0">
                  <a:pos x="2" y="71"/>
                </a:cxn>
                <a:cxn ang="0">
                  <a:pos x="2" y="60"/>
                </a:cxn>
                <a:cxn ang="0">
                  <a:pos x="8" y="51"/>
                </a:cxn>
                <a:cxn ang="0">
                  <a:pos x="11" y="42"/>
                </a:cxn>
                <a:cxn ang="0">
                  <a:pos x="13" y="37"/>
                </a:cxn>
                <a:cxn ang="0">
                  <a:pos x="19" y="26"/>
                </a:cxn>
                <a:cxn ang="0">
                  <a:pos x="22" y="18"/>
                </a:cxn>
                <a:cxn ang="0">
                  <a:pos x="33" y="0"/>
                </a:cxn>
                <a:cxn ang="0">
                  <a:pos x="68" y="0"/>
                </a:cxn>
                <a:cxn ang="0">
                  <a:pos x="68" y="4"/>
                </a:cxn>
              </a:cxnLst>
              <a:rect l="0" t="0" r="r" b="b"/>
              <a:pathLst>
                <a:path w="68" h="71">
                  <a:moveTo>
                    <a:pt x="68" y="4"/>
                  </a:move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33" y="48"/>
                    <a:pt x="31" y="46"/>
                    <a:pt x="34" y="65"/>
                  </a:cubicBezTo>
                  <a:cubicBezTo>
                    <a:pt x="34" y="65"/>
                    <a:pt x="5" y="65"/>
                    <a:pt x="3" y="65"/>
                  </a:cubicBezTo>
                  <a:cubicBezTo>
                    <a:pt x="2" y="65"/>
                    <a:pt x="0" y="68"/>
                    <a:pt x="2" y="71"/>
                  </a:cubicBezTo>
                  <a:cubicBezTo>
                    <a:pt x="0" y="71"/>
                    <a:pt x="0" y="68"/>
                    <a:pt x="2" y="60"/>
                  </a:cubicBezTo>
                  <a:cubicBezTo>
                    <a:pt x="3" y="54"/>
                    <a:pt x="7" y="57"/>
                    <a:pt x="8" y="51"/>
                  </a:cubicBezTo>
                  <a:cubicBezTo>
                    <a:pt x="8" y="45"/>
                    <a:pt x="13" y="42"/>
                    <a:pt x="11" y="42"/>
                  </a:cubicBezTo>
                  <a:cubicBezTo>
                    <a:pt x="10" y="42"/>
                    <a:pt x="8" y="42"/>
                    <a:pt x="13" y="37"/>
                  </a:cubicBezTo>
                  <a:cubicBezTo>
                    <a:pt x="17" y="32"/>
                    <a:pt x="19" y="34"/>
                    <a:pt x="19" y="26"/>
                  </a:cubicBezTo>
                  <a:cubicBezTo>
                    <a:pt x="20" y="18"/>
                    <a:pt x="20" y="23"/>
                    <a:pt x="22" y="18"/>
                  </a:cubicBezTo>
                  <a:cubicBezTo>
                    <a:pt x="23" y="9"/>
                    <a:pt x="26" y="18"/>
                    <a:pt x="3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4"/>
                    <a:pt x="68" y="4"/>
                    <a:pt x="68" y="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131"/>
            <p:cNvSpPr>
              <a:spLocks/>
            </p:cNvSpPr>
            <p:nvPr/>
          </p:nvSpPr>
          <p:spPr bwMode="auto">
            <a:xfrm>
              <a:off x="4552795" y="4258610"/>
              <a:ext cx="19281" cy="16068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3" y="0"/>
                </a:cxn>
                <a:cxn ang="0">
                  <a:pos x="3" y="5"/>
                </a:cxn>
              </a:cxnLst>
              <a:rect l="0" t="0" r="r" b="b"/>
              <a:pathLst>
                <a:path w="6" h="5">
                  <a:moveTo>
                    <a:pt x="3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6" y="2"/>
                    <a:pt x="5" y="5"/>
                    <a:pt x="3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 132"/>
            <p:cNvSpPr>
              <a:spLocks/>
            </p:cNvSpPr>
            <p:nvPr/>
          </p:nvSpPr>
          <p:spPr bwMode="auto">
            <a:xfrm>
              <a:off x="4586537" y="4240935"/>
              <a:ext cx="25709" cy="24102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2" y="6"/>
                </a:cxn>
                <a:cxn ang="0">
                  <a:pos x="6" y="0"/>
                </a:cxn>
                <a:cxn ang="0">
                  <a:pos x="5" y="6"/>
                </a:cxn>
              </a:cxnLst>
              <a:rect l="0" t="0" r="r" b="b"/>
              <a:pathLst>
                <a:path w="8" h="8">
                  <a:moveTo>
                    <a:pt x="5" y="6"/>
                  </a:moveTo>
                  <a:cubicBezTo>
                    <a:pt x="0" y="8"/>
                    <a:pt x="0" y="8"/>
                    <a:pt x="2" y="6"/>
                  </a:cubicBezTo>
                  <a:cubicBezTo>
                    <a:pt x="5" y="4"/>
                    <a:pt x="5" y="0"/>
                    <a:pt x="6" y="0"/>
                  </a:cubicBezTo>
                  <a:cubicBezTo>
                    <a:pt x="8" y="1"/>
                    <a:pt x="6" y="6"/>
                    <a:pt x="5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 133"/>
            <p:cNvSpPr>
              <a:spLocks/>
            </p:cNvSpPr>
            <p:nvPr/>
          </p:nvSpPr>
          <p:spPr bwMode="auto">
            <a:xfrm>
              <a:off x="4605818" y="4224867"/>
              <a:ext cx="9641" cy="1606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2" y="3"/>
                </a:cxn>
                <a:cxn ang="0">
                  <a:pos x="0" y="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0"/>
                    <a:pt x="2" y="1"/>
                    <a:pt x="3" y="0"/>
                  </a:cubicBezTo>
                  <a:cubicBezTo>
                    <a:pt x="3" y="0"/>
                    <a:pt x="3" y="1"/>
                    <a:pt x="2" y="3"/>
                  </a:cubicBezTo>
                  <a:cubicBezTo>
                    <a:pt x="2" y="3"/>
                    <a:pt x="0" y="5"/>
                    <a:pt x="0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 134"/>
            <p:cNvSpPr>
              <a:spLocks/>
            </p:cNvSpPr>
            <p:nvPr/>
          </p:nvSpPr>
          <p:spPr bwMode="auto">
            <a:xfrm>
              <a:off x="4525479" y="4244148"/>
              <a:ext cx="24102" cy="24102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2" y="3"/>
                </a:cxn>
                <a:cxn ang="0">
                  <a:pos x="8" y="0"/>
                </a:cxn>
                <a:cxn ang="0">
                  <a:pos x="6" y="5"/>
                </a:cxn>
                <a:cxn ang="0">
                  <a:pos x="3" y="6"/>
                </a:cxn>
              </a:cxnLst>
              <a:rect l="0" t="0" r="r" b="b"/>
              <a:pathLst>
                <a:path w="8" h="8">
                  <a:moveTo>
                    <a:pt x="3" y="6"/>
                  </a:moveTo>
                  <a:cubicBezTo>
                    <a:pt x="2" y="3"/>
                    <a:pt x="0" y="3"/>
                    <a:pt x="2" y="3"/>
                  </a:cubicBezTo>
                  <a:cubicBezTo>
                    <a:pt x="5" y="2"/>
                    <a:pt x="8" y="0"/>
                    <a:pt x="8" y="0"/>
                  </a:cubicBezTo>
                  <a:cubicBezTo>
                    <a:pt x="8" y="2"/>
                    <a:pt x="6" y="2"/>
                    <a:pt x="6" y="5"/>
                  </a:cubicBezTo>
                  <a:cubicBezTo>
                    <a:pt x="5" y="6"/>
                    <a:pt x="3" y="8"/>
                    <a:pt x="3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 135"/>
            <p:cNvSpPr>
              <a:spLocks/>
            </p:cNvSpPr>
            <p:nvPr/>
          </p:nvSpPr>
          <p:spPr bwMode="auto">
            <a:xfrm>
              <a:off x="4502984" y="4234509"/>
              <a:ext cx="9641" cy="1767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5"/>
                </a:cxn>
                <a:cxn ang="0">
                  <a:pos x="1" y="2"/>
                </a:cxn>
              </a:cxnLst>
              <a:rect l="0" t="0" r="r" b="b"/>
              <a:pathLst>
                <a:path w="3" h="6">
                  <a:moveTo>
                    <a:pt x="1" y="2"/>
                  </a:moveTo>
                  <a:cubicBezTo>
                    <a:pt x="1" y="0"/>
                    <a:pt x="3" y="3"/>
                    <a:pt x="1" y="5"/>
                  </a:cubicBezTo>
                  <a:cubicBezTo>
                    <a:pt x="1" y="6"/>
                    <a:pt x="0" y="2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 136"/>
            <p:cNvSpPr>
              <a:spLocks/>
            </p:cNvSpPr>
            <p:nvPr/>
          </p:nvSpPr>
          <p:spPr bwMode="auto">
            <a:xfrm>
              <a:off x="4515839" y="4258610"/>
              <a:ext cx="9641" cy="642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2"/>
                </a:cxn>
                <a:cxn ang="0">
                  <a:pos x="2" y="0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3" y="0"/>
                    <a:pt x="3" y="2"/>
                    <a:pt x="3" y="2"/>
                  </a:cubicBezTo>
                  <a:cubicBezTo>
                    <a:pt x="2" y="2"/>
                    <a:pt x="0" y="0"/>
                    <a:pt x="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 137"/>
            <p:cNvSpPr>
              <a:spLocks/>
            </p:cNvSpPr>
            <p:nvPr/>
          </p:nvSpPr>
          <p:spPr bwMode="auto">
            <a:xfrm>
              <a:off x="4496557" y="4268250"/>
              <a:ext cx="9641" cy="964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2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3" y="0"/>
                    <a:pt x="3" y="0"/>
                    <a:pt x="3" y="2"/>
                  </a:cubicBezTo>
                  <a:cubicBezTo>
                    <a:pt x="2" y="3"/>
                    <a:pt x="0" y="2"/>
                    <a:pt x="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 138"/>
            <p:cNvSpPr>
              <a:spLocks/>
            </p:cNvSpPr>
            <p:nvPr/>
          </p:nvSpPr>
          <p:spPr bwMode="auto">
            <a:xfrm>
              <a:off x="4668483" y="4872389"/>
              <a:ext cx="99621" cy="131754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6" y="3"/>
                </a:cxn>
                <a:cxn ang="0">
                  <a:pos x="16" y="10"/>
                </a:cxn>
                <a:cxn ang="0">
                  <a:pos x="19" y="13"/>
                </a:cxn>
                <a:cxn ang="0">
                  <a:pos x="23" y="8"/>
                </a:cxn>
                <a:cxn ang="0">
                  <a:pos x="23" y="19"/>
                </a:cxn>
                <a:cxn ang="0">
                  <a:pos x="29" y="24"/>
                </a:cxn>
                <a:cxn ang="0">
                  <a:pos x="32" y="28"/>
                </a:cxn>
                <a:cxn ang="0">
                  <a:pos x="31" y="41"/>
                </a:cxn>
                <a:cxn ang="0">
                  <a:pos x="26" y="39"/>
                </a:cxn>
                <a:cxn ang="0">
                  <a:pos x="13" y="28"/>
                </a:cxn>
                <a:cxn ang="0">
                  <a:pos x="5" y="22"/>
                </a:cxn>
                <a:cxn ang="0">
                  <a:pos x="0" y="16"/>
                </a:cxn>
                <a:cxn ang="0">
                  <a:pos x="6" y="6"/>
                </a:cxn>
                <a:cxn ang="0">
                  <a:pos x="9" y="0"/>
                </a:cxn>
              </a:cxnLst>
              <a:rect l="0" t="0" r="r" b="b"/>
              <a:pathLst>
                <a:path w="32" h="42">
                  <a:moveTo>
                    <a:pt x="9" y="0"/>
                  </a:moveTo>
                  <a:cubicBezTo>
                    <a:pt x="11" y="0"/>
                    <a:pt x="17" y="0"/>
                    <a:pt x="16" y="3"/>
                  </a:cubicBezTo>
                  <a:cubicBezTo>
                    <a:pt x="16" y="5"/>
                    <a:pt x="17" y="6"/>
                    <a:pt x="16" y="10"/>
                  </a:cubicBezTo>
                  <a:cubicBezTo>
                    <a:pt x="16" y="13"/>
                    <a:pt x="17" y="10"/>
                    <a:pt x="19" y="13"/>
                  </a:cubicBezTo>
                  <a:cubicBezTo>
                    <a:pt x="20" y="16"/>
                    <a:pt x="22" y="6"/>
                    <a:pt x="23" y="8"/>
                  </a:cubicBezTo>
                  <a:cubicBezTo>
                    <a:pt x="26" y="14"/>
                    <a:pt x="25" y="16"/>
                    <a:pt x="23" y="19"/>
                  </a:cubicBezTo>
                  <a:cubicBezTo>
                    <a:pt x="22" y="22"/>
                    <a:pt x="29" y="20"/>
                    <a:pt x="29" y="24"/>
                  </a:cubicBezTo>
                  <a:cubicBezTo>
                    <a:pt x="29" y="27"/>
                    <a:pt x="32" y="25"/>
                    <a:pt x="32" y="28"/>
                  </a:cubicBezTo>
                  <a:cubicBezTo>
                    <a:pt x="32" y="33"/>
                    <a:pt x="31" y="36"/>
                    <a:pt x="31" y="41"/>
                  </a:cubicBezTo>
                  <a:cubicBezTo>
                    <a:pt x="29" y="42"/>
                    <a:pt x="31" y="41"/>
                    <a:pt x="26" y="39"/>
                  </a:cubicBezTo>
                  <a:cubicBezTo>
                    <a:pt x="23" y="38"/>
                    <a:pt x="17" y="34"/>
                    <a:pt x="13" y="28"/>
                  </a:cubicBezTo>
                  <a:cubicBezTo>
                    <a:pt x="8" y="22"/>
                    <a:pt x="6" y="24"/>
                    <a:pt x="5" y="22"/>
                  </a:cubicBezTo>
                  <a:cubicBezTo>
                    <a:pt x="5" y="19"/>
                    <a:pt x="2" y="19"/>
                    <a:pt x="0" y="16"/>
                  </a:cubicBezTo>
                  <a:cubicBezTo>
                    <a:pt x="5" y="8"/>
                    <a:pt x="6" y="10"/>
                    <a:pt x="6" y="6"/>
                  </a:cubicBezTo>
                  <a:cubicBezTo>
                    <a:pt x="6" y="3"/>
                    <a:pt x="9" y="5"/>
                    <a:pt x="9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 139"/>
            <p:cNvSpPr>
              <a:spLocks/>
            </p:cNvSpPr>
            <p:nvPr/>
          </p:nvSpPr>
          <p:spPr bwMode="auto">
            <a:xfrm>
              <a:off x="4621886" y="4825793"/>
              <a:ext cx="73912" cy="96405"/>
            </a:xfrm>
            <a:custGeom>
              <a:avLst/>
              <a:gdLst/>
              <a:ahLst/>
              <a:cxnLst>
                <a:cxn ang="0">
                  <a:pos x="15" y="31"/>
                </a:cxn>
                <a:cxn ang="0">
                  <a:pos x="21" y="21"/>
                </a:cxn>
                <a:cxn ang="0">
                  <a:pos x="24" y="15"/>
                </a:cxn>
                <a:cxn ang="0">
                  <a:pos x="23" y="12"/>
                </a:cxn>
                <a:cxn ang="0">
                  <a:pos x="21" y="9"/>
                </a:cxn>
                <a:cxn ang="0">
                  <a:pos x="18" y="3"/>
                </a:cxn>
                <a:cxn ang="0">
                  <a:pos x="11" y="1"/>
                </a:cxn>
                <a:cxn ang="0">
                  <a:pos x="6" y="3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3" y="15"/>
                </a:cxn>
                <a:cxn ang="0">
                  <a:pos x="0" y="17"/>
                </a:cxn>
                <a:cxn ang="0">
                  <a:pos x="3" y="20"/>
                </a:cxn>
                <a:cxn ang="0">
                  <a:pos x="3" y="21"/>
                </a:cxn>
                <a:cxn ang="0">
                  <a:pos x="6" y="24"/>
                </a:cxn>
                <a:cxn ang="0">
                  <a:pos x="8" y="28"/>
                </a:cxn>
                <a:cxn ang="0">
                  <a:pos x="15" y="31"/>
                </a:cxn>
              </a:cxnLst>
              <a:rect l="0" t="0" r="r" b="b"/>
              <a:pathLst>
                <a:path w="24" h="31">
                  <a:moveTo>
                    <a:pt x="15" y="31"/>
                  </a:moveTo>
                  <a:cubicBezTo>
                    <a:pt x="20" y="23"/>
                    <a:pt x="21" y="24"/>
                    <a:pt x="21" y="21"/>
                  </a:cubicBezTo>
                  <a:cubicBezTo>
                    <a:pt x="21" y="18"/>
                    <a:pt x="24" y="20"/>
                    <a:pt x="24" y="15"/>
                  </a:cubicBezTo>
                  <a:cubicBezTo>
                    <a:pt x="20" y="20"/>
                    <a:pt x="23" y="14"/>
                    <a:pt x="23" y="12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6"/>
                    <a:pt x="20" y="7"/>
                    <a:pt x="18" y="3"/>
                  </a:cubicBezTo>
                  <a:cubicBezTo>
                    <a:pt x="17" y="0"/>
                    <a:pt x="11" y="0"/>
                    <a:pt x="11" y="1"/>
                  </a:cubicBezTo>
                  <a:cubicBezTo>
                    <a:pt x="11" y="3"/>
                    <a:pt x="8" y="0"/>
                    <a:pt x="6" y="3"/>
                  </a:cubicBezTo>
                  <a:cubicBezTo>
                    <a:pt x="6" y="7"/>
                    <a:pt x="3" y="9"/>
                    <a:pt x="0" y="11"/>
                  </a:cubicBezTo>
                  <a:cubicBezTo>
                    <a:pt x="3" y="12"/>
                    <a:pt x="0" y="12"/>
                    <a:pt x="0" y="14"/>
                  </a:cubicBezTo>
                  <a:cubicBezTo>
                    <a:pt x="1" y="15"/>
                    <a:pt x="1" y="14"/>
                    <a:pt x="3" y="15"/>
                  </a:cubicBezTo>
                  <a:cubicBezTo>
                    <a:pt x="1" y="17"/>
                    <a:pt x="0" y="14"/>
                    <a:pt x="0" y="17"/>
                  </a:cubicBezTo>
                  <a:cubicBezTo>
                    <a:pt x="1" y="20"/>
                    <a:pt x="3" y="17"/>
                    <a:pt x="3" y="20"/>
                  </a:cubicBezTo>
                  <a:cubicBezTo>
                    <a:pt x="4" y="21"/>
                    <a:pt x="1" y="20"/>
                    <a:pt x="3" y="21"/>
                  </a:cubicBezTo>
                  <a:cubicBezTo>
                    <a:pt x="3" y="23"/>
                    <a:pt x="6" y="23"/>
                    <a:pt x="6" y="24"/>
                  </a:cubicBezTo>
                  <a:cubicBezTo>
                    <a:pt x="8" y="26"/>
                    <a:pt x="4" y="26"/>
                    <a:pt x="8" y="28"/>
                  </a:cubicBezTo>
                  <a:cubicBezTo>
                    <a:pt x="11" y="28"/>
                    <a:pt x="14" y="29"/>
                    <a:pt x="15" y="3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 140"/>
            <p:cNvSpPr>
              <a:spLocks/>
            </p:cNvSpPr>
            <p:nvPr/>
          </p:nvSpPr>
          <p:spPr bwMode="auto">
            <a:xfrm>
              <a:off x="4515839" y="4623342"/>
              <a:ext cx="159071" cy="134967"/>
            </a:xfrm>
            <a:custGeom>
              <a:avLst/>
              <a:gdLst/>
              <a:ahLst/>
              <a:cxnLst>
                <a:cxn ang="0">
                  <a:pos x="8" y="30"/>
                </a:cxn>
                <a:cxn ang="0">
                  <a:pos x="3" y="20"/>
                </a:cxn>
                <a:cxn ang="0">
                  <a:pos x="2" y="18"/>
                </a:cxn>
                <a:cxn ang="0">
                  <a:pos x="10" y="4"/>
                </a:cxn>
                <a:cxn ang="0">
                  <a:pos x="25" y="1"/>
                </a:cxn>
                <a:cxn ang="0">
                  <a:pos x="33" y="6"/>
                </a:cxn>
                <a:cxn ang="0">
                  <a:pos x="43" y="20"/>
                </a:cxn>
                <a:cxn ang="0">
                  <a:pos x="45" y="26"/>
                </a:cxn>
                <a:cxn ang="0">
                  <a:pos x="45" y="30"/>
                </a:cxn>
                <a:cxn ang="0">
                  <a:pos x="49" y="35"/>
                </a:cxn>
                <a:cxn ang="0">
                  <a:pos x="49" y="41"/>
                </a:cxn>
                <a:cxn ang="0">
                  <a:pos x="43" y="41"/>
                </a:cxn>
                <a:cxn ang="0">
                  <a:pos x="31" y="40"/>
                </a:cxn>
                <a:cxn ang="0">
                  <a:pos x="19" y="40"/>
                </a:cxn>
                <a:cxn ang="0">
                  <a:pos x="17" y="41"/>
                </a:cxn>
                <a:cxn ang="0">
                  <a:pos x="8" y="43"/>
                </a:cxn>
                <a:cxn ang="0">
                  <a:pos x="7" y="41"/>
                </a:cxn>
                <a:cxn ang="0">
                  <a:pos x="16" y="40"/>
                </a:cxn>
                <a:cxn ang="0">
                  <a:pos x="11" y="40"/>
                </a:cxn>
                <a:cxn ang="0">
                  <a:pos x="8" y="40"/>
                </a:cxn>
                <a:cxn ang="0">
                  <a:pos x="7" y="35"/>
                </a:cxn>
                <a:cxn ang="0">
                  <a:pos x="14" y="33"/>
                </a:cxn>
                <a:cxn ang="0">
                  <a:pos x="19" y="32"/>
                </a:cxn>
                <a:cxn ang="0">
                  <a:pos x="25" y="32"/>
                </a:cxn>
                <a:cxn ang="0">
                  <a:pos x="31" y="30"/>
                </a:cxn>
                <a:cxn ang="0">
                  <a:pos x="25" y="30"/>
                </a:cxn>
                <a:cxn ang="0">
                  <a:pos x="22" y="29"/>
                </a:cxn>
                <a:cxn ang="0">
                  <a:pos x="17" y="30"/>
                </a:cxn>
                <a:cxn ang="0">
                  <a:pos x="8" y="30"/>
                </a:cxn>
              </a:cxnLst>
              <a:rect l="0" t="0" r="r" b="b"/>
              <a:pathLst>
                <a:path w="51" h="43">
                  <a:moveTo>
                    <a:pt x="8" y="30"/>
                  </a:moveTo>
                  <a:cubicBezTo>
                    <a:pt x="5" y="27"/>
                    <a:pt x="5" y="18"/>
                    <a:pt x="3" y="20"/>
                  </a:cubicBezTo>
                  <a:cubicBezTo>
                    <a:pt x="0" y="20"/>
                    <a:pt x="0" y="18"/>
                    <a:pt x="2" y="18"/>
                  </a:cubicBezTo>
                  <a:cubicBezTo>
                    <a:pt x="7" y="15"/>
                    <a:pt x="10" y="7"/>
                    <a:pt x="10" y="4"/>
                  </a:cubicBezTo>
                  <a:cubicBezTo>
                    <a:pt x="10" y="0"/>
                    <a:pt x="20" y="1"/>
                    <a:pt x="25" y="1"/>
                  </a:cubicBezTo>
                  <a:cubicBezTo>
                    <a:pt x="28" y="0"/>
                    <a:pt x="31" y="4"/>
                    <a:pt x="33" y="6"/>
                  </a:cubicBezTo>
                  <a:cubicBezTo>
                    <a:pt x="36" y="7"/>
                    <a:pt x="40" y="17"/>
                    <a:pt x="43" y="20"/>
                  </a:cubicBezTo>
                  <a:cubicBezTo>
                    <a:pt x="42" y="24"/>
                    <a:pt x="45" y="21"/>
                    <a:pt x="45" y="26"/>
                  </a:cubicBezTo>
                  <a:cubicBezTo>
                    <a:pt x="45" y="30"/>
                    <a:pt x="43" y="27"/>
                    <a:pt x="45" y="30"/>
                  </a:cubicBezTo>
                  <a:cubicBezTo>
                    <a:pt x="46" y="35"/>
                    <a:pt x="46" y="30"/>
                    <a:pt x="49" y="35"/>
                  </a:cubicBezTo>
                  <a:cubicBezTo>
                    <a:pt x="51" y="38"/>
                    <a:pt x="49" y="38"/>
                    <a:pt x="49" y="41"/>
                  </a:cubicBezTo>
                  <a:cubicBezTo>
                    <a:pt x="48" y="41"/>
                    <a:pt x="45" y="40"/>
                    <a:pt x="43" y="41"/>
                  </a:cubicBezTo>
                  <a:cubicBezTo>
                    <a:pt x="40" y="43"/>
                    <a:pt x="37" y="40"/>
                    <a:pt x="31" y="40"/>
                  </a:cubicBezTo>
                  <a:cubicBezTo>
                    <a:pt x="28" y="40"/>
                    <a:pt x="22" y="38"/>
                    <a:pt x="19" y="40"/>
                  </a:cubicBezTo>
                  <a:cubicBezTo>
                    <a:pt x="14" y="40"/>
                    <a:pt x="20" y="40"/>
                    <a:pt x="17" y="41"/>
                  </a:cubicBezTo>
                  <a:cubicBezTo>
                    <a:pt x="14" y="43"/>
                    <a:pt x="11" y="41"/>
                    <a:pt x="8" y="43"/>
                  </a:cubicBezTo>
                  <a:cubicBezTo>
                    <a:pt x="8" y="41"/>
                    <a:pt x="7" y="43"/>
                    <a:pt x="7" y="41"/>
                  </a:cubicBezTo>
                  <a:cubicBezTo>
                    <a:pt x="10" y="38"/>
                    <a:pt x="8" y="41"/>
                    <a:pt x="16" y="40"/>
                  </a:cubicBezTo>
                  <a:cubicBezTo>
                    <a:pt x="14" y="40"/>
                    <a:pt x="13" y="38"/>
                    <a:pt x="11" y="40"/>
                  </a:cubicBezTo>
                  <a:cubicBezTo>
                    <a:pt x="10" y="40"/>
                    <a:pt x="10" y="38"/>
                    <a:pt x="8" y="40"/>
                  </a:cubicBezTo>
                  <a:cubicBezTo>
                    <a:pt x="7" y="41"/>
                    <a:pt x="8" y="38"/>
                    <a:pt x="7" y="35"/>
                  </a:cubicBezTo>
                  <a:cubicBezTo>
                    <a:pt x="10" y="33"/>
                    <a:pt x="16" y="37"/>
                    <a:pt x="14" y="33"/>
                  </a:cubicBezTo>
                  <a:cubicBezTo>
                    <a:pt x="14" y="32"/>
                    <a:pt x="19" y="33"/>
                    <a:pt x="19" y="32"/>
                  </a:cubicBezTo>
                  <a:cubicBezTo>
                    <a:pt x="20" y="29"/>
                    <a:pt x="19" y="30"/>
                    <a:pt x="25" y="32"/>
                  </a:cubicBezTo>
                  <a:cubicBezTo>
                    <a:pt x="28" y="33"/>
                    <a:pt x="31" y="33"/>
                    <a:pt x="31" y="30"/>
                  </a:cubicBezTo>
                  <a:cubicBezTo>
                    <a:pt x="29" y="29"/>
                    <a:pt x="26" y="33"/>
                    <a:pt x="25" y="30"/>
                  </a:cubicBezTo>
                  <a:cubicBezTo>
                    <a:pt x="23" y="27"/>
                    <a:pt x="23" y="30"/>
                    <a:pt x="22" y="29"/>
                  </a:cubicBezTo>
                  <a:cubicBezTo>
                    <a:pt x="22" y="27"/>
                    <a:pt x="19" y="29"/>
                    <a:pt x="17" y="30"/>
                  </a:cubicBezTo>
                  <a:cubicBezTo>
                    <a:pt x="17" y="30"/>
                    <a:pt x="16" y="30"/>
                    <a:pt x="8" y="3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 141"/>
            <p:cNvSpPr>
              <a:spLocks/>
            </p:cNvSpPr>
            <p:nvPr/>
          </p:nvSpPr>
          <p:spPr bwMode="auto">
            <a:xfrm>
              <a:off x="4531906" y="4711714"/>
              <a:ext cx="80339" cy="27315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1" y="7"/>
                </a:cxn>
                <a:cxn ang="0">
                  <a:pos x="9" y="6"/>
                </a:cxn>
                <a:cxn ang="0">
                  <a:pos x="14" y="4"/>
                </a:cxn>
                <a:cxn ang="0">
                  <a:pos x="20" y="4"/>
                </a:cxn>
                <a:cxn ang="0">
                  <a:pos x="26" y="3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2" y="3"/>
                </a:cxn>
                <a:cxn ang="0">
                  <a:pos x="3" y="3"/>
                </a:cxn>
              </a:cxnLst>
              <a:rect l="0" t="0" r="r" b="b"/>
              <a:pathLst>
                <a:path w="26" h="9">
                  <a:moveTo>
                    <a:pt x="3" y="3"/>
                  </a:moveTo>
                  <a:cubicBezTo>
                    <a:pt x="5" y="6"/>
                    <a:pt x="6" y="3"/>
                    <a:pt x="12" y="4"/>
                  </a:cubicBezTo>
                  <a:cubicBezTo>
                    <a:pt x="6" y="4"/>
                    <a:pt x="5" y="7"/>
                    <a:pt x="3" y="4"/>
                  </a:cubicBezTo>
                  <a:cubicBezTo>
                    <a:pt x="1" y="3"/>
                    <a:pt x="0" y="6"/>
                    <a:pt x="1" y="7"/>
                  </a:cubicBezTo>
                  <a:cubicBezTo>
                    <a:pt x="5" y="6"/>
                    <a:pt x="11" y="9"/>
                    <a:pt x="9" y="6"/>
                  </a:cubicBezTo>
                  <a:cubicBezTo>
                    <a:pt x="9" y="4"/>
                    <a:pt x="14" y="6"/>
                    <a:pt x="14" y="4"/>
                  </a:cubicBezTo>
                  <a:cubicBezTo>
                    <a:pt x="15" y="1"/>
                    <a:pt x="14" y="3"/>
                    <a:pt x="20" y="4"/>
                  </a:cubicBezTo>
                  <a:cubicBezTo>
                    <a:pt x="23" y="6"/>
                    <a:pt x="26" y="6"/>
                    <a:pt x="26" y="3"/>
                  </a:cubicBezTo>
                  <a:cubicBezTo>
                    <a:pt x="24" y="1"/>
                    <a:pt x="21" y="6"/>
                    <a:pt x="20" y="3"/>
                  </a:cubicBezTo>
                  <a:cubicBezTo>
                    <a:pt x="18" y="0"/>
                    <a:pt x="18" y="3"/>
                    <a:pt x="17" y="1"/>
                  </a:cubicBezTo>
                  <a:cubicBezTo>
                    <a:pt x="17" y="0"/>
                    <a:pt x="14" y="1"/>
                    <a:pt x="12" y="3"/>
                  </a:cubicBezTo>
                  <a:cubicBezTo>
                    <a:pt x="12" y="3"/>
                    <a:pt x="11" y="3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 142"/>
            <p:cNvSpPr>
              <a:spLocks/>
            </p:cNvSpPr>
            <p:nvPr/>
          </p:nvSpPr>
          <p:spPr bwMode="auto">
            <a:xfrm>
              <a:off x="4578503" y="4748669"/>
              <a:ext cx="186387" cy="173529"/>
            </a:xfrm>
            <a:custGeom>
              <a:avLst/>
              <a:gdLst/>
              <a:ahLst/>
              <a:cxnLst>
                <a:cxn ang="0">
                  <a:pos x="38" y="40"/>
                </a:cxn>
                <a:cxn ang="0">
                  <a:pos x="37" y="37"/>
                </a:cxn>
                <a:cxn ang="0">
                  <a:pos x="35" y="34"/>
                </a:cxn>
                <a:cxn ang="0">
                  <a:pos x="32" y="28"/>
                </a:cxn>
                <a:cxn ang="0">
                  <a:pos x="25" y="26"/>
                </a:cxn>
                <a:cxn ang="0">
                  <a:pos x="20" y="28"/>
                </a:cxn>
                <a:cxn ang="0">
                  <a:pos x="14" y="35"/>
                </a:cxn>
                <a:cxn ang="0">
                  <a:pos x="14" y="34"/>
                </a:cxn>
                <a:cxn ang="0">
                  <a:pos x="13" y="31"/>
                </a:cxn>
                <a:cxn ang="0">
                  <a:pos x="13" y="29"/>
                </a:cxn>
                <a:cxn ang="0">
                  <a:pos x="8" y="25"/>
                </a:cxn>
                <a:cxn ang="0">
                  <a:pos x="5" y="23"/>
                </a:cxn>
                <a:cxn ang="0">
                  <a:pos x="5" y="18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0" y="18"/>
                </a:cxn>
                <a:cxn ang="0">
                  <a:pos x="0" y="17"/>
                </a:cxn>
                <a:cxn ang="0">
                  <a:pos x="6" y="9"/>
                </a:cxn>
                <a:cxn ang="0">
                  <a:pos x="10" y="9"/>
                </a:cxn>
                <a:cxn ang="0">
                  <a:pos x="10" y="4"/>
                </a:cxn>
                <a:cxn ang="0">
                  <a:pos x="11" y="0"/>
                </a:cxn>
                <a:cxn ang="0">
                  <a:pos x="23" y="1"/>
                </a:cxn>
                <a:cxn ang="0">
                  <a:pos x="29" y="1"/>
                </a:cxn>
                <a:cxn ang="0">
                  <a:pos x="32" y="4"/>
                </a:cxn>
                <a:cxn ang="0">
                  <a:pos x="34" y="6"/>
                </a:cxn>
                <a:cxn ang="0">
                  <a:pos x="42" y="4"/>
                </a:cxn>
                <a:cxn ang="0">
                  <a:pos x="45" y="3"/>
                </a:cxn>
                <a:cxn ang="0">
                  <a:pos x="48" y="1"/>
                </a:cxn>
                <a:cxn ang="0">
                  <a:pos x="49" y="6"/>
                </a:cxn>
                <a:cxn ang="0">
                  <a:pos x="51" y="9"/>
                </a:cxn>
                <a:cxn ang="0">
                  <a:pos x="52" y="12"/>
                </a:cxn>
                <a:cxn ang="0">
                  <a:pos x="52" y="15"/>
                </a:cxn>
                <a:cxn ang="0">
                  <a:pos x="54" y="20"/>
                </a:cxn>
                <a:cxn ang="0">
                  <a:pos x="57" y="25"/>
                </a:cxn>
                <a:cxn ang="0">
                  <a:pos x="55" y="29"/>
                </a:cxn>
                <a:cxn ang="0">
                  <a:pos x="58" y="35"/>
                </a:cxn>
                <a:cxn ang="0">
                  <a:pos x="60" y="42"/>
                </a:cxn>
                <a:cxn ang="0">
                  <a:pos x="54" y="42"/>
                </a:cxn>
                <a:cxn ang="0">
                  <a:pos x="57" y="45"/>
                </a:cxn>
                <a:cxn ang="0">
                  <a:pos x="52" y="48"/>
                </a:cxn>
                <a:cxn ang="0">
                  <a:pos x="48" y="53"/>
                </a:cxn>
                <a:cxn ang="0">
                  <a:pos x="45" y="49"/>
                </a:cxn>
                <a:cxn ang="0">
                  <a:pos x="45" y="43"/>
                </a:cxn>
                <a:cxn ang="0">
                  <a:pos x="38" y="40"/>
                </a:cxn>
              </a:cxnLst>
              <a:rect l="0" t="0" r="r" b="b"/>
              <a:pathLst>
                <a:path w="60" h="56">
                  <a:moveTo>
                    <a:pt x="38" y="40"/>
                  </a:moveTo>
                  <a:cubicBezTo>
                    <a:pt x="34" y="45"/>
                    <a:pt x="37" y="39"/>
                    <a:pt x="37" y="3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1"/>
                    <a:pt x="34" y="32"/>
                    <a:pt x="32" y="28"/>
                  </a:cubicBezTo>
                  <a:cubicBezTo>
                    <a:pt x="31" y="25"/>
                    <a:pt x="25" y="25"/>
                    <a:pt x="25" y="26"/>
                  </a:cubicBezTo>
                  <a:cubicBezTo>
                    <a:pt x="25" y="28"/>
                    <a:pt x="22" y="25"/>
                    <a:pt x="20" y="28"/>
                  </a:cubicBezTo>
                  <a:cubicBezTo>
                    <a:pt x="20" y="32"/>
                    <a:pt x="17" y="34"/>
                    <a:pt x="14" y="35"/>
                  </a:cubicBezTo>
                  <a:cubicBezTo>
                    <a:pt x="14" y="34"/>
                    <a:pt x="16" y="34"/>
                    <a:pt x="14" y="34"/>
                  </a:cubicBezTo>
                  <a:cubicBezTo>
                    <a:pt x="13" y="32"/>
                    <a:pt x="14" y="32"/>
                    <a:pt x="13" y="31"/>
                  </a:cubicBezTo>
                  <a:cubicBezTo>
                    <a:pt x="11" y="31"/>
                    <a:pt x="11" y="31"/>
                    <a:pt x="13" y="29"/>
                  </a:cubicBezTo>
                  <a:cubicBezTo>
                    <a:pt x="13" y="28"/>
                    <a:pt x="10" y="28"/>
                    <a:pt x="8" y="25"/>
                  </a:cubicBezTo>
                  <a:cubicBezTo>
                    <a:pt x="8" y="23"/>
                    <a:pt x="5" y="25"/>
                    <a:pt x="5" y="23"/>
                  </a:cubicBezTo>
                  <a:cubicBezTo>
                    <a:pt x="5" y="20"/>
                    <a:pt x="3" y="23"/>
                    <a:pt x="5" y="18"/>
                  </a:cubicBezTo>
                  <a:cubicBezTo>
                    <a:pt x="5" y="15"/>
                    <a:pt x="3" y="20"/>
                    <a:pt x="3" y="18"/>
                  </a:cubicBezTo>
                  <a:cubicBezTo>
                    <a:pt x="2" y="17"/>
                    <a:pt x="5" y="15"/>
                    <a:pt x="3" y="15"/>
                  </a:cubicBezTo>
                  <a:cubicBezTo>
                    <a:pt x="0" y="15"/>
                    <a:pt x="2" y="18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9"/>
                    <a:pt x="5" y="12"/>
                    <a:pt x="6" y="9"/>
                  </a:cubicBezTo>
                  <a:cubicBezTo>
                    <a:pt x="8" y="7"/>
                    <a:pt x="8" y="11"/>
                    <a:pt x="10" y="9"/>
                  </a:cubicBezTo>
                  <a:cubicBezTo>
                    <a:pt x="13" y="9"/>
                    <a:pt x="13" y="6"/>
                    <a:pt x="10" y="4"/>
                  </a:cubicBezTo>
                  <a:cubicBezTo>
                    <a:pt x="8" y="3"/>
                    <a:pt x="13" y="4"/>
                    <a:pt x="11" y="0"/>
                  </a:cubicBezTo>
                  <a:cubicBezTo>
                    <a:pt x="17" y="0"/>
                    <a:pt x="20" y="3"/>
                    <a:pt x="23" y="1"/>
                  </a:cubicBezTo>
                  <a:cubicBezTo>
                    <a:pt x="25" y="0"/>
                    <a:pt x="28" y="1"/>
                    <a:pt x="29" y="1"/>
                  </a:cubicBezTo>
                  <a:cubicBezTo>
                    <a:pt x="28" y="6"/>
                    <a:pt x="31" y="7"/>
                    <a:pt x="32" y="4"/>
                  </a:cubicBezTo>
                  <a:cubicBezTo>
                    <a:pt x="32" y="3"/>
                    <a:pt x="34" y="4"/>
                    <a:pt x="34" y="6"/>
                  </a:cubicBezTo>
                  <a:cubicBezTo>
                    <a:pt x="37" y="9"/>
                    <a:pt x="35" y="1"/>
                    <a:pt x="42" y="4"/>
                  </a:cubicBezTo>
                  <a:cubicBezTo>
                    <a:pt x="45" y="7"/>
                    <a:pt x="43" y="4"/>
                    <a:pt x="45" y="3"/>
                  </a:cubicBezTo>
                  <a:cubicBezTo>
                    <a:pt x="48" y="3"/>
                    <a:pt x="43" y="0"/>
                    <a:pt x="48" y="1"/>
                  </a:cubicBezTo>
                  <a:cubicBezTo>
                    <a:pt x="51" y="3"/>
                    <a:pt x="49" y="4"/>
                    <a:pt x="49" y="6"/>
                  </a:cubicBezTo>
                  <a:cubicBezTo>
                    <a:pt x="51" y="6"/>
                    <a:pt x="49" y="9"/>
                    <a:pt x="51" y="9"/>
                  </a:cubicBezTo>
                  <a:cubicBezTo>
                    <a:pt x="52" y="9"/>
                    <a:pt x="55" y="12"/>
                    <a:pt x="52" y="12"/>
                  </a:cubicBezTo>
                  <a:cubicBezTo>
                    <a:pt x="51" y="14"/>
                    <a:pt x="51" y="18"/>
                    <a:pt x="52" y="15"/>
                  </a:cubicBezTo>
                  <a:cubicBezTo>
                    <a:pt x="54" y="14"/>
                    <a:pt x="55" y="15"/>
                    <a:pt x="54" y="20"/>
                  </a:cubicBezTo>
                  <a:cubicBezTo>
                    <a:pt x="54" y="23"/>
                    <a:pt x="55" y="20"/>
                    <a:pt x="57" y="25"/>
                  </a:cubicBezTo>
                  <a:cubicBezTo>
                    <a:pt x="54" y="26"/>
                    <a:pt x="57" y="26"/>
                    <a:pt x="55" y="29"/>
                  </a:cubicBezTo>
                  <a:cubicBezTo>
                    <a:pt x="55" y="32"/>
                    <a:pt x="60" y="32"/>
                    <a:pt x="58" y="35"/>
                  </a:cubicBezTo>
                  <a:cubicBezTo>
                    <a:pt x="55" y="39"/>
                    <a:pt x="60" y="37"/>
                    <a:pt x="60" y="42"/>
                  </a:cubicBezTo>
                  <a:cubicBezTo>
                    <a:pt x="55" y="40"/>
                    <a:pt x="54" y="40"/>
                    <a:pt x="54" y="42"/>
                  </a:cubicBezTo>
                  <a:cubicBezTo>
                    <a:pt x="55" y="45"/>
                    <a:pt x="57" y="42"/>
                    <a:pt x="57" y="45"/>
                  </a:cubicBezTo>
                  <a:cubicBezTo>
                    <a:pt x="57" y="48"/>
                    <a:pt x="55" y="51"/>
                    <a:pt x="52" y="48"/>
                  </a:cubicBezTo>
                  <a:cubicBezTo>
                    <a:pt x="51" y="46"/>
                    <a:pt x="49" y="56"/>
                    <a:pt x="48" y="53"/>
                  </a:cubicBezTo>
                  <a:cubicBezTo>
                    <a:pt x="46" y="49"/>
                    <a:pt x="45" y="53"/>
                    <a:pt x="45" y="49"/>
                  </a:cubicBezTo>
                  <a:cubicBezTo>
                    <a:pt x="46" y="46"/>
                    <a:pt x="45" y="45"/>
                    <a:pt x="45" y="43"/>
                  </a:cubicBezTo>
                  <a:cubicBezTo>
                    <a:pt x="46" y="40"/>
                    <a:pt x="40" y="40"/>
                    <a:pt x="38" y="4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 143"/>
            <p:cNvSpPr>
              <a:spLocks/>
            </p:cNvSpPr>
            <p:nvPr/>
          </p:nvSpPr>
          <p:spPr bwMode="auto">
            <a:xfrm>
              <a:off x="4539940" y="4742242"/>
              <a:ext cx="75519" cy="59450"/>
            </a:xfrm>
            <a:custGeom>
              <a:avLst/>
              <a:gdLst/>
              <a:ahLst/>
              <a:cxnLst>
                <a:cxn ang="0">
                  <a:pos x="12" y="19"/>
                </a:cxn>
                <a:cxn ang="0">
                  <a:pos x="18" y="11"/>
                </a:cxn>
                <a:cxn ang="0">
                  <a:pos x="21" y="11"/>
                </a:cxn>
                <a:cxn ang="0">
                  <a:pos x="21" y="7"/>
                </a:cxn>
                <a:cxn ang="0">
                  <a:pos x="23" y="2"/>
                </a:cxn>
                <a:cxn ang="0">
                  <a:pos x="11" y="2"/>
                </a:cxn>
                <a:cxn ang="0">
                  <a:pos x="9" y="3"/>
                </a:cxn>
                <a:cxn ang="0">
                  <a:pos x="0" y="5"/>
                </a:cxn>
                <a:cxn ang="0">
                  <a:pos x="3" y="7"/>
                </a:cxn>
                <a:cxn ang="0">
                  <a:pos x="5" y="8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9" y="14"/>
                </a:cxn>
                <a:cxn ang="0">
                  <a:pos x="9" y="16"/>
                </a:cxn>
                <a:cxn ang="0">
                  <a:pos x="11" y="18"/>
                </a:cxn>
                <a:cxn ang="0">
                  <a:pos x="12" y="16"/>
                </a:cxn>
                <a:cxn ang="0">
                  <a:pos x="12" y="19"/>
                </a:cxn>
              </a:cxnLst>
              <a:rect l="0" t="0" r="r" b="b"/>
              <a:pathLst>
                <a:path w="24" h="19">
                  <a:moveTo>
                    <a:pt x="12" y="19"/>
                  </a:moveTo>
                  <a:cubicBezTo>
                    <a:pt x="15" y="11"/>
                    <a:pt x="17" y="14"/>
                    <a:pt x="18" y="11"/>
                  </a:cubicBezTo>
                  <a:cubicBezTo>
                    <a:pt x="20" y="10"/>
                    <a:pt x="20" y="13"/>
                    <a:pt x="21" y="11"/>
                  </a:cubicBezTo>
                  <a:cubicBezTo>
                    <a:pt x="24" y="11"/>
                    <a:pt x="24" y="8"/>
                    <a:pt x="21" y="7"/>
                  </a:cubicBezTo>
                  <a:cubicBezTo>
                    <a:pt x="20" y="5"/>
                    <a:pt x="24" y="7"/>
                    <a:pt x="23" y="2"/>
                  </a:cubicBezTo>
                  <a:cubicBezTo>
                    <a:pt x="20" y="2"/>
                    <a:pt x="14" y="0"/>
                    <a:pt x="11" y="2"/>
                  </a:cubicBezTo>
                  <a:cubicBezTo>
                    <a:pt x="6" y="2"/>
                    <a:pt x="12" y="2"/>
                    <a:pt x="9" y="3"/>
                  </a:cubicBezTo>
                  <a:cubicBezTo>
                    <a:pt x="6" y="5"/>
                    <a:pt x="3" y="3"/>
                    <a:pt x="0" y="5"/>
                  </a:cubicBezTo>
                  <a:cubicBezTo>
                    <a:pt x="1" y="7"/>
                    <a:pt x="5" y="5"/>
                    <a:pt x="3" y="7"/>
                  </a:cubicBezTo>
                  <a:cubicBezTo>
                    <a:pt x="1" y="10"/>
                    <a:pt x="3" y="10"/>
                    <a:pt x="5" y="8"/>
                  </a:cubicBezTo>
                  <a:cubicBezTo>
                    <a:pt x="8" y="8"/>
                    <a:pt x="3" y="13"/>
                    <a:pt x="6" y="11"/>
                  </a:cubicBezTo>
                  <a:cubicBezTo>
                    <a:pt x="9" y="8"/>
                    <a:pt x="12" y="8"/>
                    <a:pt x="9" y="10"/>
                  </a:cubicBezTo>
                  <a:cubicBezTo>
                    <a:pt x="8" y="11"/>
                    <a:pt x="11" y="11"/>
                    <a:pt x="9" y="14"/>
                  </a:cubicBezTo>
                  <a:cubicBezTo>
                    <a:pt x="8" y="16"/>
                    <a:pt x="9" y="14"/>
                    <a:pt x="9" y="16"/>
                  </a:cubicBezTo>
                  <a:cubicBezTo>
                    <a:pt x="9" y="18"/>
                    <a:pt x="11" y="16"/>
                    <a:pt x="11" y="18"/>
                  </a:cubicBezTo>
                  <a:cubicBezTo>
                    <a:pt x="11" y="19"/>
                    <a:pt x="12" y="18"/>
                    <a:pt x="12" y="16"/>
                  </a:cubicBezTo>
                  <a:cubicBezTo>
                    <a:pt x="12" y="19"/>
                    <a:pt x="12" y="18"/>
                    <a:pt x="12" y="1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 144"/>
            <p:cNvSpPr>
              <a:spLocks/>
            </p:cNvSpPr>
            <p:nvPr/>
          </p:nvSpPr>
          <p:spPr bwMode="auto">
            <a:xfrm>
              <a:off x="4549581" y="4766344"/>
              <a:ext cx="3213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1" y="3"/>
                    <a:pt x="1" y="3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Freeform 145"/>
            <p:cNvSpPr>
              <a:spLocks/>
            </p:cNvSpPr>
            <p:nvPr/>
          </p:nvSpPr>
          <p:spPr bwMode="auto">
            <a:xfrm>
              <a:off x="4549581" y="4775984"/>
              <a:ext cx="9641" cy="1285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2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3" y="2"/>
                    <a:pt x="1" y="4"/>
                    <a:pt x="1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Freeform 146"/>
            <p:cNvSpPr>
              <a:spLocks/>
            </p:cNvSpPr>
            <p:nvPr/>
          </p:nvSpPr>
          <p:spPr bwMode="auto">
            <a:xfrm>
              <a:off x="4549581" y="4792051"/>
              <a:ext cx="3213" cy="96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2"/>
                </a:cxn>
                <a:cxn ang="0">
                  <a:pos x="0" y="2"/>
                </a:cxn>
              </a:cxnLst>
              <a:rect l="0" t="0" r="r" b="b"/>
              <a:pathLst>
                <a:path w="1" h="3">
                  <a:moveTo>
                    <a:pt x="0" y="2"/>
                  </a:moveTo>
                  <a:cubicBezTo>
                    <a:pt x="0" y="0"/>
                    <a:pt x="1" y="0"/>
                    <a:pt x="1" y="2"/>
                  </a:cubicBezTo>
                  <a:cubicBezTo>
                    <a:pt x="1" y="3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Freeform 147"/>
            <p:cNvSpPr>
              <a:spLocks/>
            </p:cNvSpPr>
            <p:nvPr/>
          </p:nvSpPr>
          <p:spPr bwMode="auto">
            <a:xfrm>
              <a:off x="4552795" y="4792051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Freeform 148"/>
            <p:cNvSpPr>
              <a:spLocks/>
            </p:cNvSpPr>
            <p:nvPr/>
          </p:nvSpPr>
          <p:spPr bwMode="auto">
            <a:xfrm>
              <a:off x="4559221" y="4788838"/>
              <a:ext cx="3213" cy="32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Freeform 149"/>
            <p:cNvSpPr>
              <a:spLocks/>
            </p:cNvSpPr>
            <p:nvPr/>
          </p:nvSpPr>
          <p:spPr bwMode="auto">
            <a:xfrm>
              <a:off x="4543154" y="4775984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Freeform 150"/>
            <p:cNvSpPr>
              <a:spLocks/>
            </p:cNvSpPr>
            <p:nvPr/>
          </p:nvSpPr>
          <p:spPr bwMode="auto">
            <a:xfrm>
              <a:off x="4562435" y="4775984"/>
              <a:ext cx="6427" cy="64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2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Freeform 151"/>
            <p:cNvSpPr>
              <a:spLocks/>
            </p:cNvSpPr>
            <p:nvPr/>
          </p:nvSpPr>
          <p:spPr bwMode="auto">
            <a:xfrm>
              <a:off x="4359981" y="4661905"/>
              <a:ext cx="16068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"/>
                </a:cxn>
                <a:cxn ang="0">
                  <a:pos x="2" y="6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0" y="6"/>
                    <a:pt x="0" y="0"/>
                    <a:pt x="2" y="1"/>
                  </a:cubicBezTo>
                  <a:cubicBezTo>
                    <a:pt x="3" y="3"/>
                    <a:pt x="5" y="5"/>
                    <a:pt x="2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Freeform 152"/>
            <p:cNvSpPr>
              <a:spLocks/>
            </p:cNvSpPr>
            <p:nvPr/>
          </p:nvSpPr>
          <p:spPr bwMode="auto">
            <a:xfrm>
              <a:off x="4377655" y="4636197"/>
              <a:ext cx="16068" cy="9640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3" y="2"/>
                </a:cxn>
                <a:cxn ang="0">
                  <a:pos x="2" y="2"/>
                </a:cxn>
              </a:cxnLst>
              <a:rect l="0" t="0" r="r" b="b"/>
              <a:pathLst>
                <a:path w="5" h="3">
                  <a:moveTo>
                    <a:pt x="2" y="2"/>
                  </a:moveTo>
                  <a:cubicBezTo>
                    <a:pt x="2" y="0"/>
                    <a:pt x="5" y="0"/>
                    <a:pt x="3" y="2"/>
                  </a:cubicBezTo>
                  <a:cubicBezTo>
                    <a:pt x="2" y="3"/>
                    <a:pt x="0" y="3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Freeform 156"/>
            <p:cNvSpPr>
              <a:spLocks/>
            </p:cNvSpPr>
            <p:nvPr/>
          </p:nvSpPr>
          <p:spPr bwMode="auto">
            <a:xfrm>
              <a:off x="4369621" y="4663511"/>
              <a:ext cx="8034" cy="642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0"/>
                </a:cxn>
                <a:cxn ang="0">
                  <a:pos x="2" y="2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0" y="2"/>
                    <a:pt x="2" y="0"/>
                    <a:pt x="2" y="0"/>
                  </a:cubicBezTo>
                  <a:cubicBezTo>
                    <a:pt x="3" y="0"/>
                    <a:pt x="3" y="2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 159"/>
            <p:cNvSpPr>
              <a:spLocks/>
            </p:cNvSpPr>
            <p:nvPr/>
          </p:nvSpPr>
          <p:spPr bwMode="auto">
            <a:xfrm>
              <a:off x="5610057" y="3561280"/>
              <a:ext cx="89980" cy="109260"/>
            </a:xfrm>
            <a:custGeom>
              <a:avLst/>
              <a:gdLst/>
              <a:ahLst/>
              <a:cxnLst>
                <a:cxn ang="0">
                  <a:pos x="12" y="35"/>
                </a:cxn>
                <a:cxn ang="0">
                  <a:pos x="12" y="31"/>
                </a:cxn>
                <a:cxn ang="0">
                  <a:pos x="10" y="18"/>
                </a:cxn>
                <a:cxn ang="0">
                  <a:pos x="7" y="12"/>
                </a:cxn>
                <a:cxn ang="0">
                  <a:pos x="0" y="3"/>
                </a:cxn>
                <a:cxn ang="0">
                  <a:pos x="6" y="1"/>
                </a:cxn>
                <a:cxn ang="0">
                  <a:pos x="15" y="5"/>
                </a:cxn>
                <a:cxn ang="0">
                  <a:pos x="19" y="6"/>
                </a:cxn>
                <a:cxn ang="0">
                  <a:pos x="19" y="9"/>
                </a:cxn>
                <a:cxn ang="0">
                  <a:pos x="22" y="14"/>
                </a:cxn>
                <a:cxn ang="0">
                  <a:pos x="24" y="18"/>
                </a:cxn>
                <a:cxn ang="0">
                  <a:pos x="25" y="25"/>
                </a:cxn>
                <a:cxn ang="0">
                  <a:pos x="25" y="25"/>
                </a:cxn>
                <a:cxn ang="0">
                  <a:pos x="19" y="25"/>
                </a:cxn>
                <a:cxn ang="0">
                  <a:pos x="18" y="26"/>
                </a:cxn>
                <a:cxn ang="0">
                  <a:pos x="15" y="34"/>
                </a:cxn>
                <a:cxn ang="0">
                  <a:pos x="12" y="35"/>
                </a:cxn>
              </a:cxnLst>
              <a:rect l="0" t="0" r="r" b="b"/>
              <a:pathLst>
                <a:path w="29" h="35">
                  <a:moveTo>
                    <a:pt x="12" y="35"/>
                  </a:moveTo>
                  <a:cubicBezTo>
                    <a:pt x="10" y="34"/>
                    <a:pt x="12" y="34"/>
                    <a:pt x="12" y="31"/>
                  </a:cubicBezTo>
                  <a:cubicBezTo>
                    <a:pt x="10" y="26"/>
                    <a:pt x="15" y="23"/>
                    <a:pt x="10" y="18"/>
                  </a:cubicBezTo>
                  <a:cubicBezTo>
                    <a:pt x="6" y="12"/>
                    <a:pt x="7" y="14"/>
                    <a:pt x="7" y="12"/>
                  </a:cubicBezTo>
                  <a:cubicBezTo>
                    <a:pt x="4" y="11"/>
                    <a:pt x="3" y="1"/>
                    <a:pt x="0" y="3"/>
                  </a:cubicBezTo>
                  <a:cubicBezTo>
                    <a:pt x="1" y="1"/>
                    <a:pt x="4" y="1"/>
                    <a:pt x="6" y="1"/>
                  </a:cubicBezTo>
                  <a:cubicBezTo>
                    <a:pt x="7" y="0"/>
                    <a:pt x="13" y="5"/>
                    <a:pt x="15" y="5"/>
                  </a:cubicBezTo>
                  <a:cubicBezTo>
                    <a:pt x="16" y="3"/>
                    <a:pt x="16" y="8"/>
                    <a:pt x="19" y="6"/>
                  </a:cubicBezTo>
                  <a:cubicBezTo>
                    <a:pt x="21" y="6"/>
                    <a:pt x="21" y="8"/>
                    <a:pt x="19" y="9"/>
                  </a:cubicBezTo>
                  <a:cubicBezTo>
                    <a:pt x="18" y="12"/>
                    <a:pt x="21" y="14"/>
                    <a:pt x="22" y="14"/>
                  </a:cubicBezTo>
                  <a:cubicBezTo>
                    <a:pt x="24" y="14"/>
                    <a:pt x="21" y="17"/>
                    <a:pt x="24" y="18"/>
                  </a:cubicBezTo>
                  <a:cubicBezTo>
                    <a:pt x="27" y="20"/>
                    <a:pt x="24" y="23"/>
                    <a:pt x="25" y="25"/>
                  </a:cubicBezTo>
                  <a:cubicBezTo>
                    <a:pt x="29" y="25"/>
                    <a:pt x="25" y="26"/>
                    <a:pt x="25" y="25"/>
                  </a:cubicBezTo>
                  <a:cubicBezTo>
                    <a:pt x="24" y="25"/>
                    <a:pt x="21" y="26"/>
                    <a:pt x="19" y="25"/>
                  </a:cubicBezTo>
                  <a:cubicBezTo>
                    <a:pt x="18" y="23"/>
                    <a:pt x="16" y="25"/>
                    <a:pt x="18" y="26"/>
                  </a:cubicBezTo>
                  <a:cubicBezTo>
                    <a:pt x="19" y="29"/>
                    <a:pt x="13" y="32"/>
                    <a:pt x="15" y="34"/>
                  </a:cubicBezTo>
                  <a:cubicBezTo>
                    <a:pt x="15" y="35"/>
                    <a:pt x="13" y="35"/>
                    <a:pt x="12" y="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 160"/>
            <p:cNvSpPr>
              <a:spLocks/>
            </p:cNvSpPr>
            <p:nvPr/>
          </p:nvSpPr>
          <p:spPr bwMode="auto">
            <a:xfrm>
              <a:off x="5454198" y="3570920"/>
              <a:ext cx="229770" cy="167103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6"/>
                </a:cxn>
                <a:cxn ang="0">
                  <a:pos x="12" y="11"/>
                </a:cxn>
                <a:cxn ang="0">
                  <a:pos x="10" y="15"/>
                </a:cxn>
                <a:cxn ang="0">
                  <a:pos x="6" y="23"/>
                </a:cxn>
                <a:cxn ang="0">
                  <a:pos x="3" y="23"/>
                </a:cxn>
                <a:cxn ang="0">
                  <a:pos x="3" y="23"/>
                </a:cxn>
                <a:cxn ang="0">
                  <a:pos x="0" y="25"/>
                </a:cxn>
                <a:cxn ang="0">
                  <a:pos x="3" y="30"/>
                </a:cxn>
                <a:cxn ang="0">
                  <a:pos x="9" y="36"/>
                </a:cxn>
                <a:cxn ang="0">
                  <a:pos x="13" y="42"/>
                </a:cxn>
                <a:cxn ang="0">
                  <a:pos x="16" y="40"/>
                </a:cxn>
                <a:cxn ang="0">
                  <a:pos x="18" y="47"/>
                </a:cxn>
                <a:cxn ang="0">
                  <a:pos x="19" y="51"/>
                </a:cxn>
                <a:cxn ang="0">
                  <a:pos x="25" y="51"/>
                </a:cxn>
                <a:cxn ang="0">
                  <a:pos x="33" y="51"/>
                </a:cxn>
                <a:cxn ang="0">
                  <a:pos x="42" y="51"/>
                </a:cxn>
                <a:cxn ang="0">
                  <a:pos x="54" y="50"/>
                </a:cxn>
                <a:cxn ang="0">
                  <a:pos x="60" y="51"/>
                </a:cxn>
                <a:cxn ang="0">
                  <a:pos x="65" y="53"/>
                </a:cxn>
                <a:cxn ang="0">
                  <a:pos x="71" y="40"/>
                </a:cxn>
                <a:cxn ang="0">
                  <a:pos x="74" y="36"/>
                </a:cxn>
                <a:cxn ang="0">
                  <a:pos x="69" y="34"/>
                </a:cxn>
                <a:cxn ang="0">
                  <a:pos x="66" y="36"/>
                </a:cxn>
                <a:cxn ang="0">
                  <a:pos x="62" y="33"/>
                </a:cxn>
                <a:cxn ang="0">
                  <a:pos x="62" y="28"/>
                </a:cxn>
                <a:cxn ang="0">
                  <a:pos x="60" y="15"/>
                </a:cxn>
                <a:cxn ang="0">
                  <a:pos x="57" y="9"/>
                </a:cxn>
                <a:cxn ang="0">
                  <a:pos x="50" y="0"/>
                </a:cxn>
                <a:cxn ang="0">
                  <a:pos x="44" y="5"/>
                </a:cxn>
                <a:cxn ang="0">
                  <a:pos x="38" y="6"/>
                </a:cxn>
                <a:cxn ang="0">
                  <a:pos x="33" y="3"/>
                </a:cxn>
                <a:cxn ang="0">
                  <a:pos x="27" y="3"/>
                </a:cxn>
                <a:cxn ang="0">
                  <a:pos x="22" y="3"/>
                </a:cxn>
                <a:cxn ang="0">
                  <a:pos x="21" y="3"/>
                </a:cxn>
              </a:cxnLst>
              <a:rect l="0" t="0" r="r" b="b"/>
              <a:pathLst>
                <a:path w="74" h="54">
                  <a:moveTo>
                    <a:pt x="21" y="3"/>
                  </a:moveTo>
                  <a:cubicBezTo>
                    <a:pt x="18" y="8"/>
                    <a:pt x="16" y="5"/>
                    <a:pt x="15" y="6"/>
                  </a:cubicBezTo>
                  <a:cubicBezTo>
                    <a:pt x="13" y="8"/>
                    <a:pt x="15" y="8"/>
                    <a:pt x="12" y="11"/>
                  </a:cubicBezTo>
                  <a:cubicBezTo>
                    <a:pt x="9" y="14"/>
                    <a:pt x="12" y="14"/>
                    <a:pt x="10" y="15"/>
                  </a:cubicBezTo>
                  <a:cubicBezTo>
                    <a:pt x="9" y="19"/>
                    <a:pt x="6" y="23"/>
                    <a:pt x="6" y="23"/>
                  </a:cubicBezTo>
                  <a:cubicBezTo>
                    <a:pt x="4" y="23"/>
                    <a:pt x="4" y="22"/>
                    <a:pt x="3" y="23"/>
                  </a:cubicBezTo>
                  <a:cubicBezTo>
                    <a:pt x="3" y="23"/>
                    <a:pt x="4" y="23"/>
                    <a:pt x="3" y="23"/>
                  </a:cubicBezTo>
                  <a:cubicBezTo>
                    <a:pt x="1" y="23"/>
                    <a:pt x="0" y="23"/>
                    <a:pt x="0" y="25"/>
                  </a:cubicBezTo>
                  <a:cubicBezTo>
                    <a:pt x="1" y="28"/>
                    <a:pt x="4" y="28"/>
                    <a:pt x="3" y="30"/>
                  </a:cubicBezTo>
                  <a:cubicBezTo>
                    <a:pt x="3" y="34"/>
                    <a:pt x="10" y="34"/>
                    <a:pt x="9" y="36"/>
                  </a:cubicBezTo>
                  <a:cubicBezTo>
                    <a:pt x="7" y="39"/>
                    <a:pt x="9" y="42"/>
                    <a:pt x="13" y="42"/>
                  </a:cubicBezTo>
                  <a:cubicBezTo>
                    <a:pt x="16" y="44"/>
                    <a:pt x="15" y="40"/>
                    <a:pt x="16" y="40"/>
                  </a:cubicBezTo>
                  <a:cubicBezTo>
                    <a:pt x="22" y="45"/>
                    <a:pt x="13" y="42"/>
                    <a:pt x="18" y="47"/>
                  </a:cubicBezTo>
                  <a:cubicBezTo>
                    <a:pt x="24" y="50"/>
                    <a:pt x="18" y="50"/>
                    <a:pt x="19" y="51"/>
                  </a:cubicBezTo>
                  <a:cubicBezTo>
                    <a:pt x="21" y="53"/>
                    <a:pt x="22" y="50"/>
                    <a:pt x="25" y="51"/>
                  </a:cubicBezTo>
                  <a:cubicBezTo>
                    <a:pt x="30" y="54"/>
                    <a:pt x="30" y="51"/>
                    <a:pt x="33" y="51"/>
                  </a:cubicBezTo>
                  <a:cubicBezTo>
                    <a:pt x="36" y="53"/>
                    <a:pt x="39" y="54"/>
                    <a:pt x="42" y="51"/>
                  </a:cubicBezTo>
                  <a:cubicBezTo>
                    <a:pt x="45" y="50"/>
                    <a:pt x="53" y="47"/>
                    <a:pt x="54" y="50"/>
                  </a:cubicBezTo>
                  <a:cubicBezTo>
                    <a:pt x="56" y="51"/>
                    <a:pt x="57" y="48"/>
                    <a:pt x="60" y="51"/>
                  </a:cubicBezTo>
                  <a:cubicBezTo>
                    <a:pt x="60" y="53"/>
                    <a:pt x="63" y="53"/>
                    <a:pt x="65" y="53"/>
                  </a:cubicBezTo>
                  <a:cubicBezTo>
                    <a:pt x="65" y="45"/>
                    <a:pt x="66" y="42"/>
                    <a:pt x="71" y="40"/>
                  </a:cubicBezTo>
                  <a:cubicBezTo>
                    <a:pt x="74" y="40"/>
                    <a:pt x="74" y="39"/>
                    <a:pt x="74" y="36"/>
                  </a:cubicBezTo>
                  <a:cubicBezTo>
                    <a:pt x="73" y="33"/>
                    <a:pt x="69" y="34"/>
                    <a:pt x="69" y="34"/>
                  </a:cubicBezTo>
                  <a:cubicBezTo>
                    <a:pt x="68" y="36"/>
                    <a:pt x="66" y="34"/>
                    <a:pt x="66" y="36"/>
                  </a:cubicBezTo>
                  <a:cubicBezTo>
                    <a:pt x="65" y="37"/>
                    <a:pt x="63" y="36"/>
                    <a:pt x="62" y="33"/>
                  </a:cubicBezTo>
                  <a:cubicBezTo>
                    <a:pt x="60" y="31"/>
                    <a:pt x="62" y="33"/>
                    <a:pt x="62" y="28"/>
                  </a:cubicBezTo>
                  <a:cubicBezTo>
                    <a:pt x="60" y="25"/>
                    <a:pt x="65" y="20"/>
                    <a:pt x="60" y="15"/>
                  </a:cubicBezTo>
                  <a:cubicBezTo>
                    <a:pt x="56" y="11"/>
                    <a:pt x="59" y="11"/>
                    <a:pt x="57" y="9"/>
                  </a:cubicBezTo>
                  <a:cubicBezTo>
                    <a:pt x="54" y="8"/>
                    <a:pt x="54" y="0"/>
                    <a:pt x="50" y="0"/>
                  </a:cubicBezTo>
                  <a:cubicBezTo>
                    <a:pt x="47" y="1"/>
                    <a:pt x="48" y="3"/>
                    <a:pt x="44" y="5"/>
                  </a:cubicBezTo>
                  <a:cubicBezTo>
                    <a:pt x="39" y="5"/>
                    <a:pt x="39" y="5"/>
                    <a:pt x="38" y="6"/>
                  </a:cubicBezTo>
                  <a:cubicBezTo>
                    <a:pt x="36" y="8"/>
                    <a:pt x="35" y="3"/>
                    <a:pt x="33" y="3"/>
                  </a:cubicBezTo>
                  <a:cubicBezTo>
                    <a:pt x="30" y="5"/>
                    <a:pt x="30" y="3"/>
                    <a:pt x="27" y="3"/>
                  </a:cubicBezTo>
                  <a:cubicBezTo>
                    <a:pt x="24" y="3"/>
                    <a:pt x="22" y="1"/>
                    <a:pt x="22" y="3"/>
                  </a:cubicBezTo>
                  <a:cubicBezTo>
                    <a:pt x="21" y="5"/>
                    <a:pt x="21" y="3"/>
                    <a:pt x="2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 161"/>
            <p:cNvSpPr>
              <a:spLocks/>
            </p:cNvSpPr>
            <p:nvPr/>
          </p:nvSpPr>
          <p:spPr bwMode="auto">
            <a:xfrm>
              <a:off x="5593988" y="3787831"/>
              <a:ext cx="77125" cy="78731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11"/>
                </a:cxn>
                <a:cxn ang="0">
                  <a:pos x="0" y="16"/>
                </a:cxn>
                <a:cxn ang="0">
                  <a:pos x="5" y="17"/>
                </a:cxn>
                <a:cxn ang="0">
                  <a:pos x="2" y="22"/>
                </a:cxn>
                <a:cxn ang="0">
                  <a:pos x="5" y="20"/>
                </a:cxn>
                <a:cxn ang="0">
                  <a:pos x="11" y="16"/>
                </a:cxn>
                <a:cxn ang="0">
                  <a:pos x="15" y="14"/>
                </a:cxn>
                <a:cxn ang="0">
                  <a:pos x="23" y="12"/>
                </a:cxn>
                <a:cxn ang="0">
                  <a:pos x="20" y="9"/>
                </a:cxn>
                <a:cxn ang="0">
                  <a:pos x="15" y="2"/>
                </a:cxn>
                <a:cxn ang="0">
                  <a:pos x="12" y="3"/>
                </a:cxn>
                <a:cxn ang="0">
                  <a:pos x="8" y="2"/>
                </a:cxn>
                <a:cxn ang="0">
                  <a:pos x="5" y="3"/>
                </a:cxn>
                <a:cxn ang="0">
                  <a:pos x="2" y="5"/>
                </a:cxn>
              </a:cxnLst>
              <a:rect l="0" t="0" r="r" b="b"/>
              <a:pathLst>
                <a:path w="25" h="25">
                  <a:moveTo>
                    <a:pt x="2" y="5"/>
                  </a:moveTo>
                  <a:cubicBezTo>
                    <a:pt x="5" y="8"/>
                    <a:pt x="5" y="9"/>
                    <a:pt x="3" y="11"/>
                  </a:cubicBezTo>
                  <a:cubicBezTo>
                    <a:pt x="2" y="11"/>
                    <a:pt x="3" y="14"/>
                    <a:pt x="0" y="16"/>
                  </a:cubicBezTo>
                  <a:cubicBezTo>
                    <a:pt x="0" y="20"/>
                    <a:pt x="9" y="16"/>
                    <a:pt x="5" y="17"/>
                  </a:cubicBezTo>
                  <a:cubicBezTo>
                    <a:pt x="2" y="20"/>
                    <a:pt x="2" y="19"/>
                    <a:pt x="2" y="22"/>
                  </a:cubicBezTo>
                  <a:cubicBezTo>
                    <a:pt x="0" y="25"/>
                    <a:pt x="2" y="22"/>
                    <a:pt x="5" y="20"/>
                  </a:cubicBezTo>
                  <a:cubicBezTo>
                    <a:pt x="8" y="17"/>
                    <a:pt x="9" y="19"/>
                    <a:pt x="11" y="16"/>
                  </a:cubicBezTo>
                  <a:cubicBezTo>
                    <a:pt x="14" y="9"/>
                    <a:pt x="14" y="16"/>
                    <a:pt x="15" y="14"/>
                  </a:cubicBezTo>
                  <a:cubicBezTo>
                    <a:pt x="18" y="11"/>
                    <a:pt x="21" y="16"/>
                    <a:pt x="23" y="12"/>
                  </a:cubicBezTo>
                  <a:cubicBezTo>
                    <a:pt x="25" y="9"/>
                    <a:pt x="23" y="11"/>
                    <a:pt x="20" y="9"/>
                  </a:cubicBezTo>
                  <a:cubicBezTo>
                    <a:pt x="15" y="6"/>
                    <a:pt x="15" y="5"/>
                    <a:pt x="15" y="2"/>
                  </a:cubicBezTo>
                  <a:cubicBezTo>
                    <a:pt x="14" y="2"/>
                    <a:pt x="14" y="3"/>
                    <a:pt x="12" y="3"/>
                  </a:cubicBezTo>
                  <a:cubicBezTo>
                    <a:pt x="11" y="3"/>
                    <a:pt x="9" y="0"/>
                    <a:pt x="8" y="2"/>
                  </a:cubicBezTo>
                  <a:cubicBezTo>
                    <a:pt x="6" y="3"/>
                    <a:pt x="5" y="0"/>
                    <a:pt x="5" y="3"/>
                  </a:cubicBezTo>
                  <a:cubicBezTo>
                    <a:pt x="3" y="5"/>
                    <a:pt x="2" y="3"/>
                    <a:pt x="2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Freeform 162"/>
            <p:cNvSpPr>
              <a:spLocks/>
            </p:cNvSpPr>
            <p:nvPr/>
          </p:nvSpPr>
          <p:spPr bwMode="auto">
            <a:xfrm>
              <a:off x="5528110" y="3130670"/>
              <a:ext cx="125329" cy="89979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4" y="4"/>
                </a:cxn>
                <a:cxn ang="0">
                  <a:pos x="13" y="3"/>
                </a:cxn>
                <a:cxn ang="0">
                  <a:pos x="18" y="1"/>
                </a:cxn>
                <a:cxn ang="0">
                  <a:pos x="27" y="3"/>
                </a:cxn>
                <a:cxn ang="0">
                  <a:pos x="36" y="3"/>
                </a:cxn>
                <a:cxn ang="0">
                  <a:pos x="35" y="8"/>
                </a:cxn>
                <a:cxn ang="0">
                  <a:pos x="32" y="15"/>
                </a:cxn>
                <a:cxn ang="0">
                  <a:pos x="33" y="22"/>
                </a:cxn>
                <a:cxn ang="0">
                  <a:pos x="32" y="28"/>
                </a:cxn>
                <a:cxn ang="0">
                  <a:pos x="26" y="28"/>
                </a:cxn>
                <a:cxn ang="0">
                  <a:pos x="20" y="25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18"/>
                </a:cxn>
              </a:cxnLst>
              <a:rect l="0" t="0" r="r" b="b"/>
              <a:pathLst>
                <a:path w="40" h="29">
                  <a:moveTo>
                    <a:pt x="7" y="18"/>
                  </a:moveTo>
                  <a:cubicBezTo>
                    <a:pt x="3" y="20"/>
                    <a:pt x="3" y="17"/>
                    <a:pt x="1" y="15"/>
                  </a:cubicBezTo>
                  <a:cubicBezTo>
                    <a:pt x="0" y="12"/>
                    <a:pt x="0" y="12"/>
                    <a:pt x="1" y="9"/>
                  </a:cubicBezTo>
                  <a:cubicBezTo>
                    <a:pt x="1" y="6"/>
                    <a:pt x="4" y="8"/>
                    <a:pt x="4" y="4"/>
                  </a:cubicBezTo>
                  <a:cubicBezTo>
                    <a:pt x="6" y="3"/>
                    <a:pt x="10" y="3"/>
                    <a:pt x="13" y="3"/>
                  </a:cubicBezTo>
                  <a:cubicBezTo>
                    <a:pt x="18" y="3"/>
                    <a:pt x="13" y="0"/>
                    <a:pt x="18" y="1"/>
                  </a:cubicBezTo>
                  <a:cubicBezTo>
                    <a:pt x="23" y="3"/>
                    <a:pt x="26" y="1"/>
                    <a:pt x="27" y="3"/>
                  </a:cubicBezTo>
                  <a:cubicBezTo>
                    <a:pt x="30" y="4"/>
                    <a:pt x="33" y="4"/>
                    <a:pt x="36" y="3"/>
                  </a:cubicBezTo>
                  <a:cubicBezTo>
                    <a:pt x="40" y="6"/>
                    <a:pt x="35" y="4"/>
                    <a:pt x="35" y="8"/>
                  </a:cubicBezTo>
                  <a:cubicBezTo>
                    <a:pt x="35" y="12"/>
                    <a:pt x="30" y="9"/>
                    <a:pt x="32" y="15"/>
                  </a:cubicBezTo>
                  <a:cubicBezTo>
                    <a:pt x="35" y="20"/>
                    <a:pt x="30" y="17"/>
                    <a:pt x="33" y="22"/>
                  </a:cubicBezTo>
                  <a:cubicBezTo>
                    <a:pt x="36" y="26"/>
                    <a:pt x="33" y="23"/>
                    <a:pt x="32" y="28"/>
                  </a:cubicBezTo>
                  <a:cubicBezTo>
                    <a:pt x="29" y="29"/>
                    <a:pt x="30" y="26"/>
                    <a:pt x="26" y="28"/>
                  </a:cubicBezTo>
                  <a:cubicBezTo>
                    <a:pt x="23" y="29"/>
                    <a:pt x="21" y="25"/>
                    <a:pt x="20" y="25"/>
                  </a:cubicBezTo>
                  <a:cubicBezTo>
                    <a:pt x="18" y="25"/>
                    <a:pt x="17" y="22"/>
                    <a:pt x="15" y="22"/>
                  </a:cubicBezTo>
                  <a:cubicBezTo>
                    <a:pt x="12" y="20"/>
                    <a:pt x="12" y="23"/>
                    <a:pt x="7" y="25"/>
                  </a:cubicBezTo>
                  <a:cubicBezTo>
                    <a:pt x="9" y="18"/>
                    <a:pt x="10" y="15"/>
                    <a:pt x="7" y="1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 163"/>
            <p:cNvSpPr>
              <a:spLocks/>
            </p:cNvSpPr>
            <p:nvPr/>
          </p:nvSpPr>
          <p:spPr bwMode="auto">
            <a:xfrm>
              <a:off x="5465447" y="3190120"/>
              <a:ext cx="187993" cy="9961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5" y="24"/>
                </a:cxn>
                <a:cxn ang="0">
                  <a:pos x="26" y="24"/>
                </a:cxn>
                <a:cxn ang="0">
                  <a:pos x="32" y="22"/>
                </a:cxn>
                <a:cxn ang="0">
                  <a:pos x="35" y="26"/>
                </a:cxn>
                <a:cxn ang="0">
                  <a:pos x="46" y="32"/>
                </a:cxn>
                <a:cxn ang="0">
                  <a:pos x="53" y="30"/>
                </a:cxn>
                <a:cxn ang="0">
                  <a:pos x="58" y="27"/>
                </a:cxn>
                <a:cxn ang="0">
                  <a:pos x="56" y="21"/>
                </a:cxn>
                <a:cxn ang="0">
                  <a:pos x="55" y="18"/>
                </a:cxn>
                <a:cxn ang="0">
                  <a:pos x="55" y="13"/>
                </a:cxn>
                <a:cxn ang="0">
                  <a:pos x="52" y="8"/>
                </a:cxn>
                <a:cxn ang="0">
                  <a:pos x="46" y="8"/>
                </a:cxn>
                <a:cxn ang="0">
                  <a:pos x="40" y="5"/>
                </a:cxn>
                <a:cxn ang="0">
                  <a:pos x="35" y="2"/>
                </a:cxn>
                <a:cxn ang="0">
                  <a:pos x="27" y="5"/>
                </a:cxn>
                <a:cxn ang="0">
                  <a:pos x="24" y="15"/>
                </a:cxn>
                <a:cxn ang="0">
                  <a:pos x="15" y="10"/>
                </a:cxn>
                <a:cxn ang="0">
                  <a:pos x="12" y="7"/>
                </a:cxn>
                <a:cxn ang="0">
                  <a:pos x="4" y="10"/>
                </a:cxn>
                <a:cxn ang="0">
                  <a:pos x="4" y="13"/>
                </a:cxn>
                <a:cxn ang="0">
                  <a:pos x="1" y="19"/>
                </a:cxn>
                <a:cxn ang="0">
                  <a:pos x="0" y="27"/>
                </a:cxn>
              </a:cxnLst>
              <a:rect l="0" t="0" r="r" b="b"/>
              <a:pathLst>
                <a:path w="60" h="32">
                  <a:moveTo>
                    <a:pt x="0" y="27"/>
                  </a:moveTo>
                  <a:cubicBezTo>
                    <a:pt x="7" y="22"/>
                    <a:pt x="9" y="22"/>
                    <a:pt x="15" y="24"/>
                  </a:cubicBezTo>
                  <a:cubicBezTo>
                    <a:pt x="21" y="24"/>
                    <a:pt x="23" y="22"/>
                    <a:pt x="26" y="24"/>
                  </a:cubicBezTo>
                  <a:cubicBezTo>
                    <a:pt x="30" y="26"/>
                    <a:pt x="30" y="22"/>
                    <a:pt x="32" y="22"/>
                  </a:cubicBezTo>
                  <a:cubicBezTo>
                    <a:pt x="33" y="24"/>
                    <a:pt x="30" y="26"/>
                    <a:pt x="35" y="26"/>
                  </a:cubicBezTo>
                  <a:cubicBezTo>
                    <a:pt x="40" y="26"/>
                    <a:pt x="41" y="30"/>
                    <a:pt x="46" y="32"/>
                  </a:cubicBezTo>
                  <a:cubicBezTo>
                    <a:pt x="50" y="29"/>
                    <a:pt x="52" y="32"/>
                    <a:pt x="53" y="30"/>
                  </a:cubicBezTo>
                  <a:cubicBezTo>
                    <a:pt x="55" y="27"/>
                    <a:pt x="55" y="27"/>
                    <a:pt x="58" y="27"/>
                  </a:cubicBezTo>
                  <a:cubicBezTo>
                    <a:pt x="58" y="27"/>
                    <a:pt x="60" y="24"/>
                    <a:pt x="56" y="21"/>
                  </a:cubicBezTo>
                  <a:cubicBezTo>
                    <a:pt x="55" y="18"/>
                    <a:pt x="56" y="18"/>
                    <a:pt x="55" y="18"/>
                  </a:cubicBezTo>
                  <a:cubicBezTo>
                    <a:pt x="53" y="18"/>
                    <a:pt x="55" y="15"/>
                    <a:pt x="55" y="13"/>
                  </a:cubicBezTo>
                  <a:cubicBezTo>
                    <a:pt x="56" y="11"/>
                    <a:pt x="53" y="11"/>
                    <a:pt x="52" y="8"/>
                  </a:cubicBezTo>
                  <a:cubicBezTo>
                    <a:pt x="49" y="10"/>
                    <a:pt x="50" y="7"/>
                    <a:pt x="46" y="8"/>
                  </a:cubicBezTo>
                  <a:cubicBezTo>
                    <a:pt x="43" y="10"/>
                    <a:pt x="41" y="5"/>
                    <a:pt x="40" y="5"/>
                  </a:cubicBezTo>
                  <a:cubicBezTo>
                    <a:pt x="38" y="5"/>
                    <a:pt x="37" y="2"/>
                    <a:pt x="35" y="2"/>
                  </a:cubicBezTo>
                  <a:cubicBezTo>
                    <a:pt x="32" y="0"/>
                    <a:pt x="32" y="3"/>
                    <a:pt x="27" y="5"/>
                  </a:cubicBezTo>
                  <a:cubicBezTo>
                    <a:pt x="26" y="8"/>
                    <a:pt x="30" y="13"/>
                    <a:pt x="24" y="15"/>
                  </a:cubicBezTo>
                  <a:cubicBezTo>
                    <a:pt x="17" y="18"/>
                    <a:pt x="20" y="11"/>
                    <a:pt x="15" y="10"/>
                  </a:cubicBezTo>
                  <a:cubicBezTo>
                    <a:pt x="10" y="8"/>
                    <a:pt x="15" y="5"/>
                    <a:pt x="12" y="7"/>
                  </a:cubicBezTo>
                  <a:cubicBezTo>
                    <a:pt x="7" y="8"/>
                    <a:pt x="6" y="8"/>
                    <a:pt x="4" y="10"/>
                  </a:cubicBezTo>
                  <a:cubicBezTo>
                    <a:pt x="4" y="11"/>
                    <a:pt x="3" y="11"/>
                    <a:pt x="4" y="13"/>
                  </a:cubicBezTo>
                  <a:cubicBezTo>
                    <a:pt x="4" y="16"/>
                    <a:pt x="1" y="16"/>
                    <a:pt x="1" y="19"/>
                  </a:cubicBezTo>
                  <a:cubicBezTo>
                    <a:pt x="0" y="22"/>
                    <a:pt x="0" y="24"/>
                    <a:pt x="0" y="2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 164"/>
            <p:cNvSpPr>
              <a:spLocks/>
            </p:cNvSpPr>
            <p:nvPr/>
          </p:nvSpPr>
          <p:spPr bwMode="auto">
            <a:xfrm>
              <a:off x="5465447" y="3259210"/>
              <a:ext cx="147824" cy="109260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46" y="16"/>
                </a:cxn>
                <a:cxn ang="0">
                  <a:pos x="38" y="22"/>
                </a:cxn>
                <a:cxn ang="0">
                  <a:pos x="38" y="29"/>
                </a:cxn>
                <a:cxn ang="0">
                  <a:pos x="32" y="30"/>
                </a:cxn>
                <a:cxn ang="0">
                  <a:pos x="21" y="32"/>
                </a:cxn>
                <a:cxn ang="0">
                  <a:pos x="15" y="27"/>
                </a:cxn>
                <a:cxn ang="0">
                  <a:pos x="13" y="19"/>
                </a:cxn>
                <a:cxn ang="0">
                  <a:pos x="3" y="16"/>
                </a:cxn>
                <a:cxn ang="0">
                  <a:pos x="1" y="10"/>
                </a:cxn>
                <a:cxn ang="0">
                  <a:pos x="0" y="5"/>
                </a:cxn>
                <a:cxn ang="0">
                  <a:pos x="15" y="2"/>
                </a:cxn>
                <a:cxn ang="0">
                  <a:pos x="26" y="2"/>
                </a:cxn>
                <a:cxn ang="0">
                  <a:pos x="32" y="0"/>
                </a:cxn>
                <a:cxn ang="0">
                  <a:pos x="35" y="3"/>
                </a:cxn>
                <a:cxn ang="0">
                  <a:pos x="46" y="10"/>
                </a:cxn>
              </a:cxnLst>
              <a:rect l="0" t="0" r="r" b="b"/>
              <a:pathLst>
                <a:path w="47" h="35">
                  <a:moveTo>
                    <a:pt x="46" y="10"/>
                  </a:moveTo>
                  <a:cubicBezTo>
                    <a:pt x="42" y="18"/>
                    <a:pt x="47" y="13"/>
                    <a:pt x="46" y="16"/>
                  </a:cubicBezTo>
                  <a:cubicBezTo>
                    <a:pt x="44" y="19"/>
                    <a:pt x="42" y="16"/>
                    <a:pt x="38" y="22"/>
                  </a:cubicBezTo>
                  <a:cubicBezTo>
                    <a:pt x="35" y="27"/>
                    <a:pt x="41" y="27"/>
                    <a:pt x="38" y="29"/>
                  </a:cubicBezTo>
                  <a:cubicBezTo>
                    <a:pt x="36" y="32"/>
                    <a:pt x="38" y="24"/>
                    <a:pt x="32" y="30"/>
                  </a:cubicBezTo>
                  <a:cubicBezTo>
                    <a:pt x="27" y="35"/>
                    <a:pt x="26" y="30"/>
                    <a:pt x="21" y="32"/>
                  </a:cubicBezTo>
                  <a:cubicBezTo>
                    <a:pt x="21" y="29"/>
                    <a:pt x="16" y="25"/>
                    <a:pt x="15" y="27"/>
                  </a:cubicBezTo>
                  <a:cubicBezTo>
                    <a:pt x="13" y="22"/>
                    <a:pt x="16" y="21"/>
                    <a:pt x="13" y="19"/>
                  </a:cubicBezTo>
                  <a:cubicBezTo>
                    <a:pt x="10" y="16"/>
                    <a:pt x="13" y="21"/>
                    <a:pt x="3" y="16"/>
                  </a:cubicBezTo>
                  <a:cubicBezTo>
                    <a:pt x="3" y="14"/>
                    <a:pt x="3" y="11"/>
                    <a:pt x="1" y="10"/>
                  </a:cubicBezTo>
                  <a:cubicBezTo>
                    <a:pt x="0" y="8"/>
                    <a:pt x="0" y="8"/>
                    <a:pt x="0" y="5"/>
                  </a:cubicBezTo>
                  <a:cubicBezTo>
                    <a:pt x="7" y="0"/>
                    <a:pt x="9" y="0"/>
                    <a:pt x="15" y="2"/>
                  </a:cubicBezTo>
                  <a:cubicBezTo>
                    <a:pt x="21" y="2"/>
                    <a:pt x="23" y="0"/>
                    <a:pt x="26" y="2"/>
                  </a:cubicBezTo>
                  <a:cubicBezTo>
                    <a:pt x="30" y="3"/>
                    <a:pt x="30" y="0"/>
                    <a:pt x="32" y="0"/>
                  </a:cubicBezTo>
                  <a:cubicBezTo>
                    <a:pt x="33" y="2"/>
                    <a:pt x="30" y="3"/>
                    <a:pt x="35" y="3"/>
                  </a:cubicBezTo>
                  <a:cubicBezTo>
                    <a:pt x="39" y="3"/>
                    <a:pt x="41" y="8"/>
                    <a:pt x="46" y="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 165"/>
            <p:cNvSpPr>
              <a:spLocks/>
            </p:cNvSpPr>
            <p:nvPr/>
          </p:nvSpPr>
          <p:spPr bwMode="auto">
            <a:xfrm>
              <a:off x="5513650" y="3268851"/>
              <a:ext cx="252265" cy="196024"/>
            </a:xfrm>
            <a:custGeom>
              <a:avLst/>
              <a:gdLst/>
              <a:ahLst/>
              <a:cxnLst>
                <a:cxn ang="0">
                  <a:pos x="70" y="50"/>
                </a:cxn>
                <a:cxn ang="0">
                  <a:pos x="63" y="58"/>
                </a:cxn>
                <a:cxn ang="0">
                  <a:pos x="60" y="60"/>
                </a:cxn>
                <a:cxn ang="0">
                  <a:pos x="54" y="60"/>
                </a:cxn>
                <a:cxn ang="0">
                  <a:pos x="47" y="58"/>
                </a:cxn>
                <a:cxn ang="0">
                  <a:pos x="40" y="57"/>
                </a:cxn>
                <a:cxn ang="0">
                  <a:pos x="32" y="55"/>
                </a:cxn>
                <a:cxn ang="0">
                  <a:pos x="17" y="54"/>
                </a:cxn>
                <a:cxn ang="0">
                  <a:pos x="9" y="57"/>
                </a:cxn>
                <a:cxn ang="0">
                  <a:pos x="6" y="58"/>
                </a:cxn>
                <a:cxn ang="0">
                  <a:pos x="3" y="50"/>
                </a:cxn>
                <a:cxn ang="0">
                  <a:pos x="8" y="46"/>
                </a:cxn>
                <a:cxn ang="0">
                  <a:pos x="6" y="29"/>
                </a:cxn>
                <a:cxn ang="0">
                  <a:pos x="17" y="27"/>
                </a:cxn>
                <a:cxn ang="0">
                  <a:pos x="23" y="25"/>
                </a:cxn>
                <a:cxn ang="0">
                  <a:pos x="23" y="19"/>
                </a:cxn>
                <a:cxn ang="0">
                  <a:pos x="31" y="13"/>
                </a:cxn>
                <a:cxn ang="0">
                  <a:pos x="31" y="7"/>
                </a:cxn>
                <a:cxn ang="0">
                  <a:pos x="38" y="5"/>
                </a:cxn>
                <a:cxn ang="0">
                  <a:pos x="43" y="2"/>
                </a:cxn>
                <a:cxn ang="0">
                  <a:pos x="49" y="3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4" y="10"/>
                </a:cxn>
                <a:cxn ang="0">
                  <a:pos x="64" y="16"/>
                </a:cxn>
                <a:cxn ang="0">
                  <a:pos x="66" y="22"/>
                </a:cxn>
                <a:cxn ang="0">
                  <a:pos x="72" y="29"/>
                </a:cxn>
                <a:cxn ang="0">
                  <a:pos x="76" y="33"/>
                </a:cxn>
                <a:cxn ang="0">
                  <a:pos x="78" y="36"/>
                </a:cxn>
                <a:cxn ang="0">
                  <a:pos x="70" y="38"/>
                </a:cxn>
                <a:cxn ang="0">
                  <a:pos x="69" y="41"/>
                </a:cxn>
                <a:cxn ang="0">
                  <a:pos x="70" y="50"/>
                </a:cxn>
              </a:cxnLst>
              <a:rect l="0" t="0" r="r" b="b"/>
              <a:pathLst>
                <a:path w="81" h="63">
                  <a:moveTo>
                    <a:pt x="70" y="50"/>
                  </a:moveTo>
                  <a:cubicBezTo>
                    <a:pt x="64" y="50"/>
                    <a:pt x="63" y="54"/>
                    <a:pt x="63" y="58"/>
                  </a:cubicBezTo>
                  <a:cubicBezTo>
                    <a:pt x="63" y="63"/>
                    <a:pt x="61" y="63"/>
                    <a:pt x="60" y="60"/>
                  </a:cubicBezTo>
                  <a:cubicBezTo>
                    <a:pt x="58" y="60"/>
                    <a:pt x="55" y="60"/>
                    <a:pt x="54" y="60"/>
                  </a:cubicBezTo>
                  <a:cubicBezTo>
                    <a:pt x="50" y="61"/>
                    <a:pt x="52" y="55"/>
                    <a:pt x="47" y="58"/>
                  </a:cubicBezTo>
                  <a:cubicBezTo>
                    <a:pt x="44" y="61"/>
                    <a:pt x="49" y="57"/>
                    <a:pt x="40" y="57"/>
                  </a:cubicBezTo>
                  <a:cubicBezTo>
                    <a:pt x="34" y="57"/>
                    <a:pt x="37" y="55"/>
                    <a:pt x="32" y="55"/>
                  </a:cubicBezTo>
                  <a:cubicBezTo>
                    <a:pt x="29" y="57"/>
                    <a:pt x="28" y="52"/>
                    <a:pt x="17" y="54"/>
                  </a:cubicBezTo>
                  <a:cubicBezTo>
                    <a:pt x="8" y="55"/>
                    <a:pt x="12" y="58"/>
                    <a:pt x="9" y="57"/>
                  </a:cubicBezTo>
                  <a:cubicBezTo>
                    <a:pt x="8" y="57"/>
                    <a:pt x="6" y="58"/>
                    <a:pt x="6" y="58"/>
                  </a:cubicBezTo>
                  <a:cubicBezTo>
                    <a:pt x="5" y="55"/>
                    <a:pt x="9" y="52"/>
                    <a:pt x="3" y="50"/>
                  </a:cubicBezTo>
                  <a:cubicBezTo>
                    <a:pt x="0" y="49"/>
                    <a:pt x="5" y="46"/>
                    <a:pt x="8" y="46"/>
                  </a:cubicBezTo>
                  <a:cubicBezTo>
                    <a:pt x="11" y="44"/>
                    <a:pt x="8" y="38"/>
                    <a:pt x="6" y="29"/>
                  </a:cubicBezTo>
                  <a:cubicBezTo>
                    <a:pt x="11" y="27"/>
                    <a:pt x="12" y="32"/>
                    <a:pt x="17" y="27"/>
                  </a:cubicBezTo>
                  <a:cubicBezTo>
                    <a:pt x="23" y="21"/>
                    <a:pt x="21" y="29"/>
                    <a:pt x="23" y="25"/>
                  </a:cubicBezTo>
                  <a:cubicBezTo>
                    <a:pt x="26" y="24"/>
                    <a:pt x="20" y="24"/>
                    <a:pt x="23" y="19"/>
                  </a:cubicBezTo>
                  <a:cubicBezTo>
                    <a:pt x="28" y="13"/>
                    <a:pt x="29" y="16"/>
                    <a:pt x="31" y="13"/>
                  </a:cubicBezTo>
                  <a:cubicBezTo>
                    <a:pt x="32" y="10"/>
                    <a:pt x="28" y="14"/>
                    <a:pt x="31" y="7"/>
                  </a:cubicBezTo>
                  <a:cubicBezTo>
                    <a:pt x="35" y="3"/>
                    <a:pt x="37" y="7"/>
                    <a:pt x="38" y="5"/>
                  </a:cubicBezTo>
                  <a:cubicBezTo>
                    <a:pt x="40" y="2"/>
                    <a:pt x="40" y="2"/>
                    <a:pt x="43" y="2"/>
                  </a:cubicBezTo>
                  <a:cubicBezTo>
                    <a:pt x="47" y="0"/>
                    <a:pt x="44" y="3"/>
                    <a:pt x="49" y="3"/>
                  </a:cubicBezTo>
                  <a:cubicBezTo>
                    <a:pt x="55" y="2"/>
                    <a:pt x="50" y="8"/>
                    <a:pt x="55" y="7"/>
                  </a:cubicBezTo>
                  <a:cubicBezTo>
                    <a:pt x="58" y="3"/>
                    <a:pt x="61" y="5"/>
                    <a:pt x="61" y="7"/>
                  </a:cubicBezTo>
                  <a:cubicBezTo>
                    <a:pt x="63" y="8"/>
                    <a:pt x="66" y="7"/>
                    <a:pt x="64" y="10"/>
                  </a:cubicBezTo>
                  <a:cubicBezTo>
                    <a:pt x="63" y="14"/>
                    <a:pt x="67" y="14"/>
                    <a:pt x="64" y="16"/>
                  </a:cubicBezTo>
                  <a:cubicBezTo>
                    <a:pt x="61" y="19"/>
                    <a:pt x="66" y="18"/>
                    <a:pt x="66" y="22"/>
                  </a:cubicBezTo>
                  <a:cubicBezTo>
                    <a:pt x="67" y="29"/>
                    <a:pt x="73" y="27"/>
                    <a:pt x="72" y="29"/>
                  </a:cubicBezTo>
                  <a:cubicBezTo>
                    <a:pt x="69" y="33"/>
                    <a:pt x="76" y="29"/>
                    <a:pt x="76" y="33"/>
                  </a:cubicBezTo>
                  <a:cubicBezTo>
                    <a:pt x="76" y="35"/>
                    <a:pt x="81" y="35"/>
                    <a:pt x="78" y="36"/>
                  </a:cubicBezTo>
                  <a:cubicBezTo>
                    <a:pt x="75" y="38"/>
                    <a:pt x="75" y="41"/>
                    <a:pt x="70" y="38"/>
                  </a:cubicBezTo>
                  <a:cubicBezTo>
                    <a:pt x="69" y="36"/>
                    <a:pt x="67" y="39"/>
                    <a:pt x="69" y="41"/>
                  </a:cubicBezTo>
                  <a:cubicBezTo>
                    <a:pt x="72" y="46"/>
                    <a:pt x="67" y="46"/>
                    <a:pt x="70" y="5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 166"/>
            <p:cNvSpPr>
              <a:spLocks/>
            </p:cNvSpPr>
            <p:nvPr/>
          </p:nvSpPr>
          <p:spPr bwMode="auto">
            <a:xfrm>
              <a:off x="5291914" y="3323481"/>
              <a:ext cx="265119" cy="221731"/>
            </a:xfrm>
            <a:custGeom>
              <a:avLst/>
              <a:gdLst/>
              <a:ahLst/>
              <a:cxnLst>
                <a:cxn ang="0">
                  <a:pos x="77" y="40"/>
                </a:cxn>
                <a:cxn ang="0">
                  <a:pos x="79" y="47"/>
                </a:cxn>
                <a:cxn ang="0">
                  <a:pos x="80" y="50"/>
                </a:cxn>
                <a:cxn ang="0">
                  <a:pos x="79" y="54"/>
                </a:cxn>
                <a:cxn ang="0">
                  <a:pos x="71" y="62"/>
                </a:cxn>
                <a:cxn ang="0">
                  <a:pos x="71" y="68"/>
                </a:cxn>
                <a:cxn ang="0">
                  <a:pos x="68" y="70"/>
                </a:cxn>
                <a:cxn ang="0">
                  <a:pos x="63" y="67"/>
                </a:cxn>
                <a:cxn ang="0">
                  <a:pos x="53" y="65"/>
                </a:cxn>
                <a:cxn ang="0">
                  <a:pos x="48" y="68"/>
                </a:cxn>
                <a:cxn ang="0">
                  <a:pos x="47" y="67"/>
                </a:cxn>
                <a:cxn ang="0">
                  <a:pos x="42" y="65"/>
                </a:cxn>
                <a:cxn ang="0">
                  <a:pos x="41" y="65"/>
                </a:cxn>
                <a:cxn ang="0">
                  <a:pos x="39" y="65"/>
                </a:cxn>
                <a:cxn ang="0">
                  <a:pos x="35" y="59"/>
                </a:cxn>
                <a:cxn ang="0">
                  <a:pos x="30" y="57"/>
                </a:cxn>
                <a:cxn ang="0">
                  <a:pos x="28" y="56"/>
                </a:cxn>
                <a:cxn ang="0">
                  <a:pos x="24" y="54"/>
                </a:cxn>
                <a:cxn ang="0">
                  <a:pos x="21" y="56"/>
                </a:cxn>
                <a:cxn ang="0">
                  <a:pos x="21" y="51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6" y="39"/>
                </a:cxn>
                <a:cxn ang="0">
                  <a:pos x="6" y="31"/>
                </a:cxn>
                <a:cxn ang="0">
                  <a:pos x="4" y="26"/>
                </a:cxn>
                <a:cxn ang="0">
                  <a:pos x="3" y="14"/>
                </a:cxn>
                <a:cxn ang="0">
                  <a:pos x="6" y="14"/>
                </a:cxn>
                <a:cxn ang="0">
                  <a:pos x="6" y="12"/>
                </a:cxn>
                <a:cxn ang="0">
                  <a:pos x="3" y="12"/>
                </a:cxn>
                <a:cxn ang="0">
                  <a:pos x="3" y="11"/>
                </a:cxn>
                <a:cxn ang="0">
                  <a:pos x="15" y="8"/>
                </a:cxn>
                <a:cxn ang="0">
                  <a:pos x="22" y="3"/>
                </a:cxn>
                <a:cxn ang="0">
                  <a:pos x="30" y="0"/>
                </a:cxn>
                <a:cxn ang="0">
                  <a:pos x="39" y="3"/>
                </a:cxn>
                <a:cxn ang="0">
                  <a:pos x="38" y="3"/>
                </a:cxn>
                <a:cxn ang="0">
                  <a:pos x="38" y="5"/>
                </a:cxn>
                <a:cxn ang="0">
                  <a:pos x="45" y="5"/>
                </a:cxn>
                <a:cxn ang="0">
                  <a:pos x="71" y="6"/>
                </a:cxn>
                <a:cxn ang="0">
                  <a:pos x="77" y="11"/>
                </a:cxn>
                <a:cxn ang="0">
                  <a:pos x="79" y="28"/>
                </a:cxn>
                <a:cxn ang="0">
                  <a:pos x="74" y="33"/>
                </a:cxn>
                <a:cxn ang="0">
                  <a:pos x="77" y="40"/>
                </a:cxn>
              </a:cxnLst>
              <a:rect l="0" t="0" r="r" b="b"/>
              <a:pathLst>
                <a:path w="85" h="71">
                  <a:moveTo>
                    <a:pt x="77" y="40"/>
                  </a:moveTo>
                  <a:cubicBezTo>
                    <a:pt x="79" y="43"/>
                    <a:pt x="76" y="42"/>
                    <a:pt x="79" y="47"/>
                  </a:cubicBezTo>
                  <a:cubicBezTo>
                    <a:pt x="85" y="51"/>
                    <a:pt x="79" y="48"/>
                    <a:pt x="80" y="50"/>
                  </a:cubicBezTo>
                  <a:cubicBezTo>
                    <a:pt x="82" y="51"/>
                    <a:pt x="83" y="53"/>
                    <a:pt x="79" y="54"/>
                  </a:cubicBezTo>
                  <a:cubicBezTo>
                    <a:pt x="77" y="54"/>
                    <a:pt x="72" y="59"/>
                    <a:pt x="71" y="62"/>
                  </a:cubicBezTo>
                  <a:cubicBezTo>
                    <a:pt x="68" y="65"/>
                    <a:pt x="71" y="67"/>
                    <a:pt x="71" y="68"/>
                  </a:cubicBezTo>
                  <a:cubicBezTo>
                    <a:pt x="69" y="70"/>
                    <a:pt x="74" y="71"/>
                    <a:pt x="68" y="70"/>
                  </a:cubicBezTo>
                  <a:cubicBezTo>
                    <a:pt x="63" y="68"/>
                    <a:pt x="65" y="67"/>
                    <a:pt x="63" y="67"/>
                  </a:cubicBezTo>
                  <a:cubicBezTo>
                    <a:pt x="59" y="65"/>
                    <a:pt x="54" y="65"/>
                    <a:pt x="53" y="65"/>
                  </a:cubicBezTo>
                  <a:cubicBezTo>
                    <a:pt x="50" y="65"/>
                    <a:pt x="50" y="70"/>
                    <a:pt x="48" y="68"/>
                  </a:cubicBezTo>
                  <a:cubicBezTo>
                    <a:pt x="48" y="68"/>
                    <a:pt x="47" y="68"/>
                    <a:pt x="47" y="67"/>
                  </a:cubicBezTo>
                  <a:cubicBezTo>
                    <a:pt x="48" y="64"/>
                    <a:pt x="44" y="62"/>
                    <a:pt x="42" y="65"/>
                  </a:cubicBezTo>
                  <a:cubicBezTo>
                    <a:pt x="42" y="67"/>
                    <a:pt x="41" y="67"/>
                    <a:pt x="41" y="65"/>
                  </a:cubicBezTo>
                  <a:cubicBezTo>
                    <a:pt x="41" y="65"/>
                    <a:pt x="41" y="65"/>
                    <a:pt x="39" y="65"/>
                  </a:cubicBezTo>
                  <a:cubicBezTo>
                    <a:pt x="39" y="62"/>
                    <a:pt x="38" y="61"/>
                    <a:pt x="35" y="59"/>
                  </a:cubicBezTo>
                  <a:cubicBezTo>
                    <a:pt x="32" y="57"/>
                    <a:pt x="33" y="59"/>
                    <a:pt x="30" y="57"/>
                  </a:cubicBezTo>
                  <a:cubicBezTo>
                    <a:pt x="28" y="56"/>
                    <a:pt x="32" y="56"/>
                    <a:pt x="28" y="56"/>
                  </a:cubicBezTo>
                  <a:cubicBezTo>
                    <a:pt x="25" y="54"/>
                    <a:pt x="22" y="53"/>
                    <a:pt x="24" y="54"/>
                  </a:cubicBezTo>
                  <a:cubicBezTo>
                    <a:pt x="25" y="56"/>
                    <a:pt x="24" y="59"/>
                    <a:pt x="21" y="56"/>
                  </a:cubicBezTo>
                  <a:cubicBezTo>
                    <a:pt x="16" y="51"/>
                    <a:pt x="21" y="53"/>
                    <a:pt x="21" y="51"/>
                  </a:cubicBezTo>
                  <a:cubicBezTo>
                    <a:pt x="19" y="50"/>
                    <a:pt x="19" y="51"/>
                    <a:pt x="15" y="50"/>
                  </a:cubicBezTo>
                  <a:cubicBezTo>
                    <a:pt x="9" y="47"/>
                    <a:pt x="12" y="45"/>
                    <a:pt x="9" y="48"/>
                  </a:cubicBezTo>
                  <a:cubicBezTo>
                    <a:pt x="10" y="39"/>
                    <a:pt x="7" y="43"/>
                    <a:pt x="6" y="39"/>
                  </a:cubicBezTo>
                  <a:cubicBezTo>
                    <a:pt x="6" y="36"/>
                    <a:pt x="9" y="36"/>
                    <a:pt x="6" y="31"/>
                  </a:cubicBezTo>
                  <a:cubicBezTo>
                    <a:pt x="4" y="29"/>
                    <a:pt x="9" y="29"/>
                    <a:pt x="4" y="26"/>
                  </a:cubicBezTo>
                  <a:cubicBezTo>
                    <a:pt x="0" y="23"/>
                    <a:pt x="6" y="22"/>
                    <a:pt x="3" y="14"/>
                  </a:cubicBezTo>
                  <a:cubicBezTo>
                    <a:pt x="6" y="14"/>
                    <a:pt x="6" y="15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2"/>
                    <a:pt x="4" y="14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7" y="12"/>
                    <a:pt x="7" y="9"/>
                    <a:pt x="15" y="8"/>
                  </a:cubicBezTo>
                  <a:cubicBezTo>
                    <a:pt x="22" y="6"/>
                    <a:pt x="18" y="5"/>
                    <a:pt x="22" y="3"/>
                  </a:cubicBezTo>
                  <a:cubicBezTo>
                    <a:pt x="28" y="1"/>
                    <a:pt x="22" y="1"/>
                    <a:pt x="30" y="0"/>
                  </a:cubicBezTo>
                  <a:cubicBezTo>
                    <a:pt x="36" y="0"/>
                    <a:pt x="35" y="0"/>
                    <a:pt x="39" y="3"/>
                  </a:cubicBezTo>
                  <a:cubicBezTo>
                    <a:pt x="41" y="3"/>
                    <a:pt x="39" y="5"/>
                    <a:pt x="38" y="3"/>
                  </a:cubicBezTo>
                  <a:cubicBezTo>
                    <a:pt x="36" y="0"/>
                    <a:pt x="36" y="1"/>
                    <a:pt x="38" y="5"/>
                  </a:cubicBezTo>
                  <a:cubicBezTo>
                    <a:pt x="38" y="6"/>
                    <a:pt x="44" y="6"/>
                    <a:pt x="45" y="5"/>
                  </a:cubicBezTo>
                  <a:cubicBezTo>
                    <a:pt x="56" y="6"/>
                    <a:pt x="65" y="8"/>
                    <a:pt x="71" y="6"/>
                  </a:cubicBezTo>
                  <a:cubicBezTo>
                    <a:pt x="72" y="5"/>
                    <a:pt x="77" y="8"/>
                    <a:pt x="77" y="11"/>
                  </a:cubicBezTo>
                  <a:cubicBezTo>
                    <a:pt x="79" y="20"/>
                    <a:pt x="82" y="26"/>
                    <a:pt x="79" y="28"/>
                  </a:cubicBezTo>
                  <a:cubicBezTo>
                    <a:pt x="76" y="28"/>
                    <a:pt x="71" y="31"/>
                    <a:pt x="74" y="33"/>
                  </a:cubicBezTo>
                  <a:cubicBezTo>
                    <a:pt x="80" y="34"/>
                    <a:pt x="76" y="37"/>
                    <a:pt x="77" y="4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Freeform 167"/>
            <p:cNvSpPr>
              <a:spLocks/>
            </p:cNvSpPr>
            <p:nvPr/>
          </p:nvSpPr>
          <p:spPr bwMode="auto">
            <a:xfrm>
              <a:off x="4824341" y="3468088"/>
              <a:ext cx="332604" cy="314923"/>
            </a:xfrm>
            <a:custGeom>
              <a:avLst/>
              <a:gdLst/>
              <a:ahLst/>
              <a:cxnLst>
                <a:cxn ang="0">
                  <a:pos x="96" y="67"/>
                </a:cxn>
                <a:cxn ang="0">
                  <a:pos x="95" y="78"/>
                </a:cxn>
                <a:cxn ang="0">
                  <a:pos x="99" y="86"/>
                </a:cxn>
                <a:cxn ang="0">
                  <a:pos x="85" y="92"/>
                </a:cxn>
                <a:cxn ang="0">
                  <a:pos x="78" y="89"/>
                </a:cxn>
                <a:cxn ang="0">
                  <a:pos x="69" y="89"/>
                </a:cxn>
                <a:cxn ang="0">
                  <a:pos x="64" y="100"/>
                </a:cxn>
                <a:cxn ang="0">
                  <a:pos x="54" y="100"/>
                </a:cxn>
                <a:cxn ang="0">
                  <a:pos x="44" y="97"/>
                </a:cxn>
                <a:cxn ang="0">
                  <a:pos x="35" y="95"/>
                </a:cxn>
                <a:cxn ang="0">
                  <a:pos x="26" y="89"/>
                </a:cxn>
                <a:cxn ang="0">
                  <a:pos x="31" y="75"/>
                </a:cxn>
                <a:cxn ang="0">
                  <a:pos x="31" y="70"/>
                </a:cxn>
                <a:cxn ang="0">
                  <a:pos x="35" y="69"/>
                </a:cxn>
                <a:cxn ang="0">
                  <a:pos x="31" y="61"/>
                </a:cxn>
                <a:cxn ang="0">
                  <a:pos x="28" y="55"/>
                </a:cxn>
                <a:cxn ang="0">
                  <a:pos x="23" y="47"/>
                </a:cxn>
                <a:cxn ang="0">
                  <a:pos x="20" y="42"/>
                </a:cxn>
                <a:cxn ang="0">
                  <a:pos x="17" y="41"/>
                </a:cxn>
                <a:cxn ang="0">
                  <a:pos x="6" y="38"/>
                </a:cxn>
                <a:cxn ang="0">
                  <a:pos x="6" y="35"/>
                </a:cxn>
                <a:cxn ang="0">
                  <a:pos x="5" y="32"/>
                </a:cxn>
                <a:cxn ang="0">
                  <a:pos x="6" y="28"/>
                </a:cxn>
                <a:cxn ang="0">
                  <a:pos x="12" y="27"/>
                </a:cxn>
                <a:cxn ang="0">
                  <a:pos x="19" y="30"/>
                </a:cxn>
                <a:cxn ang="0">
                  <a:pos x="23" y="28"/>
                </a:cxn>
                <a:cxn ang="0">
                  <a:pos x="28" y="30"/>
                </a:cxn>
                <a:cxn ang="0">
                  <a:pos x="26" y="21"/>
                </a:cxn>
                <a:cxn ang="0">
                  <a:pos x="29" y="16"/>
                </a:cxn>
                <a:cxn ang="0">
                  <a:pos x="40" y="21"/>
                </a:cxn>
                <a:cxn ang="0">
                  <a:pos x="44" y="14"/>
                </a:cxn>
                <a:cxn ang="0">
                  <a:pos x="52" y="10"/>
                </a:cxn>
                <a:cxn ang="0">
                  <a:pos x="52" y="4"/>
                </a:cxn>
                <a:cxn ang="0">
                  <a:pos x="66" y="5"/>
                </a:cxn>
                <a:cxn ang="0">
                  <a:pos x="73" y="11"/>
                </a:cxn>
                <a:cxn ang="0">
                  <a:pos x="81" y="16"/>
                </a:cxn>
                <a:cxn ang="0">
                  <a:pos x="90" y="19"/>
                </a:cxn>
                <a:cxn ang="0">
                  <a:pos x="98" y="24"/>
                </a:cxn>
                <a:cxn ang="0">
                  <a:pos x="99" y="41"/>
                </a:cxn>
                <a:cxn ang="0">
                  <a:pos x="95" y="45"/>
                </a:cxn>
                <a:cxn ang="0">
                  <a:pos x="90" y="52"/>
                </a:cxn>
                <a:cxn ang="0">
                  <a:pos x="88" y="58"/>
                </a:cxn>
                <a:cxn ang="0">
                  <a:pos x="93" y="58"/>
                </a:cxn>
              </a:cxnLst>
              <a:rect l="0" t="0" r="r" b="b"/>
              <a:pathLst>
                <a:path w="107" h="101">
                  <a:moveTo>
                    <a:pt x="95" y="61"/>
                  </a:moveTo>
                  <a:cubicBezTo>
                    <a:pt x="93" y="64"/>
                    <a:pt x="98" y="66"/>
                    <a:pt x="96" y="67"/>
                  </a:cubicBezTo>
                  <a:cubicBezTo>
                    <a:pt x="95" y="70"/>
                    <a:pt x="90" y="69"/>
                    <a:pt x="95" y="72"/>
                  </a:cubicBezTo>
                  <a:cubicBezTo>
                    <a:pt x="99" y="75"/>
                    <a:pt x="93" y="75"/>
                    <a:pt x="95" y="78"/>
                  </a:cubicBezTo>
                  <a:cubicBezTo>
                    <a:pt x="96" y="83"/>
                    <a:pt x="101" y="80"/>
                    <a:pt x="101" y="80"/>
                  </a:cubicBezTo>
                  <a:cubicBezTo>
                    <a:pt x="102" y="81"/>
                    <a:pt x="99" y="84"/>
                    <a:pt x="99" y="86"/>
                  </a:cubicBezTo>
                  <a:cubicBezTo>
                    <a:pt x="98" y="86"/>
                    <a:pt x="93" y="89"/>
                    <a:pt x="93" y="89"/>
                  </a:cubicBezTo>
                  <a:cubicBezTo>
                    <a:pt x="93" y="92"/>
                    <a:pt x="87" y="94"/>
                    <a:pt x="85" y="92"/>
                  </a:cubicBezTo>
                  <a:cubicBezTo>
                    <a:pt x="84" y="91"/>
                    <a:pt x="84" y="94"/>
                    <a:pt x="82" y="91"/>
                  </a:cubicBezTo>
                  <a:cubicBezTo>
                    <a:pt x="81" y="89"/>
                    <a:pt x="81" y="89"/>
                    <a:pt x="78" y="89"/>
                  </a:cubicBezTo>
                  <a:cubicBezTo>
                    <a:pt x="75" y="91"/>
                    <a:pt x="78" y="89"/>
                    <a:pt x="75" y="89"/>
                  </a:cubicBezTo>
                  <a:cubicBezTo>
                    <a:pt x="72" y="89"/>
                    <a:pt x="75" y="84"/>
                    <a:pt x="69" y="89"/>
                  </a:cubicBezTo>
                  <a:cubicBezTo>
                    <a:pt x="67" y="91"/>
                    <a:pt x="64" y="91"/>
                    <a:pt x="64" y="94"/>
                  </a:cubicBezTo>
                  <a:cubicBezTo>
                    <a:pt x="66" y="97"/>
                    <a:pt x="64" y="95"/>
                    <a:pt x="64" y="100"/>
                  </a:cubicBezTo>
                  <a:cubicBezTo>
                    <a:pt x="61" y="100"/>
                    <a:pt x="63" y="101"/>
                    <a:pt x="60" y="100"/>
                  </a:cubicBezTo>
                  <a:cubicBezTo>
                    <a:pt x="58" y="100"/>
                    <a:pt x="58" y="101"/>
                    <a:pt x="54" y="100"/>
                  </a:cubicBezTo>
                  <a:cubicBezTo>
                    <a:pt x="54" y="98"/>
                    <a:pt x="54" y="97"/>
                    <a:pt x="52" y="98"/>
                  </a:cubicBezTo>
                  <a:cubicBezTo>
                    <a:pt x="43" y="92"/>
                    <a:pt x="47" y="97"/>
                    <a:pt x="44" y="97"/>
                  </a:cubicBezTo>
                  <a:cubicBezTo>
                    <a:pt x="41" y="95"/>
                    <a:pt x="41" y="98"/>
                    <a:pt x="40" y="97"/>
                  </a:cubicBezTo>
                  <a:cubicBezTo>
                    <a:pt x="38" y="95"/>
                    <a:pt x="35" y="97"/>
                    <a:pt x="35" y="95"/>
                  </a:cubicBezTo>
                  <a:cubicBezTo>
                    <a:pt x="34" y="92"/>
                    <a:pt x="29" y="94"/>
                    <a:pt x="29" y="92"/>
                  </a:cubicBezTo>
                  <a:cubicBezTo>
                    <a:pt x="29" y="89"/>
                    <a:pt x="28" y="91"/>
                    <a:pt x="26" y="89"/>
                  </a:cubicBezTo>
                  <a:cubicBezTo>
                    <a:pt x="28" y="89"/>
                    <a:pt x="29" y="87"/>
                    <a:pt x="29" y="81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75"/>
                    <a:pt x="31" y="73"/>
                    <a:pt x="31" y="73"/>
                  </a:cubicBezTo>
                  <a:cubicBezTo>
                    <a:pt x="29" y="75"/>
                    <a:pt x="29" y="73"/>
                    <a:pt x="31" y="70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4" y="66"/>
                    <a:pt x="35" y="72"/>
                    <a:pt x="35" y="69"/>
                  </a:cubicBezTo>
                  <a:cubicBezTo>
                    <a:pt x="34" y="67"/>
                    <a:pt x="35" y="66"/>
                    <a:pt x="31" y="64"/>
                  </a:cubicBezTo>
                  <a:cubicBezTo>
                    <a:pt x="28" y="61"/>
                    <a:pt x="31" y="63"/>
                    <a:pt x="31" y="61"/>
                  </a:cubicBezTo>
                  <a:cubicBezTo>
                    <a:pt x="32" y="58"/>
                    <a:pt x="29" y="58"/>
                    <a:pt x="31" y="56"/>
                  </a:cubicBezTo>
                  <a:cubicBezTo>
                    <a:pt x="31" y="55"/>
                    <a:pt x="31" y="56"/>
                    <a:pt x="28" y="55"/>
                  </a:cubicBezTo>
                  <a:cubicBezTo>
                    <a:pt x="25" y="53"/>
                    <a:pt x="22" y="50"/>
                    <a:pt x="23" y="49"/>
                  </a:cubicBezTo>
                  <a:cubicBezTo>
                    <a:pt x="25" y="49"/>
                    <a:pt x="25" y="47"/>
                    <a:pt x="23" y="47"/>
                  </a:cubicBezTo>
                  <a:cubicBezTo>
                    <a:pt x="22" y="47"/>
                    <a:pt x="25" y="44"/>
                    <a:pt x="22" y="45"/>
                  </a:cubicBezTo>
                  <a:cubicBezTo>
                    <a:pt x="19" y="45"/>
                    <a:pt x="20" y="44"/>
                    <a:pt x="20" y="42"/>
                  </a:cubicBezTo>
                  <a:cubicBezTo>
                    <a:pt x="22" y="42"/>
                    <a:pt x="20" y="42"/>
                    <a:pt x="19" y="42"/>
                  </a:cubicBezTo>
                  <a:cubicBezTo>
                    <a:pt x="16" y="42"/>
                    <a:pt x="19" y="41"/>
                    <a:pt x="17" y="41"/>
                  </a:cubicBezTo>
                  <a:cubicBezTo>
                    <a:pt x="14" y="41"/>
                    <a:pt x="14" y="39"/>
                    <a:pt x="12" y="39"/>
                  </a:cubicBezTo>
                  <a:cubicBezTo>
                    <a:pt x="9" y="38"/>
                    <a:pt x="8" y="38"/>
                    <a:pt x="6" y="38"/>
                  </a:cubicBezTo>
                  <a:cubicBezTo>
                    <a:pt x="5" y="39"/>
                    <a:pt x="6" y="38"/>
                    <a:pt x="3" y="36"/>
                  </a:cubicBezTo>
                  <a:cubicBezTo>
                    <a:pt x="0" y="35"/>
                    <a:pt x="6" y="35"/>
                    <a:pt x="6" y="35"/>
                  </a:cubicBezTo>
                  <a:cubicBezTo>
                    <a:pt x="5" y="33"/>
                    <a:pt x="3" y="35"/>
                    <a:pt x="3" y="33"/>
                  </a:cubicBezTo>
                  <a:cubicBezTo>
                    <a:pt x="3" y="33"/>
                    <a:pt x="6" y="33"/>
                    <a:pt x="5" y="32"/>
                  </a:cubicBezTo>
                  <a:cubicBezTo>
                    <a:pt x="3" y="32"/>
                    <a:pt x="2" y="33"/>
                    <a:pt x="2" y="32"/>
                  </a:cubicBezTo>
                  <a:cubicBezTo>
                    <a:pt x="2" y="30"/>
                    <a:pt x="3" y="28"/>
                    <a:pt x="6" y="28"/>
                  </a:cubicBezTo>
                  <a:cubicBezTo>
                    <a:pt x="9" y="28"/>
                    <a:pt x="6" y="27"/>
                    <a:pt x="9" y="28"/>
                  </a:cubicBezTo>
                  <a:cubicBezTo>
                    <a:pt x="11" y="28"/>
                    <a:pt x="12" y="28"/>
                    <a:pt x="12" y="27"/>
                  </a:cubicBezTo>
                  <a:cubicBezTo>
                    <a:pt x="11" y="25"/>
                    <a:pt x="12" y="27"/>
                    <a:pt x="14" y="25"/>
                  </a:cubicBezTo>
                  <a:cubicBezTo>
                    <a:pt x="16" y="25"/>
                    <a:pt x="17" y="28"/>
                    <a:pt x="19" y="30"/>
                  </a:cubicBezTo>
                  <a:cubicBezTo>
                    <a:pt x="19" y="32"/>
                    <a:pt x="20" y="28"/>
                    <a:pt x="22" y="28"/>
                  </a:cubicBezTo>
                  <a:cubicBezTo>
                    <a:pt x="23" y="27"/>
                    <a:pt x="22" y="30"/>
                    <a:pt x="23" y="28"/>
                  </a:cubicBezTo>
                  <a:cubicBezTo>
                    <a:pt x="25" y="28"/>
                    <a:pt x="23" y="28"/>
                    <a:pt x="25" y="28"/>
                  </a:cubicBezTo>
                  <a:cubicBezTo>
                    <a:pt x="26" y="28"/>
                    <a:pt x="25" y="30"/>
                    <a:pt x="28" y="30"/>
                  </a:cubicBezTo>
                  <a:cubicBezTo>
                    <a:pt x="29" y="28"/>
                    <a:pt x="28" y="28"/>
                    <a:pt x="28" y="25"/>
                  </a:cubicBezTo>
                  <a:cubicBezTo>
                    <a:pt x="28" y="24"/>
                    <a:pt x="28" y="21"/>
                    <a:pt x="26" y="21"/>
                  </a:cubicBezTo>
                  <a:cubicBezTo>
                    <a:pt x="25" y="19"/>
                    <a:pt x="26" y="19"/>
                    <a:pt x="25" y="18"/>
                  </a:cubicBezTo>
                  <a:cubicBezTo>
                    <a:pt x="25" y="14"/>
                    <a:pt x="26" y="18"/>
                    <a:pt x="29" y="16"/>
                  </a:cubicBezTo>
                  <a:cubicBezTo>
                    <a:pt x="31" y="16"/>
                    <a:pt x="29" y="21"/>
                    <a:pt x="31" y="21"/>
                  </a:cubicBezTo>
                  <a:cubicBezTo>
                    <a:pt x="35" y="19"/>
                    <a:pt x="38" y="22"/>
                    <a:pt x="40" y="21"/>
                  </a:cubicBezTo>
                  <a:cubicBezTo>
                    <a:pt x="41" y="19"/>
                    <a:pt x="43" y="19"/>
                    <a:pt x="41" y="19"/>
                  </a:cubicBezTo>
                  <a:cubicBezTo>
                    <a:pt x="41" y="19"/>
                    <a:pt x="38" y="18"/>
                    <a:pt x="44" y="14"/>
                  </a:cubicBezTo>
                  <a:cubicBezTo>
                    <a:pt x="50" y="13"/>
                    <a:pt x="50" y="13"/>
                    <a:pt x="52" y="11"/>
                  </a:cubicBezTo>
                  <a:cubicBezTo>
                    <a:pt x="52" y="10"/>
                    <a:pt x="54" y="11"/>
                    <a:pt x="52" y="10"/>
                  </a:cubicBezTo>
                  <a:cubicBezTo>
                    <a:pt x="52" y="8"/>
                    <a:pt x="54" y="8"/>
                    <a:pt x="52" y="8"/>
                  </a:cubicBezTo>
                  <a:cubicBezTo>
                    <a:pt x="52" y="7"/>
                    <a:pt x="52" y="7"/>
                    <a:pt x="52" y="4"/>
                  </a:cubicBezTo>
                  <a:cubicBezTo>
                    <a:pt x="52" y="2"/>
                    <a:pt x="54" y="0"/>
                    <a:pt x="60" y="0"/>
                  </a:cubicBezTo>
                  <a:cubicBezTo>
                    <a:pt x="63" y="7"/>
                    <a:pt x="64" y="2"/>
                    <a:pt x="66" y="5"/>
                  </a:cubicBezTo>
                  <a:cubicBezTo>
                    <a:pt x="67" y="8"/>
                    <a:pt x="67" y="5"/>
                    <a:pt x="69" y="8"/>
                  </a:cubicBezTo>
                  <a:cubicBezTo>
                    <a:pt x="70" y="10"/>
                    <a:pt x="73" y="8"/>
                    <a:pt x="73" y="11"/>
                  </a:cubicBezTo>
                  <a:cubicBezTo>
                    <a:pt x="75" y="16"/>
                    <a:pt x="76" y="10"/>
                    <a:pt x="78" y="11"/>
                  </a:cubicBezTo>
                  <a:cubicBezTo>
                    <a:pt x="79" y="11"/>
                    <a:pt x="76" y="14"/>
                    <a:pt x="81" y="16"/>
                  </a:cubicBezTo>
                  <a:cubicBezTo>
                    <a:pt x="82" y="16"/>
                    <a:pt x="82" y="19"/>
                    <a:pt x="85" y="19"/>
                  </a:cubicBezTo>
                  <a:cubicBezTo>
                    <a:pt x="88" y="19"/>
                    <a:pt x="88" y="19"/>
                    <a:pt x="90" y="19"/>
                  </a:cubicBezTo>
                  <a:cubicBezTo>
                    <a:pt x="93" y="19"/>
                    <a:pt x="92" y="22"/>
                    <a:pt x="95" y="22"/>
                  </a:cubicBezTo>
                  <a:cubicBezTo>
                    <a:pt x="96" y="22"/>
                    <a:pt x="95" y="24"/>
                    <a:pt x="98" y="24"/>
                  </a:cubicBezTo>
                  <a:cubicBezTo>
                    <a:pt x="101" y="22"/>
                    <a:pt x="102" y="24"/>
                    <a:pt x="104" y="25"/>
                  </a:cubicBezTo>
                  <a:cubicBezTo>
                    <a:pt x="107" y="25"/>
                    <a:pt x="99" y="28"/>
                    <a:pt x="99" y="41"/>
                  </a:cubicBezTo>
                  <a:cubicBezTo>
                    <a:pt x="98" y="44"/>
                    <a:pt x="96" y="41"/>
                    <a:pt x="96" y="42"/>
                  </a:cubicBezTo>
                  <a:cubicBezTo>
                    <a:pt x="95" y="44"/>
                    <a:pt x="96" y="44"/>
                    <a:pt x="95" y="45"/>
                  </a:cubicBezTo>
                  <a:cubicBezTo>
                    <a:pt x="93" y="45"/>
                    <a:pt x="95" y="47"/>
                    <a:pt x="92" y="49"/>
                  </a:cubicBezTo>
                  <a:cubicBezTo>
                    <a:pt x="90" y="49"/>
                    <a:pt x="93" y="50"/>
                    <a:pt x="90" y="52"/>
                  </a:cubicBezTo>
                  <a:cubicBezTo>
                    <a:pt x="87" y="53"/>
                    <a:pt x="90" y="55"/>
                    <a:pt x="88" y="56"/>
                  </a:cubicBezTo>
                  <a:cubicBezTo>
                    <a:pt x="85" y="58"/>
                    <a:pt x="87" y="58"/>
                    <a:pt x="88" y="58"/>
                  </a:cubicBezTo>
                  <a:cubicBezTo>
                    <a:pt x="92" y="56"/>
                    <a:pt x="88" y="55"/>
                    <a:pt x="92" y="55"/>
                  </a:cubicBezTo>
                  <a:cubicBezTo>
                    <a:pt x="95" y="53"/>
                    <a:pt x="93" y="56"/>
                    <a:pt x="93" y="58"/>
                  </a:cubicBezTo>
                  <a:cubicBezTo>
                    <a:pt x="93" y="58"/>
                    <a:pt x="95" y="58"/>
                    <a:pt x="95" y="6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Freeform 168"/>
            <p:cNvSpPr>
              <a:spLocks/>
            </p:cNvSpPr>
            <p:nvPr/>
          </p:nvSpPr>
          <p:spPr bwMode="auto">
            <a:xfrm>
              <a:off x="4705439" y="3787831"/>
              <a:ext cx="99621" cy="184776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14" y="0"/>
                </a:cxn>
                <a:cxn ang="0">
                  <a:pos x="13" y="3"/>
                </a:cxn>
                <a:cxn ang="0">
                  <a:pos x="17" y="3"/>
                </a:cxn>
                <a:cxn ang="0">
                  <a:pos x="23" y="2"/>
                </a:cxn>
                <a:cxn ang="0">
                  <a:pos x="28" y="6"/>
                </a:cxn>
                <a:cxn ang="0">
                  <a:pos x="23" y="14"/>
                </a:cxn>
                <a:cxn ang="0">
                  <a:pos x="23" y="23"/>
                </a:cxn>
                <a:cxn ang="0">
                  <a:pos x="20" y="28"/>
                </a:cxn>
                <a:cxn ang="0">
                  <a:pos x="20" y="33"/>
                </a:cxn>
                <a:cxn ang="0">
                  <a:pos x="22" y="37"/>
                </a:cxn>
                <a:cxn ang="0">
                  <a:pos x="22" y="43"/>
                </a:cxn>
                <a:cxn ang="0">
                  <a:pos x="22" y="47"/>
                </a:cxn>
                <a:cxn ang="0">
                  <a:pos x="19" y="54"/>
                </a:cxn>
                <a:cxn ang="0">
                  <a:pos x="14" y="57"/>
                </a:cxn>
                <a:cxn ang="0">
                  <a:pos x="8" y="57"/>
                </a:cxn>
                <a:cxn ang="0">
                  <a:pos x="8" y="54"/>
                </a:cxn>
                <a:cxn ang="0">
                  <a:pos x="8" y="45"/>
                </a:cxn>
                <a:cxn ang="0">
                  <a:pos x="5" y="42"/>
                </a:cxn>
                <a:cxn ang="0">
                  <a:pos x="5" y="40"/>
                </a:cxn>
                <a:cxn ang="0">
                  <a:pos x="3" y="39"/>
                </a:cxn>
                <a:cxn ang="0">
                  <a:pos x="3" y="33"/>
                </a:cxn>
                <a:cxn ang="0">
                  <a:pos x="6" y="28"/>
                </a:cxn>
                <a:cxn ang="0">
                  <a:pos x="8" y="22"/>
                </a:cxn>
                <a:cxn ang="0">
                  <a:pos x="9" y="11"/>
                </a:cxn>
                <a:cxn ang="0">
                  <a:pos x="8" y="6"/>
                </a:cxn>
                <a:cxn ang="0">
                  <a:pos x="8" y="3"/>
                </a:cxn>
              </a:cxnLst>
              <a:rect l="0" t="0" r="r" b="b"/>
              <a:pathLst>
                <a:path w="32" h="59">
                  <a:moveTo>
                    <a:pt x="8" y="3"/>
                  </a:moveTo>
                  <a:cubicBezTo>
                    <a:pt x="13" y="0"/>
                    <a:pt x="13" y="0"/>
                    <a:pt x="14" y="0"/>
                  </a:cubicBezTo>
                  <a:cubicBezTo>
                    <a:pt x="16" y="2"/>
                    <a:pt x="11" y="3"/>
                    <a:pt x="13" y="3"/>
                  </a:cubicBezTo>
                  <a:cubicBezTo>
                    <a:pt x="14" y="5"/>
                    <a:pt x="14" y="2"/>
                    <a:pt x="17" y="3"/>
                  </a:cubicBezTo>
                  <a:cubicBezTo>
                    <a:pt x="22" y="5"/>
                    <a:pt x="19" y="2"/>
                    <a:pt x="23" y="2"/>
                  </a:cubicBezTo>
                  <a:cubicBezTo>
                    <a:pt x="28" y="3"/>
                    <a:pt x="25" y="5"/>
                    <a:pt x="28" y="6"/>
                  </a:cubicBezTo>
                  <a:cubicBezTo>
                    <a:pt x="32" y="6"/>
                    <a:pt x="23" y="12"/>
                    <a:pt x="23" y="14"/>
                  </a:cubicBezTo>
                  <a:cubicBezTo>
                    <a:pt x="25" y="22"/>
                    <a:pt x="22" y="22"/>
                    <a:pt x="23" y="23"/>
                  </a:cubicBezTo>
                  <a:cubicBezTo>
                    <a:pt x="23" y="26"/>
                    <a:pt x="23" y="28"/>
                    <a:pt x="20" y="28"/>
                  </a:cubicBezTo>
                  <a:cubicBezTo>
                    <a:pt x="17" y="28"/>
                    <a:pt x="20" y="28"/>
                    <a:pt x="20" y="33"/>
                  </a:cubicBezTo>
                  <a:cubicBezTo>
                    <a:pt x="22" y="36"/>
                    <a:pt x="25" y="33"/>
                    <a:pt x="22" y="37"/>
                  </a:cubicBezTo>
                  <a:cubicBezTo>
                    <a:pt x="19" y="42"/>
                    <a:pt x="20" y="43"/>
                    <a:pt x="22" y="43"/>
                  </a:cubicBezTo>
                  <a:cubicBezTo>
                    <a:pt x="23" y="43"/>
                    <a:pt x="25" y="43"/>
                    <a:pt x="22" y="47"/>
                  </a:cubicBezTo>
                  <a:cubicBezTo>
                    <a:pt x="19" y="48"/>
                    <a:pt x="19" y="53"/>
                    <a:pt x="19" y="54"/>
                  </a:cubicBezTo>
                  <a:cubicBezTo>
                    <a:pt x="16" y="56"/>
                    <a:pt x="17" y="59"/>
                    <a:pt x="14" y="57"/>
                  </a:cubicBezTo>
                  <a:cubicBezTo>
                    <a:pt x="9" y="56"/>
                    <a:pt x="8" y="56"/>
                    <a:pt x="8" y="57"/>
                  </a:cubicBezTo>
                  <a:cubicBezTo>
                    <a:pt x="6" y="57"/>
                    <a:pt x="6" y="57"/>
                    <a:pt x="8" y="54"/>
                  </a:cubicBezTo>
                  <a:cubicBezTo>
                    <a:pt x="9" y="47"/>
                    <a:pt x="6" y="48"/>
                    <a:pt x="8" y="45"/>
                  </a:cubicBezTo>
                  <a:cubicBezTo>
                    <a:pt x="9" y="40"/>
                    <a:pt x="6" y="40"/>
                    <a:pt x="5" y="42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39"/>
                    <a:pt x="6" y="39"/>
                    <a:pt x="3" y="39"/>
                  </a:cubicBezTo>
                  <a:cubicBezTo>
                    <a:pt x="0" y="39"/>
                    <a:pt x="5" y="34"/>
                    <a:pt x="3" y="33"/>
                  </a:cubicBezTo>
                  <a:cubicBezTo>
                    <a:pt x="3" y="29"/>
                    <a:pt x="5" y="33"/>
                    <a:pt x="6" y="28"/>
                  </a:cubicBezTo>
                  <a:cubicBezTo>
                    <a:pt x="8" y="23"/>
                    <a:pt x="8" y="23"/>
                    <a:pt x="8" y="22"/>
                  </a:cubicBezTo>
                  <a:cubicBezTo>
                    <a:pt x="8" y="20"/>
                    <a:pt x="11" y="14"/>
                    <a:pt x="9" y="11"/>
                  </a:cubicBezTo>
                  <a:cubicBezTo>
                    <a:pt x="8" y="9"/>
                    <a:pt x="8" y="8"/>
                    <a:pt x="8" y="6"/>
                  </a:cubicBezTo>
                  <a:cubicBezTo>
                    <a:pt x="8" y="5"/>
                    <a:pt x="6" y="5"/>
                    <a:pt x="8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Freeform 169"/>
            <p:cNvSpPr>
              <a:spLocks/>
            </p:cNvSpPr>
            <p:nvPr/>
          </p:nvSpPr>
          <p:spPr bwMode="auto">
            <a:xfrm>
              <a:off x="5160158" y="3760517"/>
              <a:ext cx="25709" cy="56236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3"/>
                </a:cxn>
                <a:cxn ang="0">
                  <a:pos x="2" y="4"/>
                </a:cxn>
                <a:cxn ang="0">
                  <a:pos x="0" y="12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16"/>
                </a:cxn>
                <a:cxn ang="0">
                  <a:pos x="7" y="12"/>
                </a:cxn>
                <a:cxn ang="0">
                  <a:pos x="8" y="7"/>
                </a:cxn>
                <a:cxn ang="0">
                  <a:pos x="7" y="3"/>
                </a:cxn>
                <a:cxn ang="0">
                  <a:pos x="7" y="0"/>
                </a:cxn>
              </a:cxnLst>
              <a:rect l="0" t="0" r="r" b="b"/>
              <a:pathLst>
                <a:path w="8" h="18">
                  <a:moveTo>
                    <a:pt x="7" y="0"/>
                  </a:moveTo>
                  <a:cubicBezTo>
                    <a:pt x="5" y="0"/>
                    <a:pt x="7" y="4"/>
                    <a:pt x="5" y="3"/>
                  </a:cubicBezTo>
                  <a:cubicBezTo>
                    <a:pt x="3" y="3"/>
                    <a:pt x="2" y="4"/>
                    <a:pt x="2" y="4"/>
                  </a:cubicBezTo>
                  <a:cubicBezTo>
                    <a:pt x="0" y="4"/>
                    <a:pt x="0" y="12"/>
                    <a:pt x="0" y="12"/>
                  </a:cubicBezTo>
                  <a:cubicBezTo>
                    <a:pt x="2" y="12"/>
                    <a:pt x="2" y="12"/>
                    <a:pt x="0" y="13"/>
                  </a:cubicBezTo>
                  <a:cubicBezTo>
                    <a:pt x="0" y="13"/>
                    <a:pt x="0" y="13"/>
                    <a:pt x="2" y="13"/>
                  </a:cubicBezTo>
                  <a:cubicBezTo>
                    <a:pt x="3" y="15"/>
                    <a:pt x="0" y="15"/>
                    <a:pt x="2" y="16"/>
                  </a:cubicBezTo>
                  <a:cubicBezTo>
                    <a:pt x="5" y="18"/>
                    <a:pt x="3" y="18"/>
                    <a:pt x="5" y="18"/>
                  </a:cubicBezTo>
                  <a:cubicBezTo>
                    <a:pt x="7" y="18"/>
                    <a:pt x="5" y="16"/>
                    <a:pt x="5" y="16"/>
                  </a:cubicBezTo>
                  <a:cubicBezTo>
                    <a:pt x="7" y="15"/>
                    <a:pt x="7" y="13"/>
                    <a:pt x="7" y="12"/>
                  </a:cubicBezTo>
                  <a:cubicBezTo>
                    <a:pt x="7" y="10"/>
                    <a:pt x="8" y="10"/>
                    <a:pt x="8" y="7"/>
                  </a:cubicBezTo>
                  <a:cubicBezTo>
                    <a:pt x="8" y="3"/>
                    <a:pt x="7" y="4"/>
                    <a:pt x="7" y="3"/>
                  </a:cubicBezTo>
                  <a:cubicBezTo>
                    <a:pt x="8" y="1"/>
                    <a:pt x="8" y="0"/>
                    <a:pt x="7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Freeform 170"/>
            <p:cNvSpPr>
              <a:spLocks noEditPoints="1"/>
            </p:cNvSpPr>
            <p:nvPr/>
          </p:nvSpPr>
          <p:spPr bwMode="auto">
            <a:xfrm>
              <a:off x="5103921" y="3614302"/>
              <a:ext cx="306895" cy="367946"/>
            </a:xfrm>
            <a:custGeom>
              <a:avLst/>
              <a:gdLst/>
              <a:ahLst/>
              <a:cxnLst>
                <a:cxn ang="0">
                  <a:pos x="54" y="15"/>
                </a:cxn>
                <a:cxn ang="0">
                  <a:pos x="47" y="22"/>
                </a:cxn>
                <a:cxn ang="0">
                  <a:pos x="50" y="36"/>
                </a:cxn>
                <a:cxn ang="0">
                  <a:pos x="67" y="57"/>
                </a:cxn>
                <a:cxn ang="0">
                  <a:pos x="87" y="68"/>
                </a:cxn>
                <a:cxn ang="0">
                  <a:pos x="96" y="79"/>
                </a:cxn>
                <a:cxn ang="0">
                  <a:pos x="90" y="76"/>
                </a:cxn>
                <a:cxn ang="0">
                  <a:pos x="81" y="81"/>
                </a:cxn>
                <a:cxn ang="0">
                  <a:pos x="84" y="92"/>
                </a:cxn>
                <a:cxn ang="0">
                  <a:pos x="75" y="102"/>
                </a:cxn>
                <a:cxn ang="0">
                  <a:pos x="76" y="95"/>
                </a:cxn>
                <a:cxn ang="0">
                  <a:pos x="70" y="79"/>
                </a:cxn>
                <a:cxn ang="0">
                  <a:pos x="63" y="71"/>
                </a:cxn>
                <a:cxn ang="0">
                  <a:pos x="47" y="61"/>
                </a:cxn>
                <a:cxn ang="0">
                  <a:pos x="38" y="53"/>
                </a:cxn>
                <a:cxn ang="0">
                  <a:pos x="32" y="42"/>
                </a:cxn>
                <a:cxn ang="0">
                  <a:pos x="19" y="31"/>
                </a:cxn>
                <a:cxn ang="0">
                  <a:pos x="11" y="33"/>
                </a:cxn>
                <a:cxn ang="0">
                  <a:pos x="5" y="25"/>
                </a:cxn>
                <a:cxn ang="0">
                  <a:pos x="5" y="14"/>
                </a:cxn>
                <a:cxn ang="0">
                  <a:pos x="14" y="12"/>
                </a:cxn>
                <a:cxn ang="0">
                  <a:pos x="17" y="8"/>
                </a:cxn>
                <a:cxn ang="0">
                  <a:pos x="22" y="14"/>
                </a:cxn>
                <a:cxn ang="0">
                  <a:pos x="25" y="6"/>
                </a:cxn>
                <a:cxn ang="0">
                  <a:pos x="31" y="9"/>
                </a:cxn>
                <a:cxn ang="0">
                  <a:pos x="34" y="6"/>
                </a:cxn>
                <a:cxn ang="0">
                  <a:pos x="37" y="3"/>
                </a:cxn>
                <a:cxn ang="0">
                  <a:pos x="44" y="0"/>
                </a:cxn>
                <a:cxn ang="0">
                  <a:pos x="47" y="3"/>
                </a:cxn>
                <a:cxn ang="0">
                  <a:pos x="57" y="9"/>
                </a:cxn>
                <a:cxn ang="0">
                  <a:pos x="58" y="14"/>
                </a:cxn>
                <a:cxn ang="0">
                  <a:pos x="57" y="15"/>
                </a:cxn>
                <a:cxn ang="0">
                  <a:pos x="61" y="112"/>
                </a:cxn>
                <a:cxn ang="0">
                  <a:pos x="70" y="115"/>
                </a:cxn>
                <a:cxn ang="0">
                  <a:pos x="73" y="99"/>
                </a:cxn>
                <a:cxn ang="0">
                  <a:pos x="57" y="101"/>
                </a:cxn>
                <a:cxn ang="0">
                  <a:pos x="49" y="104"/>
                </a:cxn>
                <a:cxn ang="0">
                  <a:pos x="17" y="79"/>
                </a:cxn>
                <a:cxn ang="0">
                  <a:pos x="20" y="92"/>
                </a:cxn>
                <a:cxn ang="0">
                  <a:pos x="28" y="84"/>
                </a:cxn>
                <a:cxn ang="0">
                  <a:pos x="26" y="68"/>
                </a:cxn>
                <a:cxn ang="0">
                  <a:pos x="14" y="71"/>
                </a:cxn>
              </a:cxnLst>
              <a:rect l="0" t="0" r="r" b="b"/>
              <a:pathLst>
                <a:path w="98" h="118">
                  <a:moveTo>
                    <a:pt x="57" y="15"/>
                  </a:moveTo>
                  <a:cubicBezTo>
                    <a:pt x="55" y="17"/>
                    <a:pt x="57" y="14"/>
                    <a:pt x="54" y="15"/>
                  </a:cubicBezTo>
                  <a:cubicBezTo>
                    <a:pt x="50" y="17"/>
                    <a:pt x="50" y="20"/>
                    <a:pt x="49" y="19"/>
                  </a:cubicBezTo>
                  <a:cubicBezTo>
                    <a:pt x="47" y="17"/>
                    <a:pt x="46" y="20"/>
                    <a:pt x="47" y="22"/>
                  </a:cubicBezTo>
                  <a:cubicBezTo>
                    <a:pt x="49" y="23"/>
                    <a:pt x="50" y="25"/>
                    <a:pt x="49" y="26"/>
                  </a:cubicBezTo>
                  <a:cubicBezTo>
                    <a:pt x="46" y="26"/>
                    <a:pt x="47" y="33"/>
                    <a:pt x="50" y="36"/>
                  </a:cubicBezTo>
                  <a:cubicBezTo>
                    <a:pt x="54" y="37"/>
                    <a:pt x="55" y="40"/>
                    <a:pt x="57" y="40"/>
                  </a:cubicBezTo>
                  <a:cubicBezTo>
                    <a:pt x="60" y="40"/>
                    <a:pt x="58" y="48"/>
                    <a:pt x="67" y="57"/>
                  </a:cubicBezTo>
                  <a:cubicBezTo>
                    <a:pt x="70" y="61"/>
                    <a:pt x="82" y="57"/>
                    <a:pt x="78" y="62"/>
                  </a:cubicBezTo>
                  <a:cubicBezTo>
                    <a:pt x="73" y="65"/>
                    <a:pt x="85" y="67"/>
                    <a:pt x="87" y="68"/>
                  </a:cubicBezTo>
                  <a:cubicBezTo>
                    <a:pt x="87" y="70"/>
                    <a:pt x="89" y="71"/>
                    <a:pt x="92" y="73"/>
                  </a:cubicBezTo>
                  <a:cubicBezTo>
                    <a:pt x="93" y="75"/>
                    <a:pt x="98" y="76"/>
                    <a:pt x="96" y="79"/>
                  </a:cubicBezTo>
                  <a:cubicBezTo>
                    <a:pt x="96" y="82"/>
                    <a:pt x="98" y="82"/>
                    <a:pt x="95" y="82"/>
                  </a:cubicBezTo>
                  <a:cubicBezTo>
                    <a:pt x="92" y="82"/>
                    <a:pt x="93" y="76"/>
                    <a:pt x="90" y="76"/>
                  </a:cubicBezTo>
                  <a:cubicBezTo>
                    <a:pt x="87" y="76"/>
                    <a:pt x="87" y="75"/>
                    <a:pt x="84" y="76"/>
                  </a:cubicBezTo>
                  <a:cubicBezTo>
                    <a:pt x="81" y="78"/>
                    <a:pt x="82" y="79"/>
                    <a:pt x="81" y="81"/>
                  </a:cubicBezTo>
                  <a:cubicBezTo>
                    <a:pt x="79" y="84"/>
                    <a:pt x="81" y="84"/>
                    <a:pt x="82" y="85"/>
                  </a:cubicBezTo>
                  <a:cubicBezTo>
                    <a:pt x="85" y="85"/>
                    <a:pt x="89" y="90"/>
                    <a:pt x="84" y="92"/>
                  </a:cubicBezTo>
                  <a:cubicBezTo>
                    <a:pt x="81" y="95"/>
                    <a:pt x="82" y="96"/>
                    <a:pt x="81" y="99"/>
                  </a:cubicBezTo>
                  <a:cubicBezTo>
                    <a:pt x="78" y="101"/>
                    <a:pt x="78" y="106"/>
                    <a:pt x="75" y="102"/>
                  </a:cubicBezTo>
                  <a:cubicBezTo>
                    <a:pt x="73" y="102"/>
                    <a:pt x="73" y="101"/>
                    <a:pt x="75" y="98"/>
                  </a:cubicBezTo>
                  <a:cubicBezTo>
                    <a:pt x="76" y="96"/>
                    <a:pt x="75" y="96"/>
                    <a:pt x="76" y="95"/>
                  </a:cubicBezTo>
                  <a:cubicBezTo>
                    <a:pt x="78" y="93"/>
                    <a:pt x="78" y="93"/>
                    <a:pt x="76" y="85"/>
                  </a:cubicBezTo>
                  <a:cubicBezTo>
                    <a:pt x="75" y="79"/>
                    <a:pt x="73" y="81"/>
                    <a:pt x="70" y="79"/>
                  </a:cubicBezTo>
                  <a:cubicBezTo>
                    <a:pt x="66" y="76"/>
                    <a:pt x="70" y="73"/>
                    <a:pt x="66" y="73"/>
                  </a:cubicBezTo>
                  <a:cubicBezTo>
                    <a:pt x="63" y="75"/>
                    <a:pt x="66" y="71"/>
                    <a:pt x="63" y="71"/>
                  </a:cubicBezTo>
                  <a:cubicBezTo>
                    <a:pt x="60" y="71"/>
                    <a:pt x="61" y="67"/>
                    <a:pt x="58" y="67"/>
                  </a:cubicBezTo>
                  <a:cubicBezTo>
                    <a:pt x="55" y="67"/>
                    <a:pt x="50" y="65"/>
                    <a:pt x="47" y="61"/>
                  </a:cubicBezTo>
                  <a:cubicBezTo>
                    <a:pt x="44" y="57"/>
                    <a:pt x="44" y="61"/>
                    <a:pt x="43" y="57"/>
                  </a:cubicBezTo>
                  <a:cubicBezTo>
                    <a:pt x="43" y="53"/>
                    <a:pt x="38" y="54"/>
                    <a:pt x="38" y="53"/>
                  </a:cubicBezTo>
                  <a:cubicBezTo>
                    <a:pt x="38" y="51"/>
                    <a:pt x="38" y="51"/>
                    <a:pt x="35" y="48"/>
                  </a:cubicBezTo>
                  <a:cubicBezTo>
                    <a:pt x="32" y="47"/>
                    <a:pt x="35" y="45"/>
                    <a:pt x="32" y="42"/>
                  </a:cubicBezTo>
                  <a:cubicBezTo>
                    <a:pt x="31" y="40"/>
                    <a:pt x="32" y="34"/>
                    <a:pt x="28" y="34"/>
                  </a:cubicBezTo>
                  <a:cubicBezTo>
                    <a:pt x="25" y="36"/>
                    <a:pt x="23" y="29"/>
                    <a:pt x="19" y="31"/>
                  </a:cubicBezTo>
                  <a:cubicBezTo>
                    <a:pt x="15" y="33"/>
                    <a:pt x="19" y="36"/>
                    <a:pt x="9" y="39"/>
                  </a:cubicBezTo>
                  <a:cubicBezTo>
                    <a:pt x="9" y="37"/>
                    <a:pt x="12" y="34"/>
                    <a:pt x="11" y="33"/>
                  </a:cubicBezTo>
                  <a:cubicBezTo>
                    <a:pt x="11" y="33"/>
                    <a:pt x="6" y="36"/>
                    <a:pt x="5" y="31"/>
                  </a:cubicBezTo>
                  <a:cubicBezTo>
                    <a:pt x="3" y="28"/>
                    <a:pt x="9" y="28"/>
                    <a:pt x="5" y="25"/>
                  </a:cubicBezTo>
                  <a:cubicBezTo>
                    <a:pt x="0" y="22"/>
                    <a:pt x="5" y="23"/>
                    <a:pt x="6" y="20"/>
                  </a:cubicBezTo>
                  <a:cubicBezTo>
                    <a:pt x="8" y="19"/>
                    <a:pt x="3" y="17"/>
                    <a:pt x="5" y="14"/>
                  </a:cubicBezTo>
                  <a:cubicBezTo>
                    <a:pt x="6" y="14"/>
                    <a:pt x="6" y="14"/>
                    <a:pt x="9" y="14"/>
                  </a:cubicBezTo>
                  <a:cubicBezTo>
                    <a:pt x="11" y="12"/>
                    <a:pt x="11" y="14"/>
                    <a:pt x="14" y="12"/>
                  </a:cubicBezTo>
                  <a:cubicBezTo>
                    <a:pt x="17" y="9"/>
                    <a:pt x="14" y="9"/>
                    <a:pt x="15" y="9"/>
                  </a:cubicBezTo>
                  <a:cubicBezTo>
                    <a:pt x="15" y="8"/>
                    <a:pt x="17" y="6"/>
                    <a:pt x="17" y="8"/>
                  </a:cubicBezTo>
                  <a:cubicBezTo>
                    <a:pt x="17" y="8"/>
                    <a:pt x="17" y="9"/>
                    <a:pt x="19" y="11"/>
                  </a:cubicBezTo>
                  <a:cubicBezTo>
                    <a:pt x="20" y="12"/>
                    <a:pt x="20" y="15"/>
                    <a:pt x="22" y="14"/>
                  </a:cubicBezTo>
                  <a:cubicBezTo>
                    <a:pt x="23" y="14"/>
                    <a:pt x="20" y="12"/>
                    <a:pt x="23" y="11"/>
                  </a:cubicBezTo>
                  <a:cubicBezTo>
                    <a:pt x="25" y="9"/>
                    <a:pt x="23" y="6"/>
                    <a:pt x="25" y="6"/>
                  </a:cubicBezTo>
                  <a:cubicBezTo>
                    <a:pt x="26" y="6"/>
                    <a:pt x="26" y="9"/>
                    <a:pt x="28" y="9"/>
                  </a:cubicBezTo>
                  <a:cubicBezTo>
                    <a:pt x="29" y="8"/>
                    <a:pt x="29" y="11"/>
                    <a:pt x="31" y="9"/>
                  </a:cubicBezTo>
                  <a:cubicBezTo>
                    <a:pt x="32" y="9"/>
                    <a:pt x="29" y="6"/>
                    <a:pt x="31" y="6"/>
                  </a:cubicBezTo>
                  <a:cubicBezTo>
                    <a:pt x="31" y="5"/>
                    <a:pt x="32" y="8"/>
                    <a:pt x="34" y="6"/>
                  </a:cubicBezTo>
                  <a:cubicBezTo>
                    <a:pt x="34" y="6"/>
                    <a:pt x="32" y="5"/>
                    <a:pt x="34" y="1"/>
                  </a:cubicBezTo>
                  <a:cubicBezTo>
                    <a:pt x="35" y="1"/>
                    <a:pt x="35" y="5"/>
                    <a:pt x="37" y="3"/>
                  </a:cubicBezTo>
                  <a:cubicBezTo>
                    <a:pt x="38" y="3"/>
                    <a:pt x="38" y="1"/>
                    <a:pt x="40" y="1"/>
                  </a:cubicBezTo>
                  <a:cubicBezTo>
                    <a:pt x="41" y="0"/>
                    <a:pt x="41" y="1"/>
                    <a:pt x="44" y="0"/>
                  </a:cubicBezTo>
                  <a:cubicBezTo>
                    <a:pt x="49" y="0"/>
                    <a:pt x="46" y="0"/>
                    <a:pt x="46" y="1"/>
                  </a:cubicBezTo>
                  <a:cubicBezTo>
                    <a:pt x="47" y="1"/>
                    <a:pt x="47" y="1"/>
                    <a:pt x="47" y="3"/>
                  </a:cubicBezTo>
                  <a:cubicBezTo>
                    <a:pt x="47" y="5"/>
                    <a:pt x="50" y="6"/>
                    <a:pt x="58" y="6"/>
                  </a:cubicBezTo>
                  <a:cubicBezTo>
                    <a:pt x="58" y="8"/>
                    <a:pt x="57" y="8"/>
                    <a:pt x="57" y="9"/>
                  </a:cubicBezTo>
                  <a:cubicBezTo>
                    <a:pt x="57" y="11"/>
                    <a:pt x="60" y="9"/>
                    <a:pt x="58" y="11"/>
                  </a:cubicBezTo>
                  <a:cubicBezTo>
                    <a:pt x="57" y="12"/>
                    <a:pt x="57" y="14"/>
                    <a:pt x="58" y="14"/>
                  </a:cubicBezTo>
                  <a:cubicBezTo>
                    <a:pt x="60" y="15"/>
                    <a:pt x="61" y="17"/>
                    <a:pt x="58" y="17"/>
                  </a:cubicBezTo>
                  <a:cubicBezTo>
                    <a:pt x="58" y="17"/>
                    <a:pt x="60" y="15"/>
                    <a:pt x="57" y="15"/>
                  </a:cubicBezTo>
                  <a:close/>
                  <a:moveTo>
                    <a:pt x="54" y="107"/>
                  </a:moveTo>
                  <a:cubicBezTo>
                    <a:pt x="55" y="109"/>
                    <a:pt x="58" y="112"/>
                    <a:pt x="61" y="112"/>
                  </a:cubicBezTo>
                  <a:cubicBezTo>
                    <a:pt x="64" y="112"/>
                    <a:pt x="64" y="115"/>
                    <a:pt x="67" y="115"/>
                  </a:cubicBezTo>
                  <a:cubicBezTo>
                    <a:pt x="70" y="116"/>
                    <a:pt x="70" y="118"/>
                    <a:pt x="70" y="115"/>
                  </a:cubicBezTo>
                  <a:cubicBezTo>
                    <a:pt x="70" y="113"/>
                    <a:pt x="72" y="110"/>
                    <a:pt x="70" y="109"/>
                  </a:cubicBezTo>
                  <a:cubicBezTo>
                    <a:pt x="69" y="109"/>
                    <a:pt x="73" y="101"/>
                    <a:pt x="73" y="99"/>
                  </a:cubicBezTo>
                  <a:cubicBezTo>
                    <a:pt x="75" y="98"/>
                    <a:pt x="70" y="101"/>
                    <a:pt x="69" y="101"/>
                  </a:cubicBezTo>
                  <a:cubicBezTo>
                    <a:pt x="66" y="99"/>
                    <a:pt x="61" y="104"/>
                    <a:pt x="57" y="101"/>
                  </a:cubicBezTo>
                  <a:cubicBezTo>
                    <a:pt x="54" y="96"/>
                    <a:pt x="54" y="104"/>
                    <a:pt x="52" y="101"/>
                  </a:cubicBezTo>
                  <a:cubicBezTo>
                    <a:pt x="50" y="99"/>
                    <a:pt x="49" y="101"/>
                    <a:pt x="49" y="104"/>
                  </a:cubicBezTo>
                  <a:cubicBezTo>
                    <a:pt x="49" y="107"/>
                    <a:pt x="50" y="107"/>
                    <a:pt x="54" y="107"/>
                  </a:cubicBezTo>
                  <a:close/>
                  <a:moveTo>
                    <a:pt x="17" y="79"/>
                  </a:moveTo>
                  <a:cubicBezTo>
                    <a:pt x="17" y="82"/>
                    <a:pt x="19" y="81"/>
                    <a:pt x="17" y="84"/>
                  </a:cubicBezTo>
                  <a:cubicBezTo>
                    <a:pt x="15" y="88"/>
                    <a:pt x="17" y="93"/>
                    <a:pt x="20" y="92"/>
                  </a:cubicBezTo>
                  <a:cubicBezTo>
                    <a:pt x="23" y="92"/>
                    <a:pt x="22" y="88"/>
                    <a:pt x="23" y="90"/>
                  </a:cubicBezTo>
                  <a:cubicBezTo>
                    <a:pt x="26" y="90"/>
                    <a:pt x="26" y="90"/>
                    <a:pt x="28" y="84"/>
                  </a:cubicBezTo>
                  <a:cubicBezTo>
                    <a:pt x="28" y="78"/>
                    <a:pt x="25" y="78"/>
                    <a:pt x="28" y="76"/>
                  </a:cubicBezTo>
                  <a:cubicBezTo>
                    <a:pt x="29" y="75"/>
                    <a:pt x="28" y="70"/>
                    <a:pt x="26" y="68"/>
                  </a:cubicBezTo>
                  <a:cubicBezTo>
                    <a:pt x="25" y="67"/>
                    <a:pt x="25" y="65"/>
                    <a:pt x="20" y="70"/>
                  </a:cubicBezTo>
                  <a:cubicBezTo>
                    <a:pt x="15" y="73"/>
                    <a:pt x="14" y="67"/>
                    <a:pt x="14" y="71"/>
                  </a:cubicBezTo>
                  <a:cubicBezTo>
                    <a:pt x="14" y="75"/>
                    <a:pt x="17" y="75"/>
                    <a:pt x="17" y="7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7" name="Freeform 171"/>
            <p:cNvSpPr>
              <a:spLocks/>
            </p:cNvSpPr>
            <p:nvPr/>
          </p:nvSpPr>
          <p:spPr bwMode="auto">
            <a:xfrm>
              <a:off x="5092672" y="3582167"/>
              <a:ext cx="117295" cy="78731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30" y="10"/>
                </a:cxn>
                <a:cxn ang="0">
                  <a:pos x="35" y="13"/>
                </a:cxn>
                <a:cxn ang="0">
                  <a:pos x="38" y="11"/>
                </a:cxn>
                <a:cxn ang="0">
                  <a:pos x="38" y="16"/>
                </a:cxn>
                <a:cxn ang="0">
                  <a:pos x="35" y="16"/>
                </a:cxn>
                <a:cxn ang="0">
                  <a:pos x="35" y="19"/>
                </a:cxn>
                <a:cxn ang="0">
                  <a:pos x="32" y="19"/>
                </a:cxn>
                <a:cxn ang="0">
                  <a:pos x="29" y="16"/>
                </a:cxn>
                <a:cxn ang="0">
                  <a:pos x="27" y="21"/>
                </a:cxn>
                <a:cxn ang="0">
                  <a:pos x="26" y="24"/>
                </a:cxn>
                <a:cxn ang="0">
                  <a:pos x="23" y="21"/>
                </a:cxn>
                <a:cxn ang="0">
                  <a:pos x="21" y="18"/>
                </a:cxn>
                <a:cxn ang="0">
                  <a:pos x="19" y="19"/>
                </a:cxn>
                <a:cxn ang="0">
                  <a:pos x="18" y="22"/>
                </a:cxn>
                <a:cxn ang="0">
                  <a:pos x="13" y="24"/>
                </a:cxn>
                <a:cxn ang="0">
                  <a:pos x="9" y="24"/>
                </a:cxn>
                <a:cxn ang="0">
                  <a:pos x="7" y="21"/>
                </a:cxn>
                <a:cxn ang="0">
                  <a:pos x="6" y="18"/>
                </a:cxn>
                <a:cxn ang="0">
                  <a:pos x="3" y="21"/>
                </a:cxn>
                <a:cxn ang="0">
                  <a:pos x="3" y="19"/>
                </a:cxn>
                <a:cxn ang="0">
                  <a:pos x="4" y="14"/>
                </a:cxn>
                <a:cxn ang="0">
                  <a:pos x="6" y="11"/>
                </a:cxn>
                <a:cxn ang="0">
                  <a:pos x="9" y="8"/>
                </a:cxn>
                <a:cxn ang="0">
                  <a:pos x="10" y="5"/>
                </a:cxn>
                <a:cxn ang="0">
                  <a:pos x="13" y="4"/>
                </a:cxn>
                <a:cxn ang="0">
                  <a:pos x="19" y="4"/>
                </a:cxn>
                <a:cxn ang="0">
                  <a:pos x="23" y="2"/>
                </a:cxn>
                <a:cxn ang="0">
                  <a:pos x="26" y="4"/>
                </a:cxn>
                <a:cxn ang="0">
                  <a:pos x="30" y="5"/>
                </a:cxn>
              </a:cxnLst>
              <a:rect l="0" t="0" r="r" b="b"/>
              <a:pathLst>
                <a:path w="38" h="25">
                  <a:moveTo>
                    <a:pt x="30" y="5"/>
                  </a:moveTo>
                  <a:cubicBezTo>
                    <a:pt x="32" y="7"/>
                    <a:pt x="27" y="11"/>
                    <a:pt x="30" y="10"/>
                  </a:cubicBezTo>
                  <a:cubicBezTo>
                    <a:pt x="35" y="10"/>
                    <a:pt x="32" y="13"/>
                    <a:pt x="35" y="13"/>
                  </a:cubicBezTo>
                  <a:cubicBezTo>
                    <a:pt x="36" y="13"/>
                    <a:pt x="36" y="8"/>
                    <a:pt x="38" y="11"/>
                  </a:cubicBezTo>
                  <a:cubicBezTo>
                    <a:pt x="36" y="14"/>
                    <a:pt x="38" y="16"/>
                    <a:pt x="38" y="16"/>
                  </a:cubicBezTo>
                  <a:cubicBezTo>
                    <a:pt x="36" y="18"/>
                    <a:pt x="35" y="14"/>
                    <a:pt x="35" y="16"/>
                  </a:cubicBezTo>
                  <a:cubicBezTo>
                    <a:pt x="33" y="16"/>
                    <a:pt x="36" y="19"/>
                    <a:pt x="35" y="19"/>
                  </a:cubicBezTo>
                  <a:cubicBezTo>
                    <a:pt x="33" y="21"/>
                    <a:pt x="33" y="18"/>
                    <a:pt x="32" y="19"/>
                  </a:cubicBezTo>
                  <a:cubicBezTo>
                    <a:pt x="30" y="19"/>
                    <a:pt x="30" y="16"/>
                    <a:pt x="29" y="16"/>
                  </a:cubicBezTo>
                  <a:cubicBezTo>
                    <a:pt x="27" y="16"/>
                    <a:pt x="29" y="19"/>
                    <a:pt x="27" y="21"/>
                  </a:cubicBezTo>
                  <a:cubicBezTo>
                    <a:pt x="24" y="22"/>
                    <a:pt x="27" y="24"/>
                    <a:pt x="26" y="24"/>
                  </a:cubicBezTo>
                  <a:cubicBezTo>
                    <a:pt x="24" y="25"/>
                    <a:pt x="24" y="22"/>
                    <a:pt x="23" y="21"/>
                  </a:cubicBezTo>
                  <a:cubicBezTo>
                    <a:pt x="21" y="19"/>
                    <a:pt x="21" y="18"/>
                    <a:pt x="21" y="18"/>
                  </a:cubicBezTo>
                  <a:cubicBezTo>
                    <a:pt x="21" y="16"/>
                    <a:pt x="19" y="18"/>
                    <a:pt x="19" y="19"/>
                  </a:cubicBezTo>
                  <a:cubicBezTo>
                    <a:pt x="18" y="19"/>
                    <a:pt x="21" y="19"/>
                    <a:pt x="18" y="22"/>
                  </a:cubicBezTo>
                  <a:cubicBezTo>
                    <a:pt x="15" y="24"/>
                    <a:pt x="15" y="22"/>
                    <a:pt x="13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9" y="21"/>
                    <a:pt x="7" y="21"/>
                    <a:pt x="7" y="21"/>
                  </a:cubicBezTo>
                  <a:cubicBezTo>
                    <a:pt x="7" y="19"/>
                    <a:pt x="9" y="16"/>
                    <a:pt x="6" y="18"/>
                  </a:cubicBezTo>
                  <a:cubicBezTo>
                    <a:pt x="3" y="18"/>
                    <a:pt x="6" y="19"/>
                    <a:pt x="3" y="21"/>
                  </a:cubicBezTo>
                  <a:cubicBezTo>
                    <a:pt x="1" y="21"/>
                    <a:pt x="0" y="21"/>
                    <a:pt x="3" y="19"/>
                  </a:cubicBezTo>
                  <a:cubicBezTo>
                    <a:pt x="4" y="18"/>
                    <a:pt x="1" y="16"/>
                    <a:pt x="4" y="14"/>
                  </a:cubicBezTo>
                  <a:cubicBezTo>
                    <a:pt x="7" y="13"/>
                    <a:pt x="4" y="11"/>
                    <a:pt x="6" y="11"/>
                  </a:cubicBezTo>
                  <a:cubicBezTo>
                    <a:pt x="9" y="10"/>
                    <a:pt x="7" y="8"/>
                    <a:pt x="9" y="8"/>
                  </a:cubicBezTo>
                  <a:cubicBezTo>
                    <a:pt x="10" y="7"/>
                    <a:pt x="9" y="7"/>
                    <a:pt x="10" y="5"/>
                  </a:cubicBezTo>
                  <a:cubicBezTo>
                    <a:pt x="10" y="4"/>
                    <a:pt x="12" y="7"/>
                    <a:pt x="13" y="4"/>
                  </a:cubicBezTo>
                  <a:cubicBezTo>
                    <a:pt x="16" y="5"/>
                    <a:pt x="16" y="4"/>
                    <a:pt x="19" y="4"/>
                  </a:cubicBezTo>
                  <a:cubicBezTo>
                    <a:pt x="23" y="4"/>
                    <a:pt x="19" y="2"/>
                    <a:pt x="23" y="2"/>
                  </a:cubicBezTo>
                  <a:cubicBezTo>
                    <a:pt x="24" y="0"/>
                    <a:pt x="24" y="4"/>
                    <a:pt x="26" y="4"/>
                  </a:cubicBezTo>
                  <a:cubicBezTo>
                    <a:pt x="27" y="2"/>
                    <a:pt x="29" y="4"/>
                    <a:pt x="30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Freeform 172"/>
            <p:cNvSpPr>
              <a:spLocks/>
            </p:cNvSpPr>
            <p:nvPr/>
          </p:nvSpPr>
          <p:spPr bwMode="auto">
            <a:xfrm>
              <a:off x="5176225" y="3535572"/>
              <a:ext cx="199241" cy="106045"/>
            </a:xfrm>
            <a:custGeom>
              <a:avLst/>
              <a:gdLst/>
              <a:ahLst/>
              <a:cxnLst>
                <a:cxn ang="0">
                  <a:pos x="3" y="20"/>
                </a:cxn>
                <a:cxn ang="0">
                  <a:pos x="9" y="22"/>
                </a:cxn>
                <a:cxn ang="0">
                  <a:pos x="10" y="19"/>
                </a:cxn>
                <a:cxn ang="0">
                  <a:pos x="13" y="20"/>
                </a:cxn>
                <a:cxn ang="0">
                  <a:pos x="20" y="19"/>
                </a:cxn>
                <a:cxn ang="0">
                  <a:pos x="24" y="17"/>
                </a:cxn>
                <a:cxn ang="0">
                  <a:pos x="27" y="19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29" y="11"/>
                </a:cxn>
                <a:cxn ang="0">
                  <a:pos x="33" y="10"/>
                </a:cxn>
                <a:cxn ang="0">
                  <a:pos x="37" y="5"/>
                </a:cxn>
                <a:cxn ang="0">
                  <a:pos x="40" y="8"/>
                </a:cxn>
                <a:cxn ang="0">
                  <a:pos x="46" y="4"/>
                </a:cxn>
                <a:cxn ang="0">
                  <a:pos x="49" y="4"/>
                </a:cxn>
                <a:cxn ang="0">
                  <a:pos x="56" y="5"/>
                </a:cxn>
                <a:cxn ang="0">
                  <a:pos x="63" y="7"/>
                </a:cxn>
                <a:cxn ang="0">
                  <a:pos x="63" y="14"/>
                </a:cxn>
                <a:cxn ang="0">
                  <a:pos x="63" y="17"/>
                </a:cxn>
                <a:cxn ang="0">
                  <a:pos x="58" y="17"/>
                </a:cxn>
                <a:cxn ang="0">
                  <a:pos x="60" y="20"/>
                </a:cxn>
                <a:cxn ang="0">
                  <a:pos x="58" y="22"/>
                </a:cxn>
                <a:cxn ang="0">
                  <a:pos x="58" y="25"/>
                </a:cxn>
                <a:cxn ang="0">
                  <a:pos x="55" y="27"/>
                </a:cxn>
                <a:cxn ang="0">
                  <a:pos x="55" y="28"/>
                </a:cxn>
                <a:cxn ang="0">
                  <a:pos x="52" y="30"/>
                </a:cxn>
                <a:cxn ang="0">
                  <a:pos x="49" y="30"/>
                </a:cxn>
                <a:cxn ang="0">
                  <a:pos x="44" y="33"/>
                </a:cxn>
                <a:cxn ang="0">
                  <a:pos x="41" y="33"/>
                </a:cxn>
                <a:cxn ang="0">
                  <a:pos x="35" y="31"/>
                </a:cxn>
                <a:cxn ang="0">
                  <a:pos x="24" y="28"/>
                </a:cxn>
                <a:cxn ang="0">
                  <a:pos x="23" y="27"/>
                </a:cxn>
                <a:cxn ang="0">
                  <a:pos x="21" y="25"/>
                </a:cxn>
                <a:cxn ang="0">
                  <a:pos x="17" y="27"/>
                </a:cxn>
                <a:cxn ang="0">
                  <a:pos x="13" y="28"/>
                </a:cxn>
                <a:cxn ang="0">
                  <a:pos x="10" y="27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3" y="20"/>
                </a:cxn>
              </a:cxnLst>
              <a:rect l="0" t="0" r="r" b="b"/>
              <a:pathLst>
                <a:path w="64" h="34">
                  <a:moveTo>
                    <a:pt x="3" y="20"/>
                  </a:moveTo>
                  <a:cubicBezTo>
                    <a:pt x="6" y="17"/>
                    <a:pt x="7" y="22"/>
                    <a:pt x="9" y="22"/>
                  </a:cubicBezTo>
                  <a:cubicBezTo>
                    <a:pt x="10" y="22"/>
                    <a:pt x="9" y="19"/>
                    <a:pt x="10" y="19"/>
                  </a:cubicBezTo>
                  <a:cubicBezTo>
                    <a:pt x="12" y="20"/>
                    <a:pt x="13" y="19"/>
                    <a:pt x="13" y="20"/>
                  </a:cubicBezTo>
                  <a:cubicBezTo>
                    <a:pt x="15" y="22"/>
                    <a:pt x="17" y="20"/>
                    <a:pt x="20" y="19"/>
                  </a:cubicBezTo>
                  <a:cubicBezTo>
                    <a:pt x="21" y="17"/>
                    <a:pt x="23" y="20"/>
                    <a:pt x="24" y="17"/>
                  </a:cubicBezTo>
                  <a:cubicBezTo>
                    <a:pt x="24" y="16"/>
                    <a:pt x="26" y="19"/>
                    <a:pt x="27" y="19"/>
                  </a:cubicBezTo>
                  <a:cubicBezTo>
                    <a:pt x="29" y="17"/>
                    <a:pt x="29" y="22"/>
                    <a:pt x="30" y="20"/>
                  </a:cubicBezTo>
                  <a:cubicBezTo>
                    <a:pt x="32" y="19"/>
                    <a:pt x="27" y="17"/>
                    <a:pt x="30" y="16"/>
                  </a:cubicBezTo>
                  <a:cubicBezTo>
                    <a:pt x="32" y="16"/>
                    <a:pt x="27" y="14"/>
                    <a:pt x="29" y="11"/>
                  </a:cubicBezTo>
                  <a:cubicBezTo>
                    <a:pt x="32" y="10"/>
                    <a:pt x="33" y="11"/>
                    <a:pt x="33" y="10"/>
                  </a:cubicBezTo>
                  <a:cubicBezTo>
                    <a:pt x="33" y="7"/>
                    <a:pt x="37" y="10"/>
                    <a:pt x="37" y="5"/>
                  </a:cubicBezTo>
                  <a:cubicBezTo>
                    <a:pt x="40" y="7"/>
                    <a:pt x="37" y="8"/>
                    <a:pt x="40" y="8"/>
                  </a:cubicBezTo>
                  <a:cubicBezTo>
                    <a:pt x="43" y="7"/>
                    <a:pt x="46" y="7"/>
                    <a:pt x="46" y="4"/>
                  </a:cubicBezTo>
                  <a:cubicBezTo>
                    <a:pt x="46" y="0"/>
                    <a:pt x="47" y="4"/>
                    <a:pt x="49" y="4"/>
                  </a:cubicBezTo>
                  <a:cubicBezTo>
                    <a:pt x="50" y="4"/>
                    <a:pt x="55" y="7"/>
                    <a:pt x="56" y="5"/>
                  </a:cubicBezTo>
                  <a:cubicBezTo>
                    <a:pt x="60" y="4"/>
                    <a:pt x="61" y="7"/>
                    <a:pt x="63" y="7"/>
                  </a:cubicBezTo>
                  <a:cubicBezTo>
                    <a:pt x="61" y="10"/>
                    <a:pt x="60" y="10"/>
                    <a:pt x="63" y="14"/>
                  </a:cubicBezTo>
                  <a:cubicBezTo>
                    <a:pt x="63" y="16"/>
                    <a:pt x="64" y="17"/>
                    <a:pt x="63" y="17"/>
                  </a:cubicBezTo>
                  <a:cubicBezTo>
                    <a:pt x="61" y="17"/>
                    <a:pt x="58" y="17"/>
                    <a:pt x="58" y="17"/>
                  </a:cubicBezTo>
                  <a:cubicBezTo>
                    <a:pt x="58" y="19"/>
                    <a:pt x="60" y="19"/>
                    <a:pt x="60" y="20"/>
                  </a:cubicBezTo>
                  <a:cubicBezTo>
                    <a:pt x="60" y="22"/>
                    <a:pt x="58" y="20"/>
                    <a:pt x="58" y="22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6" y="27"/>
                    <a:pt x="55" y="27"/>
                  </a:cubicBezTo>
                  <a:cubicBezTo>
                    <a:pt x="55" y="28"/>
                    <a:pt x="53" y="27"/>
                    <a:pt x="55" y="28"/>
                  </a:cubicBezTo>
                  <a:cubicBezTo>
                    <a:pt x="55" y="30"/>
                    <a:pt x="55" y="30"/>
                    <a:pt x="52" y="30"/>
                  </a:cubicBezTo>
                  <a:cubicBezTo>
                    <a:pt x="50" y="30"/>
                    <a:pt x="52" y="31"/>
                    <a:pt x="49" y="30"/>
                  </a:cubicBezTo>
                  <a:cubicBezTo>
                    <a:pt x="46" y="30"/>
                    <a:pt x="46" y="30"/>
                    <a:pt x="44" y="33"/>
                  </a:cubicBezTo>
                  <a:cubicBezTo>
                    <a:pt x="41" y="34"/>
                    <a:pt x="43" y="31"/>
                    <a:pt x="41" y="33"/>
                  </a:cubicBezTo>
                  <a:cubicBezTo>
                    <a:pt x="38" y="33"/>
                    <a:pt x="40" y="31"/>
                    <a:pt x="35" y="31"/>
                  </a:cubicBezTo>
                  <a:cubicBezTo>
                    <a:pt x="27" y="31"/>
                    <a:pt x="24" y="30"/>
                    <a:pt x="24" y="28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5"/>
                    <a:pt x="26" y="25"/>
                    <a:pt x="21" y="25"/>
                  </a:cubicBezTo>
                  <a:cubicBezTo>
                    <a:pt x="18" y="27"/>
                    <a:pt x="18" y="25"/>
                    <a:pt x="17" y="27"/>
                  </a:cubicBezTo>
                  <a:cubicBezTo>
                    <a:pt x="15" y="27"/>
                    <a:pt x="15" y="28"/>
                    <a:pt x="13" y="28"/>
                  </a:cubicBezTo>
                  <a:cubicBezTo>
                    <a:pt x="12" y="30"/>
                    <a:pt x="12" y="27"/>
                    <a:pt x="10" y="27"/>
                  </a:cubicBezTo>
                  <a:cubicBezTo>
                    <a:pt x="9" y="24"/>
                    <a:pt x="9" y="28"/>
                    <a:pt x="7" y="28"/>
                  </a:cubicBezTo>
                  <a:cubicBezTo>
                    <a:pt x="4" y="28"/>
                    <a:pt x="7" y="25"/>
                    <a:pt x="3" y="25"/>
                  </a:cubicBezTo>
                  <a:cubicBezTo>
                    <a:pt x="0" y="27"/>
                    <a:pt x="4" y="22"/>
                    <a:pt x="3" y="2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Freeform 173"/>
            <p:cNvSpPr>
              <a:spLocks/>
            </p:cNvSpPr>
            <p:nvPr/>
          </p:nvSpPr>
          <p:spPr bwMode="auto">
            <a:xfrm>
              <a:off x="5248530" y="3464874"/>
              <a:ext cx="163892" cy="96405"/>
            </a:xfrm>
            <a:custGeom>
              <a:avLst/>
              <a:gdLst/>
              <a:ahLst/>
              <a:cxnLst>
                <a:cxn ang="0">
                  <a:pos x="13" y="28"/>
                </a:cxn>
                <a:cxn ang="0">
                  <a:pos x="17" y="31"/>
                </a:cxn>
                <a:cxn ang="0">
                  <a:pos x="23" y="26"/>
                </a:cxn>
                <a:cxn ang="0">
                  <a:pos x="26" y="26"/>
                </a:cxn>
                <a:cxn ang="0">
                  <a:pos x="33" y="28"/>
                </a:cxn>
                <a:cxn ang="0">
                  <a:pos x="39" y="29"/>
                </a:cxn>
                <a:cxn ang="0">
                  <a:pos x="46" y="26"/>
                </a:cxn>
                <a:cxn ang="0">
                  <a:pos x="53" y="20"/>
                </a:cxn>
                <a:cxn ang="0">
                  <a:pos x="49" y="14"/>
                </a:cxn>
                <a:cxn ang="0">
                  <a:pos x="44" y="12"/>
                </a:cxn>
                <a:cxn ang="0">
                  <a:pos x="42" y="11"/>
                </a:cxn>
                <a:cxn ang="0">
                  <a:pos x="38" y="9"/>
                </a:cxn>
                <a:cxn ang="0">
                  <a:pos x="35" y="11"/>
                </a:cxn>
                <a:cxn ang="0">
                  <a:pos x="35" y="6"/>
                </a:cxn>
                <a:cxn ang="0">
                  <a:pos x="29" y="5"/>
                </a:cxn>
                <a:cxn ang="0">
                  <a:pos x="23" y="3"/>
                </a:cxn>
                <a:cxn ang="0">
                  <a:pos x="18" y="1"/>
                </a:cxn>
                <a:cxn ang="0">
                  <a:pos x="15" y="5"/>
                </a:cxn>
                <a:cxn ang="0">
                  <a:pos x="4" y="9"/>
                </a:cxn>
                <a:cxn ang="0">
                  <a:pos x="1" y="14"/>
                </a:cxn>
                <a:cxn ang="0">
                  <a:pos x="6" y="20"/>
                </a:cxn>
                <a:cxn ang="0">
                  <a:pos x="13" y="28"/>
                </a:cxn>
              </a:cxnLst>
              <a:rect l="0" t="0" r="r" b="b"/>
              <a:pathLst>
                <a:path w="53" h="31">
                  <a:moveTo>
                    <a:pt x="13" y="28"/>
                  </a:moveTo>
                  <a:cubicBezTo>
                    <a:pt x="17" y="29"/>
                    <a:pt x="13" y="31"/>
                    <a:pt x="17" y="31"/>
                  </a:cubicBezTo>
                  <a:cubicBezTo>
                    <a:pt x="20" y="29"/>
                    <a:pt x="23" y="29"/>
                    <a:pt x="23" y="26"/>
                  </a:cubicBezTo>
                  <a:cubicBezTo>
                    <a:pt x="23" y="23"/>
                    <a:pt x="24" y="26"/>
                    <a:pt x="26" y="26"/>
                  </a:cubicBezTo>
                  <a:cubicBezTo>
                    <a:pt x="27" y="26"/>
                    <a:pt x="32" y="29"/>
                    <a:pt x="33" y="28"/>
                  </a:cubicBezTo>
                  <a:cubicBezTo>
                    <a:pt x="36" y="26"/>
                    <a:pt x="38" y="29"/>
                    <a:pt x="39" y="29"/>
                  </a:cubicBezTo>
                  <a:cubicBezTo>
                    <a:pt x="41" y="25"/>
                    <a:pt x="42" y="28"/>
                    <a:pt x="46" y="26"/>
                  </a:cubicBezTo>
                  <a:cubicBezTo>
                    <a:pt x="50" y="25"/>
                    <a:pt x="46" y="23"/>
                    <a:pt x="53" y="20"/>
                  </a:cubicBezTo>
                  <a:cubicBezTo>
                    <a:pt x="53" y="17"/>
                    <a:pt x="52" y="15"/>
                    <a:pt x="49" y="14"/>
                  </a:cubicBezTo>
                  <a:cubicBezTo>
                    <a:pt x="46" y="12"/>
                    <a:pt x="47" y="14"/>
                    <a:pt x="44" y="12"/>
                  </a:cubicBezTo>
                  <a:cubicBezTo>
                    <a:pt x="42" y="11"/>
                    <a:pt x="46" y="11"/>
                    <a:pt x="42" y="11"/>
                  </a:cubicBezTo>
                  <a:cubicBezTo>
                    <a:pt x="39" y="9"/>
                    <a:pt x="36" y="8"/>
                    <a:pt x="38" y="9"/>
                  </a:cubicBezTo>
                  <a:cubicBezTo>
                    <a:pt x="39" y="11"/>
                    <a:pt x="38" y="14"/>
                    <a:pt x="35" y="11"/>
                  </a:cubicBezTo>
                  <a:cubicBezTo>
                    <a:pt x="30" y="6"/>
                    <a:pt x="35" y="8"/>
                    <a:pt x="35" y="6"/>
                  </a:cubicBezTo>
                  <a:cubicBezTo>
                    <a:pt x="33" y="5"/>
                    <a:pt x="33" y="6"/>
                    <a:pt x="29" y="5"/>
                  </a:cubicBezTo>
                  <a:cubicBezTo>
                    <a:pt x="23" y="1"/>
                    <a:pt x="26" y="0"/>
                    <a:pt x="23" y="3"/>
                  </a:cubicBezTo>
                  <a:cubicBezTo>
                    <a:pt x="20" y="5"/>
                    <a:pt x="18" y="1"/>
                    <a:pt x="18" y="1"/>
                  </a:cubicBezTo>
                  <a:cubicBezTo>
                    <a:pt x="17" y="1"/>
                    <a:pt x="20" y="3"/>
                    <a:pt x="15" y="5"/>
                  </a:cubicBezTo>
                  <a:cubicBezTo>
                    <a:pt x="10" y="5"/>
                    <a:pt x="9" y="8"/>
                    <a:pt x="4" y="9"/>
                  </a:cubicBezTo>
                  <a:cubicBezTo>
                    <a:pt x="1" y="11"/>
                    <a:pt x="0" y="11"/>
                    <a:pt x="1" y="14"/>
                  </a:cubicBezTo>
                  <a:cubicBezTo>
                    <a:pt x="4" y="17"/>
                    <a:pt x="0" y="19"/>
                    <a:pt x="6" y="20"/>
                  </a:cubicBezTo>
                  <a:cubicBezTo>
                    <a:pt x="9" y="22"/>
                    <a:pt x="9" y="25"/>
                    <a:pt x="13" y="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Freeform 174"/>
            <p:cNvSpPr>
              <a:spLocks/>
            </p:cNvSpPr>
            <p:nvPr/>
          </p:nvSpPr>
          <p:spPr bwMode="auto">
            <a:xfrm>
              <a:off x="5500795" y="3713921"/>
              <a:ext cx="155858" cy="112473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4" y="27"/>
                </a:cxn>
                <a:cxn ang="0">
                  <a:pos x="6" y="33"/>
                </a:cxn>
                <a:cxn ang="0">
                  <a:pos x="10" y="33"/>
                </a:cxn>
                <a:cxn ang="0">
                  <a:pos x="16" y="31"/>
                </a:cxn>
                <a:cxn ang="0">
                  <a:pos x="19" y="31"/>
                </a:cxn>
                <a:cxn ang="0">
                  <a:pos x="23" y="33"/>
                </a:cxn>
                <a:cxn ang="0">
                  <a:pos x="29" y="33"/>
                </a:cxn>
                <a:cxn ang="0">
                  <a:pos x="32" y="28"/>
                </a:cxn>
                <a:cxn ang="0">
                  <a:pos x="35" y="27"/>
                </a:cxn>
                <a:cxn ang="0">
                  <a:pos x="38" y="25"/>
                </a:cxn>
                <a:cxn ang="0">
                  <a:pos x="42" y="27"/>
                </a:cxn>
                <a:cxn ang="0">
                  <a:pos x="45" y="25"/>
                </a:cxn>
                <a:cxn ang="0">
                  <a:pos x="44" y="22"/>
                </a:cxn>
                <a:cxn ang="0">
                  <a:pos x="42" y="19"/>
                </a:cxn>
                <a:cxn ang="0">
                  <a:pos x="45" y="11"/>
                </a:cxn>
                <a:cxn ang="0">
                  <a:pos x="50" y="7"/>
                </a:cxn>
                <a:cxn ang="0">
                  <a:pos x="45" y="4"/>
                </a:cxn>
                <a:cxn ang="0">
                  <a:pos x="39" y="2"/>
                </a:cxn>
                <a:cxn ang="0">
                  <a:pos x="29" y="5"/>
                </a:cxn>
                <a:cxn ang="0">
                  <a:pos x="19" y="5"/>
                </a:cxn>
                <a:cxn ang="0">
                  <a:pos x="12" y="5"/>
                </a:cxn>
                <a:cxn ang="0">
                  <a:pos x="4" y="5"/>
                </a:cxn>
                <a:cxn ang="0">
                  <a:pos x="3" y="0"/>
                </a:cxn>
                <a:cxn ang="0">
                  <a:pos x="1" y="7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1" y="22"/>
                </a:cxn>
              </a:cxnLst>
              <a:rect l="0" t="0" r="r" b="b"/>
              <a:pathLst>
                <a:path w="50" h="36">
                  <a:moveTo>
                    <a:pt x="1" y="22"/>
                  </a:moveTo>
                  <a:cubicBezTo>
                    <a:pt x="1" y="25"/>
                    <a:pt x="4" y="24"/>
                    <a:pt x="4" y="27"/>
                  </a:cubicBezTo>
                  <a:cubicBezTo>
                    <a:pt x="6" y="30"/>
                    <a:pt x="4" y="31"/>
                    <a:pt x="6" y="33"/>
                  </a:cubicBezTo>
                  <a:cubicBezTo>
                    <a:pt x="7" y="34"/>
                    <a:pt x="6" y="31"/>
                    <a:pt x="10" y="33"/>
                  </a:cubicBezTo>
                  <a:cubicBezTo>
                    <a:pt x="13" y="33"/>
                    <a:pt x="15" y="30"/>
                    <a:pt x="16" y="31"/>
                  </a:cubicBezTo>
                  <a:cubicBezTo>
                    <a:pt x="18" y="31"/>
                    <a:pt x="16" y="28"/>
                    <a:pt x="19" y="31"/>
                  </a:cubicBezTo>
                  <a:cubicBezTo>
                    <a:pt x="21" y="34"/>
                    <a:pt x="21" y="30"/>
                    <a:pt x="23" y="33"/>
                  </a:cubicBezTo>
                  <a:cubicBezTo>
                    <a:pt x="24" y="36"/>
                    <a:pt x="26" y="33"/>
                    <a:pt x="29" y="33"/>
                  </a:cubicBezTo>
                  <a:cubicBezTo>
                    <a:pt x="33" y="33"/>
                    <a:pt x="27" y="27"/>
                    <a:pt x="32" y="28"/>
                  </a:cubicBezTo>
                  <a:cubicBezTo>
                    <a:pt x="32" y="27"/>
                    <a:pt x="33" y="28"/>
                    <a:pt x="35" y="27"/>
                  </a:cubicBezTo>
                  <a:cubicBezTo>
                    <a:pt x="35" y="24"/>
                    <a:pt x="36" y="27"/>
                    <a:pt x="38" y="25"/>
                  </a:cubicBezTo>
                  <a:cubicBezTo>
                    <a:pt x="39" y="24"/>
                    <a:pt x="41" y="27"/>
                    <a:pt x="42" y="27"/>
                  </a:cubicBezTo>
                  <a:cubicBezTo>
                    <a:pt x="44" y="27"/>
                    <a:pt x="44" y="25"/>
                    <a:pt x="45" y="25"/>
                  </a:cubicBezTo>
                  <a:cubicBezTo>
                    <a:pt x="45" y="24"/>
                    <a:pt x="42" y="25"/>
                    <a:pt x="44" y="22"/>
                  </a:cubicBezTo>
                  <a:cubicBezTo>
                    <a:pt x="44" y="19"/>
                    <a:pt x="38" y="22"/>
                    <a:pt x="42" y="19"/>
                  </a:cubicBezTo>
                  <a:cubicBezTo>
                    <a:pt x="47" y="16"/>
                    <a:pt x="42" y="16"/>
                    <a:pt x="45" y="11"/>
                  </a:cubicBezTo>
                  <a:cubicBezTo>
                    <a:pt x="47" y="7"/>
                    <a:pt x="50" y="14"/>
                    <a:pt x="50" y="7"/>
                  </a:cubicBezTo>
                  <a:cubicBezTo>
                    <a:pt x="49" y="5"/>
                    <a:pt x="47" y="7"/>
                    <a:pt x="45" y="4"/>
                  </a:cubicBezTo>
                  <a:cubicBezTo>
                    <a:pt x="42" y="0"/>
                    <a:pt x="41" y="5"/>
                    <a:pt x="39" y="2"/>
                  </a:cubicBezTo>
                  <a:cubicBezTo>
                    <a:pt x="38" y="0"/>
                    <a:pt x="32" y="4"/>
                    <a:pt x="29" y="5"/>
                  </a:cubicBezTo>
                  <a:cubicBezTo>
                    <a:pt x="24" y="8"/>
                    <a:pt x="21" y="7"/>
                    <a:pt x="19" y="5"/>
                  </a:cubicBezTo>
                  <a:cubicBezTo>
                    <a:pt x="16" y="5"/>
                    <a:pt x="15" y="8"/>
                    <a:pt x="12" y="5"/>
                  </a:cubicBezTo>
                  <a:cubicBezTo>
                    <a:pt x="7" y="4"/>
                    <a:pt x="7" y="7"/>
                    <a:pt x="4" y="5"/>
                  </a:cubicBezTo>
                  <a:cubicBezTo>
                    <a:pt x="3" y="4"/>
                    <a:pt x="9" y="4"/>
                    <a:pt x="3" y="0"/>
                  </a:cubicBezTo>
                  <a:cubicBezTo>
                    <a:pt x="3" y="4"/>
                    <a:pt x="0" y="2"/>
                    <a:pt x="1" y="7"/>
                  </a:cubicBezTo>
                  <a:cubicBezTo>
                    <a:pt x="3" y="13"/>
                    <a:pt x="7" y="11"/>
                    <a:pt x="4" y="14"/>
                  </a:cubicBezTo>
                  <a:cubicBezTo>
                    <a:pt x="3" y="17"/>
                    <a:pt x="1" y="14"/>
                    <a:pt x="1" y="17"/>
                  </a:cubicBezTo>
                  <a:cubicBezTo>
                    <a:pt x="1" y="19"/>
                    <a:pt x="4" y="21"/>
                    <a:pt x="1" y="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Freeform 175"/>
            <p:cNvSpPr>
              <a:spLocks/>
            </p:cNvSpPr>
            <p:nvPr/>
          </p:nvSpPr>
          <p:spPr bwMode="auto">
            <a:xfrm>
              <a:off x="5412423" y="3648044"/>
              <a:ext cx="109261" cy="149428"/>
            </a:xfrm>
            <a:custGeom>
              <a:avLst/>
              <a:gdLst/>
              <a:ahLst/>
              <a:cxnLst>
                <a:cxn ang="0">
                  <a:pos x="11" y="40"/>
                </a:cxn>
                <a:cxn ang="0">
                  <a:pos x="12" y="43"/>
                </a:cxn>
                <a:cxn ang="0">
                  <a:pos x="14" y="48"/>
                </a:cxn>
                <a:cxn ang="0">
                  <a:pos x="17" y="45"/>
                </a:cxn>
                <a:cxn ang="0">
                  <a:pos x="23" y="43"/>
                </a:cxn>
                <a:cxn ang="0">
                  <a:pos x="29" y="43"/>
                </a:cxn>
                <a:cxn ang="0">
                  <a:pos x="29" y="39"/>
                </a:cxn>
                <a:cxn ang="0">
                  <a:pos x="32" y="36"/>
                </a:cxn>
                <a:cxn ang="0">
                  <a:pos x="29" y="28"/>
                </a:cxn>
                <a:cxn ang="0">
                  <a:pos x="31" y="22"/>
                </a:cxn>
                <a:cxn ang="0">
                  <a:pos x="29" y="17"/>
                </a:cxn>
                <a:cxn ang="0">
                  <a:pos x="26" y="19"/>
                </a:cxn>
                <a:cxn ang="0">
                  <a:pos x="21" y="12"/>
                </a:cxn>
                <a:cxn ang="0">
                  <a:pos x="15" y="6"/>
                </a:cxn>
                <a:cxn ang="0">
                  <a:pos x="12" y="0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2" y="14"/>
                </a:cxn>
                <a:cxn ang="0">
                  <a:pos x="3" y="19"/>
                </a:cxn>
                <a:cxn ang="0">
                  <a:pos x="6" y="25"/>
                </a:cxn>
                <a:cxn ang="0">
                  <a:pos x="3" y="25"/>
                </a:cxn>
                <a:cxn ang="0">
                  <a:pos x="6" y="29"/>
                </a:cxn>
                <a:cxn ang="0">
                  <a:pos x="3" y="29"/>
                </a:cxn>
                <a:cxn ang="0">
                  <a:pos x="12" y="37"/>
                </a:cxn>
                <a:cxn ang="0">
                  <a:pos x="9" y="39"/>
                </a:cxn>
                <a:cxn ang="0">
                  <a:pos x="11" y="40"/>
                </a:cxn>
              </a:cxnLst>
              <a:rect l="0" t="0" r="r" b="b"/>
              <a:pathLst>
                <a:path w="35" h="48">
                  <a:moveTo>
                    <a:pt x="11" y="40"/>
                  </a:moveTo>
                  <a:cubicBezTo>
                    <a:pt x="12" y="42"/>
                    <a:pt x="11" y="43"/>
                    <a:pt x="12" y="43"/>
                  </a:cubicBezTo>
                  <a:cubicBezTo>
                    <a:pt x="15" y="45"/>
                    <a:pt x="14" y="46"/>
                    <a:pt x="14" y="48"/>
                  </a:cubicBezTo>
                  <a:cubicBezTo>
                    <a:pt x="17" y="48"/>
                    <a:pt x="14" y="46"/>
                    <a:pt x="17" y="45"/>
                  </a:cubicBezTo>
                  <a:cubicBezTo>
                    <a:pt x="21" y="45"/>
                    <a:pt x="20" y="43"/>
                    <a:pt x="23" y="43"/>
                  </a:cubicBezTo>
                  <a:cubicBezTo>
                    <a:pt x="26" y="45"/>
                    <a:pt x="26" y="42"/>
                    <a:pt x="29" y="43"/>
                  </a:cubicBezTo>
                  <a:cubicBezTo>
                    <a:pt x="32" y="42"/>
                    <a:pt x="29" y="40"/>
                    <a:pt x="29" y="39"/>
                  </a:cubicBezTo>
                  <a:cubicBezTo>
                    <a:pt x="29" y="36"/>
                    <a:pt x="31" y="39"/>
                    <a:pt x="32" y="36"/>
                  </a:cubicBezTo>
                  <a:cubicBezTo>
                    <a:pt x="35" y="32"/>
                    <a:pt x="31" y="34"/>
                    <a:pt x="29" y="28"/>
                  </a:cubicBezTo>
                  <a:cubicBezTo>
                    <a:pt x="28" y="23"/>
                    <a:pt x="31" y="25"/>
                    <a:pt x="31" y="22"/>
                  </a:cubicBezTo>
                  <a:cubicBezTo>
                    <a:pt x="26" y="17"/>
                    <a:pt x="35" y="20"/>
                    <a:pt x="29" y="17"/>
                  </a:cubicBezTo>
                  <a:cubicBezTo>
                    <a:pt x="28" y="15"/>
                    <a:pt x="29" y="19"/>
                    <a:pt x="26" y="19"/>
                  </a:cubicBezTo>
                  <a:cubicBezTo>
                    <a:pt x="21" y="17"/>
                    <a:pt x="20" y="14"/>
                    <a:pt x="21" y="12"/>
                  </a:cubicBezTo>
                  <a:cubicBezTo>
                    <a:pt x="23" y="9"/>
                    <a:pt x="15" y="11"/>
                    <a:pt x="15" y="6"/>
                  </a:cubicBezTo>
                  <a:cubicBezTo>
                    <a:pt x="17" y="3"/>
                    <a:pt x="14" y="3"/>
                    <a:pt x="12" y="0"/>
                  </a:cubicBezTo>
                  <a:cubicBezTo>
                    <a:pt x="9" y="0"/>
                    <a:pt x="8" y="0"/>
                    <a:pt x="6" y="0"/>
                  </a:cubicBezTo>
                  <a:cubicBezTo>
                    <a:pt x="5" y="0"/>
                    <a:pt x="5" y="1"/>
                    <a:pt x="0" y="3"/>
                  </a:cubicBezTo>
                  <a:cubicBezTo>
                    <a:pt x="2" y="5"/>
                    <a:pt x="2" y="8"/>
                    <a:pt x="2" y="9"/>
                  </a:cubicBezTo>
                  <a:cubicBezTo>
                    <a:pt x="5" y="11"/>
                    <a:pt x="6" y="9"/>
                    <a:pt x="5" y="11"/>
                  </a:cubicBezTo>
                  <a:cubicBezTo>
                    <a:pt x="5" y="12"/>
                    <a:pt x="3" y="11"/>
                    <a:pt x="2" y="14"/>
                  </a:cubicBezTo>
                  <a:cubicBezTo>
                    <a:pt x="6" y="14"/>
                    <a:pt x="5" y="14"/>
                    <a:pt x="3" y="19"/>
                  </a:cubicBezTo>
                  <a:cubicBezTo>
                    <a:pt x="2" y="22"/>
                    <a:pt x="8" y="23"/>
                    <a:pt x="6" y="25"/>
                  </a:cubicBezTo>
                  <a:cubicBezTo>
                    <a:pt x="5" y="26"/>
                    <a:pt x="5" y="23"/>
                    <a:pt x="3" y="25"/>
                  </a:cubicBezTo>
                  <a:cubicBezTo>
                    <a:pt x="3" y="25"/>
                    <a:pt x="6" y="28"/>
                    <a:pt x="6" y="29"/>
                  </a:cubicBezTo>
                  <a:cubicBezTo>
                    <a:pt x="5" y="29"/>
                    <a:pt x="5" y="28"/>
                    <a:pt x="3" y="29"/>
                  </a:cubicBezTo>
                  <a:cubicBezTo>
                    <a:pt x="6" y="34"/>
                    <a:pt x="12" y="36"/>
                    <a:pt x="12" y="37"/>
                  </a:cubicBezTo>
                  <a:cubicBezTo>
                    <a:pt x="12" y="39"/>
                    <a:pt x="8" y="39"/>
                    <a:pt x="9" y="39"/>
                  </a:cubicBezTo>
                  <a:cubicBezTo>
                    <a:pt x="11" y="40"/>
                    <a:pt x="9" y="40"/>
                    <a:pt x="11" y="4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Freeform 176"/>
            <p:cNvSpPr>
              <a:spLocks/>
            </p:cNvSpPr>
            <p:nvPr/>
          </p:nvSpPr>
          <p:spPr bwMode="auto">
            <a:xfrm>
              <a:off x="5454198" y="3779798"/>
              <a:ext cx="64271" cy="56236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4" y="17"/>
                </a:cxn>
                <a:cxn ang="0">
                  <a:pos x="4" y="18"/>
                </a:cxn>
                <a:cxn ang="0">
                  <a:pos x="15" y="14"/>
                </a:cxn>
                <a:cxn ang="0">
                  <a:pos x="21" y="12"/>
                </a:cxn>
                <a:cxn ang="0">
                  <a:pos x="19" y="6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4" y="3"/>
                </a:cxn>
                <a:cxn ang="0">
                  <a:pos x="1" y="6"/>
                </a:cxn>
              </a:cxnLst>
              <a:rect l="0" t="0" r="r" b="b"/>
              <a:pathLst>
                <a:path w="21" h="18">
                  <a:moveTo>
                    <a:pt x="1" y="6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1"/>
                    <a:pt x="1" y="12"/>
                  </a:cubicBezTo>
                  <a:cubicBezTo>
                    <a:pt x="1" y="14"/>
                    <a:pt x="3" y="17"/>
                    <a:pt x="4" y="17"/>
                  </a:cubicBezTo>
                  <a:cubicBezTo>
                    <a:pt x="4" y="15"/>
                    <a:pt x="4" y="17"/>
                    <a:pt x="4" y="18"/>
                  </a:cubicBezTo>
                  <a:cubicBezTo>
                    <a:pt x="16" y="17"/>
                    <a:pt x="10" y="12"/>
                    <a:pt x="15" y="14"/>
                  </a:cubicBezTo>
                  <a:cubicBezTo>
                    <a:pt x="19" y="17"/>
                    <a:pt x="18" y="12"/>
                    <a:pt x="21" y="12"/>
                  </a:cubicBezTo>
                  <a:cubicBezTo>
                    <a:pt x="19" y="11"/>
                    <a:pt x="21" y="9"/>
                    <a:pt x="19" y="6"/>
                  </a:cubicBezTo>
                  <a:cubicBezTo>
                    <a:pt x="19" y="3"/>
                    <a:pt x="16" y="5"/>
                    <a:pt x="16" y="2"/>
                  </a:cubicBezTo>
                  <a:cubicBezTo>
                    <a:pt x="13" y="0"/>
                    <a:pt x="13" y="3"/>
                    <a:pt x="10" y="2"/>
                  </a:cubicBezTo>
                  <a:cubicBezTo>
                    <a:pt x="7" y="2"/>
                    <a:pt x="9" y="3"/>
                    <a:pt x="4" y="3"/>
                  </a:cubicBezTo>
                  <a:cubicBezTo>
                    <a:pt x="1" y="5"/>
                    <a:pt x="4" y="6"/>
                    <a:pt x="1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3" name="Freeform 177"/>
            <p:cNvSpPr>
              <a:spLocks/>
            </p:cNvSpPr>
            <p:nvPr/>
          </p:nvSpPr>
          <p:spPr bwMode="auto">
            <a:xfrm>
              <a:off x="5425276" y="3763730"/>
              <a:ext cx="43383" cy="112473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21"/>
                </a:cxn>
                <a:cxn ang="0">
                  <a:pos x="1" y="27"/>
                </a:cxn>
                <a:cxn ang="0">
                  <a:pos x="3" y="30"/>
                </a:cxn>
                <a:cxn ang="0">
                  <a:pos x="7" y="36"/>
                </a:cxn>
                <a:cxn ang="0">
                  <a:pos x="8" y="34"/>
                </a:cxn>
                <a:cxn ang="0">
                  <a:pos x="8" y="33"/>
                </a:cxn>
                <a:cxn ang="0">
                  <a:pos x="11" y="30"/>
                </a:cxn>
                <a:cxn ang="0">
                  <a:pos x="14" y="27"/>
                </a:cxn>
                <a:cxn ang="0">
                  <a:pos x="13" y="24"/>
                </a:cxn>
                <a:cxn ang="0">
                  <a:pos x="13" y="22"/>
                </a:cxn>
                <a:cxn ang="0">
                  <a:pos x="10" y="17"/>
                </a:cxn>
                <a:cxn ang="0">
                  <a:pos x="10" y="14"/>
                </a:cxn>
                <a:cxn ang="0">
                  <a:pos x="10" y="11"/>
                </a:cxn>
                <a:cxn ang="0">
                  <a:pos x="8" y="7"/>
                </a:cxn>
                <a:cxn ang="0">
                  <a:pos x="7" y="4"/>
                </a:cxn>
                <a:cxn ang="0">
                  <a:pos x="4" y="4"/>
                </a:cxn>
                <a:cxn ang="0">
                  <a:pos x="1" y="7"/>
                </a:cxn>
                <a:cxn ang="0">
                  <a:pos x="1" y="11"/>
                </a:cxn>
              </a:cxnLst>
              <a:rect l="0" t="0" r="r" b="b"/>
              <a:pathLst>
                <a:path w="14" h="36">
                  <a:moveTo>
                    <a:pt x="1" y="11"/>
                  </a:moveTo>
                  <a:cubicBezTo>
                    <a:pt x="4" y="11"/>
                    <a:pt x="1" y="21"/>
                    <a:pt x="1" y="21"/>
                  </a:cubicBezTo>
                  <a:cubicBezTo>
                    <a:pt x="3" y="22"/>
                    <a:pt x="0" y="22"/>
                    <a:pt x="1" y="27"/>
                  </a:cubicBezTo>
                  <a:cubicBezTo>
                    <a:pt x="3" y="30"/>
                    <a:pt x="0" y="27"/>
                    <a:pt x="3" y="30"/>
                  </a:cubicBezTo>
                  <a:cubicBezTo>
                    <a:pt x="7" y="33"/>
                    <a:pt x="4" y="34"/>
                    <a:pt x="7" y="36"/>
                  </a:cubicBezTo>
                  <a:cubicBezTo>
                    <a:pt x="7" y="36"/>
                    <a:pt x="8" y="36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1"/>
                    <a:pt x="11" y="33"/>
                    <a:pt x="11" y="30"/>
                  </a:cubicBezTo>
                  <a:cubicBezTo>
                    <a:pt x="11" y="25"/>
                    <a:pt x="13" y="28"/>
                    <a:pt x="14" y="27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3" y="22"/>
                    <a:pt x="13" y="21"/>
                    <a:pt x="13" y="22"/>
                  </a:cubicBezTo>
                  <a:cubicBezTo>
                    <a:pt x="11" y="22"/>
                    <a:pt x="10" y="19"/>
                    <a:pt x="10" y="17"/>
                  </a:cubicBezTo>
                  <a:cubicBezTo>
                    <a:pt x="10" y="16"/>
                    <a:pt x="8" y="16"/>
                    <a:pt x="10" y="14"/>
                  </a:cubicBezTo>
                  <a:cubicBezTo>
                    <a:pt x="10" y="14"/>
                    <a:pt x="10" y="14"/>
                    <a:pt x="10" y="11"/>
                  </a:cubicBezTo>
                  <a:cubicBezTo>
                    <a:pt x="10" y="10"/>
                    <a:pt x="11" y="8"/>
                    <a:pt x="8" y="7"/>
                  </a:cubicBezTo>
                  <a:cubicBezTo>
                    <a:pt x="7" y="7"/>
                    <a:pt x="8" y="5"/>
                    <a:pt x="7" y="4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0"/>
                    <a:pt x="3" y="5"/>
                    <a:pt x="1" y="7"/>
                  </a:cubicBezTo>
                  <a:cubicBezTo>
                    <a:pt x="0" y="10"/>
                    <a:pt x="3" y="8"/>
                    <a:pt x="1" y="1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Freeform 178"/>
            <p:cNvSpPr>
              <a:spLocks/>
            </p:cNvSpPr>
            <p:nvPr/>
          </p:nvSpPr>
          <p:spPr bwMode="auto">
            <a:xfrm>
              <a:off x="5348151" y="3554853"/>
              <a:ext cx="165499" cy="106045"/>
            </a:xfrm>
            <a:custGeom>
              <a:avLst/>
              <a:gdLst/>
              <a:ahLst/>
              <a:cxnLst>
                <a:cxn ang="0">
                  <a:pos x="21" y="33"/>
                </a:cxn>
                <a:cxn ang="0">
                  <a:pos x="27" y="30"/>
                </a:cxn>
                <a:cxn ang="0">
                  <a:pos x="33" y="30"/>
                </a:cxn>
                <a:cxn ang="0">
                  <a:pos x="36" y="30"/>
                </a:cxn>
                <a:cxn ang="0">
                  <a:pos x="36" y="28"/>
                </a:cxn>
                <a:cxn ang="0">
                  <a:pos x="39" y="28"/>
                </a:cxn>
                <a:cxn ang="0">
                  <a:pos x="44" y="22"/>
                </a:cxn>
                <a:cxn ang="0">
                  <a:pos x="46" y="17"/>
                </a:cxn>
                <a:cxn ang="0">
                  <a:pos x="49" y="11"/>
                </a:cxn>
                <a:cxn ang="0">
                  <a:pos x="53" y="8"/>
                </a:cxn>
                <a:cxn ang="0">
                  <a:pos x="53" y="8"/>
                </a:cxn>
                <a:cxn ang="0">
                  <a:pos x="52" y="7"/>
                </a:cxn>
                <a:cxn ang="0">
                  <a:pos x="47" y="4"/>
                </a:cxn>
                <a:cxn ang="0">
                  <a:pos x="44" y="4"/>
                </a:cxn>
                <a:cxn ang="0">
                  <a:pos x="41" y="2"/>
                </a:cxn>
                <a:cxn ang="0">
                  <a:pos x="36" y="2"/>
                </a:cxn>
                <a:cxn ang="0">
                  <a:pos x="33" y="5"/>
                </a:cxn>
                <a:cxn ang="0">
                  <a:pos x="30" y="7"/>
                </a:cxn>
                <a:cxn ang="0">
                  <a:pos x="27" y="7"/>
                </a:cxn>
                <a:cxn ang="0">
                  <a:pos x="21" y="8"/>
                </a:cxn>
                <a:cxn ang="0">
                  <a:pos x="21" y="10"/>
                </a:cxn>
                <a:cxn ang="0">
                  <a:pos x="15" y="11"/>
                </a:cxn>
                <a:cxn ang="0">
                  <a:pos x="8" y="8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5" y="14"/>
                </a:cxn>
                <a:cxn ang="0">
                  <a:pos x="3" y="16"/>
                </a:cxn>
                <a:cxn ang="0">
                  <a:pos x="3" y="19"/>
                </a:cxn>
                <a:cxn ang="0">
                  <a:pos x="0" y="20"/>
                </a:cxn>
                <a:cxn ang="0">
                  <a:pos x="3" y="25"/>
                </a:cxn>
                <a:cxn ang="0">
                  <a:pos x="11" y="31"/>
                </a:cxn>
                <a:cxn ang="0">
                  <a:pos x="18" y="34"/>
                </a:cxn>
                <a:cxn ang="0">
                  <a:pos x="21" y="33"/>
                </a:cxn>
              </a:cxnLst>
              <a:rect l="0" t="0" r="r" b="b"/>
              <a:pathLst>
                <a:path w="53" h="34">
                  <a:moveTo>
                    <a:pt x="21" y="33"/>
                  </a:moveTo>
                  <a:cubicBezTo>
                    <a:pt x="26" y="31"/>
                    <a:pt x="26" y="30"/>
                    <a:pt x="27" y="30"/>
                  </a:cubicBezTo>
                  <a:cubicBezTo>
                    <a:pt x="29" y="30"/>
                    <a:pt x="30" y="30"/>
                    <a:pt x="33" y="30"/>
                  </a:cubicBezTo>
                  <a:cubicBezTo>
                    <a:pt x="33" y="30"/>
                    <a:pt x="35" y="30"/>
                    <a:pt x="36" y="30"/>
                  </a:cubicBezTo>
                  <a:cubicBezTo>
                    <a:pt x="38" y="28"/>
                    <a:pt x="36" y="28"/>
                    <a:pt x="36" y="28"/>
                  </a:cubicBezTo>
                  <a:cubicBezTo>
                    <a:pt x="38" y="28"/>
                    <a:pt x="38" y="28"/>
                    <a:pt x="39" y="28"/>
                  </a:cubicBezTo>
                  <a:cubicBezTo>
                    <a:pt x="39" y="28"/>
                    <a:pt x="43" y="24"/>
                    <a:pt x="44" y="22"/>
                  </a:cubicBezTo>
                  <a:cubicBezTo>
                    <a:pt x="44" y="19"/>
                    <a:pt x="43" y="19"/>
                    <a:pt x="46" y="17"/>
                  </a:cubicBezTo>
                  <a:cubicBezTo>
                    <a:pt x="49" y="14"/>
                    <a:pt x="47" y="14"/>
                    <a:pt x="49" y="11"/>
                  </a:cubicBezTo>
                  <a:cubicBezTo>
                    <a:pt x="50" y="10"/>
                    <a:pt x="50" y="13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7"/>
                    <a:pt x="52" y="7"/>
                  </a:cubicBezTo>
                  <a:cubicBezTo>
                    <a:pt x="50" y="8"/>
                    <a:pt x="52" y="5"/>
                    <a:pt x="47" y="4"/>
                  </a:cubicBezTo>
                  <a:cubicBezTo>
                    <a:pt x="47" y="4"/>
                    <a:pt x="44" y="5"/>
                    <a:pt x="44" y="4"/>
                  </a:cubicBezTo>
                  <a:cubicBezTo>
                    <a:pt x="44" y="4"/>
                    <a:pt x="43" y="0"/>
                    <a:pt x="41" y="2"/>
                  </a:cubicBezTo>
                  <a:cubicBezTo>
                    <a:pt x="39" y="4"/>
                    <a:pt x="38" y="2"/>
                    <a:pt x="36" y="2"/>
                  </a:cubicBezTo>
                  <a:cubicBezTo>
                    <a:pt x="33" y="2"/>
                    <a:pt x="35" y="5"/>
                    <a:pt x="33" y="5"/>
                  </a:cubicBezTo>
                  <a:cubicBezTo>
                    <a:pt x="33" y="5"/>
                    <a:pt x="32" y="7"/>
                    <a:pt x="30" y="7"/>
                  </a:cubicBezTo>
                  <a:cubicBezTo>
                    <a:pt x="29" y="7"/>
                    <a:pt x="27" y="4"/>
                    <a:pt x="27" y="7"/>
                  </a:cubicBezTo>
                  <a:cubicBezTo>
                    <a:pt x="26" y="8"/>
                    <a:pt x="24" y="7"/>
                    <a:pt x="21" y="8"/>
                  </a:cubicBezTo>
                  <a:cubicBezTo>
                    <a:pt x="20" y="8"/>
                    <a:pt x="21" y="10"/>
                    <a:pt x="21" y="10"/>
                  </a:cubicBezTo>
                  <a:cubicBezTo>
                    <a:pt x="21" y="11"/>
                    <a:pt x="20" y="11"/>
                    <a:pt x="15" y="11"/>
                  </a:cubicBezTo>
                  <a:cubicBezTo>
                    <a:pt x="12" y="13"/>
                    <a:pt x="11" y="8"/>
                    <a:pt x="8" y="8"/>
                  </a:cubicBezTo>
                  <a:cubicBezTo>
                    <a:pt x="8" y="10"/>
                    <a:pt x="9" y="11"/>
                    <a:pt x="8" y="11"/>
                  </a:cubicBezTo>
                  <a:cubicBezTo>
                    <a:pt x="6" y="11"/>
                    <a:pt x="3" y="11"/>
                    <a:pt x="3" y="11"/>
                  </a:cubicBezTo>
                  <a:cubicBezTo>
                    <a:pt x="3" y="13"/>
                    <a:pt x="5" y="13"/>
                    <a:pt x="5" y="14"/>
                  </a:cubicBezTo>
                  <a:cubicBezTo>
                    <a:pt x="5" y="16"/>
                    <a:pt x="3" y="14"/>
                    <a:pt x="3" y="16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2" y="20"/>
                    <a:pt x="0" y="20"/>
                  </a:cubicBezTo>
                  <a:cubicBezTo>
                    <a:pt x="3" y="22"/>
                    <a:pt x="2" y="25"/>
                    <a:pt x="3" y="25"/>
                  </a:cubicBezTo>
                  <a:cubicBezTo>
                    <a:pt x="11" y="30"/>
                    <a:pt x="9" y="31"/>
                    <a:pt x="11" y="31"/>
                  </a:cubicBezTo>
                  <a:cubicBezTo>
                    <a:pt x="12" y="31"/>
                    <a:pt x="15" y="34"/>
                    <a:pt x="18" y="34"/>
                  </a:cubicBezTo>
                  <a:cubicBezTo>
                    <a:pt x="20" y="34"/>
                    <a:pt x="20" y="31"/>
                    <a:pt x="21" y="3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5" name="Freeform 179"/>
            <p:cNvSpPr>
              <a:spLocks/>
            </p:cNvSpPr>
            <p:nvPr/>
          </p:nvSpPr>
          <p:spPr bwMode="auto">
            <a:xfrm>
              <a:off x="5362612" y="3514684"/>
              <a:ext cx="147824" cy="77124"/>
            </a:xfrm>
            <a:custGeom>
              <a:avLst/>
              <a:gdLst/>
              <a:ahLst/>
              <a:cxnLst>
                <a:cxn ang="0">
                  <a:pos x="45" y="8"/>
                </a:cxn>
                <a:cxn ang="0">
                  <a:pos x="41" y="5"/>
                </a:cxn>
                <a:cxn ang="0">
                  <a:pos x="30" y="4"/>
                </a:cxn>
                <a:cxn ang="0">
                  <a:pos x="25" y="7"/>
                </a:cxn>
                <a:cxn ang="0">
                  <a:pos x="24" y="5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6" y="4"/>
                </a:cxn>
                <a:cxn ang="0">
                  <a:pos x="9" y="10"/>
                </a:cxn>
                <a:cxn ang="0">
                  <a:pos x="3" y="13"/>
                </a:cxn>
                <a:cxn ang="0">
                  <a:pos x="3" y="21"/>
                </a:cxn>
                <a:cxn ang="0">
                  <a:pos x="10" y="24"/>
                </a:cxn>
                <a:cxn ang="0">
                  <a:pos x="16" y="22"/>
                </a:cxn>
                <a:cxn ang="0">
                  <a:pos x="16" y="21"/>
                </a:cxn>
                <a:cxn ang="0">
                  <a:pos x="22" y="19"/>
                </a:cxn>
                <a:cxn ang="0">
                  <a:pos x="25" y="19"/>
                </a:cxn>
                <a:cxn ang="0">
                  <a:pos x="28" y="18"/>
                </a:cxn>
                <a:cxn ang="0">
                  <a:pos x="31" y="14"/>
                </a:cxn>
                <a:cxn ang="0">
                  <a:pos x="36" y="14"/>
                </a:cxn>
                <a:cxn ang="0">
                  <a:pos x="39" y="16"/>
                </a:cxn>
                <a:cxn ang="0">
                  <a:pos x="42" y="16"/>
                </a:cxn>
                <a:cxn ang="0">
                  <a:pos x="45" y="11"/>
                </a:cxn>
                <a:cxn ang="0">
                  <a:pos x="45" y="8"/>
                </a:cxn>
              </a:cxnLst>
              <a:rect l="0" t="0" r="r" b="b"/>
              <a:pathLst>
                <a:path w="47" h="25">
                  <a:moveTo>
                    <a:pt x="45" y="8"/>
                  </a:moveTo>
                  <a:cubicBezTo>
                    <a:pt x="41" y="7"/>
                    <a:pt x="42" y="5"/>
                    <a:pt x="41" y="5"/>
                  </a:cubicBezTo>
                  <a:cubicBezTo>
                    <a:pt x="36" y="4"/>
                    <a:pt x="31" y="4"/>
                    <a:pt x="30" y="4"/>
                  </a:cubicBezTo>
                  <a:cubicBezTo>
                    <a:pt x="27" y="4"/>
                    <a:pt x="27" y="8"/>
                    <a:pt x="25" y="7"/>
                  </a:cubicBezTo>
                  <a:cubicBezTo>
                    <a:pt x="25" y="7"/>
                    <a:pt x="24" y="7"/>
                    <a:pt x="24" y="5"/>
                  </a:cubicBezTo>
                  <a:cubicBezTo>
                    <a:pt x="25" y="2"/>
                    <a:pt x="21" y="0"/>
                    <a:pt x="19" y="4"/>
                  </a:cubicBezTo>
                  <a:cubicBezTo>
                    <a:pt x="19" y="5"/>
                    <a:pt x="18" y="5"/>
                    <a:pt x="18" y="4"/>
                  </a:cubicBezTo>
                  <a:cubicBezTo>
                    <a:pt x="18" y="4"/>
                    <a:pt x="18" y="4"/>
                    <a:pt x="16" y="4"/>
                  </a:cubicBezTo>
                  <a:cubicBezTo>
                    <a:pt x="9" y="7"/>
                    <a:pt x="13" y="8"/>
                    <a:pt x="9" y="10"/>
                  </a:cubicBezTo>
                  <a:cubicBezTo>
                    <a:pt x="6" y="11"/>
                    <a:pt x="4" y="8"/>
                    <a:pt x="3" y="13"/>
                  </a:cubicBezTo>
                  <a:cubicBezTo>
                    <a:pt x="1" y="16"/>
                    <a:pt x="0" y="16"/>
                    <a:pt x="3" y="21"/>
                  </a:cubicBezTo>
                  <a:cubicBezTo>
                    <a:pt x="6" y="21"/>
                    <a:pt x="7" y="25"/>
                    <a:pt x="10" y="24"/>
                  </a:cubicBezTo>
                  <a:cubicBezTo>
                    <a:pt x="15" y="24"/>
                    <a:pt x="16" y="24"/>
                    <a:pt x="16" y="22"/>
                  </a:cubicBezTo>
                  <a:cubicBezTo>
                    <a:pt x="16" y="22"/>
                    <a:pt x="15" y="21"/>
                    <a:pt x="16" y="21"/>
                  </a:cubicBezTo>
                  <a:cubicBezTo>
                    <a:pt x="19" y="19"/>
                    <a:pt x="21" y="21"/>
                    <a:pt x="22" y="19"/>
                  </a:cubicBezTo>
                  <a:cubicBezTo>
                    <a:pt x="22" y="16"/>
                    <a:pt x="24" y="19"/>
                    <a:pt x="25" y="19"/>
                  </a:cubicBezTo>
                  <a:cubicBezTo>
                    <a:pt x="27" y="19"/>
                    <a:pt x="28" y="18"/>
                    <a:pt x="28" y="18"/>
                  </a:cubicBezTo>
                  <a:cubicBezTo>
                    <a:pt x="30" y="18"/>
                    <a:pt x="28" y="14"/>
                    <a:pt x="31" y="14"/>
                  </a:cubicBezTo>
                  <a:cubicBezTo>
                    <a:pt x="33" y="14"/>
                    <a:pt x="34" y="16"/>
                    <a:pt x="36" y="14"/>
                  </a:cubicBezTo>
                  <a:cubicBezTo>
                    <a:pt x="38" y="13"/>
                    <a:pt x="39" y="16"/>
                    <a:pt x="39" y="16"/>
                  </a:cubicBezTo>
                  <a:cubicBezTo>
                    <a:pt x="39" y="18"/>
                    <a:pt x="42" y="16"/>
                    <a:pt x="42" y="16"/>
                  </a:cubicBezTo>
                  <a:cubicBezTo>
                    <a:pt x="44" y="11"/>
                    <a:pt x="45" y="13"/>
                    <a:pt x="45" y="11"/>
                  </a:cubicBezTo>
                  <a:cubicBezTo>
                    <a:pt x="45" y="10"/>
                    <a:pt x="47" y="10"/>
                    <a:pt x="45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Freeform 180"/>
            <p:cNvSpPr>
              <a:spLocks/>
            </p:cNvSpPr>
            <p:nvPr/>
          </p:nvSpPr>
          <p:spPr bwMode="auto">
            <a:xfrm>
              <a:off x="5282273" y="3617516"/>
              <a:ext cx="75519" cy="59450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5"/>
                </a:cxn>
                <a:cxn ang="0">
                  <a:pos x="23" y="5"/>
                </a:cxn>
                <a:cxn ang="0">
                  <a:pos x="23" y="7"/>
                </a:cxn>
                <a:cxn ang="0">
                  <a:pos x="17" y="10"/>
                </a:cxn>
                <a:cxn ang="0">
                  <a:pos x="18" y="13"/>
                </a:cxn>
                <a:cxn ang="0">
                  <a:pos x="15" y="17"/>
                </a:cxn>
                <a:cxn ang="0">
                  <a:pos x="12" y="17"/>
                </a:cxn>
                <a:cxn ang="0">
                  <a:pos x="9" y="16"/>
                </a:cxn>
                <a:cxn ang="0">
                  <a:pos x="1" y="17"/>
                </a:cxn>
                <a:cxn ang="0">
                  <a:pos x="1" y="16"/>
                </a:cxn>
                <a:cxn ang="0">
                  <a:pos x="1" y="13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1" y="5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15" y="3"/>
                </a:cxn>
                <a:cxn ang="0">
                  <a:pos x="18" y="3"/>
                </a:cxn>
                <a:cxn ang="0">
                  <a:pos x="21" y="2"/>
                </a:cxn>
                <a:cxn ang="0">
                  <a:pos x="21" y="0"/>
                </a:cxn>
              </a:cxnLst>
              <a:rect l="0" t="0" r="r" b="b"/>
              <a:pathLst>
                <a:path w="24" h="19">
                  <a:moveTo>
                    <a:pt x="21" y="0"/>
                  </a:moveTo>
                  <a:cubicBezTo>
                    <a:pt x="24" y="2"/>
                    <a:pt x="23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3" y="7"/>
                    <a:pt x="23" y="7"/>
                  </a:cubicBezTo>
                  <a:cubicBezTo>
                    <a:pt x="21" y="8"/>
                    <a:pt x="18" y="8"/>
                    <a:pt x="17" y="10"/>
                  </a:cubicBezTo>
                  <a:cubicBezTo>
                    <a:pt x="17" y="10"/>
                    <a:pt x="18" y="11"/>
                    <a:pt x="18" y="13"/>
                  </a:cubicBezTo>
                  <a:cubicBezTo>
                    <a:pt x="18" y="14"/>
                    <a:pt x="15" y="14"/>
                    <a:pt x="15" y="17"/>
                  </a:cubicBezTo>
                  <a:cubicBezTo>
                    <a:pt x="15" y="19"/>
                    <a:pt x="13" y="17"/>
                    <a:pt x="12" y="17"/>
                  </a:cubicBezTo>
                  <a:cubicBezTo>
                    <a:pt x="10" y="16"/>
                    <a:pt x="12" y="19"/>
                    <a:pt x="9" y="16"/>
                  </a:cubicBezTo>
                  <a:cubicBezTo>
                    <a:pt x="7" y="14"/>
                    <a:pt x="10" y="17"/>
                    <a:pt x="1" y="17"/>
                  </a:cubicBezTo>
                  <a:cubicBezTo>
                    <a:pt x="1" y="16"/>
                    <a:pt x="1" y="17"/>
                    <a:pt x="1" y="16"/>
                  </a:cubicBezTo>
                  <a:cubicBezTo>
                    <a:pt x="4" y="16"/>
                    <a:pt x="3" y="14"/>
                    <a:pt x="1" y="13"/>
                  </a:cubicBezTo>
                  <a:cubicBezTo>
                    <a:pt x="0" y="13"/>
                    <a:pt x="0" y="11"/>
                    <a:pt x="1" y="10"/>
                  </a:cubicBezTo>
                  <a:cubicBezTo>
                    <a:pt x="3" y="8"/>
                    <a:pt x="0" y="10"/>
                    <a:pt x="0" y="8"/>
                  </a:cubicBezTo>
                  <a:cubicBezTo>
                    <a:pt x="0" y="7"/>
                    <a:pt x="1" y="7"/>
                    <a:pt x="1" y="5"/>
                  </a:cubicBezTo>
                  <a:cubicBezTo>
                    <a:pt x="6" y="5"/>
                    <a:pt x="4" y="7"/>
                    <a:pt x="7" y="7"/>
                  </a:cubicBezTo>
                  <a:cubicBezTo>
                    <a:pt x="9" y="5"/>
                    <a:pt x="7" y="8"/>
                    <a:pt x="10" y="7"/>
                  </a:cubicBezTo>
                  <a:cubicBezTo>
                    <a:pt x="12" y="3"/>
                    <a:pt x="12" y="3"/>
                    <a:pt x="15" y="3"/>
                  </a:cubicBezTo>
                  <a:cubicBezTo>
                    <a:pt x="18" y="5"/>
                    <a:pt x="17" y="3"/>
                    <a:pt x="18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0"/>
                    <a:pt x="21" y="2"/>
                    <a:pt x="2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7" name="Freeform 181"/>
            <p:cNvSpPr>
              <a:spLocks/>
            </p:cNvSpPr>
            <p:nvPr/>
          </p:nvSpPr>
          <p:spPr bwMode="auto">
            <a:xfrm>
              <a:off x="5282273" y="3631976"/>
              <a:ext cx="152644" cy="151035"/>
            </a:xfrm>
            <a:custGeom>
              <a:avLst/>
              <a:gdLst/>
              <a:ahLst/>
              <a:cxnLst>
                <a:cxn ang="0">
                  <a:pos x="44" y="19"/>
                </a:cxn>
                <a:cxn ang="0">
                  <a:pos x="41" y="17"/>
                </a:cxn>
                <a:cxn ang="0">
                  <a:pos x="36" y="17"/>
                </a:cxn>
                <a:cxn ang="0">
                  <a:pos x="30" y="16"/>
                </a:cxn>
                <a:cxn ang="0">
                  <a:pos x="24" y="16"/>
                </a:cxn>
                <a:cxn ang="0">
                  <a:pos x="21" y="17"/>
                </a:cxn>
                <a:cxn ang="0">
                  <a:pos x="20" y="21"/>
                </a:cxn>
                <a:cxn ang="0">
                  <a:pos x="21" y="25"/>
                </a:cxn>
                <a:cxn ang="0">
                  <a:pos x="21" y="27"/>
                </a:cxn>
                <a:cxn ang="0">
                  <a:pos x="29" y="35"/>
                </a:cxn>
                <a:cxn ang="0">
                  <a:pos x="32" y="38"/>
                </a:cxn>
                <a:cxn ang="0">
                  <a:pos x="33" y="41"/>
                </a:cxn>
                <a:cxn ang="0">
                  <a:pos x="35" y="42"/>
                </a:cxn>
                <a:cxn ang="0">
                  <a:pos x="39" y="45"/>
                </a:cxn>
                <a:cxn ang="0">
                  <a:pos x="42" y="48"/>
                </a:cxn>
                <a:cxn ang="0">
                  <a:pos x="39" y="47"/>
                </a:cxn>
                <a:cxn ang="0">
                  <a:pos x="33" y="44"/>
                </a:cxn>
                <a:cxn ang="0">
                  <a:pos x="32" y="41"/>
                </a:cxn>
                <a:cxn ang="0">
                  <a:pos x="23" y="35"/>
                </a:cxn>
                <a:cxn ang="0">
                  <a:pos x="17" y="30"/>
                </a:cxn>
                <a:cxn ang="0">
                  <a:pos x="13" y="24"/>
                </a:cxn>
                <a:cxn ang="0">
                  <a:pos x="9" y="14"/>
                </a:cxn>
                <a:cxn ang="0">
                  <a:pos x="4" y="21"/>
                </a:cxn>
                <a:cxn ang="0">
                  <a:pos x="1" y="13"/>
                </a:cxn>
                <a:cxn ang="0">
                  <a:pos x="1" y="13"/>
                </a:cxn>
                <a:cxn ang="0">
                  <a:pos x="9" y="11"/>
                </a:cxn>
                <a:cxn ang="0">
                  <a:pos x="12" y="13"/>
                </a:cxn>
                <a:cxn ang="0">
                  <a:pos x="15" y="13"/>
                </a:cxn>
                <a:cxn ang="0">
                  <a:pos x="18" y="8"/>
                </a:cxn>
                <a:cxn ang="0">
                  <a:pos x="17" y="5"/>
                </a:cxn>
                <a:cxn ang="0">
                  <a:pos x="23" y="2"/>
                </a:cxn>
                <a:cxn ang="0">
                  <a:pos x="23" y="0"/>
                </a:cxn>
                <a:cxn ang="0">
                  <a:pos x="24" y="0"/>
                </a:cxn>
                <a:cxn ang="0">
                  <a:pos x="32" y="7"/>
                </a:cxn>
                <a:cxn ang="0">
                  <a:pos x="39" y="10"/>
                </a:cxn>
                <a:cxn ang="0">
                  <a:pos x="42" y="8"/>
                </a:cxn>
                <a:cxn ang="0">
                  <a:pos x="44" y="14"/>
                </a:cxn>
                <a:cxn ang="0">
                  <a:pos x="47" y="16"/>
                </a:cxn>
                <a:cxn ang="0">
                  <a:pos x="44" y="19"/>
                </a:cxn>
              </a:cxnLst>
              <a:rect l="0" t="0" r="r" b="b"/>
              <a:pathLst>
                <a:path w="49" h="48">
                  <a:moveTo>
                    <a:pt x="44" y="19"/>
                  </a:moveTo>
                  <a:cubicBezTo>
                    <a:pt x="41" y="21"/>
                    <a:pt x="42" y="16"/>
                    <a:pt x="41" y="17"/>
                  </a:cubicBezTo>
                  <a:cubicBezTo>
                    <a:pt x="39" y="17"/>
                    <a:pt x="38" y="16"/>
                    <a:pt x="36" y="17"/>
                  </a:cubicBezTo>
                  <a:cubicBezTo>
                    <a:pt x="33" y="19"/>
                    <a:pt x="32" y="16"/>
                    <a:pt x="30" y="16"/>
                  </a:cubicBezTo>
                  <a:cubicBezTo>
                    <a:pt x="29" y="17"/>
                    <a:pt x="26" y="14"/>
                    <a:pt x="24" y="16"/>
                  </a:cubicBezTo>
                  <a:cubicBezTo>
                    <a:pt x="23" y="17"/>
                    <a:pt x="23" y="19"/>
                    <a:pt x="21" y="17"/>
                  </a:cubicBezTo>
                  <a:cubicBezTo>
                    <a:pt x="18" y="13"/>
                    <a:pt x="17" y="21"/>
                    <a:pt x="20" y="21"/>
                  </a:cubicBezTo>
                  <a:cubicBezTo>
                    <a:pt x="21" y="22"/>
                    <a:pt x="21" y="24"/>
                    <a:pt x="21" y="25"/>
                  </a:cubicBezTo>
                  <a:cubicBezTo>
                    <a:pt x="23" y="25"/>
                    <a:pt x="20" y="27"/>
                    <a:pt x="21" y="27"/>
                  </a:cubicBezTo>
                  <a:cubicBezTo>
                    <a:pt x="23" y="27"/>
                    <a:pt x="27" y="35"/>
                    <a:pt x="29" y="35"/>
                  </a:cubicBezTo>
                  <a:cubicBezTo>
                    <a:pt x="30" y="36"/>
                    <a:pt x="29" y="38"/>
                    <a:pt x="32" y="38"/>
                  </a:cubicBezTo>
                  <a:cubicBezTo>
                    <a:pt x="33" y="39"/>
                    <a:pt x="33" y="41"/>
                    <a:pt x="33" y="41"/>
                  </a:cubicBezTo>
                  <a:cubicBezTo>
                    <a:pt x="33" y="42"/>
                    <a:pt x="35" y="41"/>
                    <a:pt x="35" y="42"/>
                  </a:cubicBezTo>
                  <a:cubicBezTo>
                    <a:pt x="36" y="44"/>
                    <a:pt x="38" y="45"/>
                    <a:pt x="39" y="45"/>
                  </a:cubicBezTo>
                  <a:cubicBezTo>
                    <a:pt x="39" y="47"/>
                    <a:pt x="44" y="47"/>
                    <a:pt x="42" y="48"/>
                  </a:cubicBezTo>
                  <a:cubicBezTo>
                    <a:pt x="41" y="47"/>
                    <a:pt x="41" y="47"/>
                    <a:pt x="39" y="47"/>
                  </a:cubicBezTo>
                  <a:cubicBezTo>
                    <a:pt x="38" y="48"/>
                    <a:pt x="39" y="45"/>
                    <a:pt x="33" y="44"/>
                  </a:cubicBezTo>
                  <a:cubicBezTo>
                    <a:pt x="27" y="41"/>
                    <a:pt x="27" y="39"/>
                    <a:pt x="32" y="41"/>
                  </a:cubicBezTo>
                  <a:cubicBezTo>
                    <a:pt x="29" y="38"/>
                    <a:pt x="26" y="35"/>
                    <a:pt x="23" y="35"/>
                  </a:cubicBezTo>
                  <a:cubicBezTo>
                    <a:pt x="18" y="36"/>
                    <a:pt x="23" y="35"/>
                    <a:pt x="17" y="30"/>
                  </a:cubicBezTo>
                  <a:cubicBezTo>
                    <a:pt x="10" y="25"/>
                    <a:pt x="17" y="28"/>
                    <a:pt x="13" y="24"/>
                  </a:cubicBezTo>
                  <a:cubicBezTo>
                    <a:pt x="9" y="21"/>
                    <a:pt x="13" y="19"/>
                    <a:pt x="9" y="14"/>
                  </a:cubicBezTo>
                  <a:cubicBezTo>
                    <a:pt x="6" y="13"/>
                    <a:pt x="6" y="17"/>
                    <a:pt x="4" y="21"/>
                  </a:cubicBezTo>
                  <a:cubicBezTo>
                    <a:pt x="4" y="24"/>
                    <a:pt x="0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0" y="13"/>
                    <a:pt x="7" y="10"/>
                    <a:pt x="9" y="11"/>
                  </a:cubicBezTo>
                  <a:cubicBezTo>
                    <a:pt x="12" y="14"/>
                    <a:pt x="10" y="11"/>
                    <a:pt x="12" y="13"/>
                  </a:cubicBezTo>
                  <a:cubicBezTo>
                    <a:pt x="13" y="13"/>
                    <a:pt x="15" y="14"/>
                    <a:pt x="15" y="13"/>
                  </a:cubicBezTo>
                  <a:cubicBezTo>
                    <a:pt x="15" y="10"/>
                    <a:pt x="18" y="10"/>
                    <a:pt x="18" y="8"/>
                  </a:cubicBezTo>
                  <a:cubicBezTo>
                    <a:pt x="18" y="7"/>
                    <a:pt x="17" y="5"/>
                    <a:pt x="17" y="5"/>
                  </a:cubicBezTo>
                  <a:cubicBezTo>
                    <a:pt x="18" y="4"/>
                    <a:pt x="21" y="4"/>
                    <a:pt x="23" y="2"/>
                  </a:cubicBezTo>
                  <a:cubicBezTo>
                    <a:pt x="23" y="2"/>
                    <a:pt x="21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2" y="5"/>
                    <a:pt x="30" y="7"/>
                    <a:pt x="32" y="7"/>
                  </a:cubicBezTo>
                  <a:cubicBezTo>
                    <a:pt x="33" y="7"/>
                    <a:pt x="36" y="10"/>
                    <a:pt x="39" y="10"/>
                  </a:cubicBezTo>
                  <a:cubicBezTo>
                    <a:pt x="41" y="10"/>
                    <a:pt x="41" y="7"/>
                    <a:pt x="42" y="8"/>
                  </a:cubicBezTo>
                  <a:cubicBezTo>
                    <a:pt x="44" y="10"/>
                    <a:pt x="44" y="13"/>
                    <a:pt x="44" y="14"/>
                  </a:cubicBezTo>
                  <a:cubicBezTo>
                    <a:pt x="47" y="16"/>
                    <a:pt x="49" y="14"/>
                    <a:pt x="47" y="16"/>
                  </a:cubicBezTo>
                  <a:cubicBezTo>
                    <a:pt x="47" y="17"/>
                    <a:pt x="46" y="16"/>
                    <a:pt x="44" y="1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8" name="Freeform 182"/>
            <p:cNvSpPr>
              <a:spLocks/>
            </p:cNvSpPr>
            <p:nvPr/>
          </p:nvSpPr>
          <p:spPr bwMode="auto">
            <a:xfrm>
              <a:off x="5332083" y="3670538"/>
              <a:ext cx="106047" cy="102832"/>
            </a:xfrm>
            <a:custGeom>
              <a:avLst/>
              <a:gdLst/>
              <a:ahLst/>
              <a:cxnLst>
                <a:cxn ang="0">
                  <a:pos x="29" y="22"/>
                </a:cxn>
                <a:cxn ang="0">
                  <a:pos x="33" y="22"/>
                </a:cxn>
                <a:cxn ang="0">
                  <a:pos x="29" y="18"/>
                </a:cxn>
                <a:cxn ang="0">
                  <a:pos x="33" y="18"/>
                </a:cxn>
                <a:cxn ang="0">
                  <a:pos x="29" y="11"/>
                </a:cxn>
                <a:cxn ang="0">
                  <a:pos x="28" y="7"/>
                </a:cxn>
                <a:cxn ang="0">
                  <a:pos x="25" y="5"/>
                </a:cxn>
                <a:cxn ang="0">
                  <a:pos x="20" y="5"/>
                </a:cxn>
                <a:cxn ang="0">
                  <a:pos x="14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3" y="8"/>
                </a:cxn>
                <a:cxn ang="0">
                  <a:pos x="5" y="13"/>
                </a:cxn>
                <a:cxn ang="0">
                  <a:pos x="5" y="15"/>
                </a:cxn>
                <a:cxn ang="0">
                  <a:pos x="13" y="22"/>
                </a:cxn>
                <a:cxn ang="0">
                  <a:pos x="16" y="26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23" y="33"/>
                </a:cxn>
                <a:cxn ang="0">
                  <a:pos x="25" y="29"/>
                </a:cxn>
                <a:cxn ang="0">
                  <a:pos x="26" y="26"/>
                </a:cxn>
                <a:cxn ang="0">
                  <a:pos x="28" y="26"/>
                </a:cxn>
                <a:cxn ang="0">
                  <a:pos x="29" y="22"/>
                </a:cxn>
              </a:cxnLst>
              <a:rect l="0" t="0" r="r" b="b"/>
              <a:pathLst>
                <a:path w="34" h="33">
                  <a:moveTo>
                    <a:pt x="29" y="22"/>
                  </a:moveTo>
                  <a:cubicBezTo>
                    <a:pt x="31" y="21"/>
                    <a:pt x="31" y="22"/>
                    <a:pt x="33" y="22"/>
                  </a:cubicBezTo>
                  <a:cubicBezTo>
                    <a:pt x="33" y="21"/>
                    <a:pt x="29" y="18"/>
                    <a:pt x="29" y="18"/>
                  </a:cubicBezTo>
                  <a:cubicBezTo>
                    <a:pt x="31" y="16"/>
                    <a:pt x="31" y="19"/>
                    <a:pt x="33" y="18"/>
                  </a:cubicBezTo>
                  <a:cubicBezTo>
                    <a:pt x="34" y="16"/>
                    <a:pt x="28" y="15"/>
                    <a:pt x="29" y="11"/>
                  </a:cubicBezTo>
                  <a:cubicBezTo>
                    <a:pt x="31" y="7"/>
                    <a:pt x="33" y="7"/>
                    <a:pt x="28" y="7"/>
                  </a:cubicBezTo>
                  <a:cubicBezTo>
                    <a:pt x="25" y="8"/>
                    <a:pt x="26" y="4"/>
                    <a:pt x="25" y="5"/>
                  </a:cubicBezTo>
                  <a:cubicBezTo>
                    <a:pt x="23" y="5"/>
                    <a:pt x="22" y="4"/>
                    <a:pt x="20" y="5"/>
                  </a:cubicBezTo>
                  <a:cubicBezTo>
                    <a:pt x="17" y="7"/>
                    <a:pt x="16" y="4"/>
                    <a:pt x="14" y="4"/>
                  </a:cubicBezTo>
                  <a:cubicBezTo>
                    <a:pt x="13" y="5"/>
                    <a:pt x="9" y="2"/>
                    <a:pt x="8" y="4"/>
                  </a:cubicBezTo>
                  <a:cubicBezTo>
                    <a:pt x="6" y="5"/>
                    <a:pt x="6" y="7"/>
                    <a:pt x="5" y="5"/>
                  </a:cubicBezTo>
                  <a:cubicBezTo>
                    <a:pt x="2" y="0"/>
                    <a:pt x="0" y="8"/>
                    <a:pt x="3" y="8"/>
                  </a:cubicBezTo>
                  <a:cubicBezTo>
                    <a:pt x="5" y="10"/>
                    <a:pt x="5" y="11"/>
                    <a:pt x="5" y="13"/>
                  </a:cubicBezTo>
                  <a:cubicBezTo>
                    <a:pt x="6" y="13"/>
                    <a:pt x="3" y="15"/>
                    <a:pt x="5" y="15"/>
                  </a:cubicBezTo>
                  <a:cubicBezTo>
                    <a:pt x="6" y="15"/>
                    <a:pt x="11" y="22"/>
                    <a:pt x="13" y="22"/>
                  </a:cubicBezTo>
                  <a:cubicBezTo>
                    <a:pt x="14" y="24"/>
                    <a:pt x="13" y="26"/>
                    <a:pt x="16" y="26"/>
                  </a:cubicBezTo>
                  <a:cubicBezTo>
                    <a:pt x="17" y="27"/>
                    <a:pt x="17" y="29"/>
                    <a:pt x="17" y="29"/>
                  </a:cubicBezTo>
                  <a:cubicBezTo>
                    <a:pt x="17" y="30"/>
                    <a:pt x="19" y="29"/>
                    <a:pt x="19" y="30"/>
                  </a:cubicBezTo>
                  <a:cubicBezTo>
                    <a:pt x="20" y="32"/>
                    <a:pt x="22" y="33"/>
                    <a:pt x="23" y="33"/>
                  </a:cubicBezTo>
                  <a:cubicBezTo>
                    <a:pt x="26" y="32"/>
                    <a:pt x="22" y="30"/>
                    <a:pt x="25" y="29"/>
                  </a:cubicBezTo>
                  <a:cubicBezTo>
                    <a:pt x="26" y="27"/>
                    <a:pt x="25" y="26"/>
                    <a:pt x="26" y="26"/>
                  </a:cubicBezTo>
                  <a:cubicBezTo>
                    <a:pt x="28" y="24"/>
                    <a:pt x="28" y="27"/>
                    <a:pt x="28" y="26"/>
                  </a:cubicBezTo>
                  <a:cubicBezTo>
                    <a:pt x="29" y="26"/>
                    <a:pt x="25" y="21"/>
                    <a:pt x="29" y="2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Freeform 183"/>
            <p:cNvSpPr>
              <a:spLocks/>
            </p:cNvSpPr>
            <p:nvPr/>
          </p:nvSpPr>
          <p:spPr bwMode="auto">
            <a:xfrm>
              <a:off x="5401175" y="3734809"/>
              <a:ext cx="53024" cy="62664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17" y="9"/>
                </a:cxn>
                <a:cxn ang="0">
                  <a:pos x="14" y="11"/>
                </a:cxn>
                <a:cxn ang="0">
                  <a:pos x="15" y="12"/>
                </a:cxn>
                <a:cxn ang="0">
                  <a:pos x="12" y="12"/>
                </a:cxn>
                <a:cxn ang="0">
                  <a:pos x="9" y="15"/>
                </a:cxn>
                <a:cxn ang="0">
                  <a:pos x="9" y="20"/>
                </a:cxn>
                <a:cxn ang="0">
                  <a:pos x="6" y="17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3" y="8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7" y="1"/>
                </a:cxn>
              </a:cxnLst>
              <a:rect l="0" t="0" r="r" b="b"/>
              <a:pathLst>
                <a:path w="17" h="20">
                  <a:moveTo>
                    <a:pt x="7" y="1"/>
                  </a:moveTo>
                  <a:cubicBezTo>
                    <a:pt x="10" y="6"/>
                    <a:pt x="17" y="8"/>
                    <a:pt x="17" y="9"/>
                  </a:cubicBezTo>
                  <a:cubicBezTo>
                    <a:pt x="17" y="11"/>
                    <a:pt x="12" y="11"/>
                    <a:pt x="14" y="11"/>
                  </a:cubicBezTo>
                  <a:cubicBezTo>
                    <a:pt x="15" y="12"/>
                    <a:pt x="14" y="12"/>
                    <a:pt x="15" y="12"/>
                  </a:cubicBezTo>
                  <a:cubicBezTo>
                    <a:pt x="12" y="14"/>
                    <a:pt x="12" y="14"/>
                    <a:pt x="12" y="12"/>
                  </a:cubicBezTo>
                  <a:cubicBezTo>
                    <a:pt x="12" y="9"/>
                    <a:pt x="10" y="14"/>
                    <a:pt x="9" y="15"/>
                  </a:cubicBezTo>
                  <a:cubicBezTo>
                    <a:pt x="7" y="18"/>
                    <a:pt x="10" y="17"/>
                    <a:pt x="9" y="20"/>
                  </a:cubicBezTo>
                  <a:cubicBezTo>
                    <a:pt x="6" y="20"/>
                    <a:pt x="7" y="20"/>
                    <a:pt x="6" y="17"/>
                  </a:cubicBezTo>
                  <a:cubicBezTo>
                    <a:pt x="6" y="15"/>
                    <a:pt x="4" y="15"/>
                    <a:pt x="4" y="15"/>
                  </a:cubicBezTo>
                  <a:cubicBezTo>
                    <a:pt x="6" y="14"/>
                    <a:pt x="1" y="14"/>
                    <a:pt x="1" y="12"/>
                  </a:cubicBezTo>
                  <a:cubicBezTo>
                    <a:pt x="4" y="11"/>
                    <a:pt x="0" y="9"/>
                    <a:pt x="3" y="8"/>
                  </a:cubicBezTo>
                  <a:cubicBezTo>
                    <a:pt x="4" y="6"/>
                    <a:pt x="3" y="5"/>
                    <a:pt x="4" y="5"/>
                  </a:cubicBezTo>
                  <a:cubicBezTo>
                    <a:pt x="6" y="3"/>
                    <a:pt x="6" y="6"/>
                    <a:pt x="6" y="5"/>
                  </a:cubicBezTo>
                  <a:cubicBezTo>
                    <a:pt x="7" y="5"/>
                    <a:pt x="3" y="0"/>
                    <a:pt x="7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0" name="Freeform 184"/>
            <p:cNvSpPr>
              <a:spLocks noEditPoints="1"/>
            </p:cNvSpPr>
            <p:nvPr/>
          </p:nvSpPr>
          <p:spPr bwMode="auto">
            <a:xfrm>
              <a:off x="5148911" y="3206187"/>
              <a:ext cx="179959" cy="130147"/>
            </a:xfrm>
            <a:custGeom>
              <a:avLst/>
              <a:gdLst/>
              <a:ahLst/>
              <a:cxnLst>
                <a:cxn ang="0">
                  <a:pos x="4" y="33"/>
                </a:cxn>
                <a:cxn ang="0">
                  <a:pos x="1" y="30"/>
                </a:cxn>
                <a:cxn ang="0">
                  <a:pos x="0" y="19"/>
                </a:cxn>
                <a:cxn ang="0">
                  <a:pos x="16" y="3"/>
                </a:cxn>
                <a:cxn ang="0">
                  <a:pos x="20" y="5"/>
                </a:cxn>
                <a:cxn ang="0">
                  <a:pos x="18" y="11"/>
                </a:cxn>
                <a:cxn ang="0">
                  <a:pos x="20" y="17"/>
                </a:cxn>
                <a:cxn ang="0">
                  <a:pos x="21" y="21"/>
                </a:cxn>
                <a:cxn ang="0">
                  <a:pos x="18" y="19"/>
                </a:cxn>
                <a:cxn ang="0">
                  <a:pos x="15" y="25"/>
                </a:cxn>
                <a:cxn ang="0">
                  <a:pos x="12" y="30"/>
                </a:cxn>
                <a:cxn ang="0">
                  <a:pos x="12" y="35"/>
                </a:cxn>
                <a:cxn ang="0">
                  <a:pos x="15" y="38"/>
                </a:cxn>
                <a:cxn ang="0">
                  <a:pos x="10" y="38"/>
                </a:cxn>
                <a:cxn ang="0">
                  <a:pos x="4" y="38"/>
                </a:cxn>
                <a:cxn ang="0">
                  <a:pos x="53" y="31"/>
                </a:cxn>
                <a:cxn ang="0">
                  <a:pos x="53" y="31"/>
                </a:cxn>
                <a:cxn ang="0">
                  <a:pos x="24" y="7"/>
                </a:cxn>
                <a:cxn ang="0">
                  <a:pos x="21" y="30"/>
                </a:cxn>
                <a:cxn ang="0">
                  <a:pos x="18" y="28"/>
                </a:cxn>
                <a:cxn ang="0">
                  <a:pos x="13" y="30"/>
                </a:cxn>
                <a:cxn ang="0">
                  <a:pos x="16" y="33"/>
                </a:cxn>
                <a:cxn ang="0">
                  <a:pos x="21" y="35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1" y="36"/>
                </a:cxn>
                <a:cxn ang="0">
                  <a:pos x="23" y="35"/>
                </a:cxn>
                <a:cxn ang="0">
                  <a:pos x="30" y="39"/>
                </a:cxn>
                <a:cxn ang="0">
                  <a:pos x="26" y="36"/>
                </a:cxn>
                <a:cxn ang="0">
                  <a:pos x="29" y="41"/>
                </a:cxn>
                <a:cxn ang="0">
                  <a:pos x="32" y="38"/>
                </a:cxn>
                <a:cxn ang="0">
                  <a:pos x="32" y="35"/>
                </a:cxn>
                <a:cxn ang="0">
                  <a:pos x="33" y="31"/>
                </a:cxn>
                <a:cxn ang="0">
                  <a:pos x="36" y="24"/>
                </a:cxn>
                <a:cxn ang="0">
                  <a:pos x="30" y="24"/>
                </a:cxn>
                <a:cxn ang="0">
                  <a:pos x="29" y="25"/>
                </a:cxn>
                <a:cxn ang="0">
                  <a:pos x="26" y="24"/>
                </a:cxn>
                <a:cxn ang="0">
                  <a:pos x="23" y="27"/>
                </a:cxn>
                <a:cxn ang="0">
                  <a:pos x="24" y="31"/>
                </a:cxn>
                <a:cxn ang="0">
                  <a:pos x="27" y="33"/>
                </a:cxn>
                <a:cxn ang="0">
                  <a:pos x="29" y="35"/>
                </a:cxn>
                <a:cxn ang="0">
                  <a:pos x="30" y="38"/>
                </a:cxn>
                <a:cxn ang="0">
                  <a:pos x="32" y="39"/>
                </a:cxn>
                <a:cxn ang="0">
                  <a:pos x="35" y="36"/>
                </a:cxn>
              </a:cxnLst>
              <a:rect l="0" t="0" r="r" b="b"/>
              <a:pathLst>
                <a:path w="58" h="42">
                  <a:moveTo>
                    <a:pt x="3" y="35"/>
                  </a:moveTo>
                  <a:cubicBezTo>
                    <a:pt x="3" y="31"/>
                    <a:pt x="4" y="36"/>
                    <a:pt x="4" y="33"/>
                  </a:cubicBezTo>
                  <a:cubicBezTo>
                    <a:pt x="4" y="30"/>
                    <a:pt x="3" y="31"/>
                    <a:pt x="3" y="30"/>
                  </a:cubicBezTo>
                  <a:cubicBezTo>
                    <a:pt x="1" y="28"/>
                    <a:pt x="3" y="31"/>
                    <a:pt x="1" y="30"/>
                  </a:cubicBezTo>
                  <a:cubicBezTo>
                    <a:pt x="0" y="28"/>
                    <a:pt x="0" y="30"/>
                    <a:pt x="0" y="28"/>
                  </a:cubicBezTo>
                  <a:cubicBezTo>
                    <a:pt x="1" y="25"/>
                    <a:pt x="0" y="24"/>
                    <a:pt x="0" y="19"/>
                  </a:cubicBezTo>
                  <a:cubicBezTo>
                    <a:pt x="1" y="14"/>
                    <a:pt x="1" y="8"/>
                    <a:pt x="7" y="8"/>
                  </a:cubicBezTo>
                  <a:cubicBezTo>
                    <a:pt x="13" y="10"/>
                    <a:pt x="13" y="3"/>
                    <a:pt x="16" y="3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1" y="2"/>
                    <a:pt x="18" y="2"/>
                    <a:pt x="20" y="5"/>
                  </a:cubicBezTo>
                  <a:cubicBezTo>
                    <a:pt x="20" y="7"/>
                    <a:pt x="20" y="8"/>
                    <a:pt x="20" y="8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6" y="13"/>
                    <a:pt x="20" y="14"/>
                    <a:pt x="18" y="16"/>
                  </a:cubicBezTo>
                  <a:cubicBezTo>
                    <a:pt x="16" y="17"/>
                    <a:pt x="18" y="16"/>
                    <a:pt x="20" y="17"/>
                  </a:cubicBezTo>
                  <a:cubicBezTo>
                    <a:pt x="20" y="17"/>
                    <a:pt x="24" y="16"/>
                    <a:pt x="23" y="19"/>
                  </a:cubicBezTo>
                  <a:cubicBezTo>
                    <a:pt x="23" y="21"/>
                    <a:pt x="21" y="22"/>
                    <a:pt x="21" y="21"/>
                  </a:cubicBezTo>
                  <a:cubicBezTo>
                    <a:pt x="20" y="21"/>
                    <a:pt x="20" y="22"/>
                    <a:pt x="20" y="22"/>
                  </a:cubicBezTo>
                  <a:cubicBezTo>
                    <a:pt x="18" y="21"/>
                    <a:pt x="20" y="19"/>
                    <a:pt x="18" y="19"/>
                  </a:cubicBezTo>
                  <a:cubicBezTo>
                    <a:pt x="16" y="19"/>
                    <a:pt x="18" y="24"/>
                    <a:pt x="16" y="25"/>
                  </a:cubicBezTo>
                  <a:cubicBezTo>
                    <a:pt x="16" y="27"/>
                    <a:pt x="13" y="24"/>
                    <a:pt x="15" y="25"/>
                  </a:cubicBezTo>
                  <a:cubicBezTo>
                    <a:pt x="16" y="27"/>
                    <a:pt x="13" y="27"/>
                    <a:pt x="13" y="28"/>
                  </a:cubicBezTo>
                  <a:cubicBezTo>
                    <a:pt x="15" y="28"/>
                    <a:pt x="10" y="28"/>
                    <a:pt x="12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3"/>
                    <a:pt x="10" y="33"/>
                    <a:pt x="12" y="35"/>
                  </a:cubicBezTo>
                  <a:cubicBezTo>
                    <a:pt x="12" y="36"/>
                    <a:pt x="12" y="35"/>
                    <a:pt x="15" y="36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3" y="36"/>
                    <a:pt x="13" y="38"/>
                    <a:pt x="13" y="38"/>
                  </a:cubicBezTo>
                  <a:cubicBezTo>
                    <a:pt x="12" y="38"/>
                    <a:pt x="12" y="36"/>
                    <a:pt x="10" y="38"/>
                  </a:cubicBezTo>
                  <a:cubicBezTo>
                    <a:pt x="10" y="38"/>
                    <a:pt x="9" y="38"/>
                    <a:pt x="7" y="38"/>
                  </a:cubicBezTo>
                  <a:cubicBezTo>
                    <a:pt x="6" y="36"/>
                    <a:pt x="6" y="38"/>
                    <a:pt x="4" y="38"/>
                  </a:cubicBezTo>
                  <a:cubicBezTo>
                    <a:pt x="4" y="31"/>
                    <a:pt x="3" y="36"/>
                    <a:pt x="3" y="35"/>
                  </a:cubicBezTo>
                  <a:close/>
                  <a:moveTo>
                    <a:pt x="53" y="31"/>
                  </a:moveTo>
                  <a:cubicBezTo>
                    <a:pt x="55" y="31"/>
                    <a:pt x="58" y="35"/>
                    <a:pt x="56" y="36"/>
                  </a:cubicBezTo>
                  <a:cubicBezTo>
                    <a:pt x="53" y="36"/>
                    <a:pt x="52" y="33"/>
                    <a:pt x="53" y="31"/>
                  </a:cubicBezTo>
                  <a:close/>
                  <a:moveTo>
                    <a:pt x="23" y="7"/>
                  </a:moveTo>
                  <a:cubicBezTo>
                    <a:pt x="23" y="7"/>
                    <a:pt x="26" y="7"/>
                    <a:pt x="24" y="7"/>
                  </a:cubicBezTo>
                  <a:cubicBezTo>
                    <a:pt x="24" y="8"/>
                    <a:pt x="23" y="8"/>
                    <a:pt x="23" y="7"/>
                  </a:cubicBezTo>
                  <a:close/>
                  <a:moveTo>
                    <a:pt x="21" y="30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30"/>
                    <a:pt x="20" y="30"/>
                    <a:pt x="18" y="28"/>
                  </a:cubicBezTo>
                  <a:cubicBezTo>
                    <a:pt x="18" y="28"/>
                    <a:pt x="15" y="30"/>
                    <a:pt x="13" y="30"/>
                  </a:cubicBezTo>
                  <a:cubicBezTo>
                    <a:pt x="13" y="28"/>
                    <a:pt x="12" y="30"/>
                    <a:pt x="13" y="30"/>
                  </a:cubicBezTo>
                  <a:cubicBezTo>
                    <a:pt x="15" y="31"/>
                    <a:pt x="15" y="31"/>
                    <a:pt x="15" y="33"/>
                  </a:cubicBezTo>
                  <a:cubicBezTo>
                    <a:pt x="15" y="35"/>
                    <a:pt x="15" y="33"/>
                    <a:pt x="16" y="33"/>
                  </a:cubicBezTo>
                  <a:cubicBezTo>
                    <a:pt x="16" y="35"/>
                    <a:pt x="15" y="35"/>
                    <a:pt x="16" y="35"/>
                  </a:cubicBezTo>
                  <a:cubicBezTo>
                    <a:pt x="20" y="35"/>
                    <a:pt x="20" y="36"/>
                    <a:pt x="21" y="35"/>
                  </a:cubicBezTo>
                  <a:cubicBezTo>
                    <a:pt x="23" y="33"/>
                    <a:pt x="21" y="31"/>
                    <a:pt x="21" y="30"/>
                  </a:cubicBezTo>
                  <a:close/>
                  <a:moveTo>
                    <a:pt x="20" y="27"/>
                  </a:moveTo>
                  <a:cubicBezTo>
                    <a:pt x="20" y="25"/>
                    <a:pt x="20" y="24"/>
                    <a:pt x="20" y="24"/>
                  </a:cubicBezTo>
                  <a:cubicBezTo>
                    <a:pt x="21" y="25"/>
                    <a:pt x="20" y="27"/>
                    <a:pt x="20" y="27"/>
                  </a:cubicBezTo>
                  <a:close/>
                  <a:moveTo>
                    <a:pt x="23" y="35"/>
                  </a:moveTo>
                  <a:cubicBezTo>
                    <a:pt x="23" y="35"/>
                    <a:pt x="21" y="35"/>
                    <a:pt x="21" y="36"/>
                  </a:cubicBezTo>
                  <a:cubicBezTo>
                    <a:pt x="21" y="36"/>
                    <a:pt x="20" y="38"/>
                    <a:pt x="20" y="39"/>
                  </a:cubicBezTo>
                  <a:cubicBezTo>
                    <a:pt x="21" y="41"/>
                    <a:pt x="21" y="36"/>
                    <a:pt x="23" y="35"/>
                  </a:cubicBezTo>
                  <a:close/>
                  <a:moveTo>
                    <a:pt x="29" y="41"/>
                  </a:moveTo>
                  <a:cubicBezTo>
                    <a:pt x="30" y="41"/>
                    <a:pt x="30" y="39"/>
                    <a:pt x="30" y="39"/>
                  </a:cubicBezTo>
                  <a:cubicBezTo>
                    <a:pt x="29" y="38"/>
                    <a:pt x="29" y="36"/>
                    <a:pt x="29" y="38"/>
                  </a:cubicBezTo>
                  <a:cubicBezTo>
                    <a:pt x="29" y="38"/>
                    <a:pt x="27" y="38"/>
                    <a:pt x="26" y="36"/>
                  </a:cubicBezTo>
                  <a:cubicBezTo>
                    <a:pt x="24" y="36"/>
                    <a:pt x="24" y="38"/>
                    <a:pt x="24" y="38"/>
                  </a:cubicBezTo>
                  <a:cubicBezTo>
                    <a:pt x="23" y="39"/>
                    <a:pt x="27" y="41"/>
                    <a:pt x="29" y="41"/>
                  </a:cubicBezTo>
                  <a:close/>
                  <a:moveTo>
                    <a:pt x="32" y="39"/>
                  </a:moveTo>
                  <a:cubicBezTo>
                    <a:pt x="33" y="38"/>
                    <a:pt x="32" y="38"/>
                    <a:pt x="32" y="38"/>
                  </a:cubicBezTo>
                  <a:cubicBezTo>
                    <a:pt x="30" y="36"/>
                    <a:pt x="30" y="36"/>
                    <a:pt x="32" y="36"/>
                  </a:cubicBezTo>
                  <a:cubicBezTo>
                    <a:pt x="32" y="36"/>
                    <a:pt x="33" y="36"/>
                    <a:pt x="32" y="35"/>
                  </a:cubicBezTo>
                  <a:cubicBezTo>
                    <a:pt x="32" y="33"/>
                    <a:pt x="32" y="33"/>
                    <a:pt x="33" y="33"/>
                  </a:cubicBezTo>
                  <a:cubicBezTo>
                    <a:pt x="35" y="33"/>
                    <a:pt x="35" y="31"/>
                    <a:pt x="33" y="31"/>
                  </a:cubicBezTo>
                  <a:cubicBezTo>
                    <a:pt x="32" y="30"/>
                    <a:pt x="33" y="28"/>
                    <a:pt x="35" y="28"/>
                  </a:cubicBezTo>
                  <a:cubicBezTo>
                    <a:pt x="36" y="28"/>
                    <a:pt x="35" y="25"/>
                    <a:pt x="36" y="24"/>
                  </a:cubicBezTo>
                  <a:cubicBezTo>
                    <a:pt x="36" y="22"/>
                    <a:pt x="35" y="22"/>
                    <a:pt x="33" y="22"/>
                  </a:cubicBezTo>
                  <a:cubicBezTo>
                    <a:pt x="32" y="21"/>
                    <a:pt x="30" y="24"/>
                    <a:pt x="30" y="24"/>
                  </a:cubicBezTo>
                  <a:cubicBezTo>
                    <a:pt x="30" y="25"/>
                    <a:pt x="30" y="25"/>
                    <a:pt x="30" y="27"/>
                  </a:cubicBezTo>
                  <a:cubicBezTo>
                    <a:pt x="30" y="28"/>
                    <a:pt x="29" y="27"/>
                    <a:pt x="29" y="25"/>
                  </a:cubicBezTo>
                  <a:cubicBezTo>
                    <a:pt x="29" y="25"/>
                    <a:pt x="30" y="24"/>
                    <a:pt x="29" y="24"/>
                  </a:cubicBezTo>
                  <a:cubicBezTo>
                    <a:pt x="27" y="25"/>
                    <a:pt x="26" y="24"/>
                    <a:pt x="26" y="24"/>
                  </a:cubicBezTo>
                  <a:cubicBezTo>
                    <a:pt x="24" y="24"/>
                    <a:pt x="29" y="24"/>
                    <a:pt x="26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1" y="27"/>
                    <a:pt x="24" y="28"/>
                    <a:pt x="24" y="28"/>
                  </a:cubicBezTo>
                  <a:cubicBezTo>
                    <a:pt x="24" y="30"/>
                    <a:pt x="26" y="30"/>
                    <a:pt x="24" y="31"/>
                  </a:cubicBezTo>
                  <a:cubicBezTo>
                    <a:pt x="23" y="31"/>
                    <a:pt x="26" y="31"/>
                    <a:pt x="26" y="33"/>
                  </a:cubicBezTo>
                  <a:cubicBezTo>
                    <a:pt x="26" y="35"/>
                    <a:pt x="26" y="33"/>
                    <a:pt x="27" y="33"/>
                  </a:cubicBezTo>
                  <a:cubicBezTo>
                    <a:pt x="29" y="35"/>
                    <a:pt x="29" y="33"/>
                    <a:pt x="29" y="35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7" y="36"/>
                    <a:pt x="30" y="36"/>
                    <a:pt x="29" y="36"/>
                  </a:cubicBezTo>
                  <a:cubicBezTo>
                    <a:pt x="29" y="36"/>
                    <a:pt x="29" y="38"/>
                    <a:pt x="30" y="38"/>
                  </a:cubicBezTo>
                  <a:cubicBezTo>
                    <a:pt x="30" y="39"/>
                    <a:pt x="30" y="41"/>
                    <a:pt x="32" y="41"/>
                  </a:cubicBezTo>
                  <a:cubicBezTo>
                    <a:pt x="32" y="42"/>
                    <a:pt x="32" y="39"/>
                    <a:pt x="32" y="39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5"/>
                    <a:pt x="35" y="36"/>
                  </a:cubicBezTo>
                  <a:cubicBezTo>
                    <a:pt x="36" y="36"/>
                    <a:pt x="32" y="38"/>
                    <a:pt x="33" y="3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Freeform 185"/>
            <p:cNvSpPr>
              <a:spLocks noEditPoints="1"/>
            </p:cNvSpPr>
            <p:nvPr/>
          </p:nvSpPr>
          <p:spPr bwMode="auto">
            <a:xfrm>
              <a:off x="5092672" y="3318660"/>
              <a:ext cx="229770" cy="286002"/>
            </a:xfrm>
            <a:custGeom>
              <a:avLst/>
              <a:gdLst/>
              <a:ahLst/>
              <a:cxnLst>
                <a:cxn ang="0">
                  <a:pos x="56" y="81"/>
                </a:cxn>
                <a:cxn ang="0">
                  <a:pos x="57" y="90"/>
                </a:cxn>
                <a:cxn ang="0">
                  <a:pos x="51" y="87"/>
                </a:cxn>
                <a:cxn ang="0">
                  <a:pos x="41" y="90"/>
                </a:cxn>
                <a:cxn ang="0">
                  <a:pos x="36" y="92"/>
                </a:cxn>
                <a:cxn ang="0">
                  <a:pos x="26" y="89"/>
                </a:cxn>
                <a:cxn ang="0">
                  <a:pos x="20" y="89"/>
                </a:cxn>
                <a:cxn ang="0">
                  <a:pos x="18" y="73"/>
                </a:cxn>
                <a:cxn ang="0">
                  <a:pos x="9" y="70"/>
                </a:cxn>
                <a:cxn ang="0">
                  <a:pos x="6" y="62"/>
                </a:cxn>
                <a:cxn ang="0">
                  <a:pos x="4" y="55"/>
                </a:cxn>
                <a:cxn ang="0">
                  <a:pos x="1" y="48"/>
                </a:cxn>
                <a:cxn ang="0">
                  <a:pos x="3" y="42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2" y="22"/>
                </a:cxn>
                <a:cxn ang="0">
                  <a:pos x="15" y="16"/>
                </a:cxn>
                <a:cxn ang="0">
                  <a:pos x="21" y="17"/>
                </a:cxn>
                <a:cxn ang="0">
                  <a:pos x="23" y="14"/>
                </a:cxn>
                <a:cxn ang="0">
                  <a:pos x="26" y="13"/>
                </a:cxn>
                <a:cxn ang="0">
                  <a:pos x="24" y="10"/>
                </a:cxn>
                <a:cxn ang="0">
                  <a:pos x="26" y="5"/>
                </a:cxn>
                <a:cxn ang="0">
                  <a:pos x="26" y="2"/>
                </a:cxn>
                <a:cxn ang="0">
                  <a:pos x="32" y="2"/>
                </a:cxn>
                <a:cxn ang="0">
                  <a:pos x="33" y="7"/>
                </a:cxn>
                <a:cxn ang="0">
                  <a:pos x="41" y="8"/>
                </a:cxn>
                <a:cxn ang="0">
                  <a:pos x="39" y="13"/>
                </a:cxn>
                <a:cxn ang="0">
                  <a:pos x="48" y="10"/>
                </a:cxn>
                <a:cxn ang="0">
                  <a:pos x="56" y="7"/>
                </a:cxn>
                <a:cxn ang="0">
                  <a:pos x="64" y="11"/>
                </a:cxn>
                <a:cxn ang="0">
                  <a:pos x="67" y="16"/>
                </a:cxn>
                <a:cxn ang="0">
                  <a:pos x="68" y="28"/>
                </a:cxn>
                <a:cxn ang="0">
                  <a:pos x="70" y="41"/>
                </a:cxn>
                <a:cxn ang="0">
                  <a:pos x="68" y="48"/>
                </a:cxn>
                <a:cxn ang="0">
                  <a:pos x="54" y="56"/>
                </a:cxn>
                <a:cxn ang="0">
                  <a:pos x="56" y="67"/>
                </a:cxn>
                <a:cxn ang="0">
                  <a:pos x="61" y="80"/>
                </a:cxn>
                <a:cxn ang="0">
                  <a:pos x="64" y="11"/>
                </a:cxn>
                <a:cxn ang="0">
                  <a:pos x="64" y="14"/>
                </a:cxn>
                <a:cxn ang="0">
                  <a:pos x="67" y="13"/>
                </a:cxn>
                <a:cxn ang="0">
                  <a:pos x="44" y="7"/>
                </a:cxn>
                <a:cxn ang="0">
                  <a:pos x="61" y="10"/>
                </a:cxn>
                <a:cxn ang="0">
                  <a:pos x="62" y="8"/>
                </a:cxn>
                <a:cxn ang="0">
                  <a:pos x="59" y="3"/>
                </a:cxn>
                <a:cxn ang="0">
                  <a:pos x="59" y="5"/>
                </a:cxn>
                <a:cxn ang="0">
                  <a:pos x="59" y="10"/>
                </a:cxn>
              </a:cxnLst>
              <a:rect l="0" t="0" r="r" b="b"/>
              <a:pathLst>
                <a:path w="74" h="92">
                  <a:moveTo>
                    <a:pt x="61" y="80"/>
                  </a:moveTo>
                  <a:cubicBezTo>
                    <a:pt x="61" y="81"/>
                    <a:pt x="59" y="80"/>
                    <a:pt x="56" y="81"/>
                  </a:cubicBezTo>
                  <a:cubicBezTo>
                    <a:pt x="54" y="84"/>
                    <a:pt x="59" y="86"/>
                    <a:pt x="57" y="86"/>
                  </a:cubicBezTo>
                  <a:cubicBezTo>
                    <a:pt x="54" y="87"/>
                    <a:pt x="59" y="89"/>
                    <a:pt x="57" y="90"/>
                  </a:cubicBezTo>
                  <a:cubicBezTo>
                    <a:pt x="56" y="92"/>
                    <a:pt x="56" y="87"/>
                    <a:pt x="54" y="89"/>
                  </a:cubicBezTo>
                  <a:cubicBezTo>
                    <a:pt x="53" y="89"/>
                    <a:pt x="51" y="86"/>
                    <a:pt x="51" y="87"/>
                  </a:cubicBezTo>
                  <a:cubicBezTo>
                    <a:pt x="50" y="90"/>
                    <a:pt x="48" y="87"/>
                    <a:pt x="47" y="89"/>
                  </a:cubicBezTo>
                  <a:cubicBezTo>
                    <a:pt x="44" y="90"/>
                    <a:pt x="42" y="92"/>
                    <a:pt x="41" y="90"/>
                  </a:cubicBezTo>
                  <a:cubicBezTo>
                    <a:pt x="41" y="89"/>
                    <a:pt x="39" y="90"/>
                    <a:pt x="38" y="89"/>
                  </a:cubicBezTo>
                  <a:cubicBezTo>
                    <a:pt x="36" y="89"/>
                    <a:pt x="38" y="92"/>
                    <a:pt x="36" y="92"/>
                  </a:cubicBezTo>
                  <a:cubicBezTo>
                    <a:pt x="35" y="92"/>
                    <a:pt x="33" y="87"/>
                    <a:pt x="30" y="90"/>
                  </a:cubicBezTo>
                  <a:cubicBezTo>
                    <a:pt x="29" y="89"/>
                    <a:pt x="27" y="87"/>
                    <a:pt x="26" y="89"/>
                  </a:cubicBezTo>
                  <a:cubicBezTo>
                    <a:pt x="24" y="89"/>
                    <a:pt x="24" y="86"/>
                    <a:pt x="23" y="87"/>
                  </a:cubicBezTo>
                  <a:cubicBezTo>
                    <a:pt x="20" y="87"/>
                    <a:pt x="23" y="89"/>
                    <a:pt x="20" y="89"/>
                  </a:cubicBezTo>
                  <a:cubicBezTo>
                    <a:pt x="16" y="89"/>
                    <a:pt x="16" y="90"/>
                    <a:pt x="13" y="89"/>
                  </a:cubicBezTo>
                  <a:cubicBezTo>
                    <a:pt x="13" y="76"/>
                    <a:pt x="21" y="73"/>
                    <a:pt x="18" y="73"/>
                  </a:cubicBezTo>
                  <a:cubicBezTo>
                    <a:pt x="16" y="72"/>
                    <a:pt x="15" y="70"/>
                    <a:pt x="12" y="72"/>
                  </a:cubicBezTo>
                  <a:cubicBezTo>
                    <a:pt x="9" y="72"/>
                    <a:pt x="10" y="70"/>
                    <a:pt x="9" y="70"/>
                  </a:cubicBezTo>
                  <a:cubicBezTo>
                    <a:pt x="6" y="70"/>
                    <a:pt x="7" y="67"/>
                    <a:pt x="4" y="67"/>
                  </a:cubicBezTo>
                  <a:cubicBezTo>
                    <a:pt x="4" y="64"/>
                    <a:pt x="7" y="64"/>
                    <a:pt x="6" y="62"/>
                  </a:cubicBezTo>
                  <a:cubicBezTo>
                    <a:pt x="6" y="62"/>
                    <a:pt x="3" y="62"/>
                    <a:pt x="3" y="58"/>
                  </a:cubicBezTo>
                  <a:cubicBezTo>
                    <a:pt x="7" y="55"/>
                    <a:pt x="3" y="56"/>
                    <a:pt x="4" y="55"/>
                  </a:cubicBezTo>
                  <a:cubicBezTo>
                    <a:pt x="4" y="53"/>
                    <a:pt x="3" y="53"/>
                    <a:pt x="1" y="52"/>
                  </a:cubicBezTo>
                  <a:cubicBezTo>
                    <a:pt x="1" y="52"/>
                    <a:pt x="4" y="50"/>
                    <a:pt x="1" y="48"/>
                  </a:cubicBezTo>
                  <a:cubicBezTo>
                    <a:pt x="0" y="48"/>
                    <a:pt x="3" y="48"/>
                    <a:pt x="3" y="47"/>
                  </a:cubicBezTo>
                  <a:cubicBezTo>
                    <a:pt x="3" y="45"/>
                    <a:pt x="4" y="45"/>
                    <a:pt x="3" y="42"/>
                  </a:cubicBezTo>
                  <a:cubicBezTo>
                    <a:pt x="1" y="39"/>
                    <a:pt x="1" y="38"/>
                    <a:pt x="4" y="39"/>
                  </a:cubicBezTo>
                  <a:cubicBezTo>
                    <a:pt x="6" y="39"/>
                    <a:pt x="9" y="38"/>
                    <a:pt x="7" y="36"/>
                  </a:cubicBezTo>
                  <a:cubicBezTo>
                    <a:pt x="6" y="36"/>
                    <a:pt x="10" y="34"/>
                    <a:pt x="10" y="33"/>
                  </a:cubicBezTo>
                  <a:cubicBezTo>
                    <a:pt x="10" y="30"/>
                    <a:pt x="7" y="33"/>
                    <a:pt x="7" y="30"/>
                  </a:cubicBezTo>
                  <a:cubicBezTo>
                    <a:pt x="7" y="28"/>
                    <a:pt x="7" y="28"/>
                    <a:pt x="9" y="28"/>
                  </a:cubicBezTo>
                  <a:cubicBezTo>
                    <a:pt x="10" y="30"/>
                    <a:pt x="10" y="28"/>
                    <a:pt x="12" y="22"/>
                  </a:cubicBezTo>
                  <a:cubicBezTo>
                    <a:pt x="12" y="21"/>
                    <a:pt x="9" y="22"/>
                    <a:pt x="10" y="19"/>
                  </a:cubicBezTo>
                  <a:cubicBezTo>
                    <a:pt x="10" y="16"/>
                    <a:pt x="12" y="16"/>
                    <a:pt x="15" y="16"/>
                  </a:cubicBezTo>
                  <a:cubicBezTo>
                    <a:pt x="21" y="16"/>
                    <a:pt x="16" y="17"/>
                    <a:pt x="20" y="19"/>
                  </a:cubicBezTo>
                  <a:cubicBezTo>
                    <a:pt x="21" y="21"/>
                    <a:pt x="18" y="17"/>
                    <a:pt x="21" y="17"/>
                  </a:cubicBezTo>
                  <a:cubicBezTo>
                    <a:pt x="23" y="17"/>
                    <a:pt x="21" y="21"/>
                    <a:pt x="23" y="21"/>
                  </a:cubicBezTo>
                  <a:cubicBezTo>
                    <a:pt x="24" y="19"/>
                    <a:pt x="21" y="13"/>
                    <a:pt x="23" y="14"/>
                  </a:cubicBezTo>
                  <a:cubicBezTo>
                    <a:pt x="26" y="14"/>
                    <a:pt x="27" y="14"/>
                    <a:pt x="29" y="16"/>
                  </a:cubicBezTo>
                  <a:cubicBezTo>
                    <a:pt x="30" y="17"/>
                    <a:pt x="29" y="14"/>
                    <a:pt x="26" y="13"/>
                  </a:cubicBezTo>
                  <a:cubicBezTo>
                    <a:pt x="24" y="13"/>
                    <a:pt x="24" y="13"/>
                    <a:pt x="26" y="11"/>
                  </a:cubicBezTo>
                  <a:cubicBezTo>
                    <a:pt x="27" y="11"/>
                    <a:pt x="23" y="11"/>
                    <a:pt x="24" y="10"/>
                  </a:cubicBezTo>
                  <a:cubicBezTo>
                    <a:pt x="26" y="8"/>
                    <a:pt x="23" y="10"/>
                    <a:pt x="23" y="8"/>
                  </a:cubicBezTo>
                  <a:cubicBezTo>
                    <a:pt x="23" y="7"/>
                    <a:pt x="27" y="8"/>
                    <a:pt x="26" y="5"/>
                  </a:cubicBezTo>
                  <a:cubicBezTo>
                    <a:pt x="24" y="3"/>
                    <a:pt x="23" y="3"/>
                    <a:pt x="23" y="2"/>
                  </a:cubicBezTo>
                  <a:cubicBezTo>
                    <a:pt x="24" y="2"/>
                    <a:pt x="24" y="0"/>
                    <a:pt x="26" y="2"/>
                  </a:cubicBezTo>
                  <a:cubicBezTo>
                    <a:pt x="27" y="2"/>
                    <a:pt x="29" y="2"/>
                    <a:pt x="29" y="2"/>
                  </a:cubicBezTo>
                  <a:cubicBezTo>
                    <a:pt x="30" y="3"/>
                    <a:pt x="30" y="2"/>
                    <a:pt x="32" y="2"/>
                  </a:cubicBezTo>
                  <a:cubicBezTo>
                    <a:pt x="33" y="3"/>
                    <a:pt x="33" y="2"/>
                    <a:pt x="33" y="3"/>
                  </a:cubicBezTo>
                  <a:cubicBezTo>
                    <a:pt x="35" y="7"/>
                    <a:pt x="32" y="7"/>
                    <a:pt x="33" y="7"/>
                  </a:cubicBezTo>
                  <a:cubicBezTo>
                    <a:pt x="35" y="7"/>
                    <a:pt x="35" y="8"/>
                    <a:pt x="36" y="7"/>
                  </a:cubicBezTo>
                  <a:cubicBezTo>
                    <a:pt x="38" y="7"/>
                    <a:pt x="36" y="10"/>
                    <a:pt x="41" y="8"/>
                  </a:cubicBezTo>
                  <a:cubicBezTo>
                    <a:pt x="44" y="7"/>
                    <a:pt x="42" y="8"/>
                    <a:pt x="42" y="10"/>
                  </a:cubicBezTo>
                  <a:cubicBezTo>
                    <a:pt x="44" y="11"/>
                    <a:pt x="39" y="11"/>
                    <a:pt x="39" y="13"/>
                  </a:cubicBezTo>
                  <a:cubicBezTo>
                    <a:pt x="41" y="14"/>
                    <a:pt x="42" y="11"/>
                    <a:pt x="44" y="13"/>
                  </a:cubicBezTo>
                  <a:cubicBezTo>
                    <a:pt x="47" y="14"/>
                    <a:pt x="44" y="10"/>
                    <a:pt x="48" y="10"/>
                  </a:cubicBezTo>
                  <a:cubicBezTo>
                    <a:pt x="51" y="10"/>
                    <a:pt x="53" y="7"/>
                    <a:pt x="53" y="7"/>
                  </a:cubicBezTo>
                  <a:cubicBezTo>
                    <a:pt x="54" y="5"/>
                    <a:pt x="54" y="8"/>
                    <a:pt x="56" y="7"/>
                  </a:cubicBezTo>
                  <a:cubicBezTo>
                    <a:pt x="57" y="7"/>
                    <a:pt x="56" y="8"/>
                    <a:pt x="59" y="10"/>
                  </a:cubicBezTo>
                  <a:cubicBezTo>
                    <a:pt x="61" y="13"/>
                    <a:pt x="64" y="10"/>
                    <a:pt x="64" y="11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4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0" y="24"/>
                    <a:pt x="64" y="25"/>
                    <a:pt x="68" y="28"/>
                  </a:cubicBezTo>
                  <a:cubicBezTo>
                    <a:pt x="73" y="31"/>
                    <a:pt x="68" y="31"/>
                    <a:pt x="70" y="33"/>
                  </a:cubicBezTo>
                  <a:cubicBezTo>
                    <a:pt x="73" y="38"/>
                    <a:pt x="70" y="38"/>
                    <a:pt x="70" y="41"/>
                  </a:cubicBezTo>
                  <a:cubicBezTo>
                    <a:pt x="71" y="45"/>
                    <a:pt x="74" y="41"/>
                    <a:pt x="73" y="50"/>
                  </a:cubicBezTo>
                  <a:cubicBezTo>
                    <a:pt x="70" y="52"/>
                    <a:pt x="68" y="48"/>
                    <a:pt x="68" y="48"/>
                  </a:cubicBezTo>
                  <a:cubicBezTo>
                    <a:pt x="67" y="48"/>
                    <a:pt x="70" y="50"/>
                    <a:pt x="65" y="52"/>
                  </a:cubicBezTo>
                  <a:cubicBezTo>
                    <a:pt x="61" y="52"/>
                    <a:pt x="59" y="55"/>
                    <a:pt x="54" y="56"/>
                  </a:cubicBezTo>
                  <a:cubicBezTo>
                    <a:pt x="51" y="58"/>
                    <a:pt x="50" y="58"/>
                    <a:pt x="51" y="61"/>
                  </a:cubicBezTo>
                  <a:cubicBezTo>
                    <a:pt x="54" y="64"/>
                    <a:pt x="50" y="66"/>
                    <a:pt x="56" y="67"/>
                  </a:cubicBezTo>
                  <a:cubicBezTo>
                    <a:pt x="59" y="69"/>
                    <a:pt x="59" y="72"/>
                    <a:pt x="64" y="75"/>
                  </a:cubicBezTo>
                  <a:cubicBezTo>
                    <a:pt x="64" y="80"/>
                    <a:pt x="61" y="76"/>
                    <a:pt x="61" y="80"/>
                  </a:cubicBezTo>
                  <a:close/>
                  <a:moveTo>
                    <a:pt x="67" y="13"/>
                  </a:moveTo>
                  <a:cubicBezTo>
                    <a:pt x="65" y="13"/>
                    <a:pt x="65" y="11"/>
                    <a:pt x="64" y="11"/>
                  </a:cubicBezTo>
                  <a:cubicBezTo>
                    <a:pt x="64" y="10"/>
                    <a:pt x="64" y="13"/>
                    <a:pt x="65" y="13"/>
                  </a:cubicBezTo>
                  <a:cubicBezTo>
                    <a:pt x="65" y="14"/>
                    <a:pt x="64" y="14"/>
                    <a:pt x="64" y="14"/>
                  </a:cubicBezTo>
                  <a:cubicBezTo>
                    <a:pt x="65" y="14"/>
                    <a:pt x="67" y="14"/>
                    <a:pt x="67" y="14"/>
                  </a:cubicBezTo>
                  <a:cubicBezTo>
                    <a:pt x="67" y="13"/>
                    <a:pt x="67" y="13"/>
                    <a:pt x="67" y="13"/>
                  </a:cubicBezTo>
                  <a:close/>
                  <a:moveTo>
                    <a:pt x="42" y="7"/>
                  </a:moveTo>
                  <a:cubicBezTo>
                    <a:pt x="42" y="5"/>
                    <a:pt x="44" y="7"/>
                    <a:pt x="44" y="7"/>
                  </a:cubicBezTo>
                  <a:cubicBezTo>
                    <a:pt x="44" y="8"/>
                    <a:pt x="41" y="7"/>
                    <a:pt x="42" y="7"/>
                  </a:cubicBezTo>
                  <a:close/>
                  <a:moveTo>
                    <a:pt x="61" y="10"/>
                  </a:moveTo>
                  <a:cubicBezTo>
                    <a:pt x="61" y="8"/>
                    <a:pt x="61" y="7"/>
                    <a:pt x="62" y="8"/>
                  </a:cubicBezTo>
                  <a:cubicBezTo>
                    <a:pt x="64" y="10"/>
                    <a:pt x="64" y="8"/>
                    <a:pt x="62" y="8"/>
                  </a:cubicBezTo>
                  <a:cubicBezTo>
                    <a:pt x="61" y="7"/>
                    <a:pt x="64" y="5"/>
                    <a:pt x="62" y="5"/>
                  </a:cubicBezTo>
                  <a:cubicBezTo>
                    <a:pt x="61" y="5"/>
                    <a:pt x="61" y="3"/>
                    <a:pt x="59" y="3"/>
                  </a:cubicBezTo>
                  <a:cubicBezTo>
                    <a:pt x="57" y="5"/>
                    <a:pt x="61" y="5"/>
                    <a:pt x="61" y="7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7" y="5"/>
                    <a:pt x="59" y="7"/>
                    <a:pt x="59" y="8"/>
                  </a:cubicBezTo>
                  <a:cubicBezTo>
                    <a:pt x="57" y="8"/>
                    <a:pt x="59" y="8"/>
                    <a:pt x="59" y="10"/>
                  </a:cubicBezTo>
                  <a:cubicBezTo>
                    <a:pt x="61" y="10"/>
                    <a:pt x="61" y="10"/>
                    <a:pt x="61" y="1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2" name="Freeform 186"/>
            <p:cNvSpPr>
              <a:spLocks/>
            </p:cNvSpPr>
            <p:nvPr/>
          </p:nvSpPr>
          <p:spPr bwMode="auto">
            <a:xfrm>
              <a:off x="5036435" y="3376503"/>
              <a:ext cx="93193" cy="99618"/>
            </a:xfrm>
            <a:custGeom>
              <a:avLst/>
              <a:gdLst/>
              <a:ahLst/>
              <a:cxnLst>
                <a:cxn ang="0">
                  <a:pos x="27" y="9"/>
                </a:cxn>
                <a:cxn ang="0">
                  <a:pos x="25" y="11"/>
                </a:cxn>
                <a:cxn ang="0">
                  <a:pos x="28" y="14"/>
                </a:cxn>
                <a:cxn ang="0">
                  <a:pos x="25" y="17"/>
                </a:cxn>
                <a:cxn ang="0">
                  <a:pos x="22" y="20"/>
                </a:cxn>
                <a:cxn ang="0">
                  <a:pos x="21" y="23"/>
                </a:cxn>
                <a:cxn ang="0">
                  <a:pos x="21" y="28"/>
                </a:cxn>
                <a:cxn ang="0">
                  <a:pos x="19" y="29"/>
                </a:cxn>
                <a:cxn ang="0">
                  <a:pos x="19" y="32"/>
                </a:cxn>
                <a:cxn ang="0">
                  <a:pos x="16" y="26"/>
                </a:cxn>
                <a:cxn ang="0">
                  <a:pos x="12" y="25"/>
                </a:cxn>
                <a:cxn ang="0">
                  <a:pos x="9" y="25"/>
                </a:cxn>
                <a:cxn ang="0">
                  <a:pos x="7" y="25"/>
                </a:cxn>
                <a:cxn ang="0">
                  <a:pos x="4" y="26"/>
                </a:cxn>
                <a:cxn ang="0">
                  <a:pos x="1" y="26"/>
                </a:cxn>
                <a:cxn ang="0">
                  <a:pos x="0" y="25"/>
                </a:cxn>
                <a:cxn ang="0">
                  <a:pos x="1" y="26"/>
                </a:cxn>
                <a:cxn ang="0">
                  <a:pos x="4" y="25"/>
                </a:cxn>
                <a:cxn ang="0">
                  <a:pos x="4" y="25"/>
                </a:cxn>
                <a:cxn ang="0">
                  <a:pos x="0" y="23"/>
                </a:cxn>
                <a:cxn ang="0">
                  <a:pos x="4" y="23"/>
                </a:cxn>
                <a:cxn ang="0">
                  <a:pos x="1" y="22"/>
                </a:cxn>
                <a:cxn ang="0">
                  <a:pos x="4" y="18"/>
                </a:cxn>
                <a:cxn ang="0">
                  <a:pos x="7" y="14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3" y="9"/>
                </a:cxn>
                <a:cxn ang="0">
                  <a:pos x="13" y="14"/>
                </a:cxn>
                <a:cxn ang="0">
                  <a:pos x="16" y="11"/>
                </a:cxn>
                <a:cxn ang="0">
                  <a:pos x="16" y="8"/>
                </a:cxn>
                <a:cxn ang="0">
                  <a:pos x="15" y="5"/>
                </a:cxn>
                <a:cxn ang="0">
                  <a:pos x="19" y="0"/>
                </a:cxn>
                <a:cxn ang="0">
                  <a:pos x="27" y="1"/>
                </a:cxn>
                <a:cxn ang="0">
                  <a:pos x="30" y="3"/>
                </a:cxn>
                <a:cxn ang="0">
                  <a:pos x="27" y="9"/>
                </a:cxn>
              </a:cxnLst>
              <a:rect l="0" t="0" r="r" b="b"/>
              <a:pathLst>
                <a:path w="30" h="32">
                  <a:moveTo>
                    <a:pt x="27" y="9"/>
                  </a:moveTo>
                  <a:cubicBezTo>
                    <a:pt x="25" y="9"/>
                    <a:pt x="25" y="9"/>
                    <a:pt x="25" y="11"/>
                  </a:cubicBezTo>
                  <a:cubicBezTo>
                    <a:pt x="25" y="14"/>
                    <a:pt x="28" y="11"/>
                    <a:pt x="28" y="14"/>
                  </a:cubicBezTo>
                  <a:cubicBezTo>
                    <a:pt x="28" y="15"/>
                    <a:pt x="24" y="17"/>
                    <a:pt x="25" y="17"/>
                  </a:cubicBezTo>
                  <a:cubicBezTo>
                    <a:pt x="27" y="18"/>
                    <a:pt x="24" y="20"/>
                    <a:pt x="22" y="20"/>
                  </a:cubicBezTo>
                  <a:cubicBezTo>
                    <a:pt x="19" y="18"/>
                    <a:pt x="19" y="20"/>
                    <a:pt x="21" y="23"/>
                  </a:cubicBezTo>
                  <a:cubicBezTo>
                    <a:pt x="22" y="26"/>
                    <a:pt x="21" y="26"/>
                    <a:pt x="21" y="28"/>
                  </a:cubicBezTo>
                  <a:cubicBezTo>
                    <a:pt x="21" y="29"/>
                    <a:pt x="18" y="29"/>
                    <a:pt x="19" y="29"/>
                  </a:cubicBezTo>
                  <a:cubicBezTo>
                    <a:pt x="22" y="31"/>
                    <a:pt x="19" y="32"/>
                    <a:pt x="19" y="32"/>
                  </a:cubicBezTo>
                  <a:cubicBezTo>
                    <a:pt x="13" y="32"/>
                    <a:pt x="22" y="28"/>
                    <a:pt x="16" y="26"/>
                  </a:cubicBezTo>
                  <a:cubicBezTo>
                    <a:pt x="12" y="26"/>
                    <a:pt x="13" y="23"/>
                    <a:pt x="12" y="25"/>
                  </a:cubicBezTo>
                  <a:cubicBezTo>
                    <a:pt x="10" y="25"/>
                    <a:pt x="12" y="23"/>
                    <a:pt x="9" y="25"/>
                  </a:cubicBezTo>
                  <a:cubicBezTo>
                    <a:pt x="7" y="25"/>
                    <a:pt x="9" y="23"/>
                    <a:pt x="7" y="25"/>
                  </a:cubicBezTo>
                  <a:cubicBezTo>
                    <a:pt x="7" y="26"/>
                    <a:pt x="6" y="25"/>
                    <a:pt x="4" y="26"/>
                  </a:cubicBezTo>
                  <a:cubicBezTo>
                    <a:pt x="3" y="28"/>
                    <a:pt x="1" y="26"/>
                    <a:pt x="1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1" y="25"/>
                    <a:pt x="1" y="25"/>
                    <a:pt x="1" y="26"/>
                  </a:cubicBezTo>
                  <a:cubicBezTo>
                    <a:pt x="3" y="26"/>
                    <a:pt x="4" y="25"/>
                    <a:pt x="4" y="25"/>
                  </a:cubicBezTo>
                  <a:cubicBezTo>
                    <a:pt x="6" y="25"/>
                    <a:pt x="4" y="23"/>
                    <a:pt x="4" y="25"/>
                  </a:cubicBezTo>
                  <a:cubicBezTo>
                    <a:pt x="3" y="25"/>
                    <a:pt x="0" y="23"/>
                    <a:pt x="0" y="23"/>
                  </a:cubicBezTo>
                  <a:cubicBezTo>
                    <a:pt x="1" y="22"/>
                    <a:pt x="1" y="23"/>
                    <a:pt x="4" y="23"/>
                  </a:cubicBezTo>
                  <a:cubicBezTo>
                    <a:pt x="9" y="22"/>
                    <a:pt x="3" y="22"/>
                    <a:pt x="1" y="22"/>
                  </a:cubicBezTo>
                  <a:cubicBezTo>
                    <a:pt x="1" y="20"/>
                    <a:pt x="6" y="20"/>
                    <a:pt x="4" y="18"/>
                  </a:cubicBezTo>
                  <a:cubicBezTo>
                    <a:pt x="4" y="17"/>
                    <a:pt x="6" y="20"/>
                    <a:pt x="7" y="14"/>
                  </a:cubicBezTo>
                  <a:cubicBezTo>
                    <a:pt x="10" y="9"/>
                    <a:pt x="9" y="5"/>
                    <a:pt x="10" y="6"/>
                  </a:cubicBezTo>
                  <a:cubicBezTo>
                    <a:pt x="15" y="5"/>
                    <a:pt x="12" y="6"/>
                    <a:pt x="12" y="8"/>
                  </a:cubicBezTo>
                  <a:cubicBezTo>
                    <a:pt x="12" y="9"/>
                    <a:pt x="15" y="9"/>
                    <a:pt x="13" y="9"/>
                  </a:cubicBezTo>
                  <a:cubicBezTo>
                    <a:pt x="12" y="11"/>
                    <a:pt x="12" y="12"/>
                    <a:pt x="13" y="14"/>
                  </a:cubicBezTo>
                  <a:cubicBezTo>
                    <a:pt x="16" y="15"/>
                    <a:pt x="19" y="11"/>
                    <a:pt x="16" y="11"/>
                  </a:cubicBezTo>
                  <a:cubicBezTo>
                    <a:pt x="15" y="9"/>
                    <a:pt x="18" y="8"/>
                    <a:pt x="16" y="8"/>
                  </a:cubicBezTo>
                  <a:cubicBezTo>
                    <a:pt x="15" y="8"/>
                    <a:pt x="16" y="5"/>
                    <a:pt x="15" y="5"/>
                  </a:cubicBezTo>
                  <a:cubicBezTo>
                    <a:pt x="13" y="5"/>
                    <a:pt x="15" y="1"/>
                    <a:pt x="19" y="0"/>
                  </a:cubicBezTo>
                  <a:cubicBezTo>
                    <a:pt x="24" y="0"/>
                    <a:pt x="25" y="0"/>
                    <a:pt x="27" y="1"/>
                  </a:cubicBezTo>
                  <a:cubicBezTo>
                    <a:pt x="28" y="1"/>
                    <a:pt x="28" y="3"/>
                    <a:pt x="30" y="3"/>
                  </a:cubicBezTo>
                  <a:cubicBezTo>
                    <a:pt x="28" y="9"/>
                    <a:pt x="28" y="11"/>
                    <a:pt x="27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3" name="Freeform 187"/>
            <p:cNvSpPr>
              <a:spLocks/>
            </p:cNvSpPr>
            <p:nvPr/>
          </p:nvSpPr>
          <p:spPr bwMode="auto">
            <a:xfrm>
              <a:off x="5010727" y="3448807"/>
              <a:ext cx="106047" cy="78731"/>
            </a:xfrm>
            <a:custGeom>
              <a:avLst/>
              <a:gdLst/>
              <a:ahLst/>
              <a:cxnLst>
                <a:cxn ang="0">
                  <a:pos x="31" y="13"/>
                </a:cxn>
                <a:cxn ang="0">
                  <a:pos x="29" y="16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9" y="14"/>
                </a:cxn>
                <a:cxn ang="0">
                  <a:pos x="6" y="11"/>
                </a:cxn>
                <a:cxn ang="0">
                  <a:pos x="0" y="7"/>
                </a:cxn>
                <a:cxn ang="0">
                  <a:pos x="8" y="2"/>
                </a:cxn>
                <a:cxn ang="0">
                  <a:pos x="9" y="4"/>
                </a:cxn>
                <a:cxn ang="0">
                  <a:pos x="12" y="4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20" y="2"/>
                </a:cxn>
                <a:cxn ang="0">
                  <a:pos x="24" y="4"/>
                </a:cxn>
                <a:cxn ang="0">
                  <a:pos x="28" y="10"/>
                </a:cxn>
                <a:cxn ang="0">
                  <a:pos x="31" y="13"/>
                </a:cxn>
              </a:cxnLst>
              <a:rect l="0" t="0" r="r" b="b"/>
              <a:pathLst>
                <a:path w="34" h="25">
                  <a:moveTo>
                    <a:pt x="31" y="13"/>
                  </a:moveTo>
                  <a:cubicBezTo>
                    <a:pt x="29" y="14"/>
                    <a:pt x="34" y="13"/>
                    <a:pt x="29" y="16"/>
                  </a:cubicBezTo>
                  <a:cubicBezTo>
                    <a:pt x="24" y="19"/>
                    <a:pt x="26" y="24"/>
                    <a:pt x="26" y="25"/>
                  </a:cubicBezTo>
                  <a:cubicBezTo>
                    <a:pt x="23" y="25"/>
                    <a:pt x="23" y="22"/>
                    <a:pt x="21" y="22"/>
                  </a:cubicBezTo>
                  <a:cubicBezTo>
                    <a:pt x="17" y="21"/>
                    <a:pt x="20" y="18"/>
                    <a:pt x="18" y="18"/>
                  </a:cubicBezTo>
                  <a:cubicBezTo>
                    <a:pt x="17" y="16"/>
                    <a:pt x="15" y="22"/>
                    <a:pt x="14" y="18"/>
                  </a:cubicBezTo>
                  <a:cubicBezTo>
                    <a:pt x="14" y="14"/>
                    <a:pt x="11" y="16"/>
                    <a:pt x="9" y="14"/>
                  </a:cubicBezTo>
                  <a:cubicBezTo>
                    <a:pt x="8" y="11"/>
                    <a:pt x="8" y="14"/>
                    <a:pt x="6" y="11"/>
                  </a:cubicBezTo>
                  <a:cubicBezTo>
                    <a:pt x="4" y="8"/>
                    <a:pt x="3" y="13"/>
                    <a:pt x="0" y="7"/>
                  </a:cubicBezTo>
                  <a:cubicBezTo>
                    <a:pt x="3" y="5"/>
                    <a:pt x="4" y="4"/>
                    <a:pt x="8" y="2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11" y="5"/>
                    <a:pt x="12" y="4"/>
                  </a:cubicBezTo>
                  <a:cubicBezTo>
                    <a:pt x="14" y="2"/>
                    <a:pt x="15" y="4"/>
                    <a:pt x="15" y="2"/>
                  </a:cubicBezTo>
                  <a:cubicBezTo>
                    <a:pt x="17" y="0"/>
                    <a:pt x="15" y="2"/>
                    <a:pt x="17" y="2"/>
                  </a:cubicBezTo>
                  <a:cubicBezTo>
                    <a:pt x="20" y="0"/>
                    <a:pt x="18" y="2"/>
                    <a:pt x="20" y="2"/>
                  </a:cubicBezTo>
                  <a:cubicBezTo>
                    <a:pt x="21" y="0"/>
                    <a:pt x="20" y="4"/>
                    <a:pt x="24" y="4"/>
                  </a:cubicBezTo>
                  <a:cubicBezTo>
                    <a:pt x="31" y="5"/>
                    <a:pt x="21" y="10"/>
                    <a:pt x="28" y="10"/>
                  </a:cubicBezTo>
                  <a:cubicBezTo>
                    <a:pt x="29" y="11"/>
                    <a:pt x="31" y="11"/>
                    <a:pt x="31" y="1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4" name="Freeform 188"/>
            <p:cNvSpPr>
              <a:spLocks/>
            </p:cNvSpPr>
            <p:nvPr/>
          </p:nvSpPr>
          <p:spPr bwMode="auto">
            <a:xfrm>
              <a:off x="5086246" y="3495403"/>
              <a:ext cx="30529" cy="32135"/>
            </a:xfrm>
            <a:custGeom>
              <a:avLst/>
              <a:gdLst/>
              <a:ahLst/>
              <a:cxnLst>
                <a:cxn ang="0">
                  <a:pos x="7" y="10"/>
                </a:cxn>
                <a:cxn ang="0">
                  <a:pos x="8" y="5"/>
                </a:cxn>
                <a:cxn ang="0">
                  <a:pos x="5" y="0"/>
                </a:cxn>
                <a:cxn ang="0">
                  <a:pos x="2" y="10"/>
                </a:cxn>
                <a:cxn ang="0">
                  <a:pos x="7" y="10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7" y="7"/>
                    <a:pt x="10" y="7"/>
                    <a:pt x="8" y="5"/>
                  </a:cubicBezTo>
                  <a:cubicBezTo>
                    <a:pt x="8" y="5"/>
                    <a:pt x="5" y="5"/>
                    <a:pt x="5" y="0"/>
                  </a:cubicBezTo>
                  <a:cubicBezTo>
                    <a:pt x="0" y="4"/>
                    <a:pt x="2" y="9"/>
                    <a:pt x="2" y="10"/>
                  </a:cubicBezTo>
                  <a:cubicBezTo>
                    <a:pt x="5" y="10"/>
                    <a:pt x="5" y="10"/>
                    <a:pt x="7" y="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5" name="Freeform 189"/>
            <p:cNvSpPr>
              <a:spLocks/>
            </p:cNvSpPr>
            <p:nvPr/>
          </p:nvSpPr>
          <p:spPr bwMode="auto">
            <a:xfrm>
              <a:off x="5484728" y="3170838"/>
              <a:ext cx="43383" cy="28921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3" y="8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2" y="3"/>
                </a:cxn>
                <a:cxn ang="0">
                  <a:pos x="11" y="3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3" y="9"/>
                </a:cxn>
              </a:cxnLst>
              <a:rect l="0" t="0" r="r" b="b"/>
              <a:pathLst>
                <a:path w="14" h="9">
                  <a:moveTo>
                    <a:pt x="3" y="9"/>
                  </a:moveTo>
                  <a:cubicBezTo>
                    <a:pt x="1" y="9"/>
                    <a:pt x="1" y="8"/>
                    <a:pt x="3" y="8"/>
                  </a:cubicBezTo>
                  <a:cubicBezTo>
                    <a:pt x="4" y="8"/>
                    <a:pt x="4" y="6"/>
                    <a:pt x="3" y="6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3" y="3"/>
                    <a:pt x="0" y="2"/>
                    <a:pt x="1" y="2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4" y="0"/>
                    <a:pt x="7" y="0"/>
                    <a:pt x="7" y="0"/>
                  </a:cubicBezTo>
                  <a:cubicBezTo>
                    <a:pt x="7" y="2"/>
                    <a:pt x="9" y="0"/>
                    <a:pt x="11" y="2"/>
                  </a:cubicBezTo>
                  <a:cubicBezTo>
                    <a:pt x="14" y="3"/>
                    <a:pt x="14" y="3"/>
                    <a:pt x="12" y="3"/>
                  </a:cubicBezTo>
                  <a:cubicBezTo>
                    <a:pt x="12" y="3"/>
                    <a:pt x="12" y="2"/>
                    <a:pt x="11" y="3"/>
                  </a:cubicBezTo>
                  <a:cubicBezTo>
                    <a:pt x="11" y="5"/>
                    <a:pt x="7" y="6"/>
                    <a:pt x="6" y="6"/>
                  </a:cubicBezTo>
                  <a:cubicBezTo>
                    <a:pt x="6" y="5"/>
                    <a:pt x="4" y="8"/>
                    <a:pt x="4" y="8"/>
                  </a:cubicBezTo>
                  <a:cubicBezTo>
                    <a:pt x="4" y="9"/>
                    <a:pt x="3" y="9"/>
                    <a:pt x="3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6" name="Freeform 190"/>
            <p:cNvSpPr>
              <a:spLocks/>
            </p:cNvSpPr>
            <p:nvPr/>
          </p:nvSpPr>
          <p:spPr bwMode="auto">
            <a:xfrm>
              <a:off x="5494369" y="3153165"/>
              <a:ext cx="27315" cy="17674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8" y="5"/>
                </a:cxn>
                <a:cxn ang="0">
                  <a:pos x="6" y="5"/>
                </a:cxn>
                <a:cxn ang="0">
                  <a:pos x="5" y="6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cubicBezTo>
                    <a:pt x="3" y="6"/>
                    <a:pt x="3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3" y="3"/>
                    <a:pt x="5" y="2"/>
                  </a:cubicBezTo>
                  <a:cubicBezTo>
                    <a:pt x="5" y="0"/>
                    <a:pt x="5" y="2"/>
                    <a:pt x="6" y="3"/>
                  </a:cubicBezTo>
                  <a:cubicBezTo>
                    <a:pt x="9" y="3"/>
                    <a:pt x="8" y="5"/>
                    <a:pt x="8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7" name="Freeform 191"/>
            <p:cNvSpPr>
              <a:spLocks/>
            </p:cNvSpPr>
            <p:nvPr/>
          </p:nvSpPr>
          <p:spPr bwMode="auto">
            <a:xfrm>
              <a:off x="5518470" y="3167625"/>
              <a:ext cx="9641" cy="1285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3" y="3"/>
                </a:cxn>
                <a:cxn ang="0">
                  <a:pos x="0" y="1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1" y="0"/>
                    <a:pt x="3" y="1"/>
                    <a:pt x="3" y="3"/>
                  </a:cubicBezTo>
                  <a:cubicBezTo>
                    <a:pt x="1" y="4"/>
                    <a:pt x="0" y="3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8" name="Freeform 192"/>
            <p:cNvSpPr>
              <a:spLocks/>
            </p:cNvSpPr>
            <p:nvPr/>
          </p:nvSpPr>
          <p:spPr bwMode="auto">
            <a:xfrm>
              <a:off x="5518470" y="3159591"/>
              <a:ext cx="9641" cy="321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0"/>
                </a:cxn>
                <a:cxn ang="0">
                  <a:pos x="1" y="0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9" name="Freeform 193"/>
            <p:cNvSpPr>
              <a:spLocks noEditPoints="1"/>
            </p:cNvSpPr>
            <p:nvPr/>
          </p:nvSpPr>
          <p:spPr bwMode="auto">
            <a:xfrm>
              <a:off x="5222822" y="2732195"/>
              <a:ext cx="324570" cy="576824"/>
            </a:xfrm>
            <a:custGeom>
              <a:avLst/>
              <a:gdLst/>
              <a:ahLst/>
              <a:cxnLst>
                <a:cxn ang="0">
                  <a:pos x="3" y="138"/>
                </a:cxn>
                <a:cxn ang="0">
                  <a:pos x="6" y="127"/>
                </a:cxn>
                <a:cxn ang="0">
                  <a:pos x="11" y="120"/>
                </a:cxn>
                <a:cxn ang="0">
                  <a:pos x="12" y="109"/>
                </a:cxn>
                <a:cxn ang="0">
                  <a:pos x="9" y="92"/>
                </a:cxn>
                <a:cxn ang="0">
                  <a:pos x="8" y="82"/>
                </a:cxn>
                <a:cxn ang="0">
                  <a:pos x="15" y="70"/>
                </a:cxn>
                <a:cxn ang="0">
                  <a:pos x="22" y="64"/>
                </a:cxn>
                <a:cxn ang="0">
                  <a:pos x="28" y="51"/>
                </a:cxn>
                <a:cxn ang="0">
                  <a:pos x="34" y="39"/>
                </a:cxn>
                <a:cxn ang="0">
                  <a:pos x="41" y="28"/>
                </a:cxn>
                <a:cxn ang="0">
                  <a:pos x="44" y="18"/>
                </a:cxn>
                <a:cxn ang="0">
                  <a:pos x="55" y="15"/>
                </a:cxn>
                <a:cxn ang="0">
                  <a:pos x="72" y="9"/>
                </a:cxn>
                <a:cxn ang="0">
                  <a:pos x="76" y="0"/>
                </a:cxn>
                <a:cxn ang="0">
                  <a:pos x="90" y="9"/>
                </a:cxn>
                <a:cxn ang="0">
                  <a:pos x="98" y="14"/>
                </a:cxn>
                <a:cxn ang="0">
                  <a:pos x="98" y="23"/>
                </a:cxn>
                <a:cxn ang="0">
                  <a:pos x="99" y="28"/>
                </a:cxn>
                <a:cxn ang="0">
                  <a:pos x="101" y="37"/>
                </a:cxn>
                <a:cxn ang="0">
                  <a:pos x="96" y="46"/>
                </a:cxn>
                <a:cxn ang="0">
                  <a:pos x="87" y="51"/>
                </a:cxn>
                <a:cxn ang="0">
                  <a:pos x="81" y="60"/>
                </a:cxn>
                <a:cxn ang="0">
                  <a:pos x="75" y="74"/>
                </a:cxn>
                <a:cxn ang="0">
                  <a:pos x="67" y="78"/>
                </a:cxn>
                <a:cxn ang="0">
                  <a:pos x="55" y="87"/>
                </a:cxn>
                <a:cxn ang="0">
                  <a:pos x="49" y="92"/>
                </a:cxn>
                <a:cxn ang="0">
                  <a:pos x="50" y="102"/>
                </a:cxn>
                <a:cxn ang="0">
                  <a:pos x="53" y="116"/>
                </a:cxn>
                <a:cxn ang="0">
                  <a:pos x="60" y="123"/>
                </a:cxn>
                <a:cxn ang="0">
                  <a:pos x="55" y="132"/>
                </a:cxn>
                <a:cxn ang="0">
                  <a:pos x="41" y="130"/>
                </a:cxn>
                <a:cxn ang="0">
                  <a:pos x="60" y="132"/>
                </a:cxn>
                <a:cxn ang="0">
                  <a:pos x="55" y="138"/>
                </a:cxn>
                <a:cxn ang="0">
                  <a:pos x="46" y="143"/>
                </a:cxn>
                <a:cxn ang="0">
                  <a:pos x="44" y="151"/>
                </a:cxn>
                <a:cxn ang="0">
                  <a:pos x="43" y="162"/>
                </a:cxn>
                <a:cxn ang="0">
                  <a:pos x="32" y="172"/>
                </a:cxn>
                <a:cxn ang="0">
                  <a:pos x="25" y="183"/>
                </a:cxn>
                <a:cxn ang="0">
                  <a:pos x="12" y="172"/>
                </a:cxn>
                <a:cxn ang="0">
                  <a:pos x="14" y="168"/>
                </a:cxn>
                <a:cxn ang="0">
                  <a:pos x="6" y="146"/>
                </a:cxn>
                <a:cxn ang="0">
                  <a:pos x="0" y="138"/>
                </a:cxn>
                <a:cxn ang="0">
                  <a:pos x="61" y="158"/>
                </a:cxn>
                <a:cxn ang="0">
                  <a:pos x="63" y="151"/>
                </a:cxn>
                <a:cxn ang="0">
                  <a:pos x="56" y="160"/>
                </a:cxn>
                <a:cxn ang="0">
                  <a:pos x="61" y="158"/>
                </a:cxn>
                <a:cxn ang="0">
                  <a:pos x="44" y="163"/>
                </a:cxn>
                <a:cxn ang="0">
                  <a:pos x="47" y="158"/>
                </a:cxn>
                <a:cxn ang="0">
                  <a:pos x="58" y="116"/>
                </a:cxn>
              </a:cxnLst>
              <a:rect l="0" t="0" r="r" b="b"/>
              <a:pathLst>
                <a:path w="104" h="185">
                  <a:moveTo>
                    <a:pt x="2" y="135"/>
                  </a:moveTo>
                  <a:cubicBezTo>
                    <a:pt x="2" y="135"/>
                    <a:pt x="2" y="137"/>
                    <a:pt x="3" y="138"/>
                  </a:cubicBezTo>
                  <a:cubicBezTo>
                    <a:pt x="3" y="140"/>
                    <a:pt x="6" y="137"/>
                    <a:pt x="5" y="132"/>
                  </a:cubicBezTo>
                  <a:cubicBezTo>
                    <a:pt x="3" y="129"/>
                    <a:pt x="6" y="129"/>
                    <a:pt x="6" y="127"/>
                  </a:cubicBezTo>
                  <a:cubicBezTo>
                    <a:pt x="5" y="124"/>
                    <a:pt x="8" y="127"/>
                    <a:pt x="9" y="124"/>
                  </a:cubicBezTo>
                  <a:cubicBezTo>
                    <a:pt x="12" y="121"/>
                    <a:pt x="9" y="121"/>
                    <a:pt x="11" y="120"/>
                  </a:cubicBezTo>
                  <a:cubicBezTo>
                    <a:pt x="14" y="118"/>
                    <a:pt x="8" y="112"/>
                    <a:pt x="9" y="110"/>
                  </a:cubicBezTo>
                  <a:cubicBezTo>
                    <a:pt x="9" y="109"/>
                    <a:pt x="12" y="112"/>
                    <a:pt x="12" y="109"/>
                  </a:cubicBezTo>
                  <a:cubicBezTo>
                    <a:pt x="14" y="107"/>
                    <a:pt x="15" y="106"/>
                    <a:pt x="11" y="104"/>
                  </a:cubicBezTo>
                  <a:cubicBezTo>
                    <a:pt x="5" y="101"/>
                    <a:pt x="11" y="96"/>
                    <a:pt x="9" y="92"/>
                  </a:cubicBezTo>
                  <a:cubicBezTo>
                    <a:pt x="6" y="88"/>
                    <a:pt x="9" y="88"/>
                    <a:pt x="8" y="87"/>
                  </a:cubicBezTo>
                  <a:cubicBezTo>
                    <a:pt x="6" y="85"/>
                    <a:pt x="9" y="85"/>
                    <a:pt x="8" y="82"/>
                  </a:cubicBezTo>
                  <a:cubicBezTo>
                    <a:pt x="5" y="79"/>
                    <a:pt x="9" y="79"/>
                    <a:pt x="8" y="78"/>
                  </a:cubicBezTo>
                  <a:cubicBezTo>
                    <a:pt x="8" y="74"/>
                    <a:pt x="14" y="71"/>
                    <a:pt x="15" y="70"/>
                  </a:cubicBezTo>
                  <a:cubicBezTo>
                    <a:pt x="18" y="68"/>
                    <a:pt x="23" y="73"/>
                    <a:pt x="25" y="67"/>
                  </a:cubicBezTo>
                  <a:cubicBezTo>
                    <a:pt x="26" y="64"/>
                    <a:pt x="23" y="65"/>
                    <a:pt x="22" y="64"/>
                  </a:cubicBezTo>
                  <a:cubicBezTo>
                    <a:pt x="18" y="62"/>
                    <a:pt x="26" y="57"/>
                    <a:pt x="26" y="56"/>
                  </a:cubicBezTo>
                  <a:cubicBezTo>
                    <a:pt x="26" y="53"/>
                    <a:pt x="28" y="54"/>
                    <a:pt x="28" y="51"/>
                  </a:cubicBezTo>
                  <a:cubicBezTo>
                    <a:pt x="26" y="46"/>
                    <a:pt x="29" y="48"/>
                    <a:pt x="26" y="42"/>
                  </a:cubicBezTo>
                  <a:cubicBezTo>
                    <a:pt x="26" y="40"/>
                    <a:pt x="37" y="42"/>
                    <a:pt x="34" y="39"/>
                  </a:cubicBezTo>
                  <a:cubicBezTo>
                    <a:pt x="32" y="36"/>
                    <a:pt x="35" y="37"/>
                    <a:pt x="37" y="32"/>
                  </a:cubicBezTo>
                  <a:cubicBezTo>
                    <a:pt x="40" y="29"/>
                    <a:pt x="41" y="31"/>
                    <a:pt x="41" y="28"/>
                  </a:cubicBezTo>
                  <a:cubicBezTo>
                    <a:pt x="43" y="26"/>
                    <a:pt x="40" y="25"/>
                    <a:pt x="40" y="23"/>
                  </a:cubicBezTo>
                  <a:cubicBezTo>
                    <a:pt x="40" y="22"/>
                    <a:pt x="41" y="23"/>
                    <a:pt x="44" y="18"/>
                  </a:cubicBezTo>
                  <a:cubicBezTo>
                    <a:pt x="44" y="15"/>
                    <a:pt x="47" y="15"/>
                    <a:pt x="49" y="14"/>
                  </a:cubicBezTo>
                  <a:cubicBezTo>
                    <a:pt x="50" y="14"/>
                    <a:pt x="52" y="17"/>
                    <a:pt x="55" y="15"/>
                  </a:cubicBezTo>
                  <a:cubicBezTo>
                    <a:pt x="58" y="14"/>
                    <a:pt x="53" y="9"/>
                    <a:pt x="55" y="8"/>
                  </a:cubicBezTo>
                  <a:cubicBezTo>
                    <a:pt x="60" y="4"/>
                    <a:pt x="67" y="12"/>
                    <a:pt x="72" y="9"/>
                  </a:cubicBezTo>
                  <a:cubicBezTo>
                    <a:pt x="75" y="8"/>
                    <a:pt x="67" y="9"/>
                    <a:pt x="72" y="6"/>
                  </a:cubicBezTo>
                  <a:cubicBezTo>
                    <a:pt x="76" y="1"/>
                    <a:pt x="67" y="0"/>
                    <a:pt x="76" y="0"/>
                  </a:cubicBezTo>
                  <a:cubicBezTo>
                    <a:pt x="79" y="1"/>
                    <a:pt x="75" y="1"/>
                    <a:pt x="79" y="3"/>
                  </a:cubicBezTo>
                  <a:cubicBezTo>
                    <a:pt x="82" y="6"/>
                    <a:pt x="87" y="9"/>
                    <a:pt x="90" y="9"/>
                  </a:cubicBezTo>
                  <a:cubicBezTo>
                    <a:pt x="93" y="9"/>
                    <a:pt x="96" y="11"/>
                    <a:pt x="96" y="12"/>
                  </a:cubicBezTo>
                  <a:cubicBezTo>
                    <a:pt x="96" y="14"/>
                    <a:pt x="94" y="12"/>
                    <a:pt x="98" y="14"/>
                  </a:cubicBezTo>
                  <a:cubicBezTo>
                    <a:pt x="102" y="18"/>
                    <a:pt x="98" y="15"/>
                    <a:pt x="98" y="18"/>
                  </a:cubicBezTo>
                  <a:cubicBezTo>
                    <a:pt x="99" y="23"/>
                    <a:pt x="98" y="22"/>
                    <a:pt x="98" y="23"/>
                  </a:cubicBezTo>
                  <a:cubicBezTo>
                    <a:pt x="98" y="25"/>
                    <a:pt x="101" y="22"/>
                    <a:pt x="101" y="23"/>
                  </a:cubicBezTo>
                  <a:cubicBezTo>
                    <a:pt x="101" y="25"/>
                    <a:pt x="99" y="25"/>
                    <a:pt x="99" y="28"/>
                  </a:cubicBezTo>
                  <a:cubicBezTo>
                    <a:pt x="99" y="29"/>
                    <a:pt x="104" y="31"/>
                    <a:pt x="102" y="32"/>
                  </a:cubicBezTo>
                  <a:cubicBezTo>
                    <a:pt x="101" y="34"/>
                    <a:pt x="102" y="34"/>
                    <a:pt x="101" y="37"/>
                  </a:cubicBezTo>
                  <a:cubicBezTo>
                    <a:pt x="98" y="40"/>
                    <a:pt x="104" y="42"/>
                    <a:pt x="104" y="46"/>
                  </a:cubicBezTo>
                  <a:cubicBezTo>
                    <a:pt x="101" y="48"/>
                    <a:pt x="99" y="45"/>
                    <a:pt x="96" y="46"/>
                  </a:cubicBezTo>
                  <a:cubicBezTo>
                    <a:pt x="93" y="48"/>
                    <a:pt x="94" y="45"/>
                    <a:pt x="91" y="46"/>
                  </a:cubicBezTo>
                  <a:cubicBezTo>
                    <a:pt x="90" y="48"/>
                    <a:pt x="87" y="50"/>
                    <a:pt x="87" y="51"/>
                  </a:cubicBezTo>
                  <a:cubicBezTo>
                    <a:pt x="87" y="53"/>
                    <a:pt x="84" y="51"/>
                    <a:pt x="82" y="54"/>
                  </a:cubicBezTo>
                  <a:cubicBezTo>
                    <a:pt x="82" y="59"/>
                    <a:pt x="79" y="57"/>
                    <a:pt x="81" y="60"/>
                  </a:cubicBezTo>
                  <a:cubicBezTo>
                    <a:pt x="81" y="64"/>
                    <a:pt x="85" y="64"/>
                    <a:pt x="81" y="67"/>
                  </a:cubicBezTo>
                  <a:cubicBezTo>
                    <a:pt x="76" y="70"/>
                    <a:pt x="78" y="74"/>
                    <a:pt x="75" y="74"/>
                  </a:cubicBezTo>
                  <a:cubicBezTo>
                    <a:pt x="72" y="74"/>
                    <a:pt x="73" y="76"/>
                    <a:pt x="72" y="76"/>
                  </a:cubicBezTo>
                  <a:cubicBezTo>
                    <a:pt x="69" y="76"/>
                    <a:pt x="70" y="79"/>
                    <a:pt x="67" y="78"/>
                  </a:cubicBezTo>
                  <a:cubicBezTo>
                    <a:pt x="63" y="78"/>
                    <a:pt x="66" y="84"/>
                    <a:pt x="63" y="82"/>
                  </a:cubicBezTo>
                  <a:cubicBezTo>
                    <a:pt x="60" y="81"/>
                    <a:pt x="61" y="87"/>
                    <a:pt x="55" y="87"/>
                  </a:cubicBezTo>
                  <a:cubicBezTo>
                    <a:pt x="50" y="88"/>
                    <a:pt x="58" y="88"/>
                    <a:pt x="53" y="92"/>
                  </a:cubicBezTo>
                  <a:cubicBezTo>
                    <a:pt x="49" y="93"/>
                    <a:pt x="50" y="88"/>
                    <a:pt x="49" y="92"/>
                  </a:cubicBezTo>
                  <a:cubicBezTo>
                    <a:pt x="49" y="95"/>
                    <a:pt x="53" y="92"/>
                    <a:pt x="50" y="96"/>
                  </a:cubicBezTo>
                  <a:cubicBezTo>
                    <a:pt x="49" y="99"/>
                    <a:pt x="52" y="102"/>
                    <a:pt x="50" y="102"/>
                  </a:cubicBezTo>
                  <a:cubicBezTo>
                    <a:pt x="47" y="102"/>
                    <a:pt x="47" y="116"/>
                    <a:pt x="50" y="116"/>
                  </a:cubicBezTo>
                  <a:cubicBezTo>
                    <a:pt x="53" y="116"/>
                    <a:pt x="50" y="118"/>
                    <a:pt x="53" y="116"/>
                  </a:cubicBezTo>
                  <a:cubicBezTo>
                    <a:pt x="56" y="116"/>
                    <a:pt x="56" y="120"/>
                    <a:pt x="58" y="120"/>
                  </a:cubicBezTo>
                  <a:cubicBezTo>
                    <a:pt x="61" y="120"/>
                    <a:pt x="56" y="123"/>
                    <a:pt x="60" y="123"/>
                  </a:cubicBezTo>
                  <a:cubicBezTo>
                    <a:pt x="61" y="123"/>
                    <a:pt x="63" y="124"/>
                    <a:pt x="64" y="126"/>
                  </a:cubicBezTo>
                  <a:cubicBezTo>
                    <a:pt x="64" y="127"/>
                    <a:pt x="58" y="130"/>
                    <a:pt x="55" y="132"/>
                  </a:cubicBezTo>
                  <a:cubicBezTo>
                    <a:pt x="53" y="134"/>
                    <a:pt x="52" y="129"/>
                    <a:pt x="50" y="130"/>
                  </a:cubicBezTo>
                  <a:cubicBezTo>
                    <a:pt x="49" y="130"/>
                    <a:pt x="46" y="127"/>
                    <a:pt x="41" y="130"/>
                  </a:cubicBezTo>
                  <a:cubicBezTo>
                    <a:pt x="38" y="134"/>
                    <a:pt x="46" y="129"/>
                    <a:pt x="49" y="132"/>
                  </a:cubicBezTo>
                  <a:cubicBezTo>
                    <a:pt x="53" y="137"/>
                    <a:pt x="58" y="130"/>
                    <a:pt x="60" y="132"/>
                  </a:cubicBezTo>
                  <a:cubicBezTo>
                    <a:pt x="61" y="135"/>
                    <a:pt x="58" y="134"/>
                    <a:pt x="58" y="135"/>
                  </a:cubicBezTo>
                  <a:cubicBezTo>
                    <a:pt x="58" y="137"/>
                    <a:pt x="56" y="135"/>
                    <a:pt x="55" y="138"/>
                  </a:cubicBezTo>
                  <a:cubicBezTo>
                    <a:pt x="53" y="140"/>
                    <a:pt x="52" y="135"/>
                    <a:pt x="52" y="138"/>
                  </a:cubicBezTo>
                  <a:cubicBezTo>
                    <a:pt x="50" y="141"/>
                    <a:pt x="44" y="141"/>
                    <a:pt x="46" y="143"/>
                  </a:cubicBezTo>
                  <a:cubicBezTo>
                    <a:pt x="46" y="144"/>
                    <a:pt x="43" y="143"/>
                    <a:pt x="44" y="146"/>
                  </a:cubicBezTo>
                  <a:cubicBezTo>
                    <a:pt x="46" y="148"/>
                    <a:pt x="44" y="148"/>
                    <a:pt x="44" y="151"/>
                  </a:cubicBezTo>
                  <a:cubicBezTo>
                    <a:pt x="46" y="152"/>
                    <a:pt x="43" y="154"/>
                    <a:pt x="44" y="155"/>
                  </a:cubicBezTo>
                  <a:cubicBezTo>
                    <a:pt x="44" y="157"/>
                    <a:pt x="43" y="160"/>
                    <a:pt x="43" y="162"/>
                  </a:cubicBezTo>
                  <a:cubicBezTo>
                    <a:pt x="43" y="165"/>
                    <a:pt x="41" y="166"/>
                    <a:pt x="40" y="171"/>
                  </a:cubicBezTo>
                  <a:cubicBezTo>
                    <a:pt x="38" y="177"/>
                    <a:pt x="38" y="172"/>
                    <a:pt x="32" y="172"/>
                  </a:cubicBezTo>
                  <a:cubicBezTo>
                    <a:pt x="26" y="174"/>
                    <a:pt x="31" y="176"/>
                    <a:pt x="28" y="176"/>
                  </a:cubicBezTo>
                  <a:cubicBezTo>
                    <a:pt x="25" y="174"/>
                    <a:pt x="28" y="183"/>
                    <a:pt x="25" y="183"/>
                  </a:cubicBezTo>
                  <a:cubicBezTo>
                    <a:pt x="20" y="182"/>
                    <a:pt x="12" y="185"/>
                    <a:pt x="14" y="182"/>
                  </a:cubicBezTo>
                  <a:cubicBezTo>
                    <a:pt x="17" y="177"/>
                    <a:pt x="8" y="169"/>
                    <a:pt x="12" y="172"/>
                  </a:cubicBezTo>
                  <a:cubicBezTo>
                    <a:pt x="15" y="174"/>
                    <a:pt x="11" y="169"/>
                    <a:pt x="12" y="169"/>
                  </a:cubicBezTo>
                  <a:cubicBezTo>
                    <a:pt x="15" y="169"/>
                    <a:pt x="15" y="166"/>
                    <a:pt x="14" y="168"/>
                  </a:cubicBezTo>
                  <a:cubicBezTo>
                    <a:pt x="11" y="168"/>
                    <a:pt x="8" y="158"/>
                    <a:pt x="6" y="154"/>
                  </a:cubicBezTo>
                  <a:cubicBezTo>
                    <a:pt x="5" y="149"/>
                    <a:pt x="8" y="149"/>
                    <a:pt x="6" y="146"/>
                  </a:cubicBezTo>
                  <a:cubicBezTo>
                    <a:pt x="5" y="144"/>
                    <a:pt x="3" y="149"/>
                    <a:pt x="2" y="146"/>
                  </a:cubicBezTo>
                  <a:cubicBezTo>
                    <a:pt x="0" y="143"/>
                    <a:pt x="2" y="141"/>
                    <a:pt x="0" y="138"/>
                  </a:cubicBezTo>
                  <a:cubicBezTo>
                    <a:pt x="0" y="137"/>
                    <a:pt x="2" y="137"/>
                    <a:pt x="2" y="135"/>
                  </a:cubicBezTo>
                  <a:close/>
                  <a:moveTo>
                    <a:pt x="61" y="158"/>
                  </a:moveTo>
                  <a:cubicBezTo>
                    <a:pt x="64" y="155"/>
                    <a:pt x="60" y="155"/>
                    <a:pt x="63" y="152"/>
                  </a:cubicBezTo>
                  <a:cubicBezTo>
                    <a:pt x="66" y="151"/>
                    <a:pt x="66" y="149"/>
                    <a:pt x="63" y="151"/>
                  </a:cubicBezTo>
                  <a:cubicBezTo>
                    <a:pt x="60" y="154"/>
                    <a:pt x="61" y="149"/>
                    <a:pt x="58" y="152"/>
                  </a:cubicBezTo>
                  <a:cubicBezTo>
                    <a:pt x="55" y="155"/>
                    <a:pt x="55" y="158"/>
                    <a:pt x="56" y="160"/>
                  </a:cubicBezTo>
                  <a:cubicBezTo>
                    <a:pt x="56" y="162"/>
                    <a:pt x="55" y="165"/>
                    <a:pt x="56" y="163"/>
                  </a:cubicBezTo>
                  <a:cubicBezTo>
                    <a:pt x="58" y="163"/>
                    <a:pt x="58" y="162"/>
                    <a:pt x="61" y="158"/>
                  </a:cubicBezTo>
                  <a:close/>
                  <a:moveTo>
                    <a:pt x="47" y="158"/>
                  </a:moveTo>
                  <a:cubicBezTo>
                    <a:pt x="46" y="158"/>
                    <a:pt x="46" y="162"/>
                    <a:pt x="44" y="163"/>
                  </a:cubicBezTo>
                  <a:cubicBezTo>
                    <a:pt x="43" y="165"/>
                    <a:pt x="41" y="171"/>
                    <a:pt x="43" y="172"/>
                  </a:cubicBezTo>
                  <a:cubicBezTo>
                    <a:pt x="43" y="172"/>
                    <a:pt x="49" y="158"/>
                    <a:pt x="47" y="158"/>
                  </a:cubicBezTo>
                  <a:close/>
                  <a:moveTo>
                    <a:pt x="60" y="120"/>
                  </a:moveTo>
                  <a:cubicBezTo>
                    <a:pt x="58" y="120"/>
                    <a:pt x="58" y="118"/>
                    <a:pt x="58" y="116"/>
                  </a:cubicBezTo>
                  <a:cubicBezTo>
                    <a:pt x="60" y="120"/>
                    <a:pt x="60" y="120"/>
                    <a:pt x="60" y="12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Freeform 194"/>
            <p:cNvSpPr>
              <a:spLocks/>
            </p:cNvSpPr>
            <p:nvPr/>
          </p:nvSpPr>
          <p:spPr bwMode="auto">
            <a:xfrm>
              <a:off x="6064776" y="3791045"/>
              <a:ext cx="130149" cy="131754"/>
            </a:xfrm>
            <a:custGeom>
              <a:avLst/>
              <a:gdLst/>
              <a:ahLst/>
              <a:cxnLst>
                <a:cxn ang="0">
                  <a:pos x="30" y="41"/>
                </a:cxn>
                <a:cxn ang="0">
                  <a:pos x="26" y="38"/>
                </a:cxn>
                <a:cxn ang="0">
                  <a:pos x="26" y="39"/>
                </a:cxn>
                <a:cxn ang="0">
                  <a:pos x="24" y="38"/>
                </a:cxn>
                <a:cxn ang="0">
                  <a:pos x="23" y="36"/>
                </a:cxn>
                <a:cxn ang="0">
                  <a:pos x="23" y="35"/>
                </a:cxn>
                <a:cxn ang="0">
                  <a:pos x="26" y="33"/>
                </a:cxn>
                <a:cxn ang="0">
                  <a:pos x="24" y="32"/>
                </a:cxn>
                <a:cxn ang="0">
                  <a:pos x="26" y="30"/>
                </a:cxn>
                <a:cxn ang="0">
                  <a:pos x="23" y="27"/>
                </a:cxn>
                <a:cxn ang="0">
                  <a:pos x="18" y="30"/>
                </a:cxn>
                <a:cxn ang="0">
                  <a:pos x="15" y="32"/>
                </a:cxn>
                <a:cxn ang="0">
                  <a:pos x="14" y="33"/>
                </a:cxn>
                <a:cxn ang="0">
                  <a:pos x="12" y="35"/>
                </a:cxn>
                <a:cxn ang="0">
                  <a:pos x="11" y="36"/>
                </a:cxn>
                <a:cxn ang="0">
                  <a:pos x="11" y="33"/>
                </a:cxn>
                <a:cxn ang="0">
                  <a:pos x="11" y="33"/>
                </a:cxn>
                <a:cxn ang="0">
                  <a:pos x="12" y="32"/>
                </a:cxn>
                <a:cxn ang="0">
                  <a:pos x="11" y="30"/>
                </a:cxn>
                <a:cxn ang="0">
                  <a:pos x="12" y="28"/>
                </a:cxn>
                <a:cxn ang="0">
                  <a:pos x="9" y="27"/>
                </a:cxn>
                <a:cxn ang="0">
                  <a:pos x="6" y="24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8" y="21"/>
                </a:cxn>
                <a:cxn ang="0">
                  <a:pos x="3" y="18"/>
                </a:cxn>
                <a:cxn ang="0">
                  <a:pos x="4" y="14"/>
                </a:cxn>
                <a:cxn ang="0">
                  <a:pos x="0" y="8"/>
                </a:cxn>
                <a:cxn ang="0">
                  <a:pos x="1" y="7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9" y="10"/>
                </a:cxn>
                <a:cxn ang="0">
                  <a:pos x="12" y="10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11" y="2"/>
                </a:cxn>
                <a:cxn ang="0">
                  <a:pos x="14" y="4"/>
                </a:cxn>
                <a:cxn ang="0">
                  <a:pos x="17" y="7"/>
                </a:cxn>
                <a:cxn ang="0">
                  <a:pos x="23" y="8"/>
                </a:cxn>
                <a:cxn ang="0">
                  <a:pos x="27" y="4"/>
                </a:cxn>
                <a:cxn ang="0">
                  <a:pos x="32" y="11"/>
                </a:cxn>
                <a:cxn ang="0">
                  <a:pos x="35" y="16"/>
                </a:cxn>
                <a:cxn ang="0">
                  <a:pos x="42" y="19"/>
                </a:cxn>
                <a:cxn ang="0">
                  <a:pos x="36" y="19"/>
                </a:cxn>
                <a:cxn ang="0">
                  <a:pos x="33" y="27"/>
                </a:cxn>
                <a:cxn ang="0">
                  <a:pos x="33" y="32"/>
                </a:cxn>
                <a:cxn ang="0">
                  <a:pos x="32" y="35"/>
                </a:cxn>
                <a:cxn ang="0">
                  <a:pos x="30" y="35"/>
                </a:cxn>
                <a:cxn ang="0">
                  <a:pos x="30" y="41"/>
                </a:cxn>
              </a:cxnLst>
              <a:rect l="0" t="0" r="r" b="b"/>
              <a:pathLst>
                <a:path w="42" h="42">
                  <a:moveTo>
                    <a:pt x="30" y="41"/>
                  </a:moveTo>
                  <a:cubicBezTo>
                    <a:pt x="26" y="42"/>
                    <a:pt x="27" y="39"/>
                    <a:pt x="26" y="3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4" y="39"/>
                    <a:pt x="24" y="38"/>
                    <a:pt x="24" y="38"/>
                  </a:cubicBezTo>
                  <a:cubicBezTo>
                    <a:pt x="24" y="36"/>
                    <a:pt x="24" y="36"/>
                    <a:pt x="23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5"/>
                    <a:pt x="26" y="35"/>
                    <a:pt x="26" y="33"/>
                  </a:cubicBezTo>
                  <a:cubicBezTo>
                    <a:pt x="26" y="33"/>
                    <a:pt x="24" y="33"/>
                    <a:pt x="24" y="32"/>
                  </a:cubicBezTo>
                  <a:cubicBezTo>
                    <a:pt x="24" y="30"/>
                    <a:pt x="26" y="30"/>
                    <a:pt x="26" y="30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1" y="25"/>
                    <a:pt x="18" y="28"/>
                    <a:pt x="18" y="30"/>
                  </a:cubicBezTo>
                  <a:cubicBezTo>
                    <a:pt x="17" y="30"/>
                    <a:pt x="15" y="32"/>
                    <a:pt x="15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2" y="36"/>
                    <a:pt x="11" y="36"/>
                  </a:cubicBezTo>
                  <a:cubicBezTo>
                    <a:pt x="11" y="35"/>
                    <a:pt x="11" y="35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9" y="32"/>
                    <a:pt x="12" y="32"/>
                    <a:pt x="12" y="32"/>
                  </a:cubicBezTo>
                  <a:cubicBezTo>
                    <a:pt x="12" y="32"/>
                    <a:pt x="9" y="30"/>
                    <a:pt x="11" y="30"/>
                  </a:cubicBezTo>
                  <a:cubicBezTo>
                    <a:pt x="11" y="28"/>
                    <a:pt x="12" y="30"/>
                    <a:pt x="12" y="28"/>
                  </a:cubicBezTo>
                  <a:cubicBezTo>
                    <a:pt x="12" y="27"/>
                    <a:pt x="9" y="28"/>
                    <a:pt x="9" y="27"/>
                  </a:cubicBezTo>
                  <a:cubicBezTo>
                    <a:pt x="8" y="27"/>
                    <a:pt x="6" y="25"/>
                    <a:pt x="6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2"/>
                    <a:pt x="6" y="24"/>
                    <a:pt x="6" y="24"/>
                  </a:cubicBezTo>
                  <a:cubicBezTo>
                    <a:pt x="6" y="22"/>
                    <a:pt x="8" y="21"/>
                    <a:pt x="8" y="2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4"/>
                    <a:pt x="4" y="14"/>
                    <a:pt x="4" y="14"/>
                  </a:cubicBezTo>
                  <a:cubicBezTo>
                    <a:pt x="4" y="13"/>
                    <a:pt x="0" y="10"/>
                    <a:pt x="0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4" y="10"/>
                    <a:pt x="6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11" y="10"/>
                    <a:pt x="11" y="13"/>
                    <a:pt x="12" y="10"/>
                  </a:cubicBezTo>
                  <a:cubicBezTo>
                    <a:pt x="14" y="8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11" y="2"/>
                    <a:pt x="11" y="2"/>
                  </a:cubicBezTo>
                  <a:cubicBezTo>
                    <a:pt x="12" y="5"/>
                    <a:pt x="14" y="0"/>
                    <a:pt x="14" y="4"/>
                  </a:cubicBezTo>
                  <a:cubicBezTo>
                    <a:pt x="15" y="7"/>
                    <a:pt x="17" y="4"/>
                    <a:pt x="17" y="7"/>
                  </a:cubicBezTo>
                  <a:cubicBezTo>
                    <a:pt x="18" y="11"/>
                    <a:pt x="23" y="10"/>
                    <a:pt x="23" y="8"/>
                  </a:cubicBezTo>
                  <a:cubicBezTo>
                    <a:pt x="24" y="7"/>
                    <a:pt x="26" y="5"/>
                    <a:pt x="27" y="4"/>
                  </a:cubicBezTo>
                  <a:cubicBezTo>
                    <a:pt x="29" y="4"/>
                    <a:pt x="32" y="10"/>
                    <a:pt x="32" y="11"/>
                  </a:cubicBezTo>
                  <a:cubicBezTo>
                    <a:pt x="33" y="13"/>
                    <a:pt x="35" y="13"/>
                    <a:pt x="35" y="16"/>
                  </a:cubicBezTo>
                  <a:cubicBezTo>
                    <a:pt x="35" y="18"/>
                    <a:pt x="41" y="16"/>
                    <a:pt x="42" y="19"/>
                  </a:cubicBezTo>
                  <a:cubicBezTo>
                    <a:pt x="42" y="22"/>
                    <a:pt x="41" y="18"/>
                    <a:pt x="36" y="19"/>
                  </a:cubicBezTo>
                  <a:cubicBezTo>
                    <a:pt x="33" y="22"/>
                    <a:pt x="36" y="25"/>
                    <a:pt x="33" y="27"/>
                  </a:cubicBezTo>
                  <a:cubicBezTo>
                    <a:pt x="32" y="28"/>
                    <a:pt x="35" y="30"/>
                    <a:pt x="33" y="32"/>
                  </a:cubicBezTo>
                  <a:cubicBezTo>
                    <a:pt x="32" y="32"/>
                    <a:pt x="33" y="33"/>
                    <a:pt x="32" y="35"/>
                  </a:cubicBezTo>
                  <a:cubicBezTo>
                    <a:pt x="32" y="35"/>
                    <a:pt x="32" y="28"/>
                    <a:pt x="30" y="35"/>
                  </a:cubicBezTo>
                  <a:cubicBezTo>
                    <a:pt x="29" y="38"/>
                    <a:pt x="29" y="39"/>
                    <a:pt x="30" y="4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1" name="Freeform 195"/>
            <p:cNvSpPr>
              <a:spLocks/>
            </p:cNvSpPr>
            <p:nvPr/>
          </p:nvSpPr>
          <p:spPr bwMode="auto">
            <a:xfrm>
              <a:off x="6055135" y="3869776"/>
              <a:ext cx="36956" cy="3374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0" y="6"/>
                </a:cxn>
                <a:cxn ang="0">
                  <a:pos x="12" y="11"/>
                </a:cxn>
                <a:cxn ang="0">
                  <a:pos x="9" y="11"/>
                </a:cxn>
                <a:cxn ang="0">
                  <a:pos x="0" y="2"/>
                </a:cxn>
              </a:cxnLst>
              <a:rect l="0" t="0" r="r" b="b"/>
              <a:pathLst>
                <a:path w="12" h="11">
                  <a:moveTo>
                    <a:pt x="0" y="2"/>
                  </a:moveTo>
                  <a:cubicBezTo>
                    <a:pt x="1" y="2"/>
                    <a:pt x="1" y="0"/>
                    <a:pt x="3" y="0"/>
                  </a:cubicBezTo>
                  <a:cubicBezTo>
                    <a:pt x="4" y="2"/>
                    <a:pt x="3" y="3"/>
                    <a:pt x="4" y="3"/>
                  </a:cubicBezTo>
                  <a:cubicBezTo>
                    <a:pt x="6" y="2"/>
                    <a:pt x="4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7" y="5"/>
                    <a:pt x="9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8"/>
                    <a:pt x="10" y="9"/>
                    <a:pt x="12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4" y="9"/>
                    <a:pt x="3" y="5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Freeform 196"/>
            <p:cNvSpPr>
              <a:spLocks/>
            </p:cNvSpPr>
            <p:nvPr/>
          </p:nvSpPr>
          <p:spPr bwMode="auto">
            <a:xfrm>
              <a:off x="6021392" y="3816752"/>
              <a:ext cx="80339" cy="86764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4" y="25"/>
                </a:cxn>
                <a:cxn ang="0">
                  <a:pos x="24" y="25"/>
                </a:cxn>
                <a:cxn ang="0">
                  <a:pos x="26" y="23"/>
                </a:cxn>
                <a:cxn ang="0">
                  <a:pos x="24" y="22"/>
                </a:cxn>
                <a:cxn ang="0">
                  <a:pos x="26" y="20"/>
                </a:cxn>
                <a:cxn ang="0">
                  <a:pos x="23" y="19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17" y="9"/>
                </a:cxn>
                <a:cxn ang="0">
                  <a:pos x="18" y="6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3" y="8"/>
                </a:cxn>
                <a:cxn ang="0">
                  <a:pos x="1" y="11"/>
                </a:cxn>
                <a:cxn ang="0">
                  <a:pos x="3" y="12"/>
                </a:cxn>
                <a:cxn ang="0">
                  <a:pos x="1" y="14"/>
                </a:cxn>
                <a:cxn ang="0">
                  <a:pos x="9" y="16"/>
                </a:cxn>
                <a:cxn ang="0">
                  <a:pos x="11" y="19"/>
                </a:cxn>
                <a:cxn ang="0">
                  <a:pos x="14" y="17"/>
                </a:cxn>
                <a:cxn ang="0">
                  <a:pos x="15" y="20"/>
                </a:cxn>
                <a:cxn ang="0">
                  <a:pos x="17" y="20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1" y="23"/>
                </a:cxn>
                <a:cxn ang="0">
                  <a:pos x="23" y="28"/>
                </a:cxn>
                <a:cxn ang="0">
                  <a:pos x="24" y="26"/>
                </a:cxn>
                <a:cxn ang="0">
                  <a:pos x="24" y="28"/>
                </a:cxn>
              </a:cxnLst>
              <a:rect l="0" t="0" r="r" b="b"/>
              <a:pathLst>
                <a:path w="26" h="28">
                  <a:moveTo>
                    <a:pt x="24" y="28"/>
                  </a:moveTo>
                  <a:cubicBezTo>
                    <a:pt x="24" y="26"/>
                    <a:pt x="24" y="26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3" y="23"/>
                    <a:pt x="26" y="23"/>
                    <a:pt x="26" y="23"/>
                  </a:cubicBezTo>
                  <a:cubicBezTo>
                    <a:pt x="26" y="23"/>
                    <a:pt x="23" y="22"/>
                    <a:pt x="24" y="22"/>
                  </a:cubicBezTo>
                  <a:cubicBezTo>
                    <a:pt x="24" y="20"/>
                    <a:pt x="26" y="22"/>
                    <a:pt x="26" y="20"/>
                  </a:cubicBezTo>
                  <a:cubicBezTo>
                    <a:pt x="26" y="19"/>
                    <a:pt x="23" y="20"/>
                    <a:pt x="23" y="19"/>
                  </a:cubicBezTo>
                  <a:cubicBezTo>
                    <a:pt x="21" y="19"/>
                    <a:pt x="20" y="17"/>
                    <a:pt x="20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4"/>
                    <a:pt x="20" y="16"/>
                    <a:pt x="20" y="16"/>
                  </a:cubicBezTo>
                  <a:cubicBezTo>
                    <a:pt x="20" y="14"/>
                    <a:pt x="21" y="12"/>
                    <a:pt x="21" y="12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6"/>
                    <a:pt x="18" y="6"/>
                    <a:pt x="18" y="6"/>
                  </a:cubicBezTo>
                  <a:cubicBezTo>
                    <a:pt x="18" y="5"/>
                    <a:pt x="14" y="2"/>
                    <a:pt x="14" y="0"/>
                  </a:cubicBezTo>
                  <a:cubicBezTo>
                    <a:pt x="12" y="0"/>
                    <a:pt x="12" y="2"/>
                    <a:pt x="1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6" y="2"/>
                  </a:cubicBezTo>
                  <a:cubicBezTo>
                    <a:pt x="5" y="2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1" y="5"/>
                    <a:pt x="3" y="6"/>
                    <a:pt x="3" y="8"/>
                  </a:cubicBezTo>
                  <a:cubicBezTo>
                    <a:pt x="3" y="9"/>
                    <a:pt x="1" y="9"/>
                    <a:pt x="1" y="11"/>
                  </a:cubicBezTo>
                  <a:cubicBezTo>
                    <a:pt x="1" y="12"/>
                    <a:pt x="3" y="12"/>
                    <a:pt x="3" y="12"/>
                  </a:cubicBezTo>
                  <a:cubicBezTo>
                    <a:pt x="3" y="14"/>
                    <a:pt x="1" y="14"/>
                    <a:pt x="1" y="14"/>
                  </a:cubicBezTo>
                  <a:cubicBezTo>
                    <a:pt x="5" y="16"/>
                    <a:pt x="8" y="14"/>
                    <a:pt x="9" y="16"/>
                  </a:cubicBezTo>
                  <a:cubicBezTo>
                    <a:pt x="11" y="17"/>
                    <a:pt x="11" y="17"/>
                    <a:pt x="11" y="19"/>
                  </a:cubicBezTo>
                  <a:cubicBezTo>
                    <a:pt x="12" y="19"/>
                    <a:pt x="12" y="17"/>
                    <a:pt x="14" y="17"/>
                  </a:cubicBezTo>
                  <a:cubicBezTo>
                    <a:pt x="15" y="19"/>
                    <a:pt x="14" y="20"/>
                    <a:pt x="15" y="20"/>
                  </a:cubicBezTo>
                  <a:cubicBezTo>
                    <a:pt x="17" y="19"/>
                    <a:pt x="15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0" y="20"/>
                    <a:pt x="18" y="22"/>
                    <a:pt x="20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5"/>
                    <a:pt x="21" y="26"/>
                    <a:pt x="23" y="28"/>
                  </a:cubicBezTo>
                  <a:cubicBezTo>
                    <a:pt x="23" y="28"/>
                    <a:pt x="23" y="26"/>
                    <a:pt x="24" y="26"/>
                  </a:cubicBezTo>
                  <a:cubicBezTo>
                    <a:pt x="24" y="28"/>
                    <a:pt x="24" y="28"/>
                    <a:pt x="24" y="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3" name="Freeform 197"/>
            <p:cNvSpPr>
              <a:spLocks/>
            </p:cNvSpPr>
            <p:nvPr/>
          </p:nvSpPr>
          <p:spPr bwMode="auto">
            <a:xfrm>
              <a:off x="5933020" y="3738022"/>
              <a:ext cx="175139" cy="91585"/>
            </a:xfrm>
            <a:custGeom>
              <a:avLst/>
              <a:gdLst/>
              <a:ahLst/>
              <a:cxnLst>
                <a:cxn ang="0">
                  <a:pos x="30" y="28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41" y="26"/>
                </a:cxn>
                <a:cxn ang="0">
                  <a:pos x="42" y="25"/>
                </a:cxn>
                <a:cxn ang="0">
                  <a:pos x="44" y="23"/>
                </a:cxn>
                <a:cxn ang="0">
                  <a:pos x="47" y="25"/>
                </a:cxn>
                <a:cxn ang="0">
                  <a:pos x="48" y="26"/>
                </a:cxn>
                <a:cxn ang="0">
                  <a:pos x="51" y="26"/>
                </a:cxn>
                <a:cxn ang="0">
                  <a:pos x="54" y="26"/>
                </a:cxn>
                <a:cxn ang="0">
                  <a:pos x="51" y="23"/>
                </a:cxn>
                <a:cxn ang="0">
                  <a:pos x="51" y="22"/>
                </a:cxn>
                <a:cxn ang="0">
                  <a:pos x="53" y="19"/>
                </a:cxn>
                <a:cxn ang="0">
                  <a:pos x="47" y="16"/>
                </a:cxn>
                <a:cxn ang="0">
                  <a:pos x="47" y="11"/>
                </a:cxn>
                <a:cxn ang="0">
                  <a:pos x="42" y="10"/>
                </a:cxn>
                <a:cxn ang="0">
                  <a:pos x="37" y="10"/>
                </a:cxn>
                <a:cxn ang="0">
                  <a:pos x="31" y="11"/>
                </a:cxn>
                <a:cxn ang="0">
                  <a:pos x="30" y="8"/>
                </a:cxn>
                <a:cxn ang="0">
                  <a:pos x="24" y="5"/>
                </a:cxn>
                <a:cxn ang="0">
                  <a:pos x="17" y="4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0" y="2"/>
                </a:cxn>
                <a:cxn ang="0">
                  <a:pos x="10" y="8"/>
                </a:cxn>
                <a:cxn ang="0">
                  <a:pos x="14" y="14"/>
                </a:cxn>
                <a:cxn ang="0">
                  <a:pos x="13" y="23"/>
                </a:cxn>
                <a:cxn ang="0">
                  <a:pos x="17" y="23"/>
                </a:cxn>
                <a:cxn ang="0">
                  <a:pos x="21" y="23"/>
                </a:cxn>
                <a:cxn ang="0">
                  <a:pos x="22" y="22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7" y="26"/>
                </a:cxn>
                <a:cxn ang="0">
                  <a:pos x="30" y="26"/>
                </a:cxn>
                <a:cxn ang="0">
                  <a:pos x="30" y="28"/>
                </a:cxn>
              </a:cxnLst>
              <a:rect l="0" t="0" r="r" b="b"/>
              <a:pathLst>
                <a:path w="56" h="29">
                  <a:moveTo>
                    <a:pt x="30" y="28"/>
                  </a:moveTo>
                  <a:cubicBezTo>
                    <a:pt x="31" y="28"/>
                    <a:pt x="33" y="26"/>
                    <a:pt x="34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5"/>
                    <a:pt x="42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7" y="26"/>
                    <a:pt x="48" y="26"/>
                  </a:cubicBezTo>
                  <a:cubicBezTo>
                    <a:pt x="50" y="26"/>
                    <a:pt x="50" y="26"/>
                    <a:pt x="51" y="26"/>
                  </a:cubicBezTo>
                  <a:cubicBezTo>
                    <a:pt x="53" y="26"/>
                    <a:pt x="53" y="29"/>
                    <a:pt x="54" y="26"/>
                  </a:cubicBezTo>
                  <a:cubicBezTo>
                    <a:pt x="56" y="25"/>
                    <a:pt x="51" y="23"/>
                    <a:pt x="51" y="23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0"/>
                    <a:pt x="53" y="19"/>
                    <a:pt x="53" y="19"/>
                  </a:cubicBezTo>
                  <a:cubicBezTo>
                    <a:pt x="48" y="17"/>
                    <a:pt x="48" y="17"/>
                    <a:pt x="47" y="16"/>
                  </a:cubicBezTo>
                  <a:cubicBezTo>
                    <a:pt x="45" y="14"/>
                    <a:pt x="50" y="11"/>
                    <a:pt x="47" y="11"/>
                  </a:cubicBezTo>
                  <a:cubicBezTo>
                    <a:pt x="44" y="11"/>
                    <a:pt x="44" y="10"/>
                    <a:pt x="42" y="10"/>
                  </a:cubicBezTo>
                  <a:cubicBezTo>
                    <a:pt x="41" y="8"/>
                    <a:pt x="41" y="11"/>
                    <a:pt x="37" y="10"/>
                  </a:cubicBezTo>
                  <a:cubicBezTo>
                    <a:pt x="36" y="8"/>
                    <a:pt x="34" y="13"/>
                    <a:pt x="31" y="11"/>
                  </a:cubicBezTo>
                  <a:cubicBezTo>
                    <a:pt x="30" y="10"/>
                    <a:pt x="34" y="10"/>
                    <a:pt x="30" y="8"/>
                  </a:cubicBezTo>
                  <a:cubicBezTo>
                    <a:pt x="25" y="7"/>
                    <a:pt x="25" y="5"/>
                    <a:pt x="24" y="5"/>
                  </a:cubicBezTo>
                  <a:cubicBezTo>
                    <a:pt x="22" y="5"/>
                    <a:pt x="21" y="2"/>
                    <a:pt x="17" y="4"/>
                  </a:cubicBezTo>
                  <a:cubicBezTo>
                    <a:pt x="13" y="7"/>
                    <a:pt x="14" y="4"/>
                    <a:pt x="11" y="4"/>
                  </a:cubicBezTo>
                  <a:cubicBezTo>
                    <a:pt x="8" y="4"/>
                    <a:pt x="8" y="0"/>
                    <a:pt x="7" y="0"/>
                  </a:cubicBezTo>
                  <a:cubicBezTo>
                    <a:pt x="5" y="0"/>
                    <a:pt x="2" y="0"/>
                    <a:pt x="0" y="2"/>
                  </a:cubicBezTo>
                  <a:cubicBezTo>
                    <a:pt x="7" y="7"/>
                    <a:pt x="8" y="5"/>
                    <a:pt x="10" y="8"/>
                  </a:cubicBezTo>
                  <a:cubicBezTo>
                    <a:pt x="11" y="11"/>
                    <a:pt x="13" y="7"/>
                    <a:pt x="14" y="14"/>
                  </a:cubicBezTo>
                  <a:cubicBezTo>
                    <a:pt x="16" y="22"/>
                    <a:pt x="14" y="22"/>
                    <a:pt x="13" y="23"/>
                  </a:cubicBezTo>
                  <a:cubicBezTo>
                    <a:pt x="16" y="25"/>
                    <a:pt x="14" y="23"/>
                    <a:pt x="17" y="23"/>
                  </a:cubicBezTo>
                  <a:cubicBezTo>
                    <a:pt x="17" y="23"/>
                    <a:pt x="21" y="25"/>
                    <a:pt x="21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4" y="22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8"/>
                    <a:pt x="28" y="26"/>
                    <a:pt x="30" y="26"/>
                  </a:cubicBezTo>
                  <a:cubicBezTo>
                    <a:pt x="30" y="28"/>
                    <a:pt x="30" y="28"/>
                    <a:pt x="30" y="2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4" name="Freeform 198"/>
            <p:cNvSpPr>
              <a:spLocks/>
            </p:cNvSpPr>
            <p:nvPr/>
          </p:nvSpPr>
          <p:spPr bwMode="auto">
            <a:xfrm>
              <a:off x="6085664" y="3289738"/>
              <a:ext cx="1023520" cy="557543"/>
            </a:xfrm>
            <a:custGeom>
              <a:avLst/>
              <a:gdLst/>
              <a:ahLst/>
              <a:cxnLst>
                <a:cxn ang="0">
                  <a:pos x="197" y="160"/>
                </a:cxn>
                <a:cxn ang="0">
                  <a:pos x="194" y="162"/>
                </a:cxn>
                <a:cxn ang="0">
                  <a:pos x="185" y="168"/>
                </a:cxn>
                <a:cxn ang="0">
                  <a:pos x="179" y="176"/>
                </a:cxn>
                <a:cxn ang="0">
                  <a:pos x="174" y="176"/>
                </a:cxn>
                <a:cxn ang="0">
                  <a:pos x="174" y="173"/>
                </a:cxn>
                <a:cxn ang="0">
                  <a:pos x="163" y="168"/>
                </a:cxn>
                <a:cxn ang="0">
                  <a:pos x="159" y="162"/>
                </a:cxn>
                <a:cxn ang="0">
                  <a:pos x="159" y="153"/>
                </a:cxn>
                <a:cxn ang="0">
                  <a:pos x="148" y="143"/>
                </a:cxn>
                <a:cxn ang="0">
                  <a:pos x="124" y="143"/>
                </a:cxn>
                <a:cxn ang="0">
                  <a:pos x="121" y="135"/>
                </a:cxn>
                <a:cxn ang="0">
                  <a:pos x="122" y="124"/>
                </a:cxn>
                <a:cxn ang="0">
                  <a:pos x="122" y="114"/>
                </a:cxn>
                <a:cxn ang="0">
                  <a:pos x="121" y="109"/>
                </a:cxn>
                <a:cxn ang="0">
                  <a:pos x="112" y="109"/>
                </a:cxn>
                <a:cxn ang="0">
                  <a:pos x="107" y="114"/>
                </a:cxn>
                <a:cxn ang="0">
                  <a:pos x="99" y="121"/>
                </a:cxn>
                <a:cxn ang="0">
                  <a:pos x="80" y="132"/>
                </a:cxn>
                <a:cxn ang="0">
                  <a:pos x="75" y="170"/>
                </a:cxn>
                <a:cxn ang="0">
                  <a:pos x="63" y="159"/>
                </a:cxn>
                <a:cxn ang="0">
                  <a:pos x="51" y="165"/>
                </a:cxn>
                <a:cxn ang="0">
                  <a:pos x="46" y="151"/>
                </a:cxn>
                <a:cxn ang="0">
                  <a:pos x="37" y="137"/>
                </a:cxn>
                <a:cxn ang="0">
                  <a:pos x="43" y="134"/>
                </a:cxn>
                <a:cxn ang="0">
                  <a:pos x="43" y="124"/>
                </a:cxn>
                <a:cxn ang="0">
                  <a:pos x="55" y="123"/>
                </a:cxn>
                <a:cxn ang="0">
                  <a:pos x="57" y="107"/>
                </a:cxn>
                <a:cxn ang="0">
                  <a:pos x="45" y="106"/>
                </a:cxn>
                <a:cxn ang="0">
                  <a:pos x="25" y="112"/>
                </a:cxn>
                <a:cxn ang="0">
                  <a:pos x="23" y="112"/>
                </a:cxn>
                <a:cxn ang="0">
                  <a:pos x="11" y="96"/>
                </a:cxn>
                <a:cxn ang="0">
                  <a:pos x="7" y="76"/>
                </a:cxn>
                <a:cxn ang="0">
                  <a:pos x="22" y="65"/>
                </a:cxn>
                <a:cxn ang="0">
                  <a:pos x="46" y="50"/>
                </a:cxn>
                <a:cxn ang="0">
                  <a:pos x="80" y="62"/>
                </a:cxn>
                <a:cxn ang="0">
                  <a:pos x="103" y="61"/>
                </a:cxn>
                <a:cxn ang="0">
                  <a:pos x="119" y="51"/>
                </a:cxn>
                <a:cxn ang="0">
                  <a:pos x="125" y="31"/>
                </a:cxn>
                <a:cxn ang="0">
                  <a:pos x="171" y="9"/>
                </a:cxn>
                <a:cxn ang="0">
                  <a:pos x="199" y="11"/>
                </a:cxn>
                <a:cxn ang="0">
                  <a:pos x="218" y="23"/>
                </a:cxn>
                <a:cxn ang="0">
                  <a:pos x="243" y="20"/>
                </a:cxn>
                <a:cxn ang="0">
                  <a:pos x="279" y="56"/>
                </a:cxn>
                <a:cxn ang="0">
                  <a:pos x="321" y="73"/>
                </a:cxn>
                <a:cxn ang="0">
                  <a:pos x="321" y="87"/>
                </a:cxn>
                <a:cxn ang="0">
                  <a:pos x="310" y="106"/>
                </a:cxn>
                <a:cxn ang="0">
                  <a:pos x="293" y="104"/>
                </a:cxn>
                <a:cxn ang="0">
                  <a:pos x="292" y="124"/>
                </a:cxn>
                <a:cxn ang="0">
                  <a:pos x="272" y="128"/>
                </a:cxn>
                <a:cxn ang="0">
                  <a:pos x="275" y="149"/>
                </a:cxn>
                <a:cxn ang="0">
                  <a:pos x="272" y="160"/>
                </a:cxn>
                <a:cxn ang="0">
                  <a:pos x="247" y="153"/>
                </a:cxn>
                <a:cxn ang="0">
                  <a:pos x="221" y="149"/>
                </a:cxn>
                <a:cxn ang="0">
                  <a:pos x="203" y="153"/>
                </a:cxn>
              </a:cxnLst>
              <a:rect l="0" t="0" r="r" b="b"/>
              <a:pathLst>
                <a:path w="328" h="179">
                  <a:moveTo>
                    <a:pt x="199" y="159"/>
                  </a:moveTo>
                  <a:cubicBezTo>
                    <a:pt x="197" y="160"/>
                    <a:pt x="197" y="160"/>
                    <a:pt x="197" y="160"/>
                  </a:cubicBezTo>
                  <a:cubicBezTo>
                    <a:pt x="196" y="160"/>
                    <a:pt x="197" y="162"/>
                    <a:pt x="196" y="162"/>
                  </a:cubicBezTo>
                  <a:cubicBezTo>
                    <a:pt x="194" y="162"/>
                    <a:pt x="196" y="160"/>
                    <a:pt x="194" y="162"/>
                  </a:cubicBezTo>
                  <a:cubicBezTo>
                    <a:pt x="191" y="163"/>
                    <a:pt x="189" y="165"/>
                    <a:pt x="188" y="166"/>
                  </a:cubicBezTo>
                  <a:cubicBezTo>
                    <a:pt x="186" y="168"/>
                    <a:pt x="186" y="168"/>
                    <a:pt x="185" y="168"/>
                  </a:cubicBezTo>
                  <a:cubicBezTo>
                    <a:pt x="182" y="170"/>
                    <a:pt x="183" y="171"/>
                    <a:pt x="182" y="171"/>
                  </a:cubicBezTo>
                  <a:cubicBezTo>
                    <a:pt x="180" y="173"/>
                    <a:pt x="179" y="174"/>
                    <a:pt x="179" y="176"/>
                  </a:cubicBezTo>
                  <a:cubicBezTo>
                    <a:pt x="180" y="177"/>
                    <a:pt x="179" y="179"/>
                    <a:pt x="177" y="177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6" y="173"/>
                    <a:pt x="176" y="173"/>
                    <a:pt x="176" y="173"/>
                  </a:cubicBezTo>
                  <a:cubicBezTo>
                    <a:pt x="176" y="173"/>
                    <a:pt x="176" y="174"/>
                    <a:pt x="174" y="173"/>
                  </a:cubicBezTo>
                  <a:cubicBezTo>
                    <a:pt x="174" y="171"/>
                    <a:pt x="174" y="171"/>
                    <a:pt x="168" y="171"/>
                  </a:cubicBezTo>
                  <a:cubicBezTo>
                    <a:pt x="163" y="173"/>
                    <a:pt x="163" y="171"/>
                    <a:pt x="163" y="168"/>
                  </a:cubicBezTo>
                  <a:cubicBezTo>
                    <a:pt x="163" y="165"/>
                    <a:pt x="163" y="162"/>
                    <a:pt x="162" y="162"/>
                  </a:cubicBezTo>
                  <a:cubicBezTo>
                    <a:pt x="159" y="162"/>
                    <a:pt x="159" y="162"/>
                    <a:pt x="159" y="162"/>
                  </a:cubicBezTo>
                  <a:cubicBezTo>
                    <a:pt x="159" y="162"/>
                    <a:pt x="159" y="160"/>
                    <a:pt x="159" y="157"/>
                  </a:cubicBezTo>
                  <a:cubicBezTo>
                    <a:pt x="160" y="153"/>
                    <a:pt x="160" y="149"/>
                    <a:pt x="159" y="153"/>
                  </a:cubicBezTo>
                  <a:cubicBezTo>
                    <a:pt x="156" y="154"/>
                    <a:pt x="157" y="148"/>
                    <a:pt x="154" y="146"/>
                  </a:cubicBezTo>
                  <a:cubicBezTo>
                    <a:pt x="151" y="145"/>
                    <a:pt x="151" y="142"/>
                    <a:pt x="148" y="143"/>
                  </a:cubicBezTo>
                  <a:cubicBezTo>
                    <a:pt x="144" y="146"/>
                    <a:pt x="141" y="143"/>
                    <a:pt x="133" y="145"/>
                  </a:cubicBezTo>
                  <a:cubicBezTo>
                    <a:pt x="127" y="146"/>
                    <a:pt x="127" y="146"/>
                    <a:pt x="124" y="143"/>
                  </a:cubicBezTo>
                  <a:cubicBezTo>
                    <a:pt x="122" y="140"/>
                    <a:pt x="121" y="139"/>
                    <a:pt x="121" y="137"/>
                  </a:cubicBezTo>
                  <a:cubicBezTo>
                    <a:pt x="119" y="137"/>
                    <a:pt x="121" y="135"/>
                    <a:pt x="121" y="135"/>
                  </a:cubicBezTo>
                  <a:cubicBezTo>
                    <a:pt x="119" y="131"/>
                    <a:pt x="121" y="135"/>
                    <a:pt x="127" y="128"/>
                  </a:cubicBezTo>
                  <a:cubicBezTo>
                    <a:pt x="125" y="123"/>
                    <a:pt x="122" y="129"/>
                    <a:pt x="122" y="124"/>
                  </a:cubicBezTo>
                  <a:cubicBezTo>
                    <a:pt x="122" y="120"/>
                    <a:pt x="121" y="121"/>
                    <a:pt x="119" y="117"/>
                  </a:cubicBezTo>
                  <a:cubicBezTo>
                    <a:pt x="118" y="112"/>
                    <a:pt x="122" y="117"/>
                    <a:pt x="122" y="114"/>
                  </a:cubicBezTo>
                  <a:cubicBezTo>
                    <a:pt x="122" y="110"/>
                    <a:pt x="124" y="114"/>
                    <a:pt x="124" y="107"/>
                  </a:cubicBezTo>
                  <a:cubicBezTo>
                    <a:pt x="124" y="106"/>
                    <a:pt x="121" y="107"/>
                    <a:pt x="121" y="109"/>
                  </a:cubicBezTo>
                  <a:cubicBezTo>
                    <a:pt x="119" y="112"/>
                    <a:pt x="116" y="112"/>
                    <a:pt x="118" y="109"/>
                  </a:cubicBezTo>
                  <a:cubicBezTo>
                    <a:pt x="119" y="106"/>
                    <a:pt x="116" y="107"/>
                    <a:pt x="112" y="109"/>
                  </a:cubicBezTo>
                  <a:cubicBezTo>
                    <a:pt x="107" y="112"/>
                    <a:pt x="113" y="110"/>
                    <a:pt x="112" y="114"/>
                  </a:cubicBezTo>
                  <a:cubicBezTo>
                    <a:pt x="110" y="117"/>
                    <a:pt x="109" y="112"/>
                    <a:pt x="107" y="114"/>
                  </a:cubicBezTo>
                  <a:cubicBezTo>
                    <a:pt x="106" y="114"/>
                    <a:pt x="109" y="115"/>
                    <a:pt x="107" y="117"/>
                  </a:cubicBezTo>
                  <a:cubicBezTo>
                    <a:pt x="104" y="118"/>
                    <a:pt x="103" y="114"/>
                    <a:pt x="99" y="121"/>
                  </a:cubicBezTo>
                  <a:cubicBezTo>
                    <a:pt x="98" y="121"/>
                    <a:pt x="84" y="126"/>
                    <a:pt x="81" y="128"/>
                  </a:cubicBezTo>
                  <a:cubicBezTo>
                    <a:pt x="78" y="128"/>
                    <a:pt x="80" y="128"/>
                    <a:pt x="80" y="132"/>
                  </a:cubicBezTo>
                  <a:cubicBezTo>
                    <a:pt x="80" y="135"/>
                    <a:pt x="80" y="170"/>
                    <a:pt x="80" y="170"/>
                  </a:cubicBezTo>
                  <a:cubicBezTo>
                    <a:pt x="77" y="170"/>
                    <a:pt x="75" y="171"/>
                    <a:pt x="75" y="170"/>
                  </a:cubicBezTo>
                  <a:cubicBezTo>
                    <a:pt x="71" y="163"/>
                    <a:pt x="72" y="163"/>
                    <a:pt x="69" y="162"/>
                  </a:cubicBezTo>
                  <a:cubicBezTo>
                    <a:pt x="67" y="160"/>
                    <a:pt x="66" y="157"/>
                    <a:pt x="63" y="159"/>
                  </a:cubicBezTo>
                  <a:cubicBezTo>
                    <a:pt x="60" y="159"/>
                    <a:pt x="57" y="160"/>
                    <a:pt x="55" y="162"/>
                  </a:cubicBezTo>
                  <a:cubicBezTo>
                    <a:pt x="52" y="163"/>
                    <a:pt x="51" y="165"/>
                    <a:pt x="51" y="165"/>
                  </a:cubicBezTo>
                  <a:cubicBezTo>
                    <a:pt x="49" y="157"/>
                    <a:pt x="57" y="157"/>
                    <a:pt x="52" y="154"/>
                  </a:cubicBezTo>
                  <a:cubicBezTo>
                    <a:pt x="49" y="149"/>
                    <a:pt x="48" y="154"/>
                    <a:pt x="46" y="151"/>
                  </a:cubicBezTo>
                  <a:cubicBezTo>
                    <a:pt x="45" y="148"/>
                    <a:pt x="42" y="151"/>
                    <a:pt x="42" y="148"/>
                  </a:cubicBezTo>
                  <a:cubicBezTo>
                    <a:pt x="42" y="148"/>
                    <a:pt x="40" y="137"/>
                    <a:pt x="37" y="137"/>
                  </a:cubicBezTo>
                  <a:cubicBezTo>
                    <a:pt x="32" y="137"/>
                    <a:pt x="31" y="134"/>
                    <a:pt x="35" y="132"/>
                  </a:cubicBezTo>
                  <a:cubicBezTo>
                    <a:pt x="42" y="132"/>
                    <a:pt x="37" y="135"/>
                    <a:pt x="43" y="134"/>
                  </a:cubicBezTo>
                  <a:cubicBezTo>
                    <a:pt x="48" y="134"/>
                    <a:pt x="35" y="129"/>
                    <a:pt x="40" y="128"/>
                  </a:cubicBezTo>
                  <a:cubicBezTo>
                    <a:pt x="45" y="126"/>
                    <a:pt x="40" y="126"/>
                    <a:pt x="43" y="124"/>
                  </a:cubicBezTo>
                  <a:cubicBezTo>
                    <a:pt x="46" y="121"/>
                    <a:pt x="45" y="124"/>
                    <a:pt x="49" y="124"/>
                  </a:cubicBezTo>
                  <a:cubicBezTo>
                    <a:pt x="52" y="123"/>
                    <a:pt x="60" y="126"/>
                    <a:pt x="55" y="123"/>
                  </a:cubicBezTo>
                  <a:cubicBezTo>
                    <a:pt x="52" y="120"/>
                    <a:pt x="58" y="115"/>
                    <a:pt x="57" y="112"/>
                  </a:cubicBezTo>
                  <a:cubicBezTo>
                    <a:pt x="55" y="110"/>
                    <a:pt x="57" y="109"/>
                    <a:pt x="57" y="107"/>
                  </a:cubicBezTo>
                  <a:cubicBezTo>
                    <a:pt x="55" y="106"/>
                    <a:pt x="52" y="104"/>
                    <a:pt x="51" y="106"/>
                  </a:cubicBezTo>
                  <a:cubicBezTo>
                    <a:pt x="49" y="109"/>
                    <a:pt x="49" y="107"/>
                    <a:pt x="45" y="106"/>
                  </a:cubicBezTo>
                  <a:cubicBezTo>
                    <a:pt x="42" y="103"/>
                    <a:pt x="39" y="104"/>
                    <a:pt x="32" y="109"/>
                  </a:cubicBezTo>
                  <a:cubicBezTo>
                    <a:pt x="28" y="114"/>
                    <a:pt x="28" y="109"/>
                    <a:pt x="25" y="112"/>
                  </a:cubicBezTo>
                  <a:cubicBezTo>
                    <a:pt x="23" y="117"/>
                    <a:pt x="22" y="115"/>
                    <a:pt x="22" y="117"/>
                  </a:cubicBezTo>
                  <a:cubicBezTo>
                    <a:pt x="22" y="115"/>
                    <a:pt x="22" y="117"/>
                    <a:pt x="23" y="112"/>
                  </a:cubicBezTo>
                  <a:cubicBezTo>
                    <a:pt x="16" y="107"/>
                    <a:pt x="28" y="110"/>
                    <a:pt x="20" y="103"/>
                  </a:cubicBezTo>
                  <a:cubicBezTo>
                    <a:pt x="14" y="95"/>
                    <a:pt x="14" y="95"/>
                    <a:pt x="11" y="96"/>
                  </a:cubicBezTo>
                  <a:cubicBezTo>
                    <a:pt x="8" y="96"/>
                    <a:pt x="11" y="92"/>
                    <a:pt x="7" y="89"/>
                  </a:cubicBezTo>
                  <a:cubicBezTo>
                    <a:pt x="0" y="87"/>
                    <a:pt x="10" y="81"/>
                    <a:pt x="7" y="76"/>
                  </a:cubicBezTo>
                  <a:cubicBezTo>
                    <a:pt x="3" y="73"/>
                    <a:pt x="11" y="62"/>
                    <a:pt x="14" y="65"/>
                  </a:cubicBezTo>
                  <a:cubicBezTo>
                    <a:pt x="20" y="75"/>
                    <a:pt x="22" y="72"/>
                    <a:pt x="22" y="65"/>
                  </a:cubicBezTo>
                  <a:cubicBezTo>
                    <a:pt x="22" y="59"/>
                    <a:pt x="32" y="56"/>
                    <a:pt x="37" y="51"/>
                  </a:cubicBezTo>
                  <a:cubicBezTo>
                    <a:pt x="40" y="45"/>
                    <a:pt x="42" y="54"/>
                    <a:pt x="46" y="50"/>
                  </a:cubicBezTo>
                  <a:cubicBezTo>
                    <a:pt x="52" y="47"/>
                    <a:pt x="51" y="51"/>
                    <a:pt x="58" y="53"/>
                  </a:cubicBezTo>
                  <a:cubicBezTo>
                    <a:pt x="66" y="53"/>
                    <a:pt x="74" y="67"/>
                    <a:pt x="80" y="62"/>
                  </a:cubicBezTo>
                  <a:cubicBezTo>
                    <a:pt x="83" y="57"/>
                    <a:pt x="84" y="54"/>
                    <a:pt x="89" y="57"/>
                  </a:cubicBezTo>
                  <a:cubicBezTo>
                    <a:pt x="93" y="61"/>
                    <a:pt x="93" y="53"/>
                    <a:pt x="103" y="61"/>
                  </a:cubicBezTo>
                  <a:cubicBezTo>
                    <a:pt x="112" y="67"/>
                    <a:pt x="107" y="56"/>
                    <a:pt x="113" y="61"/>
                  </a:cubicBezTo>
                  <a:cubicBezTo>
                    <a:pt x="121" y="65"/>
                    <a:pt x="128" y="54"/>
                    <a:pt x="119" y="51"/>
                  </a:cubicBezTo>
                  <a:cubicBezTo>
                    <a:pt x="103" y="44"/>
                    <a:pt x="124" y="45"/>
                    <a:pt x="118" y="39"/>
                  </a:cubicBezTo>
                  <a:cubicBezTo>
                    <a:pt x="112" y="34"/>
                    <a:pt x="133" y="34"/>
                    <a:pt x="125" y="31"/>
                  </a:cubicBezTo>
                  <a:cubicBezTo>
                    <a:pt x="118" y="28"/>
                    <a:pt x="115" y="20"/>
                    <a:pt x="124" y="20"/>
                  </a:cubicBezTo>
                  <a:cubicBezTo>
                    <a:pt x="133" y="20"/>
                    <a:pt x="163" y="14"/>
                    <a:pt x="171" y="9"/>
                  </a:cubicBezTo>
                  <a:cubicBezTo>
                    <a:pt x="180" y="6"/>
                    <a:pt x="182" y="0"/>
                    <a:pt x="188" y="5"/>
                  </a:cubicBezTo>
                  <a:cubicBezTo>
                    <a:pt x="193" y="8"/>
                    <a:pt x="196" y="0"/>
                    <a:pt x="199" y="11"/>
                  </a:cubicBezTo>
                  <a:cubicBezTo>
                    <a:pt x="202" y="23"/>
                    <a:pt x="206" y="15"/>
                    <a:pt x="212" y="19"/>
                  </a:cubicBezTo>
                  <a:cubicBezTo>
                    <a:pt x="218" y="22"/>
                    <a:pt x="223" y="19"/>
                    <a:pt x="218" y="23"/>
                  </a:cubicBezTo>
                  <a:cubicBezTo>
                    <a:pt x="214" y="28"/>
                    <a:pt x="223" y="28"/>
                    <a:pt x="235" y="20"/>
                  </a:cubicBezTo>
                  <a:cubicBezTo>
                    <a:pt x="247" y="11"/>
                    <a:pt x="246" y="17"/>
                    <a:pt x="243" y="20"/>
                  </a:cubicBezTo>
                  <a:cubicBezTo>
                    <a:pt x="240" y="23"/>
                    <a:pt x="252" y="25"/>
                    <a:pt x="263" y="45"/>
                  </a:cubicBezTo>
                  <a:cubicBezTo>
                    <a:pt x="276" y="75"/>
                    <a:pt x="270" y="48"/>
                    <a:pt x="279" y="56"/>
                  </a:cubicBezTo>
                  <a:cubicBezTo>
                    <a:pt x="290" y="65"/>
                    <a:pt x="295" y="53"/>
                    <a:pt x="304" y="62"/>
                  </a:cubicBezTo>
                  <a:cubicBezTo>
                    <a:pt x="311" y="73"/>
                    <a:pt x="314" y="79"/>
                    <a:pt x="321" y="73"/>
                  </a:cubicBezTo>
                  <a:cubicBezTo>
                    <a:pt x="328" y="68"/>
                    <a:pt x="321" y="75"/>
                    <a:pt x="328" y="81"/>
                  </a:cubicBezTo>
                  <a:cubicBezTo>
                    <a:pt x="319" y="79"/>
                    <a:pt x="328" y="86"/>
                    <a:pt x="321" y="87"/>
                  </a:cubicBezTo>
                  <a:cubicBezTo>
                    <a:pt x="311" y="90"/>
                    <a:pt x="313" y="96"/>
                    <a:pt x="314" y="100"/>
                  </a:cubicBezTo>
                  <a:cubicBezTo>
                    <a:pt x="316" y="103"/>
                    <a:pt x="314" y="104"/>
                    <a:pt x="310" y="106"/>
                  </a:cubicBezTo>
                  <a:cubicBezTo>
                    <a:pt x="307" y="107"/>
                    <a:pt x="308" y="104"/>
                    <a:pt x="304" y="106"/>
                  </a:cubicBezTo>
                  <a:cubicBezTo>
                    <a:pt x="299" y="106"/>
                    <a:pt x="295" y="100"/>
                    <a:pt x="293" y="104"/>
                  </a:cubicBezTo>
                  <a:cubicBezTo>
                    <a:pt x="293" y="107"/>
                    <a:pt x="292" y="117"/>
                    <a:pt x="289" y="120"/>
                  </a:cubicBezTo>
                  <a:cubicBezTo>
                    <a:pt x="287" y="123"/>
                    <a:pt x="292" y="121"/>
                    <a:pt x="292" y="124"/>
                  </a:cubicBezTo>
                  <a:cubicBezTo>
                    <a:pt x="290" y="128"/>
                    <a:pt x="287" y="126"/>
                    <a:pt x="284" y="124"/>
                  </a:cubicBezTo>
                  <a:cubicBezTo>
                    <a:pt x="282" y="124"/>
                    <a:pt x="276" y="126"/>
                    <a:pt x="272" y="128"/>
                  </a:cubicBezTo>
                  <a:cubicBezTo>
                    <a:pt x="264" y="129"/>
                    <a:pt x="275" y="129"/>
                    <a:pt x="273" y="132"/>
                  </a:cubicBezTo>
                  <a:cubicBezTo>
                    <a:pt x="272" y="135"/>
                    <a:pt x="279" y="148"/>
                    <a:pt x="275" y="149"/>
                  </a:cubicBezTo>
                  <a:cubicBezTo>
                    <a:pt x="272" y="151"/>
                    <a:pt x="276" y="153"/>
                    <a:pt x="273" y="153"/>
                  </a:cubicBezTo>
                  <a:cubicBezTo>
                    <a:pt x="270" y="154"/>
                    <a:pt x="273" y="159"/>
                    <a:pt x="272" y="160"/>
                  </a:cubicBezTo>
                  <a:cubicBezTo>
                    <a:pt x="269" y="156"/>
                    <a:pt x="266" y="159"/>
                    <a:pt x="264" y="156"/>
                  </a:cubicBezTo>
                  <a:cubicBezTo>
                    <a:pt x="264" y="153"/>
                    <a:pt x="258" y="153"/>
                    <a:pt x="247" y="153"/>
                  </a:cubicBezTo>
                  <a:cubicBezTo>
                    <a:pt x="235" y="151"/>
                    <a:pt x="235" y="154"/>
                    <a:pt x="232" y="153"/>
                  </a:cubicBezTo>
                  <a:cubicBezTo>
                    <a:pt x="231" y="151"/>
                    <a:pt x="226" y="148"/>
                    <a:pt x="221" y="149"/>
                  </a:cubicBezTo>
                  <a:cubicBezTo>
                    <a:pt x="215" y="151"/>
                    <a:pt x="220" y="159"/>
                    <a:pt x="217" y="157"/>
                  </a:cubicBezTo>
                  <a:cubicBezTo>
                    <a:pt x="214" y="156"/>
                    <a:pt x="208" y="153"/>
                    <a:pt x="203" y="153"/>
                  </a:cubicBezTo>
                  <a:cubicBezTo>
                    <a:pt x="199" y="154"/>
                    <a:pt x="199" y="157"/>
                    <a:pt x="199" y="15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5" name="Freeform 199"/>
            <p:cNvSpPr>
              <a:spLocks noEditPoints="1"/>
            </p:cNvSpPr>
            <p:nvPr/>
          </p:nvSpPr>
          <p:spPr bwMode="auto">
            <a:xfrm>
              <a:off x="5434917" y="2682386"/>
              <a:ext cx="298861" cy="448284"/>
            </a:xfrm>
            <a:custGeom>
              <a:avLst/>
              <a:gdLst/>
              <a:ahLst/>
              <a:cxnLst>
                <a:cxn ang="0">
                  <a:pos x="12" y="13"/>
                </a:cxn>
                <a:cxn ang="0">
                  <a:pos x="24" y="21"/>
                </a:cxn>
                <a:cxn ang="0">
                  <a:pos x="35" y="19"/>
                </a:cxn>
                <a:cxn ang="0">
                  <a:pos x="44" y="21"/>
                </a:cxn>
                <a:cxn ang="0">
                  <a:pos x="50" y="10"/>
                </a:cxn>
                <a:cxn ang="0">
                  <a:pos x="62" y="2"/>
                </a:cxn>
                <a:cxn ang="0">
                  <a:pos x="77" y="10"/>
                </a:cxn>
                <a:cxn ang="0">
                  <a:pos x="73" y="19"/>
                </a:cxn>
                <a:cxn ang="0">
                  <a:pos x="79" y="31"/>
                </a:cxn>
                <a:cxn ang="0">
                  <a:pos x="76" y="49"/>
                </a:cxn>
                <a:cxn ang="0">
                  <a:pos x="80" y="66"/>
                </a:cxn>
                <a:cxn ang="0">
                  <a:pos x="80" y="70"/>
                </a:cxn>
                <a:cxn ang="0">
                  <a:pos x="83" y="78"/>
                </a:cxn>
                <a:cxn ang="0">
                  <a:pos x="88" y="86"/>
                </a:cxn>
                <a:cxn ang="0">
                  <a:pos x="93" y="99"/>
                </a:cxn>
                <a:cxn ang="0">
                  <a:pos x="79" y="120"/>
                </a:cxn>
                <a:cxn ang="0">
                  <a:pos x="56" y="134"/>
                </a:cxn>
                <a:cxn ang="0">
                  <a:pos x="44" y="138"/>
                </a:cxn>
                <a:cxn ang="0">
                  <a:pos x="27" y="141"/>
                </a:cxn>
                <a:cxn ang="0">
                  <a:pos x="22" y="138"/>
                </a:cxn>
                <a:cxn ang="0">
                  <a:pos x="13" y="128"/>
                </a:cxn>
                <a:cxn ang="0">
                  <a:pos x="15" y="117"/>
                </a:cxn>
                <a:cxn ang="0">
                  <a:pos x="15" y="99"/>
                </a:cxn>
                <a:cxn ang="0">
                  <a:pos x="21" y="94"/>
                </a:cxn>
                <a:cxn ang="0">
                  <a:pos x="29" y="88"/>
                </a:cxn>
                <a:cxn ang="0">
                  <a:pos x="41" y="75"/>
                </a:cxn>
                <a:cxn ang="0">
                  <a:pos x="45" y="70"/>
                </a:cxn>
                <a:cxn ang="0">
                  <a:pos x="36" y="63"/>
                </a:cxn>
                <a:cxn ang="0">
                  <a:pos x="35" y="49"/>
                </a:cxn>
                <a:cxn ang="0">
                  <a:pos x="33" y="39"/>
                </a:cxn>
                <a:cxn ang="0">
                  <a:pos x="30" y="35"/>
                </a:cxn>
                <a:cxn ang="0">
                  <a:pos x="29" y="28"/>
                </a:cxn>
                <a:cxn ang="0">
                  <a:pos x="12" y="19"/>
                </a:cxn>
                <a:cxn ang="0">
                  <a:pos x="12" y="16"/>
                </a:cxn>
                <a:cxn ang="0">
                  <a:pos x="21" y="138"/>
                </a:cxn>
                <a:cxn ang="0">
                  <a:pos x="18" y="136"/>
                </a:cxn>
                <a:cxn ang="0">
                  <a:pos x="18" y="136"/>
                </a:cxn>
                <a:cxn ang="0">
                  <a:pos x="16" y="139"/>
                </a:cxn>
                <a:cxn ang="0">
                  <a:pos x="18" y="139"/>
                </a:cxn>
                <a:cxn ang="0">
                  <a:pos x="18" y="139"/>
                </a:cxn>
                <a:cxn ang="0">
                  <a:pos x="18" y="138"/>
                </a:cxn>
                <a:cxn ang="0">
                  <a:pos x="4" y="141"/>
                </a:cxn>
                <a:cxn ang="0">
                  <a:pos x="4" y="141"/>
                </a:cxn>
                <a:cxn ang="0">
                  <a:pos x="4" y="138"/>
                </a:cxn>
                <a:cxn ang="0">
                  <a:pos x="3" y="136"/>
                </a:cxn>
                <a:cxn ang="0">
                  <a:pos x="1" y="136"/>
                </a:cxn>
                <a:cxn ang="0">
                  <a:pos x="0" y="138"/>
                </a:cxn>
                <a:cxn ang="0">
                  <a:pos x="3" y="139"/>
                </a:cxn>
                <a:cxn ang="0">
                  <a:pos x="41" y="72"/>
                </a:cxn>
                <a:cxn ang="0">
                  <a:pos x="44" y="74"/>
                </a:cxn>
                <a:cxn ang="0">
                  <a:pos x="13" y="97"/>
                </a:cxn>
                <a:cxn ang="0">
                  <a:pos x="15" y="97"/>
                </a:cxn>
              </a:cxnLst>
              <a:rect l="0" t="0" r="r" b="b"/>
              <a:pathLst>
                <a:path w="96" h="144">
                  <a:moveTo>
                    <a:pt x="12" y="16"/>
                  </a:moveTo>
                  <a:cubicBezTo>
                    <a:pt x="12" y="16"/>
                    <a:pt x="10" y="14"/>
                    <a:pt x="12" y="13"/>
                  </a:cubicBezTo>
                  <a:cubicBezTo>
                    <a:pt x="15" y="11"/>
                    <a:pt x="18" y="14"/>
                    <a:pt x="21" y="17"/>
                  </a:cubicBezTo>
                  <a:cubicBezTo>
                    <a:pt x="24" y="21"/>
                    <a:pt x="19" y="21"/>
                    <a:pt x="24" y="21"/>
                  </a:cubicBezTo>
                  <a:cubicBezTo>
                    <a:pt x="30" y="21"/>
                    <a:pt x="27" y="22"/>
                    <a:pt x="30" y="22"/>
                  </a:cubicBezTo>
                  <a:cubicBezTo>
                    <a:pt x="35" y="21"/>
                    <a:pt x="33" y="19"/>
                    <a:pt x="35" y="19"/>
                  </a:cubicBezTo>
                  <a:cubicBezTo>
                    <a:pt x="36" y="21"/>
                    <a:pt x="39" y="21"/>
                    <a:pt x="42" y="24"/>
                  </a:cubicBezTo>
                  <a:cubicBezTo>
                    <a:pt x="42" y="22"/>
                    <a:pt x="44" y="24"/>
                    <a:pt x="44" y="21"/>
                  </a:cubicBezTo>
                  <a:cubicBezTo>
                    <a:pt x="45" y="17"/>
                    <a:pt x="51" y="19"/>
                    <a:pt x="48" y="16"/>
                  </a:cubicBezTo>
                  <a:cubicBezTo>
                    <a:pt x="47" y="13"/>
                    <a:pt x="50" y="13"/>
                    <a:pt x="50" y="10"/>
                  </a:cubicBezTo>
                  <a:cubicBezTo>
                    <a:pt x="50" y="8"/>
                    <a:pt x="51" y="5"/>
                    <a:pt x="54" y="3"/>
                  </a:cubicBezTo>
                  <a:cubicBezTo>
                    <a:pt x="58" y="2"/>
                    <a:pt x="56" y="5"/>
                    <a:pt x="62" y="2"/>
                  </a:cubicBezTo>
                  <a:cubicBezTo>
                    <a:pt x="65" y="0"/>
                    <a:pt x="65" y="0"/>
                    <a:pt x="67" y="3"/>
                  </a:cubicBezTo>
                  <a:cubicBezTo>
                    <a:pt x="68" y="5"/>
                    <a:pt x="76" y="6"/>
                    <a:pt x="77" y="10"/>
                  </a:cubicBezTo>
                  <a:cubicBezTo>
                    <a:pt x="77" y="11"/>
                    <a:pt x="70" y="14"/>
                    <a:pt x="74" y="16"/>
                  </a:cubicBezTo>
                  <a:cubicBezTo>
                    <a:pt x="67" y="21"/>
                    <a:pt x="73" y="17"/>
                    <a:pt x="73" y="19"/>
                  </a:cubicBezTo>
                  <a:cubicBezTo>
                    <a:pt x="74" y="22"/>
                    <a:pt x="70" y="21"/>
                    <a:pt x="71" y="25"/>
                  </a:cubicBezTo>
                  <a:cubicBezTo>
                    <a:pt x="73" y="33"/>
                    <a:pt x="76" y="27"/>
                    <a:pt x="79" y="31"/>
                  </a:cubicBezTo>
                  <a:cubicBezTo>
                    <a:pt x="82" y="36"/>
                    <a:pt x="85" y="35"/>
                    <a:pt x="82" y="38"/>
                  </a:cubicBezTo>
                  <a:cubicBezTo>
                    <a:pt x="79" y="41"/>
                    <a:pt x="73" y="46"/>
                    <a:pt x="76" y="49"/>
                  </a:cubicBezTo>
                  <a:cubicBezTo>
                    <a:pt x="79" y="50"/>
                    <a:pt x="85" y="64"/>
                    <a:pt x="83" y="64"/>
                  </a:cubicBezTo>
                  <a:cubicBezTo>
                    <a:pt x="80" y="64"/>
                    <a:pt x="80" y="64"/>
                    <a:pt x="80" y="66"/>
                  </a:cubicBezTo>
                  <a:cubicBezTo>
                    <a:pt x="82" y="66"/>
                    <a:pt x="80" y="66"/>
                    <a:pt x="80" y="67"/>
                  </a:cubicBezTo>
                  <a:cubicBezTo>
                    <a:pt x="80" y="70"/>
                    <a:pt x="79" y="69"/>
                    <a:pt x="80" y="70"/>
                  </a:cubicBezTo>
                  <a:cubicBezTo>
                    <a:pt x="83" y="72"/>
                    <a:pt x="79" y="72"/>
                    <a:pt x="79" y="74"/>
                  </a:cubicBezTo>
                  <a:cubicBezTo>
                    <a:pt x="80" y="77"/>
                    <a:pt x="86" y="77"/>
                    <a:pt x="83" y="78"/>
                  </a:cubicBezTo>
                  <a:cubicBezTo>
                    <a:pt x="82" y="80"/>
                    <a:pt x="83" y="80"/>
                    <a:pt x="83" y="81"/>
                  </a:cubicBezTo>
                  <a:cubicBezTo>
                    <a:pt x="82" y="83"/>
                    <a:pt x="88" y="83"/>
                    <a:pt x="88" y="86"/>
                  </a:cubicBezTo>
                  <a:cubicBezTo>
                    <a:pt x="86" y="89"/>
                    <a:pt x="80" y="89"/>
                    <a:pt x="83" y="92"/>
                  </a:cubicBezTo>
                  <a:cubicBezTo>
                    <a:pt x="86" y="94"/>
                    <a:pt x="91" y="95"/>
                    <a:pt x="93" y="99"/>
                  </a:cubicBezTo>
                  <a:cubicBezTo>
                    <a:pt x="94" y="102"/>
                    <a:pt x="96" y="100"/>
                    <a:pt x="94" y="103"/>
                  </a:cubicBezTo>
                  <a:cubicBezTo>
                    <a:pt x="93" y="106"/>
                    <a:pt x="88" y="113"/>
                    <a:pt x="79" y="120"/>
                  </a:cubicBezTo>
                  <a:cubicBezTo>
                    <a:pt x="71" y="128"/>
                    <a:pt x="68" y="130"/>
                    <a:pt x="65" y="133"/>
                  </a:cubicBezTo>
                  <a:cubicBezTo>
                    <a:pt x="61" y="136"/>
                    <a:pt x="61" y="133"/>
                    <a:pt x="56" y="134"/>
                  </a:cubicBezTo>
                  <a:cubicBezTo>
                    <a:pt x="51" y="138"/>
                    <a:pt x="53" y="133"/>
                    <a:pt x="51" y="136"/>
                  </a:cubicBezTo>
                  <a:cubicBezTo>
                    <a:pt x="48" y="139"/>
                    <a:pt x="50" y="134"/>
                    <a:pt x="44" y="138"/>
                  </a:cubicBezTo>
                  <a:cubicBezTo>
                    <a:pt x="35" y="142"/>
                    <a:pt x="33" y="141"/>
                    <a:pt x="30" y="142"/>
                  </a:cubicBezTo>
                  <a:cubicBezTo>
                    <a:pt x="25" y="144"/>
                    <a:pt x="25" y="144"/>
                    <a:pt x="27" y="141"/>
                  </a:cubicBezTo>
                  <a:cubicBezTo>
                    <a:pt x="29" y="139"/>
                    <a:pt x="27" y="138"/>
                    <a:pt x="25" y="141"/>
                  </a:cubicBezTo>
                  <a:cubicBezTo>
                    <a:pt x="22" y="142"/>
                    <a:pt x="22" y="139"/>
                    <a:pt x="22" y="138"/>
                  </a:cubicBezTo>
                  <a:cubicBezTo>
                    <a:pt x="24" y="134"/>
                    <a:pt x="21" y="134"/>
                    <a:pt x="16" y="134"/>
                  </a:cubicBezTo>
                  <a:cubicBezTo>
                    <a:pt x="12" y="133"/>
                    <a:pt x="13" y="133"/>
                    <a:pt x="13" y="128"/>
                  </a:cubicBezTo>
                  <a:cubicBezTo>
                    <a:pt x="15" y="125"/>
                    <a:pt x="15" y="124"/>
                    <a:pt x="15" y="122"/>
                  </a:cubicBezTo>
                  <a:cubicBezTo>
                    <a:pt x="13" y="119"/>
                    <a:pt x="18" y="120"/>
                    <a:pt x="15" y="117"/>
                  </a:cubicBezTo>
                  <a:cubicBezTo>
                    <a:pt x="10" y="111"/>
                    <a:pt x="16" y="114"/>
                    <a:pt x="13" y="110"/>
                  </a:cubicBezTo>
                  <a:cubicBezTo>
                    <a:pt x="10" y="103"/>
                    <a:pt x="15" y="102"/>
                    <a:pt x="15" y="99"/>
                  </a:cubicBezTo>
                  <a:cubicBezTo>
                    <a:pt x="15" y="97"/>
                    <a:pt x="18" y="100"/>
                    <a:pt x="19" y="99"/>
                  </a:cubicBezTo>
                  <a:cubicBezTo>
                    <a:pt x="22" y="97"/>
                    <a:pt x="19" y="94"/>
                    <a:pt x="21" y="94"/>
                  </a:cubicBezTo>
                  <a:cubicBezTo>
                    <a:pt x="22" y="94"/>
                    <a:pt x="22" y="91"/>
                    <a:pt x="25" y="92"/>
                  </a:cubicBezTo>
                  <a:cubicBezTo>
                    <a:pt x="27" y="92"/>
                    <a:pt x="25" y="89"/>
                    <a:pt x="29" y="88"/>
                  </a:cubicBezTo>
                  <a:cubicBezTo>
                    <a:pt x="32" y="88"/>
                    <a:pt x="27" y="88"/>
                    <a:pt x="33" y="85"/>
                  </a:cubicBezTo>
                  <a:cubicBezTo>
                    <a:pt x="39" y="80"/>
                    <a:pt x="38" y="77"/>
                    <a:pt x="41" y="75"/>
                  </a:cubicBezTo>
                  <a:cubicBezTo>
                    <a:pt x="45" y="74"/>
                    <a:pt x="45" y="75"/>
                    <a:pt x="45" y="74"/>
                  </a:cubicBezTo>
                  <a:cubicBezTo>
                    <a:pt x="47" y="72"/>
                    <a:pt x="44" y="74"/>
                    <a:pt x="45" y="70"/>
                  </a:cubicBezTo>
                  <a:cubicBezTo>
                    <a:pt x="45" y="67"/>
                    <a:pt x="47" y="66"/>
                    <a:pt x="42" y="64"/>
                  </a:cubicBezTo>
                  <a:cubicBezTo>
                    <a:pt x="38" y="64"/>
                    <a:pt x="41" y="63"/>
                    <a:pt x="36" y="63"/>
                  </a:cubicBezTo>
                  <a:cubicBezTo>
                    <a:pt x="36" y="58"/>
                    <a:pt x="30" y="56"/>
                    <a:pt x="33" y="53"/>
                  </a:cubicBezTo>
                  <a:cubicBezTo>
                    <a:pt x="35" y="50"/>
                    <a:pt x="33" y="50"/>
                    <a:pt x="35" y="49"/>
                  </a:cubicBezTo>
                  <a:cubicBezTo>
                    <a:pt x="36" y="47"/>
                    <a:pt x="32" y="46"/>
                    <a:pt x="32" y="44"/>
                  </a:cubicBezTo>
                  <a:cubicBezTo>
                    <a:pt x="32" y="41"/>
                    <a:pt x="33" y="41"/>
                    <a:pt x="33" y="39"/>
                  </a:cubicBezTo>
                  <a:cubicBezTo>
                    <a:pt x="33" y="38"/>
                    <a:pt x="30" y="41"/>
                    <a:pt x="30" y="39"/>
                  </a:cubicBezTo>
                  <a:cubicBezTo>
                    <a:pt x="30" y="38"/>
                    <a:pt x="32" y="39"/>
                    <a:pt x="30" y="35"/>
                  </a:cubicBezTo>
                  <a:cubicBezTo>
                    <a:pt x="30" y="31"/>
                    <a:pt x="35" y="35"/>
                    <a:pt x="30" y="30"/>
                  </a:cubicBezTo>
                  <a:cubicBezTo>
                    <a:pt x="27" y="28"/>
                    <a:pt x="29" y="30"/>
                    <a:pt x="29" y="28"/>
                  </a:cubicBezTo>
                  <a:cubicBezTo>
                    <a:pt x="29" y="27"/>
                    <a:pt x="25" y="25"/>
                    <a:pt x="22" y="25"/>
                  </a:cubicBezTo>
                  <a:cubicBezTo>
                    <a:pt x="19" y="25"/>
                    <a:pt x="15" y="22"/>
                    <a:pt x="12" y="19"/>
                  </a:cubicBezTo>
                  <a:cubicBezTo>
                    <a:pt x="7" y="17"/>
                    <a:pt x="12" y="17"/>
                    <a:pt x="9" y="16"/>
                  </a:cubicBezTo>
                  <a:cubicBezTo>
                    <a:pt x="9" y="14"/>
                    <a:pt x="12" y="17"/>
                    <a:pt x="12" y="16"/>
                  </a:cubicBezTo>
                  <a:close/>
                  <a:moveTo>
                    <a:pt x="19" y="136"/>
                  </a:moveTo>
                  <a:cubicBezTo>
                    <a:pt x="19" y="136"/>
                    <a:pt x="21" y="136"/>
                    <a:pt x="21" y="138"/>
                  </a:cubicBezTo>
                  <a:cubicBezTo>
                    <a:pt x="21" y="138"/>
                    <a:pt x="19" y="138"/>
                    <a:pt x="19" y="136"/>
                  </a:cubicBezTo>
                  <a:close/>
                  <a:moveTo>
                    <a:pt x="18" y="136"/>
                  </a:moveTo>
                  <a:cubicBezTo>
                    <a:pt x="18" y="136"/>
                    <a:pt x="16" y="134"/>
                    <a:pt x="18" y="134"/>
                  </a:cubicBezTo>
                  <a:cubicBezTo>
                    <a:pt x="18" y="134"/>
                    <a:pt x="19" y="136"/>
                    <a:pt x="18" y="136"/>
                  </a:cubicBezTo>
                  <a:close/>
                  <a:moveTo>
                    <a:pt x="15" y="139"/>
                  </a:moveTo>
                  <a:cubicBezTo>
                    <a:pt x="15" y="138"/>
                    <a:pt x="16" y="138"/>
                    <a:pt x="16" y="139"/>
                  </a:cubicBezTo>
                  <a:cubicBezTo>
                    <a:pt x="15" y="139"/>
                    <a:pt x="15" y="139"/>
                    <a:pt x="15" y="139"/>
                  </a:cubicBezTo>
                  <a:close/>
                  <a:moveTo>
                    <a:pt x="18" y="139"/>
                  </a:moveTo>
                  <a:cubicBezTo>
                    <a:pt x="18" y="138"/>
                    <a:pt x="19" y="138"/>
                    <a:pt x="19" y="138"/>
                  </a:cubicBezTo>
                  <a:cubicBezTo>
                    <a:pt x="19" y="139"/>
                    <a:pt x="19" y="139"/>
                    <a:pt x="18" y="139"/>
                  </a:cubicBezTo>
                  <a:close/>
                  <a:moveTo>
                    <a:pt x="16" y="139"/>
                  </a:moveTo>
                  <a:cubicBezTo>
                    <a:pt x="16" y="138"/>
                    <a:pt x="18" y="138"/>
                    <a:pt x="18" y="138"/>
                  </a:cubicBezTo>
                  <a:cubicBezTo>
                    <a:pt x="18" y="139"/>
                    <a:pt x="16" y="139"/>
                    <a:pt x="16" y="139"/>
                  </a:cubicBezTo>
                  <a:close/>
                  <a:moveTo>
                    <a:pt x="4" y="141"/>
                  </a:moveTo>
                  <a:cubicBezTo>
                    <a:pt x="4" y="141"/>
                    <a:pt x="3" y="139"/>
                    <a:pt x="4" y="139"/>
                  </a:cubicBezTo>
                  <a:cubicBezTo>
                    <a:pt x="4" y="139"/>
                    <a:pt x="6" y="141"/>
                    <a:pt x="4" y="141"/>
                  </a:cubicBezTo>
                  <a:close/>
                  <a:moveTo>
                    <a:pt x="3" y="139"/>
                  </a:moveTo>
                  <a:cubicBezTo>
                    <a:pt x="4" y="139"/>
                    <a:pt x="3" y="138"/>
                    <a:pt x="4" y="138"/>
                  </a:cubicBezTo>
                  <a:cubicBezTo>
                    <a:pt x="4" y="138"/>
                    <a:pt x="4" y="139"/>
                    <a:pt x="6" y="138"/>
                  </a:cubicBezTo>
                  <a:cubicBezTo>
                    <a:pt x="6" y="136"/>
                    <a:pt x="6" y="136"/>
                    <a:pt x="3" y="136"/>
                  </a:cubicBezTo>
                  <a:cubicBezTo>
                    <a:pt x="0" y="134"/>
                    <a:pt x="3" y="136"/>
                    <a:pt x="3" y="138"/>
                  </a:cubicBezTo>
                  <a:cubicBezTo>
                    <a:pt x="1" y="139"/>
                    <a:pt x="1" y="136"/>
                    <a:pt x="1" y="136"/>
                  </a:cubicBezTo>
                  <a:cubicBezTo>
                    <a:pt x="1" y="138"/>
                    <a:pt x="0" y="138"/>
                    <a:pt x="0" y="138"/>
                  </a:cubicBezTo>
                  <a:cubicBezTo>
                    <a:pt x="0" y="139"/>
                    <a:pt x="0" y="138"/>
                    <a:pt x="0" y="138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3" y="139"/>
                    <a:pt x="3" y="141"/>
                    <a:pt x="3" y="139"/>
                  </a:cubicBezTo>
                  <a:close/>
                  <a:moveTo>
                    <a:pt x="44" y="74"/>
                  </a:moveTo>
                  <a:cubicBezTo>
                    <a:pt x="45" y="72"/>
                    <a:pt x="44" y="72"/>
                    <a:pt x="41" y="72"/>
                  </a:cubicBezTo>
                  <a:cubicBezTo>
                    <a:pt x="39" y="72"/>
                    <a:pt x="39" y="74"/>
                    <a:pt x="41" y="74"/>
                  </a:cubicBezTo>
                  <a:cubicBezTo>
                    <a:pt x="42" y="74"/>
                    <a:pt x="42" y="74"/>
                    <a:pt x="44" y="74"/>
                  </a:cubicBezTo>
                  <a:close/>
                  <a:moveTo>
                    <a:pt x="15" y="97"/>
                  </a:move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2" y="97"/>
                    <a:pt x="13" y="99"/>
                  </a:cubicBezTo>
                  <a:cubicBezTo>
                    <a:pt x="13" y="99"/>
                    <a:pt x="15" y="99"/>
                    <a:pt x="15" y="97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Freeform 200"/>
            <p:cNvSpPr>
              <a:spLocks noEditPoints="1"/>
            </p:cNvSpPr>
            <p:nvPr/>
          </p:nvSpPr>
          <p:spPr bwMode="auto">
            <a:xfrm>
              <a:off x="5063750" y="2165013"/>
              <a:ext cx="660387" cy="1034748"/>
            </a:xfrm>
            <a:custGeom>
              <a:avLst/>
              <a:gdLst/>
              <a:ahLst/>
              <a:cxnLst>
                <a:cxn ang="0">
                  <a:pos x="58" y="30"/>
                </a:cxn>
                <a:cxn ang="0">
                  <a:pos x="93" y="31"/>
                </a:cxn>
                <a:cxn ang="0">
                  <a:pos x="111" y="45"/>
                </a:cxn>
                <a:cxn ang="0">
                  <a:pos x="56" y="40"/>
                </a:cxn>
                <a:cxn ang="0">
                  <a:pos x="149" y="42"/>
                </a:cxn>
                <a:cxn ang="0">
                  <a:pos x="172" y="9"/>
                </a:cxn>
                <a:cxn ang="0">
                  <a:pos x="108" y="13"/>
                </a:cxn>
                <a:cxn ang="0">
                  <a:pos x="201" y="172"/>
                </a:cxn>
                <a:cxn ang="0">
                  <a:pos x="198" y="159"/>
                </a:cxn>
                <a:cxn ang="0">
                  <a:pos x="184" y="152"/>
                </a:cxn>
                <a:cxn ang="0">
                  <a:pos x="167" y="162"/>
                </a:cxn>
                <a:cxn ang="0">
                  <a:pos x="160" y="154"/>
                </a:cxn>
                <a:cxn ang="0">
                  <a:pos x="146" y="166"/>
                </a:cxn>
                <a:cxn ang="0">
                  <a:pos x="135" y="169"/>
                </a:cxn>
                <a:cxn ang="0">
                  <a:pos x="120" y="172"/>
                </a:cxn>
                <a:cxn ang="0">
                  <a:pos x="106" y="180"/>
                </a:cxn>
                <a:cxn ang="0">
                  <a:pos x="91" y="194"/>
                </a:cxn>
                <a:cxn ang="0">
                  <a:pos x="80" y="200"/>
                </a:cxn>
                <a:cxn ang="0">
                  <a:pos x="87" y="210"/>
                </a:cxn>
                <a:cxn ang="0">
                  <a:pos x="67" y="219"/>
                </a:cxn>
                <a:cxn ang="0">
                  <a:pos x="64" y="233"/>
                </a:cxn>
                <a:cxn ang="0">
                  <a:pos x="56" y="245"/>
                </a:cxn>
                <a:cxn ang="0">
                  <a:pos x="50" y="256"/>
                </a:cxn>
                <a:cxn ang="0">
                  <a:pos x="38" y="258"/>
                </a:cxn>
                <a:cxn ang="0">
                  <a:pos x="15" y="272"/>
                </a:cxn>
                <a:cxn ang="0">
                  <a:pos x="4" y="283"/>
                </a:cxn>
                <a:cxn ang="0">
                  <a:pos x="6" y="292"/>
                </a:cxn>
                <a:cxn ang="0">
                  <a:pos x="12" y="303"/>
                </a:cxn>
                <a:cxn ang="0">
                  <a:pos x="7" y="320"/>
                </a:cxn>
                <a:cxn ang="0">
                  <a:pos x="36" y="323"/>
                </a:cxn>
                <a:cxn ang="0">
                  <a:pos x="50" y="317"/>
                </a:cxn>
                <a:cxn ang="0">
                  <a:pos x="62" y="286"/>
                </a:cxn>
                <a:cxn ang="0">
                  <a:pos x="79" y="233"/>
                </a:cxn>
                <a:cxn ang="0">
                  <a:pos x="106" y="190"/>
                </a:cxn>
                <a:cxn ang="0">
                  <a:pos x="154" y="185"/>
                </a:cxn>
                <a:cxn ang="0">
                  <a:pos x="193" y="182"/>
                </a:cxn>
                <a:cxn ang="0">
                  <a:pos x="149" y="163"/>
                </a:cxn>
                <a:cxn ang="0">
                  <a:pos x="143" y="159"/>
                </a:cxn>
                <a:cxn ang="0">
                  <a:pos x="120" y="165"/>
                </a:cxn>
                <a:cxn ang="0">
                  <a:pos x="129" y="168"/>
                </a:cxn>
                <a:cxn ang="0">
                  <a:pos x="116" y="168"/>
                </a:cxn>
                <a:cxn ang="0">
                  <a:pos x="112" y="168"/>
                </a:cxn>
                <a:cxn ang="0">
                  <a:pos x="112" y="174"/>
                </a:cxn>
                <a:cxn ang="0">
                  <a:pos x="99" y="177"/>
                </a:cxn>
                <a:cxn ang="0">
                  <a:pos x="102" y="183"/>
                </a:cxn>
                <a:cxn ang="0">
                  <a:pos x="82" y="191"/>
                </a:cxn>
                <a:cxn ang="0">
                  <a:pos x="82" y="185"/>
                </a:cxn>
                <a:cxn ang="0">
                  <a:pos x="88" y="183"/>
                </a:cxn>
                <a:cxn ang="0">
                  <a:pos x="90" y="188"/>
                </a:cxn>
                <a:cxn ang="0">
                  <a:pos x="93" y="190"/>
                </a:cxn>
                <a:cxn ang="0">
                  <a:pos x="74" y="193"/>
                </a:cxn>
                <a:cxn ang="0">
                  <a:pos x="70" y="196"/>
                </a:cxn>
                <a:cxn ang="0">
                  <a:pos x="87" y="197"/>
                </a:cxn>
                <a:cxn ang="0">
                  <a:pos x="62" y="227"/>
                </a:cxn>
                <a:cxn ang="0">
                  <a:pos x="59" y="230"/>
                </a:cxn>
                <a:cxn ang="0">
                  <a:pos x="53" y="245"/>
                </a:cxn>
                <a:cxn ang="0">
                  <a:pos x="50" y="244"/>
                </a:cxn>
                <a:cxn ang="0">
                  <a:pos x="29" y="258"/>
                </a:cxn>
                <a:cxn ang="0">
                  <a:pos x="29" y="264"/>
                </a:cxn>
                <a:cxn ang="0">
                  <a:pos x="10" y="273"/>
                </a:cxn>
                <a:cxn ang="0">
                  <a:pos x="1" y="292"/>
                </a:cxn>
                <a:cxn ang="0">
                  <a:pos x="4" y="317"/>
                </a:cxn>
                <a:cxn ang="0">
                  <a:pos x="3" y="300"/>
                </a:cxn>
              </a:cxnLst>
              <a:rect l="0" t="0" r="r" b="b"/>
              <a:pathLst>
                <a:path w="212" h="332">
                  <a:moveTo>
                    <a:pt x="94" y="68"/>
                  </a:moveTo>
                  <a:cubicBezTo>
                    <a:pt x="84" y="65"/>
                    <a:pt x="88" y="62"/>
                    <a:pt x="80" y="59"/>
                  </a:cubicBezTo>
                  <a:cubicBezTo>
                    <a:pt x="71" y="56"/>
                    <a:pt x="73" y="54"/>
                    <a:pt x="80" y="53"/>
                  </a:cubicBezTo>
                  <a:cubicBezTo>
                    <a:pt x="90" y="51"/>
                    <a:pt x="99" y="47"/>
                    <a:pt x="84" y="48"/>
                  </a:cubicBezTo>
                  <a:cubicBezTo>
                    <a:pt x="68" y="50"/>
                    <a:pt x="67" y="48"/>
                    <a:pt x="80" y="44"/>
                  </a:cubicBezTo>
                  <a:cubicBezTo>
                    <a:pt x="93" y="40"/>
                    <a:pt x="102" y="37"/>
                    <a:pt x="91" y="37"/>
                  </a:cubicBezTo>
                  <a:cubicBezTo>
                    <a:pt x="80" y="37"/>
                    <a:pt x="90" y="33"/>
                    <a:pt x="80" y="37"/>
                  </a:cubicBezTo>
                  <a:cubicBezTo>
                    <a:pt x="73" y="42"/>
                    <a:pt x="70" y="47"/>
                    <a:pt x="62" y="39"/>
                  </a:cubicBezTo>
                  <a:cubicBezTo>
                    <a:pt x="55" y="30"/>
                    <a:pt x="52" y="31"/>
                    <a:pt x="58" y="30"/>
                  </a:cubicBezTo>
                  <a:cubicBezTo>
                    <a:pt x="62" y="30"/>
                    <a:pt x="56" y="30"/>
                    <a:pt x="58" y="27"/>
                  </a:cubicBezTo>
                  <a:cubicBezTo>
                    <a:pt x="59" y="22"/>
                    <a:pt x="55" y="31"/>
                    <a:pt x="52" y="27"/>
                  </a:cubicBezTo>
                  <a:cubicBezTo>
                    <a:pt x="49" y="22"/>
                    <a:pt x="45" y="22"/>
                    <a:pt x="52" y="17"/>
                  </a:cubicBezTo>
                  <a:cubicBezTo>
                    <a:pt x="59" y="13"/>
                    <a:pt x="56" y="19"/>
                    <a:pt x="61" y="17"/>
                  </a:cubicBezTo>
                  <a:cubicBezTo>
                    <a:pt x="64" y="14"/>
                    <a:pt x="62" y="19"/>
                    <a:pt x="68" y="16"/>
                  </a:cubicBezTo>
                  <a:cubicBezTo>
                    <a:pt x="76" y="14"/>
                    <a:pt x="76" y="17"/>
                    <a:pt x="70" y="19"/>
                  </a:cubicBezTo>
                  <a:cubicBezTo>
                    <a:pt x="64" y="20"/>
                    <a:pt x="71" y="19"/>
                    <a:pt x="73" y="25"/>
                  </a:cubicBezTo>
                  <a:cubicBezTo>
                    <a:pt x="76" y="30"/>
                    <a:pt x="73" y="19"/>
                    <a:pt x="77" y="17"/>
                  </a:cubicBezTo>
                  <a:cubicBezTo>
                    <a:pt x="84" y="16"/>
                    <a:pt x="90" y="31"/>
                    <a:pt x="93" y="31"/>
                  </a:cubicBezTo>
                  <a:cubicBezTo>
                    <a:pt x="97" y="31"/>
                    <a:pt x="84" y="17"/>
                    <a:pt x="90" y="14"/>
                  </a:cubicBezTo>
                  <a:cubicBezTo>
                    <a:pt x="94" y="9"/>
                    <a:pt x="93" y="14"/>
                    <a:pt x="99" y="14"/>
                  </a:cubicBezTo>
                  <a:cubicBezTo>
                    <a:pt x="103" y="14"/>
                    <a:pt x="103" y="16"/>
                    <a:pt x="106" y="17"/>
                  </a:cubicBezTo>
                  <a:cubicBezTo>
                    <a:pt x="108" y="17"/>
                    <a:pt x="103" y="19"/>
                    <a:pt x="105" y="23"/>
                  </a:cubicBezTo>
                  <a:cubicBezTo>
                    <a:pt x="106" y="27"/>
                    <a:pt x="105" y="17"/>
                    <a:pt x="111" y="20"/>
                  </a:cubicBezTo>
                  <a:cubicBezTo>
                    <a:pt x="116" y="23"/>
                    <a:pt x="109" y="28"/>
                    <a:pt x="117" y="27"/>
                  </a:cubicBezTo>
                  <a:cubicBezTo>
                    <a:pt x="123" y="27"/>
                    <a:pt x="119" y="28"/>
                    <a:pt x="128" y="31"/>
                  </a:cubicBezTo>
                  <a:cubicBezTo>
                    <a:pt x="137" y="33"/>
                    <a:pt x="137" y="34"/>
                    <a:pt x="123" y="36"/>
                  </a:cubicBezTo>
                  <a:cubicBezTo>
                    <a:pt x="109" y="36"/>
                    <a:pt x="120" y="44"/>
                    <a:pt x="111" y="45"/>
                  </a:cubicBezTo>
                  <a:cubicBezTo>
                    <a:pt x="103" y="48"/>
                    <a:pt x="116" y="51"/>
                    <a:pt x="106" y="54"/>
                  </a:cubicBezTo>
                  <a:cubicBezTo>
                    <a:pt x="96" y="58"/>
                    <a:pt x="105" y="72"/>
                    <a:pt x="94" y="68"/>
                  </a:cubicBezTo>
                  <a:close/>
                  <a:moveTo>
                    <a:pt x="131" y="42"/>
                  </a:moveTo>
                  <a:cubicBezTo>
                    <a:pt x="135" y="40"/>
                    <a:pt x="140" y="42"/>
                    <a:pt x="140" y="39"/>
                  </a:cubicBezTo>
                  <a:cubicBezTo>
                    <a:pt x="138" y="36"/>
                    <a:pt x="134" y="36"/>
                    <a:pt x="129" y="37"/>
                  </a:cubicBezTo>
                  <a:cubicBezTo>
                    <a:pt x="125" y="39"/>
                    <a:pt x="122" y="37"/>
                    <a:pt x="126" y="40"/>
                  </a:cubicBezTo>
                  <a:cubicBezTo>
                    <a:pt x="129" y="42"/>
                    <a:pt x="126" y="44"/>
                    <a:pt x="131" y="42"/>
                  </a:cubicBezTo>
                  <a:close/>
                  <a:moveTo>
                    <a:pt x="50" y="37"/>
                  </a:moveTo>
                  <a:cubicBezTo>
                    <a:pt x="52" y="42"/>
                    <a:pt x="50" y="36"/>
                    <a:pt x="56" y="40"/>
                  </a:cubicBezTo>
                  <a:cubicBezTo>
                    <a:pt x="64" y="45"/>
                    <a:pt x="58" y="37"/>
                    <a:pt x="55" y="37"/>
                  </a:cubicBezTo>
                  <a:cubicBezTo>
                    <a:pt x="52" y="37"/>
                    <a:pt x="52" y="30"/>
                    <a:pt x="47" y="31"/>
                  </a:cubicBezTo>
                  <a:cubicBezTo>
                    <a:pt x="45" y="31"/>
                    <a:pt x="47" y="33"/>
                    <a:pt x="50" y="37"/>
                  </a:cubicBezTo>
                  <a:close/>
                  <a:moveTo>
                    <a:pt x="131" y="51"/>
                  </a:moveTo>
                  <a:cubicBezTo>
                    <a:pt x="126" y="56"/>
                    <a:pt x="131" y="54"/>
                    <a:pt x="138" y="54"/>
                  </a:cubicBezTo>
                  <a:cubicBezTo>
                    <a:pt x="146" y="53"/>
                    <a:pt x="135" y="61"/>
                    <a:pt x="146" y="56"/>
                  </a:cubicBezTo>
                  <a:cubicBezTo>
                    <a:pt x="152" y="54"/>
                    <a:pt x="163" y="50"/>
                    <a:pt x="158" y="48"/>
                  </a:cubicBezTo>
                  <a:cubicBezTo>
                    <a:pt x="155" y="47"/>
                    <a:pt x="155" y="50"/>
                    <a:pt x="149" y="47"/>
                  </a:cubicBezTo>
                  <a:cubicBezTo>
                    <a:pt x="143" y="44"/>
                    <a:pt x="154" y="44"/>
                    <a:pt x="149" y="42"/>
                  </a:cubicBezTo>
                  <a:cubicBezTo>
                    <a:pt x="144" y="40"/>
                    <a:pt x="122" y="42"/>
                    <a:pt x="134" y="47"/>
                  </a:cubicBezTo>
                  <a:cubicBezTo>
                    <a:pt x="135" y="48"/>
                    <a:pt x="135" y="48"/>
                    <a:pt x="131" y="51"/>
                  </a:cubicBezTo>
                  <a:close/>
                  <a:moveTo>
                    <a:pt x="131" y="16"/>
                  </a:moveTo>
                  <a:cubicBezTo>
                    <a:pt x="140" y="16"/>
                    <a:pt x="135" y="17"/>
                    <a:pt x="123" y="19"/>
                  </a:cubicBezTo>
                  <a:cubicBezTo>
                    <a:pt x="111" y="22"/>
                    <a:pt x="129" y="23"/>
                    <a:pt x="138" y="23"/>
                  </a:cubicBezTo>
                  <a:cubicBezTo>
                    <a:pt x="146" y="23"/>
                    <a:pt x="151" y="31"/>
                    <a:pt x="157" y="25"/>
                  </a:cubicBezTo>
                  <a:cubicBezTo>
                    <a:pt x="163" y="20"/>
                    <a:pt x="161" y="25"/>
                    <a:pt x="167" y="23"/>
                  </a:cubicBezTo>
                  <a:cubicBezTo>
                    <a:pt x="173" y="22"/>
                    <a:pt x="164" y="20"/>
                    <a:pt x="177" y="16"/>
                  </a:cubicBezTo>
                  <a:cubicBezTo>
                    <a:pt x="184" y="14"/>
                    <a:pt x="177" y="9"/>
                    <a:pt x="172" y="9"/>
                  </a:cubicBezTo>
                  <a:cubicBezTo>
                    <a:pt x="169" y="11"/>
                    <a:pt x="164" y="8"/>
                    <a:pt x="157" y="6"/>
                  </a:cubicBezTo>
                  <a:cubicBezTo>
                    <a:pt x="149" y="6"/>
                    <a:pt x="154" y="11"/>
                    <a:pt x="149" y="9"/>
                  </a:cubicBezTo>
                  <a:cubicBezTo>
                    <a:pt x="144" y="9"/>
                    <a:pt x="151" y="6"/>
                    <a:pt x="148" y="5"/>
                  </a:cubicBezTo>
                  <a:cubicBezTo>
                    <a:pt x="146" y="3"/>
                    <a:pt x="141" y="3"/>
                    <a:pt x="141" y="9"/>
                  </a:cubicBezTo>
                  <a:cubicBezTo>
                    <a:pt x="141" y="14"/>
                    <a:pt x="140" y="14"/>
                    <a:pt x="137" y="9"/>
                  </a:cubicBezTo>
                  <a:cubicBezTo>
                    <a:pt x="134" y="5"/>
                    <a:pt x="135" y="11"/>
                    <a:pt x="123" y="6"/>
                  </a:cubicBezTo>
                  <a:cubicBezTo>
                    <a:pt x="111" y="0"/>
                    <a:pt x="126" y="13"/>
                    <a:pt x="117" y="8"/>
                  </a:cubicBezTo>
                  <a:cubicBezTo>
                    <a:pt x="106" y="3"/>
                    <a:pt x="120" y="13"/>
                    <a:pt x="112" y="9"/>
                  </a:cubicBezTo>
                  <a:cubicBezTo>
                    <a:pt x="105" y="8"/>
                    <a:pt x="103" y="11"/>
                    <a:pt x="108" y="13"/>
                  </a:cubicBezTo>
                  <a:cubicBezTo>
                    <a:pt x="112" y="16"/>
                    <a:pt x="105" y="13"/>
                    <a:pt x="112" y="17"/>
                  </a:cubicBezTo>
                  <a:cubicBezTo>
                    <a:pt x="117" y="20"/>
                    <a:pt x="120" y="16"/>
                    <a:pt x="131" y="16"/>
                  </a:cubicBezTo>
                  <a:close/>
                  <a:moveTo>
                    <a:pt x="196" y="179"/>
                  </a:moveTo>
                  <a:cubicBezTo>
                    <a:pt x="196" y="177"/>
                    <a:pt x="201" y="177"/>
                    <a:pt x="202" y="176"/>
                  </a:cubicBezTo>
                  <a:cubicBezTo>
                    <a:pt x="204" y="174"/>
                    <a:pt x="202" y="174"/>
                    <a:pt x="205" y="174"/>
                  </a:cubicBezTo>
                  <a:cubicBezTo>
                    <a:pt x="207" y="176"/>
                    <a:pt x="210" y="176"/>
                    <a:pt x="209" y="172"/>
                  </a:cubicBezTo>
                  <a:cubicBezTo>
                    <a:pt x="209" y="172"/>
                    <a:pt x="209" y="172"/>
                    <a:pt x="209" y="171"/>
                  </a:cubicBezTo>
                  <a:cubicBezTo>
                    <a:pt x="205" y="171"/>
                    <a:pt x="205" y="172"/>
                    <a:pt x="204" y="171"/>
                  </a:cubicBezTo>
                  <a:cubicBezTo>
                    <a:pt x="202" y="169"/>
                    <a:pt x="202" y="172"/>
                    <a:pt x="201" y="172"/>
                  </a:cubicBezTo>
                  <a:cubicBezTo>
                    <a:pt x="199" y="172"/>
                    <a:pt x="198" y="172"/>
                    <a:pt x="199" y="172"/>
                  </a:cubicBezTo>
                  <a:cubicBezTo>
                    <a:pt x="199" y="171"/>
                    <a:pt x="201" y="169"/>
                    <a:pt x="196" y="168"/>
                  </a:cubicBezTo>
                  <a:cubicBezTo>
                    <a:pt x="193" y="168"/>
                    <a:pt x="193" y="166"/>
                    <a:pt x="192" y="166"/>
                  </a:cubicBezTo>
                  <a:cubicBezTo>
                    <a:pt x="189" y="166"/>
                    <a:pt x="190" y="165"/>
                    <a:pt x="198" y="168"/>
                  </a:cubicBezTo>
                  <a:cubicBezTo>
                    <a:pt x="204" y="169"/>
                    <a:pt x="204" y="165"/>
                    <a:pt x="207" y="165"/>
                  </a:cubicBezTo>
                  <a:cubicBezTo>
                    <a:pt x="210" y="165"/>
                    <a:pt x="212" y="162"/>
                    <a:pt x="209" y="162"/>
                  </a:cubicBezTo>
                  <a:cubicBezTo>
                    <a:pt x="205" y="162"/>
                    <a:pt x="207" y="160"/>
                    <a:pt x="205" y="160"/>
                  </a:cubicBezTo>
                  <a:cubicBezTo>
                    <a:pt x="202" y="160"/>
                    <a:pt x="204" y="157"/>
                    <a:pt x="201" y="159"/>
                  </a:cubicBezTo>
                  <a:cubicBezTo>
                    <a:pt x="199" y="160"/>
                    <a:pt x="201" y="157"/>
                    <a:pt x="198" y="159"/>
                  </a:cubicBezTo>
                  <a:cubicBezTo>
                    <a:pt x="195" y="159"/>
                    <a:pt x="198" y="157"/>
                    <a:pt x="195" y="155"/>
                  </a:cubicBezTo>
                  <a:cubicBezTo>
                    <a:pt x="190" y="155"/>
                    <a:pt x="189" y="159"/>
                    <a:pt x="189" y="162"/>
                  </a:cubicBezTo>
                  <a:cubicBezTo>
                    <a:pt x="190" y="163"/>
                    <a:pt x="189" y="160"/>
                    <a:pt x="187" y="162"/>
                  </a:cubicBezTo>
                  <a:cubicBezTo>
                    <a:pt x="186" y="162"/>
                    <a:pt x="184" y="162"/>
                    <a:pt x="186" y="160"/>
                  </a:cubicBezTo>
                  <a:cubicBezTo>
                    <a:pt x="189" y="159"/>
                    <a:pt x="189" y="157"/>
                    <a:pt x="187" y="159"/>
                  </a:cubicBezTo>
                  <a:cubicBezTo>
                    <a:pt x="186" y="159"/>
                    <a:pt x="186" y="159"/>
                    <a:pt x="186" y="157"/>
                  </a:cubicBezTo>
                  <a:cubicBezTo>
                    <a:pt x="187" y="157"/>
                    <a:pt x="190" y="155"/>
                    <a:pt x="190" y="154"/>
                  </a:cubicBezTo>
                  <a:cubicBezTo>
                    <a:pt x="190" y="152"/>
                    <a:pt x="187" y="155"/>
                    <a:pt x="187" y="154"/>
                  </a:cubicBezTo>
                  <a:cubicBezTo>
                    <a:pt x="187" y="152"/>
                    <a:pt x="186" y="154"/>
                    <a:pt x="184" y="152"/>
                  </a:cubicBezTo>
                  <a:cubicBezTo>
                    <a:pt x="181" y="151"/>
                    <a:pt x="183" y="154"/>
                    <a:pt x="181" y="154"/>
                  </a:cubicBezTo>
                  <a:cubicBezTo>
                    <a:pt x="180" y="152"/>
                    <a:pt x="178" y="155"/>
                    <a:pt x="180" y="155"/>
                  </a:cubicBezTo>
                  <a:cubicBezTo>
                    <a:pt x="183" y="155"/>
                    <a:pt x="180" y="157"/>
                    <a:pt x="180" y="157"/>
                  </a:cubicBezTo>
                  <a:cubicBezTo>
                    <a:pt x="181" y="157"/>
                    <a:pt x="178" y="157"/>
                    <a:pt x="178" y="159"/>
                  </a:cubicBezTo>
                  <a:cubicBezTo>
                    <a:pt x="178" y="160"/>
                    <a:pt x="177" y="159"/>
                    <a:pt x="178" y="160"/>
                  </a:cubicBezTo>
                  <a:cubicBezTo>
                    <a:pt x="178" y="162"/>
                    <a:pt x="178" y="162"/>
                    <a:pt x="175" y="163"/>
                  </a:cubicBezTo>
                  <a:cubicBezTo>
                    <a:pt x="172" y="165"/>
                    <a:pt x="175" y="160"/>
                    <a:pt x="175" y="159"/>
                  </a:cubicBezTo>
                  <a:cubicBezTo>
                    <a:pt x="175" y="159"/>
                    <a:pt x="177" y="155"/>
                    <a:pt x="175" y="155"/>
                  </a:cubicBezTo>
                  <a:cubicBezTo>
                    <a:pt x="173" y="154"/>
                    <a:pt x="169" y="159"/>
                    <a:pt x="167" y="162"/>
                  </a:cubicBezTo>
                  <a:cubicBezTo>
                    <a:pt x="164" y="165"/>
                    <a:pt x="167" y="163"/>
                    <a:pt x="164" y="166"/>
                  </a:cubicBezTo>
                  <a:cubicBezTo>
                    <a:pt x="163" y="168"/>
                    <a:pt x="163" y="166"/>
                    <a:pt x="163" y="166"/>
                  </a:cubicBezTo>
                  <a:cubicBezTo>
                    <a:pt x="161" y="168"/>
                    <a:pt x="160" y="166"/>
                    <a:pt x="161" y="165"/>
                  </a:cubicBezTo>
                  <a:cubicBezTo>
                    <a:pt x="164" y="163"/>
                    <a:pt x="163" y="163"/>
                    <a:pt x="163" y="163"/>
                  </a:cubicBezTo>
                  <a:cubicBezTo>
                    <a:pt x="166" y="160"/>
                    <a:pt x="161" y="162"/>
                    <a:pt x="166" y="159"/>
                  </a:cubicBezTo>
                  <a:cubicBezTo>
                    <a:pt x="169" y="155"/>
                    <a:pt x="170" y="155"/>
                    <a:pt x="167" y="155"/>
                  </a:cubicBezTo>
                  <a:cubicBezTo>
                    <a:pt x="164" y="155"/>
                    <a:pt x="164" y="152"/>
                    <a:pt x="164" y="155"/>
                  </a:cubicBezTo>
                  <a:cubicBezTo>
                    <a:pt x="164" y="159"/>
                    <a:pt x="164" y="155"/>
                    <a:pt x="163" y="155"/>
                  </a:cubicBezTo>
                  <a:cubicBezTo>
                    <a:pt x="161" y="154"/>
                    <a:pt x="161" y="155"/>
                    <a:pt x="160" y="154"/>
                  </a:cubicBezTo>
                  <a:cubicBezTo>
                    <a:pt x="160" y="154"/>
                    <a:pt x="158" y="154"/>
                    <a:pt x="158" y="155"/>
                  </a:cubicBezTo>
                  <a:cubicBezTo>
                    <a:pt x="160" y="155"/>
                    <a:pt x="160" y="157"/>
                    <a:pt x="158" y="157"/>
                  </a:cubicBezTo>
                  <a:cubicBezTo>
                    <a:pt x="155" y="155"/>
                    <a:pt x="155" y="157"/>
                    <a:pt x="158" y="157"/>
                  </a:cubicBezTo>
                  <a:cubicBezTo>
                    <a:pt x="161" y="159"/>
                    <a:pt x="161" y="160"/>
                    <a:pt x="158" y="159"/>
                  </a:cubicBezTo>
                  <a:cubicBezTo>
                    <a:pt x="155" y="157"/>
                    <a:pt x="158" y="159"/>
                    <a:pt x="154" y="162"/>
                  </a:cubicBezTo>
                  <a:cubicBezTo>
                    <a:pt x="148" y="163"/>
                    <a:pt x="152" y="163"/>
                    <a:pt x="149" y="165"/>
                  </a:cubicBezTo>
                  <a:cubicBezTo>
                    <a:pt x="146" y="166"/>
                    <a:pt x="151" y="166"/>
                    <a:pt x="148" y="166"/>
                  </a:cubicBezTo>
                  <a:cubicBezTo>
                    <a:pt x="146" y="168"/>
                    <a:pt x="151" y="168"/>
                    <a:pt x="149" y="169"/>
                  </a:cubicBezTo>
                  <a:cubicBezTo>
                    <a:pt x="149" y="169"/>
                    <a:pt x="144" y="169"/>
                    <a:pt x="146" y="166"/>
                  </a:cubicBezTo>
                  <a:cubicBezTo>
                    <a:pt x="148" y="165"/>
                    <a:pt x="143" y="165"/>
                    <a:pt x="141" y="165"/>
                  </a:cubicBezTo>
                  <a:cubicBezTo>
                    <a:pt x="140" y="165"/>
                    <a:pt x="140" y="163"/>
                    <a:pt x="140" y="165"/>
                  </a:cubicBezTo>
                  <a:cubicBezTo>
                    <a:pt x="138" y="165"/>
                    <a:pt x="137" y="162"/>
                    <a:pt x="137" y="165"/>
                  </a:cubicBezTo>
                  <a:cubicBezTo>
                    <a:pt x="137" y="168"/>
                    <a:pt x="135" y="163"/>
                    <a:pt x="134" y="165"/>
                  </a:cubicBezTo>
                  <a:cubicBezTo>
                    <a:pt x="131" y="166"/>
                    <a:pt x="134" y="166"/>
                    <a:pt x="134" y="166"/>
                  </a:cubicBezTo>
                  <a:cubicBezTo>
                    <a:pt x="134" y="168"/>
                    <a:pt x="135" y="166"/>
                    <a:pt x="137" y="168"/>
                  </a:cubicBezTo>
                  <a:cubicBezTo>
                    <a:pt x="137" y="168"/>
                    <a:pt x="138" y="168"/>
                    <a:pt x="138" y="169"/>
                  </a:cubicBezTo>
                  <a:cubicBezTo>
                    <a:pt x="137" y="169"/>
                    <a:pt x="137" y="169"/>
                    <a:pt x="138" y="171"/>
                  </a:cubicBezTo>
                  <a:cubicBezTo>
                    <a:pt x="140" y="172"/>
                    <a:pt x="138" y="172"/>
                    <a:pt x="135" y="169"/>
                  </a:cubicBezTo>
                  <a:cubicBezTo>
                    <a:pt x="132" y="168"/>
                    <a:pt x="131" y="168"/>
                    <a:pt x="132" y="169"/>
                  </a:cubicBezTo>
                  <a:cubicBezTo>
                    <a:pt x="132" y="169"/>
                    <a:pt x="131" y="171"/>
                    <a:pt x="131" y="169"/>
                  </a:cubicBezTo>
                  <a:cubicBezTo>
                    <a:pt x="131" y="168"/>
                    <a:pt x="128" y="171"/>
                    <a:pt x="126" y="171"/>
                  </a:cubicBezTo>
                  <a:cubicBezTo>
                    <a:pt x="126" y="172"/>
                    <a:pt x="128" y="176"/>
                    <a:pt x="122" y="179"/>
                  </a:cubicBezTo>
                  <a:cubicBezTo>
                    <a:pt x="125" y="176"/>
                    <a:pt x="125" y="172"/>
                    <a:pt x="125" y="169"/>
                  </a:cubicBezTo>
                  <a:cubicBezTo>
                    <a:pt x="125" y="168"/>
                    <a:pt x="125" y="171"/>
                    <a:pt x="123" y="169"/>
                  </a:cubicBezTo>
                  <a:cubicBezTo>
                    <a:pt x="123" y="169"/>
                    <a:pt x="123" y="169"/>
                    <a:pt x="122" y="171"/>
                  </a:cubicBezTo>
                  <a:cubicBezTo>
                    <a:pt x="120" y="174"/>
                    <a:pt x="122" y="172"/>
                    <a:pt x="120" y="174"/>
                  </a:cubicBezTo>
                  <a:cubicBezTo>
                    <a:pt x="119" y="176"/>
                    <a:pt x="119" y="174"/>
                    <a:pt x="120" y="172"/>
                  </a:cubicBezTo>
                  <a:cubicBezTo>
                    <a:pt x="122" y="169"/>
                    <a:pt x="117" y="171"/>
                    <a:pt x="116" y="172"/>
                  </a:cubicBezTo>
                  <a:cubicBezTo>
                    <a:pt x="111" y="176"/>
                    <a:pt x="114" y="174"/>
                    <a:pt x="114" y="176"/>
                  </a:cubicBezTo>
                  <a:cubicBezTo>
                    <a:pt x="114" y="177"/>
                    <a:pt x="119" y="176"/>
                    <a:pt x="119" y="180"/>
                  </a:cubicBezTo>
                  <a:cubicBezTo>
                    <a:pt x="114" y="179"/>
                    <a:pt x="119" y="179"/>
                    <a:pt x="116" y="177"/>
                  </a:cubicBezTo>
                  <a:cubicBezTo>
                    <a:pt x="112" y="177"/>
                    <a:pt x="114" y="174"/>
                    <a:pt x="111" y="176"/>
                  </a:cubicBezTo>
                  <a:cubicBezTo>
                    <a:pt x="108" y="176"/>
                    <a:pt x="109" y="176"/>
                    <a:pt x="111" y="177"/>
                  </a:cubicBezTo>
                  <a:cubicBezTo>
                    <a:pt x="112" y="179"/>
                    <a:pt x="111" y="180"/>
                    <a:pt x="109" y="177"/>
                  </a:cubicBezTo>
                  <a:cubicBezTo>
                    <a:pt x="109" y="176"/>
                    <a:pt x="106" y="174"/>
                    <a:pt x="108" y="177"/>
                  </a:cubicBezTo>
                  <a:cubicBezTo>
                    <a:pt x="108" y="179"/>
                    <a:pt x="105" y="177"/>
                    <a:pt x="106" y="180"/>
                  </a:cubicBezTo>
                  <a:cubicBezTo>
                    <a:pt x="108" y="182"/>
                    <a:pt x="105" y="180"/>
                    <a:pt x="103" y="183"/>
                  </a:cubicBezTo>
                  <a:cubicBezTo>
                    <a:pt x="100" y="185"/>
                    <a:pt x="106" y="183"/>
                    <a:pt x="103" y="185"/>
                  </a:cubicBezTo>
                  <a:cubicBezTo>
                    <a:pt x="100" y="186"/>
                    <a:pt x="102" y="186"/>
                    <a:pt x="100" y="186"/>
                  </a:cubicBezTo>
                  <a:cubicBezTo>
                    <a:pt x="97" y="188"/>
                    <a:pt x="97" y="186"/>
                    <a:pt x="94" y="190"/>
                  </a:cubicBezTo>
                  <a:cubicBezTo>
                    <a:pt x="93" y="193"/>
                    <a:pt x="99" y="190"/>
                    <a:pt x="99" y="190"/>
                  </a:cubicBezTo>
                  <a:cubicBezTo>
                    <a:pt x="99" y="191"/>
                    <a:pt x="99" y="191"/>
                    <a:pt x="102" y="190"/>
                  </a:cubicBezTo>
                  <a:cubicBezTo>
                    <a:pt x="105" y="188"/>
                    <a:pt x="102" y="191"/>
                    <a:pt x="99" y="193"/>
                  </a:cubicBezTo>
                  <a:cubicBezTo>
                    <a:pt x="96" y="193"/>
                    <a:pt x="97" y="191"/>
                    <a:pt x="94" y="191"/>
                  </a:cubicBezTo>
                  <a:cubicBezTo>
                    <a:pt x="91" y="193"/>
                    <a:pt x="90" y="193"/>
                    <a:pt x="91" y="194"/>
                  </a:cubicBezTo>
                  <a:cubicBezTo>
                    <a:pt x="93" y="194"/>
                    <a:pt x="91" y="194"/>
                    <a:pt x="93" y="194"/>
                  </a:cubicBezTo>
                  <a:cubicBezTo>
                    <a:pt x="96" y="194"/>
                    <a:pt x="93" y="196"/>
                    <a:pt x="93" y="197"/>
                  </a:cubicBezTo>
                  <a:cubicBezTo>
                    <a:pt x="93" y="200"/>
                    <a:pt x="91" y="197"/>
                    <a:pt x="91" y="196"/>
                  </a:cubicBezTo>
                  <a:cubicBezTo>
                    <a:pt x="91" y="194"/>
                    <a:pt x="90" y="193"/>
                    <a:pt x="90" y="194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88" y="194"/>
                    <a:pt x="85" y="196"/>
                    <a:pt x="85" y="197"/>
                  </a:cubicBezTo>
                  <a:cubicBezTo>
                    <a:pt x="85" y="197"/>
                    <a:pt x="85" y="196"/>
                    <a:pt x="88" y="197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88" y="197"/>
                    <a:pt x="79" y="199"/>
                    <a:pt x="80" y="200"/>
                  </a:cubicBezTo>
                  <a:cubicBezTo>
                    <a:pt x="82" y="202"/>
                    <a:pt x="79" y="202"/>
                    <a:pt x="80" y="202"/>
                  </a:cubicBezTo>
                  <a:cubicBezTo>
                    <a:pt x="84" y="203"/>
                    <a:pt x="84" y="199"/>
                    <a:pt x="88" y="200"/>
                  </a:cubicBezTo>
                  <a:cubicBezTo>
                    <a:pt x="91" y="202"/>
                    <a:pt x="88" y="200"/>
                    <a:pt x="85" y="202"/>
                  </a:cubicBezTo>
                  <a:cubicBezTo>
                    <a:pt x="82" y="202"/>
                    <a:pt x="87" y="203"/>
                    <a:pt x="82" y="203"/>
                  </a:cubicBezTo>
                  <a:cubicBezTo>
                    <a:pt x="77" y="203"/>
                    <a:pt x="82" y="205"/>
                    <a:pt x="82" y="207"/>
                  </a:cubicBezTo>
                  <a:cubicBezTo>
                    <a:pt x="80" y="207"/>
                    <a:pt x="80" y="205"/>
                    <a:pt x="79" y="207"/>
                  </a:cubicBezTo>
                  <a:cubicBezTo>
                    <a:pt x="77" y="207"/>
                    <a:pt x="77" y="208"/>
                    <a:pt x="79" y="208"/>
                  </a:cubicBezTo>
                  <a:cubicBezTo>
                    <a:pt x="79" y="208"/>
                    <a:pt x="80" y="207"/>
                    <a:pt x="84" y="208"/>
                  </a:cubicBezTo>
                  <a:cubicBezTo>
                    <a:pt x="90" y="208"/>
                    <a:pt x="85" y="207"/>
                    <a:pt x="87" y="210"/>
                  </a:cubicBezTo>
                  <a:cubicBezTo>
                    <a:pt x="87" y="211"/>
                    <a:pt x="85" y="208"/>
                    <a:pt x="82" y="208"/>
                  </a:cubicBezTo>
                  <a:cubicBezTo>
                    <a:pt x="80" y="208"/>
                    <a:pt x="79" y="210"/>
                    <a:pt x="77" y="210"/>
                  </a:cubicBezTo>
                  <a:cubicBezTo>
                    <a:pt x="76" y="208"/>
                    <a:pt x="77" y="210"/>
                    <a:pt x="74" y="210"/>
                  </a:cubicBezTo>
                  <a:cubicBezTo>
                    <a:pt x="73" y="210"/>
                    <a:pt x="76" y="211"/>
                    <a:pt x="73" y="211"/>
                  </a:cubicBezTo>
                  <a:cubicBezTo>
                    <a:pt x="68" y="211"/>
                    <a:pt x="73" y="213"/>
                    <a:pt x="71" y="214"/>
                  </a:cubicBezTo>
                  <a:cubicBezTo>
                    <a:pt x="70" y="216"/>
                    <a:pt x="70" y="214"/>
                    <a:pt x="68" y="216"/>
                  </a:cubicBezTo>
                  <a:cubicBezTo>
                    <a:pt x="67" y="217"/>
                    <a:pt x="70" y="216"/>
                    <a:pt x="68" y="217"/>
                  </a:cubicBezTo>
                  <a:cubicBezTo>
                    <a:pt x="67" y="217"/>
                    <a:pt x="68" y="219"/>
                    <a:pt x="68" y="217"/>
                  </a:cubicBezTo>
                  <a:cubicBezTo>
                    <a:pt x="67" y="217"/>
                    <a:pt x="65" y="217"/>
                    <a:pt x="67" y="219"/>
                  </a:cubicBezTo>
                  <a:cubicBezTo>
                    <a:pt x="68" y="219"/>
                    <a:pt x="65" y="221"/>
                    <a:pt x="68" y="221"/>
                  </a:cubicBezTo>
                  <a:cubicBezTo>
                    <a:pt x="71" y="221"/>
                    <a:pt x="65" y="222"/>
                    <a:pt x="67" y="222"/>
                  </a:cubicBezTo>
                  <a:cubicBezTo>
                    <a:pt x="67" y="222"/>
                    <a:pt x="73" y="221"/>
                    <a:pt x="74" y="221"/>
                  </a:cubicBezTo>
                  <a:cubicBezTo>
                    <a:pt x="77" y="221"/>
                    <a:pt x="74" y="222"/>
                    <a:pt x="71" y="222"/>
                  </a:cubicBezTo>
                  <a:cubicBezTo>
                    <a:pt x="68" y="224"/>
                    <a:pt x="67" y="222"/>
                    <a:pt x="65" y="224"/>
                  </a:cubicBezTo>
                  <a:cubicBezTo>
                    <a:pt x="62" y="225"/>
                    <a:pt x="67" y="224"/>
                    <a:pt x="67" y="225"/>
                  </a:cubicBezTo>
                  <a:cubicBezTo>
                    <a:pt x="67" y="227"/>
                    <a:pt x="64" y="225"/>
                    <a:pt x="64" y="228"/>
                  </a:cubicBezTo>
                  <a:cubicBezTo>
                    <a:pt x="62" y="230"/>
                    <a:pt x="61" y="228"/>
                    <a:pt x="61" y="230"/>
                  </a:cubicBezTo>
                  <a:cubicBezTo>
                    <a:pt x="62" y="233"/>
                    <a:pt x="62" y="231"/>
                    <a:pt x="64" y="233"/>
                  </a:cubicBezTo>
                  <a:cubicBezTo>
                    <a:pt x="64" y="235"/>
                    <a:pt x="61" y="235"/>
                    <a:pt x="61" y="236"/>
                  </a:cubicBezTo>
                  <a:cubicBezTo>
                    <a:pt x="62" y="236"/>
                    <a:pt x="62" y="238"/>
                    <a:pt x="59" y="238"/>
                  </a:cubicBezTo>
                  <a:cubicBezTo>
                    <a:pt x="58" y="238"/>
                    <a:pt x="58" y="239"/>
                    <a:pt x="56" y="239"/>
                  </a:cubicBezTo>
                  <a:cubicBezTo>
                    <a:pt x="55" y="239"/>
                    <a:pt x="55" y="241"/>
                    <a:pt x="53" y="241"/>
                  </a:cubicBezTo>
                  <a:cubicBezTo>
                    <a:pt x="52" y="241"/>
                    <a:pt x="50" y="241"/>
                    <a:pt x="50" y="241"/>
                  </a:cubicBezTo>
                  <a:cubicBezTo>
                    <a:pt x="50" y="242"/>
                    <a:pt x="50" y="241"/>
                    <a:pt x="53" y="241"/>
                  </a:cubicBezTo>
                  <a:cubicBezTo>
                    <a:pt x="55" y="242"/>
                    <a:pt x="52" y="244"/>
                    <a:pt x="55" y="242"/>
                  </a:cubicBezTo>
                  <a:cubicBezTo>
                    <a:pt x="56" y="241"/>
                    <a:pt x="56" y="242"/>
                    <a:pt x="55" y="242"/>
                  </a:cubicBezTo>
                  <a:cubicBezTo>
                    <a:pt x="53" y="244"/>
                    <a:pt x="56" y="244"/>
                    <a:pt x="56" y="245"/>
                  </a:cubicBezTo>
                  <a:cubicBezTo>
                    <a:pt x="55" y="247"/>
                    <a:pt x="55" y="247"/>
                    <a:pt x="53" y="247"/>
                  </a:cubicBezTo>
                  <a:cubicBezTo>
                    <a:pt x="52" y="247"/>
                    <a:pt x="52" y="244"/>
                    <a:pt x="50" y="244"/>
                  </a:cubicBezTo>
                  <a:cubicBezTo>
                    <a:pt x="49" y="245"/>
                    <a:pt x="50" y="245"/>
                    <a:pt x="50" y="245"/>
                  </a:cubicBezTo>
                  <a:cubicBezTo>
                    <a:pt x="47" y="245"/>
                    <a:pt x="47" y="247"/>
                    <a:pt x="47" y="249"/>
                  </a:cubicBezTo>
                  <a:cubicBezTo>
                    <a:pt x="47" y="250"/>
                    <a:pt x="44" y="249"/>
                    <a:pt x="44" y="250"/>
                  </a:cubicBezTo>
                  <a:cubicBezTo>
                    <a:pt x="42" y="255"/>
                    <a:pt x="39" y="253"/>
                    <a:pt x="39" y="256"/>
                  </a:cubicBezTo>
                  <a:cubicBezTo>
                    <a:pt x="38" y="258"/>
                    <a:pt x="41" y="256"/>
                    <a:pt x="41" y="256"/>
                  </a:cubicBezTo>
                  <a:cubicBezTo>
                    <a:pt x="41" y="258"/>
                    <a:pt x="42" y="258"/>
                    <a:pt x="42" y="258"/>
                  </a:cubicBezTo>
                  <a:cubicBezTo>
                    <a:pt x="42" y="259"/>
                    <a:pt x="45" y="259"/>
                    <a:pt x="50" y="256"/>
                  </a:cubicBezTo>
                  <a:cubicBezTo>
                    <a:pt x="55" y="253"/>
                    <a:pt x="47" y="255"/>
                    <a:pt x="50" y="253"/>
                  </a:cubicBezTo>
                  <a:cubicBezTo>
                    <a:pt x="53" y="252"/>
                    <a:pt x="52" y="252"/>
                    <a:pt x="53" y="252"/>
                  </a:cubicBezTo>
                  <a:cubicBezTo>
                    <a:pt x="56" y="253"/>
                    <a:pt x="49" y="253"/>
                    <a:pt x="53" y="255"/>
                  </a:cubicBezTo>
                  <a:cubicBezTo>
                    <a:pt x="56" y="255"/>
                    <a:pt x="53" y="256"/>
                    <a:pt x="50" y="258"/>
                  </a:cubicBezTo>
                  <a:cubicBezTo>
                    <a:pt x="47" y="259"/>
                    <a:pt x="50" y="258"/>
                    <a:pt x="49" y="259"/>
                  </a:cubicBezTo>
                  <a:cubicBezTo>
                    <a:pt x="49" y="259"/>
                    <a:pt x="52" y="259"/>
                    <a:pt x="50" y="261"/>
                  </a:cubicBezTo>
                  <a:cubicBezTo>
                    <a:pt x="49" y="261"/>
                    <a:pt x="45" y="259"/>
                    <a:pt x="42" y="261"/>
                  </a:cubicBezTo>
                  <a:cubicBezTo>
                    <a:pt x="41" y="262"/>
                    <a:pt x="42" y="261"/>
                    <a:pt x="41" y="259"/>
                  </a:cubicBezTo>
                  <a:cubicBezTo>
                    <a:pt x="39" y="256"/>
                    <a:pt x="39" y="258"/>
                    <a:pt x="38" y="258"/>
                  </a:cubicBezTo>
                  <a:cubicBezTo>
                    <a:pt x="35" y="259"/>
                    <a:pt x="36" y="261"/>
                    <a:pt x="36" y="259"/>
                  </a:cubicBezTo>
                  <a:cubicBezTo>
                    <a:pt x="35" y="259"/>
                    <a:pt x="33" y="261"/>
                    <a:pt x="30" y="261"/>
                  </a:cubicBezTo>
                  <a:cubicBezTo>
                    <a:pt x="27" y="262"/>
                    <a:pt x="35" y="264"/>
                    <a:pt x="30" y="264"/>
                  </a:cubicBezTo>
                  <a:cubicBezTo>
                    <a:pt x="26" y="264"/>
                    <a:pt x="32" y="266"/>
                    <a:pt x="27" y="266"/>
                  </a:cubicBezTo>
                  <a:cubicBezTo>
                    <a:pt x="23" y="264"/>
                    <a:pt x="29" y="266"/>
                    <a:pt x="26" y="267"/>
                  </a:cubicBezTo>
                  <a:cubicBezTo>
                    <a:pt x="23" y="267"/>
                    <a:pt x="20" y="266"/>
                    <a:pt x="18" y="267"/>
                  </a:cubicBezTo>
                  <a:cubicBezTo>
                    <a:pt x="18" y="267"/>
                    <a:pt x="18" y="270"/>
                    <a:pt x="21" y="269"/>
                  </a:cubicBezTo>
                  <a:cubicBezTo>
                    <a:pt x="26" y="269"/>
                    <a:pt x="21" y="269"/>
                    <a:pt x="23" y="272"/>
                  </a:cubicBezTo>
                  <a:cubicBezTo>
                    <a:pt x="24" y="273"/>
                    <a:pt x="21" y="270"/>
                    <a:pt x="15" y="272"/>
                  </a:cubicBezTo>
                  <a:cubicBezTo>
                    <a:pt x="10" y="273"/>
                    <a:pt x="18" y="272"/>
                    <a:pt x="18" y="273"/>
                  </a:cubicBezTo>
                  <a:cubicBezTo>
                    <a:pt x="20" y="276"/>
                    <a:pt x="18" y="272"/>
                    <a:pt x="13" y="275"/>
                  </a:cubicBezTo>
                  <a:cubicBezTo>
                    <a:pt x="9" y="276"/>
                    <a:pt x="12" y="278"/>
                    <a:pt x="10" y="276"/>
                  </a:cubicBezTo>
                  <a:cubicBezTo>
                    <a:pt x="7" y="276"/>
                    <a:pt x="10" y="278"/>
                    <a:pt x="7" y="278"/>
                  </a:cubicBezTo>
                  <a:cubicBezTo>
                    <a:pt x="4" y="276"/>
                    <a:pt x="3" y="276"/>
                    <a:pt x="4" y="278"/>
                  </a:cubicBezTo>
                  <a:cubicBezTo>
                    <a:pt x="6" y="280"/>
                    <a:pt x="1" y="278"/>
                    <a:pt x="3" y="280"/>
                  </a:cubicBezTo>
                  <a:cubicBezTo>
                    <a:pt x="4" y="281"/>
                    <a:pt x="9" y="280"/>
                    <a:pt x="13" y="281"/>
                  </a:cubicBezTo>
                  <a:cubicBezTo>
                    <a:pt x="17" y="283"/>
                    <a:pt x="12" y="281"/>
                    <a:pt x="10" y="283"/>
                  </a:cubicBezTo>
                  <a:cubicBezTo>
                    <a:pt x="10" y="283"/>
                    <a:pt x="9" y="280"/>
                    <a:pt x="4" y="283"/>
                  </a:cubicBezTo>
                  <a:cubicBezTo>
                    <a:pt x="0" y="284"/>
                    <a:pt x="7" y="286"/>
                    <a:pt x="4" y="287"/>
                  </a:cubicBezTo>
                  <a:cubicBezTo>
                    <a:pt x="0" y="287"/>
                    <a:pt x="4" y="287"/>
                    <a:pt x="3" y="289"/>
                  </a:cubicBezTo>
                  <a:cubicBezTo>
                    <a:pt x="3" y="290"/>
                    <a:pt x="4" y="292"/>
                    <a:pt x="7" y="290"/>
                  </a:cubicBezTo>
                  <a:cubicBezTo>
                    <a:pt x="10" y="289"/>
                    <a:pt x="13" y="292"/>
                    <a:pt x="15" y="290"/>
                  </a:cubicBezTo>
                  <a:cubicBezTo>
                    <a:pt x="15" y="287"/>
                    <a:pt x="17" y="290"/>
                    <a:pt x="20" y="290"/>
                  </a:cubicBezTo>
                  <a:cubicBezTo>
                    <a:pt x="23" y="289"/>
                    <a:pt x="24" y="290"/>
                    <a:pt x="21" y="290"/>
                  </a:cubicBezTo>
                  <a:cubicBezTo>
                    <a:pt x="17" y="292"/>
                    <a:pt x="23" y="295"/>
                    <a:pt x="18" y="292"/>
                  </a:cubicBezTo>
                  <a:cubicBezTo>
                    <a:pt x="15" y="289"/>
                    <a:pt x="15" y="294"/>
                    <a:pt x="13" y="292"/>
                  </a:cubicBezTo>
                  <a:cubicBezTo>
                    <a:pt x="10" y="290"/>
                    <a:pt x="7" y="294"/>
                    <a:pt x="6" y="292"/>
                  </a:cubicBezTo>
                  <a:cubicBezTo>
                    <a:pt x="3" y="292"/>
                    <a:pt x="3" y="292"/>
                    <a:pt x="3" y="294"/>
                  </a:cubicBezTo>
                  <a:cubicBezTo>
                    <a:pt x="3" y="297"/>
                    <a:pt x="6" y="294"/>
                    <a:pt x="6" y="297"/>
                  </a:cubicBezTo>
                  <a:cubicBezTo>
                    <a:pt x="6" y="298"/>
                    <a:pt x="3" y="294"/>
                    <a:pt x="3" y="297"/>
                  </a:cubicBezTo>
                  <a:cubicBezTo>
                    <a:pt x="4" y="300"/>
                    <a:pt x="6" y="297"/>
                    <a:pt x="6" y="298"/>
                  </a:cubicBezTo>
                  <a:cubicBezTo>
                    <a:pt x="6" y="301"/>
                    <a:pt x="3" y="301"/>
                    <a:pt x="3" y="301"/>
                  </a:cubicBezTo>
                  <a:cubicBezTo>
                    <a:pt x="6" y="303"/>
                    <a:pt x="6" y="304"/>
                    <a:pt x="7" y="303"/>
                  </a:cubicBezTo>
                  <a:cubicBezTo>
                    <a:pt x="7" y="301"/>
                    <a:pt x="7" y="304"/>
                    <a:pt x="9" y="304"/>
                  </a:cubicBezTo>
                  <a:cubicBezTo>
                    <a:pt x="9" y="303"/>
                    <a:pt x="7" y="306"/>
                    <a:pt x="9" y="306"/>
                  </a:cubicBezTo>
                  <a:cubicBezTo>
                    <a:pt x="10" y="306"/>
                    <a:pt x="9" y="303"/>
                    <a:pt x="12" y="303"/>
                  </a:cubicBezTo>
                  <a:cubicBezTo>
                    <a:pt x="13" y="301"/>
                    <a:pt x="10" y="306"/>
                    <a:pt x="9" y="308"/>
                  </a:cubicBezTo>
                  <a:cubicBezTo>
                    <a:pt x="6" y="308"/>
                    <a:pt x="10" y="308"/>
                    <a:pt x="9" y="309"/>
                  </a:cubicBezTo>
                  <a:cubicBezTo>
                    <a:pt x="7" y="311"/>
                    <a:pt x="9" y="308"/>
                    <a:pt x="6" y="311"/>
                  </a:cubicBezTo>
                  <a:cubicBezTo>
                    <a:pt x="3" y="314"/>
                    <a:pt x="6" y="317"/>
                    <a:pt x="7" y="315"/>
                  </a:cubicBezTo>
                  <a:cubicBezTo>
                    <a:pt x="7" y="314"/>
                    <a:pt x="9" y="315"/>
                    <a:pt x="9" y="314"/>
                  </a:cubicBezTo>
                  <a:cubicBezTo>
                    <a:pt x="10" y="312"/>
                    <a:pt x="12" y="314"/>
                    <a:pt x="10" y="315"/>
                  </a:cubicBezTo>
                  <a:cubicBezTo>
                    <a:pt x="9" y="315"/>
                    <a:pt x="12" y="315"/>
                    <a:pt x="10" y="317"/>
                  </a:cubicBezTo>
                  <a:cubicBezTo>
                    <a:pt x="9" y="318"/>
                    <a:pt x="12" y="318"/>
                    <a:pt x="10" y="320"/>
                  </a:cubicBezTo>
                  <a:cubicBezTo>
                    <a:pt x="7" y="320"/>
                    <a:pt x="7" y="317"/>
                    <a:pt x="7" y="320"/>
                  </a:cubicBezTo>
                  <a:cubicBezTo>
                    <a:pt x="6" y="323"/>
                    <a:pt x="6" y="323"/>
                    <a:pt x="7" y="323"/>
                  </a:cubicBezTo>
                  <a:cubicBezTo>
                    <a:pt x="9" y="326"/>
                    <a:pt x="10" y="325"/>
                    <a:pt x="10" y="326"/>
                  </a:cubicBezTo>
                  <a:cubicBezTo>
                    <a:pt x="12" y="328"/>
                    <a:pt x="13" y="328"/>
                    <a:pt x="15" y="329"/>
                  </a:cubicBezTo>
                  <a:cubicBezTo>
                    <a:pt x="17" y="329"/>
                    <a:pt x="15" y="329"/>
                    <a:pt x="17" y="331"/>
                  </a:cubicBezTo>
                  <a:cubicBezTo>
                    <a:pt x="17" y="332"/>
                    <a:pt x="17" y="329"/>
                    <a:pt x="18" y="331"/>
                  </a:cubicBezTo>
                  <a:cubicBezTo>
                    <a:pt x="20" y="331"/>
                    <a:pt x="18" y="332"/>
                    <a:pt x="20" y="331"/>
                  </a:cubicBezTo>
                  <a:cubicBezTo>
                    <a:pt x="23" y="331"/>
                    <a:pt x="27" y="331"/>
                    <a:pt x="29" y="329"/>
                  </a:cubicBezTo>
                  <a:cubicBezTo>
                    <a:pt x="30" y="329"/>
                    <a:pt x="32" y="328"/>
                    <a:pt x="33" y="325"/>
                  </a:cubicBezTo>
                  <a:cubicBezTo>
                    <a:pt x="35" y="323"/>
                    <a:pt x="36" y="325"/>
                    <a:pt x="36" y="323"/>
                  </a:cubicBezTo>
                  <a:cubicBezTo>
                    <a:pt x="36" y="321"/>
                    <a:pt x="39" y="323"/>
                    <a:pt x="38" y="321"/>
                  </a:cubicBezTo>
                  <a:cubicBezTo>
                    <a:pt x="36" y="320"/>
                    <a:pt x="41" y="321"/>
                    <a:pt x="39" y="318"/>
                  </a:cubicBezTo>
                  <a:cubicBezTo>
                    <a:pt x="39" y="317"/>
                    <a:pt x="41" y="320"/>
                    <a:pt x="42" y="318"/>
                  </a:cubicBezTo>
                  <a:cubicBezTo>
                    <a:pt x="44" y="318"/>
                    <a:pt x="45" y="320"/>
                    <a:pt x="45" y="317"/>
                  </a:cubicBezTo>
                  <a:cubicBezTo>
                    <a:pt x="45" y="314"/>
                    <a:pt x="49" y="315"/>
                    <a:pt x="45" y="314"/>
                  </a:cubicBezTo>
                  <a:cubicBezTo>
                    <a:pt x="45" y="312"/>
                    <a:pt x="44" y="311"/>
                    <a:pt x="47" y="312"/>
                  </a:cubicBezTo>
                  <a:cubicBezTo>
                    <a:pt x="49" y="314"/>
                    <a:pt x="47" y="309"/>
                    <a:pt x="49" y="311"/>
                  </a:cubicBezTo>
                  <a:cubicBezTo>
                    <a:pt x="49" y="314"/>
                    <a:pt x="47" y="312"/>
                    <a:pt x="49" y="314"/>
                  </a:cubicBezTo>
                  <a:cubicBezTo>
                    <a:pt x="49" y="315"/>
                    <a:pt x="47" y="317"/>
                    <a:pt x="50" y="317"/>
                  </a:cubicBezTo>
                  <a:cubicBezTo>
                    <a:pt x="52" y="317"/>
                    <a:pt x="50" y="317"/>
                    <a:pt x="53" y="317"/>
                  </a:cubicBezTo>
                  <a:cubicBezTo>
                    <a:pt x="53" y="317"/>
                    <a:pt x="53" y="318"/>
                    <a:pt x="55" y="320"/>
                  </a:cubicBezTo>
                  <a:cubicBezTo>
                    <a:pt x="55" y="321"/>
                    <a:pt x="58" y="318"/>
                    <a:pt x="56" y="314"/>
                  </a:cubicBezTo>
                  <a:cubicBezTo>
                    <a:pt x="55" y="311"/>
                    <a:pt x="58" y="311"/>
                    <a:pt x="58" y="309"/>
                  </a:cubicBezTo>
                  <a:cubicBezTo>
                    <a:pt x="56" y="306"/>
                    <a:pt x="59" y="309"/>
                    <a:pt x="61" y="306"/>
                  </a:cubicBezTo>
                  <a:cubicBezTo>
                    <a:pt x="64" y="303"/>
                    <a:pt x="61" y="303"/>
                    <a:pt x="62" y="301"/>
                  </a:cubicBezTo>
                  <a:cubicBezTo>
                    <a:pt x="65" y="300"/>
                    <a:pt x="59" y="294"/>
                    <a:pt x="61" y="292"/>
                  </a:cubicBezTo>
                  <a:cubicBezTo>
                    <a:pt x="61" y="290"/>
                    <a:pt x="64" y="294"/>
                    <a:pt x="64" y="290"/>
                  </a:cubicBezTo>
                  <a:cubicBezTo>
                    <a:pt x="65" y="289"/>
                    <a:pt x="67" y="287"/>
                    <a:pt x="62" y="286"/>
                  </a:cubicBezTo>
                  <a:cubicBezTo>
                    <a:pt x="56" y="283"/>
                    <a:pt x="62" y="278"/>
                    <a:pt x="61" y="273"/>
                  </a:cubicBezTo>
                  <a:cubicBezTo>
                    <a:pt x="58" y="270"/>
                    <a:pt x="61" y="270"/>
                    <a:pt x="59" y="269"/>
                  </a:cubicBezTo>
                  <a:cubicBezTo>
                    <a:pt x="58" y="267"/>
                    <a:pt x="61" y="267"/>
                    <a:pt x="59" y="264"/>
                  </a:cubicBezTo>
                  <a:cubicBezTo>
                    <a:pt x="56" y="261"/>
                    <a:pt x="61" y="261"/>
                    <a:pt x="59" y="259"/>
                  </a:cubicBezTo>
                  <a:cubicBezTo>
                    <a:pt x="59" y="256"/>
                    <a:pt x="65" y="253"/>
                    <a:pt x="67" y="252"/>
                  </a:cubicBezTo>
                  <a:cubicBezTo>
                    <a:pt x="70" y="250"/>
                    <a:pt x="74" y="255"/>
                    <a:pt x="76" y="249"/>
                  </a:cubicBezTo>
                  <a:cubicBezTo>
                    <a:pt x="77" y="245"/>
                    <a:pt x="74" y="247"/>
                    <a:pt x="73" y="245"/>
                  </a:cubicBezTo>
                  <a:cubicBezTo>
                    <a:pt x="70" y="244"/>
                    <a:pt x="77" y="239"/>
                    <a:pt x="77" y="238"/>
                  </a:cubicBezTo>
                  <a:cubicBezTo>
                    <a:pt x="77" y="235"/>
                    <a:pt x="79" y="236"/>
                    <a:pt x="79" y="233"/>
                  </a:cubicBezTo>
                  <a:cubicBezTo>
                    <a:pt x="77" y="228"/>
                    <a:pt x="80" y="230"/>
                    <a:pt x="77" y="224"/>
                  </a:cubicBezTo>
                  <a:cubicBezTo>
                    <a:pt x="77" y="222"/>
                    <a:pt x="88" y="224"/>
                    <a:pt x="85" y="221"/>
                  </a:cubicBezTo>
                  <a:cubicBezTo>
                    <a:pt x="84" y="217"/>
                    <a:pt x="87" y="219"/>
                    <a:pt x="88" y="214"/>
                  </a:cubicBezTo>
                  <a:cubicBezTo>
                    <a:pt x="91" y="211"/>
                    <a:pt x="93" y="213"/>
                    <a:pt x="93" y="210"/>
                  </a:cubicBezTo>
                  <a:cubicBezTo>
                    <a:pt x="94" y="208"/>
                    <a:pt x="91" y="207"/>
                    <a:pt x="91" y="205"/>
                  </a:cubicBezTo>
                  <a:cubicBezTo>
                    <a:pt x="91" y="203"/>
                    <a:pt x="93" y="205"/>
                    <a:pt x="96" y="200"/>
                  </a:cubicBezTo>
                  <a:cubicBezTo>
                    <a:pt x="96" y="197"/>
                    <a:pt x="99" y="197"/>
                    <a:pt x="100" y="196"/>
                  </a:cubicBezTo>
                  <a:cubicBezTo>
                    <a:pt x="102" y="196"/>
                    <a:pt x="103" y="199"/>
                    <a:pt x="106" y="197"/>
                  </a:cubicBezTo>
                  <a:cubicBezTo>
                    <a:pt x="109" y="196"/>
                    <a:pt x="105" y="191"/>
                    <a:pt x="106" y="190"/>
                  </a:cubicBezTo>
                  <a:cubicBezTo>
                    <a:pt x="111" y="186"/>
                    <a:pt x="119" y="194"/>
                    <a:pt x="123" y="191"/>
                  </a:cubicBezTo>
                  <a:cubicBezTo>
                    <a:pt x="126" y="190"/>
                    <a:pt x="119" y="191"/>
                    <a:pt x="123" y="188"/>
                  </a:cubicBezTo>
                  <a:cubicBezTo>
                    <a:pt x="128" y="183"/>
                    <a:pt x="119" y="182"/>
                    <a:pt x="128" y="182"/>
                  </a:cubicBezTo>
                  <a:cubicBezTo>
                    <a:pt x="128" y="180"/>
                    <a:pt x="131" y="183"/>
                    <a:pt x="131" y="182"/>
                  </a:cubicBezTo>
                  <a:cubicBezTo>
                    <a:pt x="131" y="182"/>
                    <a:pt x="129" y="180"/>
                    <a:pt x="131" y="179"/>
                  </a:cubicBezTo>
                  <a:cubicBezTo>
                    <a:pt x="134" y="177"/>
                    <a:pt x="137" y="180"/>
                    <a:pt x="140" y="183"/>
                  </a:cubicBezTo>
                  <a:cubicBezTo>
                    <a:pt x="143" y="186"/>
                    <a:pt x="138" y="186"/>
                    <a:pt x="143" y="186"/>
                  </a:cubicBezTo>
                  <a:cubicBezTo>
                    <a:pt x="149" y="186"/>
                    <a:pt x="146" y="188"/>
                    <a:pt x="149" y="188"/>
                  </a:cubicBezTo>
                  <a:cubicBezTo>
                    <a:pt x="154" y="186"/>
                    <a:pt x="152" y="185"/>
                    <a:pt x="154" y="185"/>
                  </a:cubicBezTo>
                  <a:cubicBezTo>
                    <a:pt x="155" y="186"/>
                    <a:pt x="158" y="186"/>
                    <a:pt x="161" y="190"/>
                  </a:cubicBezTo>
                  <a:cubicBezTo>
                    <a:pt x="161" y="188"/>
                    <a:pt x="163" y="190"/>
                    <a:pt x="163" y="186"/>
                  </a:cubicBezTo>
                  <a:cubicBezTo>
                    <a:pt x="164" y="183"/>
                    <a:pt x="170" y="185"/>
                    <a:pt x="167" y="182"/>
                  </a:cubicBezTo>
                  <a:cubicBezTo>
                    <a:pt x="166" y="179"/>
                    <a:pt x="169" y="179"/>
                    <a:pt x="169" y="176"/>
                  </a:cubicBezTo>
                  <a:cubicBezTo>
                    <a:pt x="169" y="174"/>
                    <a:pt x="170" y="171"/>
                    <a:pt x="173" y="169"/>
                  </a:cubicBezTo>
                  <a:cubicBezTo>
                    <a:pt x="177" y="168"/>
                    <a:pt x="175" y="171"/>
                    <a:pt x="181" y="168"/>
                  </a:cubicBezTo>
                  <a:cubicBezTo>
                    <a:pt x="184" y="166"/>
                    <a:pt x="184" y="166"/>
                    <a:pt x="186" y="169"/>
                  </a:cubicBezTo>
                  <a:cubicBezTo>
                    <a:pt x="187" y="171"/>
                    <a:pt x="195" y="172"/>
                    <a:pt x="196" y="176"/>
                  </a:cubicBezTo>
                  <a:cubicBezTo>
                    <a:pt x="196" y="177"/>
                    <a:pt x="189" y="180"/>
                    <a:pt x="193" y="182"/>
                  </a:cubicBezTo>
                  <a:cubicBezTo>
                    <a:pt x="195" y="183"/>
                    <a:pt x="195" y="182"/>
                    <a:pt x="196" y="179"/>
                  </a:cubicBezTo>
                  <a:close/>
                  <a:moveTo>
                    <a:pt x="154" y="157"/>
                  </a:moveTo>
                  <a:cubicBezTo>
                    <a:pt x="157" y="159"/>
                    <a:pt x="155" y="160"/>
                    <a:pt x="154" y="160"/>
                  </a:cubicBezTo>
                  <a:cubicBezTo>
                    <a:pt x="152" y="162"/>
                    <a:pt x="151" y="157"/>
                    <a:pt x="154" y="157"/>
                  </a:cubicBezTo>
                  <a:close/>
                  <a:moveTo>
                    <a:pt x="149" y="163"/>
                  </a:moveTo>
                  <a:cubicBezTo>
                    <a:pt x="151" y="162"/>
                    <a:pt x="154" y="160"/>
                    <a:pt x="151" y="159"/>
                  </a:cubicBezTo>
                  <a:cubicBezTo>
                    <a:pt x="149" y="159"/>
                    <a:pt x="151" y="160"/>
                    <a:pt x="149" y="160"/>
                  </a:cubicBezTo>
                  <a:cubicBezTo>
                    <a:pt x="146" y="162"/>
                    <a:pt x="144" y="162"/>
                    <a:pt x="148" y="163"/>
                  </a:cubicBezTo>
                  <a:cubicBezTo>
                    <a:pt x="148" y="163"/>
                    <a:pt x="149" y="165"/>
                    <a:pt x="149" y="163"/>
                  </a:cubicBezTo>
                  <a:close/>
                  <a:moveTo>
                    <a:pt x="141" y="163"/>
                  </a:moveTo>
                  <a:cubicBezTo>
                    <a:pt x="144" y="162"/>
                    <a:pt x="146" y="163"/>
                    <a:pt x="146" y="163"/>
                  </a:cubicBezTo>
                  <a:cubicBezTo>
                    <a:pt x="148" y="165"/>
                    <a:pt x="140" y="165"/>
                    <a:pt x="141" y="163"/>
                  </a:cubicBezTo>
                  <a:close/>
                  <a:moveTo>
                    <a:pt x="144" y="160"/>
                  </a:moveTo>
                  <a:cubicBezTo>
                    <a:pt x="146" y="160"/>
                    <a:pt x="146" y="160"/>
                    <a:pt x="149" y="159"/>
                  </a:cubicBezTo>
                  <a:cubicBezTo>
                    <a:pt x="152" y="155"/>
                    <a:pt x="151" y="155"/>
                    <a:pt x="148" y="155"/>
                  </a:cubicBezTo>
                  <a:cubicBezTo>
                    <a:pt x="146" y="157"/>
                    <a:pt x="149" y="157"/>
                    <a:pt x="148" y="157"/>
                  </a:cubicBezTo>
                  <a:cubicBezTo>
                    <a:pt x="146" y="159"/>
                    <a:pt x="144" y="157"/>
                    <a:pt x="144" y="159"/>
                  </a:cubicBezTo>
                  <a:cubicBezTo>
                    <a:pt x="144" y="160"/>
                    <a:pt x="144" y="157"/>
                    <a:pt x="143" y="159"/>
                  </a:cubicBezTo>
                  <a:cubicBezTo>
                    <a:pt x="140" y="159"/>
                    <a:pt x="137" y="160"/>
                    <a:pt x="140" y="160"/>
                  </a:cubicBezTo>
                  <a:cubicBezTo>
                    <a:pt x="141" y="160"/>
                    <a:pt x="138" y="162"/>
                    <a:pt x="141" y="162"/>
                  </a:cubicBezTo>
                  <a:cubicBezTo>
                    <a:pt x="143" y="160"/>
                    <a:pt x="143" y="160"/>
                    <a:pt x="144" y="160"/>
                  </a:cubicBezTo>
                  <a:close/>
                  <a:moveTo>
                    <a:pt x="128" y="168"/>
                  </a:moveTo>
                  <a:cubicBezTo>
                    <a:pt x="129" y="168"/>
                    <a:pt x="129" y="168"/>
                    <a:pt x="129" y="166"/>
                  </a:cubicBezTo>
                  <a:cubicBezTo>
                    <a:pt x="129" y="165"/>
                    <a:pt x="129" y="163"/>
                    <a:pt x="126" y="165"/>
                  </a:cubicBezTo>
                  <a:cubicBezTo>
                    <a:pt x="125" y="166"/>
                    <a:pt x="125" y="166"/>
                    <a:pt x="128" y="168"/>
                  </a:cubicBezTo>
                  <a:close/>
                  <a:moveTo>
                    <a:pt x="122" y="165"/>
                  </a:moveTo>
                  <a:cubicBezTo>
                    <a:pt x="120" y="165"/>
                    <a:pt x="120" y="163"/>
                    <a:pt x="120" y="165"/>
                  </a:cubicBezTo>
                  <a:cubicBezTo>
                    <a:pt x="119" y="166"/>
                    <a:pt x="122" y="168"/>
                    <a:pt x="123" y="166"/>
                  </a:cubicBezTo>
                  <a:cubicBezTo>
                    <a:pt x="125" y="166"/>
                    <a:pt x="123" y="166"/>
                    <a:pt x="122" y="165"/>
                  </a:cubicBezTo>
                  <a:close/>
                  <a:moveTo>
                    <a:pt x="154" y="154"/>
                  </a:moveTo>
                  <a:cubicBezTo>
                    <a:pt x="155" y="154"/>
                    <a:pt x="155" y="154"/>
                    <a:pt x="155" y="154"/>
                  </a:cubicBezTo>
                  <a:cubicBezTo>
                    <a:pt x="157" y="155"/>
                    <a:pt x="155" y="155"/>
                    <a:pt x="154" y="154"/>
                  </a:cubicBezTo>
                  <a:close/>
                  <a:moveTo>
                    <a:pt x="128" y="169"/>
                  </a:moveTo>
                  <a:cubicBezTo>
                    <a:pt x="129" y="169"/>
                    <a:pt x="128" y="171"/>
                    <a:pt x="128" y="171"/>
                  </a:cubicBezTo>
                  <a:cubicBezTo>
                    <a:pt x="126" y="171"/>
                    <a:pt x="128" y="168"/>
                    <a:pt x="128" y="169"/>
                  </a:cubicBezTo>
                  <a:close/>
                  <a:moveTo>
                    <a:pt x="129" y="168"/>
                  </a:moveTo>
                  <a:cubicBezTo>
                    <a:pt x="129" y="166"/>
                    <a:pt x="132" y="168"/>
                    <a:pt x="131" y="169"/>
                  </a:cubicBezTo>
                  <a:cubicBezTo>
                    <a:pt x="129" y="169"/>
                    <a:pt x="129" y="169"/>
                    <a:pt x="129" y="168"/>
                  </a:cubicBezTo>
                  <a:close/>
                  <a:moveTo>
                    <a:pt x="119" y="169"/>
                  </a:moveTo>
                  <a:cubicBezTo>
                    <a:pt x="120" y="168"/>
                    <a:pt x="122" y="168"/>
                    <a:pt x="122" y="168"/>
                  </a:cubicBezTo>
                  <a:cubicBezTo>
                    <a:pt x="122" y="169"/>
                    <a:pt x="119" y="171"/>
                    <a:pt x="119" y="169"/>
                  </a:cubicBezTo>
                  <a:close/>
                  <a:moveTo>
                    <a:pt x="119" y="169"/>
                  </a:moveTo>
                  <a:cubicBezTo>
                    <a:pt x="120" y="168"/>
                    <a:pt x="120" y="168"/>
                    <a:pt x="120" y="168"/>
                  </a:cubicBezTo>
                  <a:cubicBezTo>
                    <a:pt x="119" y="168"/>
                    <a:pt x="119" y="168"/>
                    <a:pt x="117" y="168"/>
                  </a:cubicBezTo>
                  <a:cubicBezTo>
                    <a:pt x="116" y="166"/>
                    <a:pt x="116" y="168"/>
                    <a:pt x="116" y="168"/>
                  </a:cubicBezTo>
                  <a:cubicBezTo>
                    <a:pt x="114" y="168"/>
                    <a:pt x="114" y="168"/>
                    <a:pt x="112" y="169"/>
                  </a:cubicBezTo>
                  <a:cubicBezTo>
                    <a:pt x="112" y="169"/>
                    <a:pt x="114" y="169"/>
                    <a:pt x="116" y="171"/>
                  </a:cubicBezTo>
                  <a:cubicBezTo>
                    <a:pt x="117" y="171"/>
                    <a:pt x="117" y="171"/>
                    <a:pt x="119" y="169"/>
                  </a:cubicBezTo>
                  <a:close/>
                  <a:moveTo>
                    <a:pt x="116" y="166"/>
                  </a:moveTo>
                  <a:cubicBezTo>
                    <a:pt x="114" y="166"/>
                    <a:pt x="116" y="165"/>
                    <a:pt x="117" y="165"/>
                  </a:cubicBezTo>
                  <a:cubicBezTo>
                    <a:pt x="117" y="165"/>
                    <a:pt x="117" y="166"/>
                    <a:pt x="116" y="166"/>
                  </a:cubicBezTo>
                  <a:close/>
                  <a:moveTo>
                    <a:pt x="114" y="166"/>
                  </a:moveTo>
                  <a:cubicBezTo>
                    <a:pt x="114" y="166"/>
                    <a:pt x="114" y="166"/>
                    <a:pt x="112" y="166"/>
                  </a:cubicBezTo>
                  <a:cubicBezTo>
                    <a:pt x="112" y="166"/>
                    <a:pt x="112" y="166"/>
                    <a:pt x="112" y="168"/>
                  </a:cubicBezTo>
                  <a:cubicBezTo>
                    <a:pt x="112" y="169"/>
                    <a:pt x="114" y="166"/>
                    <a:pt x="114" y="166"/>
                  </a:cubicBezTo>
                  <a:close/>
                  <a:moveTo>
                    <a:pt x="112" y="174"/>
                  </a:moveTo>
                  <a:cubicBezTo>
                    <a:pt x="112" y="172"/>
                    <a:pt x="117" y="172"/>
                    <a:pt x="114" y="171"/>
                  </a:cubicBezTo>
                  <a:cubicBezTo>
                    <a:pt x="111" y="169"/>
                    <a:pt x="112" y="171"/>
                    <a:pt x="112" y="171"/>
                  </a:cubicBezTo>
                  <a:cubicBezTo>
                    <a:pt x="111" y="171"/>
                    <a:pt x="111" y="172"/>
                    <a:pt x="111" y="171"/>
                  </a:cubicBezTo>
                  <a:cubicBezTo>
                    <a:pt x="109" y="171"/>
                    <a:pt x="109" y="171"/>
                    <a:pt x="109" y="172"/>
                  </a:cubicBezTo>
                  <a:cubicBezTo>
                    <a:pt x="108" y="174"/>
                    <a:pt x="108" y="172"/>
                    <a:pt x="106" y="174"/>
                  </a:cubicBezTo>
                  <a:cubicBezTo>
                    <a:pt x="106" y="174"/>
                    <a:pt x="106" y="174"/>
                    <a:pt x="111" y="174"/>
                  </a:cubicBezTo>
                  <a:cubicBezTo>
                    <a:pt x="112" y="174"/>
                    <a:pt x="112" y="174"/>
                    <a:pt x="112" y="174"/>
                  </a:cubicBezTo>
                  <a:close/>
                  <a:moveTo>
                    <a:pt x="106" y="179"/>
                  </a:moveTo>
                  <a:cubicBezTo>
                    <a:pt x="105" y="177"/>
                    <a:pt x="106" y="177"/>
                    <a:pt x="106" y="177"/>
                  </a:cubicBezTo>
                  <a:cubicBezTo>
                    <a:pt x="106" y="176"/>
                    <a:pt x="108" y="174"/>
                    <a:pt x="106" y="176"/>
                  </a:cubicBezTo>
                  <a:cubicBezTo>
                    <a:pt x="106" y="176"/>
                    <a:pt x="106" y="174"/>
                    <a:pt x="105" y="174"/>
                  </a:cubicBezTo>
                  <a:cubicBezTo>
                    <a:pt x="105" y="176"/>
                    <a:pt x="105" y="172"/>
                    <a:pt x="103" y="174"/>
                  </a:cubicBezTo>
                  <a:cubicBezTo>
                    <a:pt x="103" y="176"/>
                    <a:pt x="102" y="174"/>
                    <a:pt x="102" y="174"/>
                  </a:cubicBezTo>
                  <a:cubicBezTo>
                    <a:pt x="102" y="176"/>
                    <a:pt x="102" y="174"/>
                    <a:pt x="100" y="176"/>
                  </a:cubicBezTo>
                  <a:cubicBezTo>
                    <a:pt x="99" y="176"/>
                    <a:pt x="102" y="176"/>
                    <a:pt x="102" y="177"/>
                  </a:cubicBezTo>
                  <a:cubicBezTo>
                    <a:pt x="102" y="177"/>
                    <a:pt x="97" y="177"/>
                    <a:pt x="99" y="177"/>
                  </a:cubicBezTo>
                  <a:cubicBezTo>
                    <a:pt x="100" y="179"/>
                    <a:pt x="97" y="177"/>
                    <a:pt x="99" y="179"/>
                  </a:cubicBezTo>
                  <a:cubicBezTo>
                    <a:pt x="99" y="179"/>
                    <a:pt x="97" y="179"/>
                    <a:pt x="99" y="180"/>
                  </a:cubicBezTo>
                  <a:cubicBezTo>
                    <a:pt x="99" y="180"/>
                    <a:pt x="96" y="182"/>
                    <a:pt x="99" y="182"/>
                  </a:cubicBezTo>
                  <a:cubicBezTo>
                    <a:pt x="100" y="182"/>
                    <a:pt x="99" y="183"/>
                    <a:pt x="100" y="182"/>
                  </a:cubicBezTo>
                  <a:cubicBezTo>
                    <a:pt x="102" y="182"/>
                    <a:pt x="102" y="180"/>
                    <a:pt x="102" y="180"/>
                  </a:cubicBezTo>
                  <a:cubicBezTo>
                    <a:pt x="103" y="180"/>
                    <a:pt x="102" y="182"/>
                    <a:pt x="105" y="180"/>
                  </a:cubicBezTo>
                  <a:cubicBezTo>
                    <a:pt x="106" y="180"/>
                    <a:pt x="106" y="180"/>
                    <a:pt x="106" y="179"/>
                  </a:cubicBezTo>
                  <a:close/>
                  <a:moveTo>
                    <a:pt x="100" y="185"/>
                  </a:moveTo>
                  <a:cubicBezTo>
                    <a:pt x="99" y="183"/>
                    <a:pt x="100" y="183"/>
                    <a:pt x="102" y="183"/>
                  </a:cubicBezTo>
                  <a:cubicBezTo>
                    <a:pt x="102" y="185"/>
                    <a:pt x="100" y="185"/>
                    <a:pt x="100" y="185"/>
                  </a:cubicBezTo>
                  <a:close/>
                  <a:moveTo>
                    <a:pt x="97" y="186"/>
                  </a:moveTo>
                  <a:cubicBezTo>
                    <a:pt x="97" y="185"/>
                    <a:pt x="100" y="186"/>
                    <a:pt x="99" y="186"/>
                  </a:cubicBezTo>
                  <a:cubicBezTo>
                    <a:pt x="97" y="186"/>
                    <a:pt x="96" y="186"/>
                    <a:pt x="97" y="186"/>
                  </a:cubicBezTo>
                  <a:close/>
                  <a:moveTo>
                    <a:pt x="82" y="199"/>
                  </a:moveTo>
                  <a:cubicBezTo>
                    <a:pt x="82" y="199"/>
                    <a:pt x="82" y="197"/>
                    <a:pt x="84" y="197"/>
                  </a:cubicBezTo>
                  <a:cubicBezTo>
                    <a:pt x="84" y="197"/>
                    <a:pt x="84" y="197"/>
                    <a:pt x="82" y="199"/>
                  </a:cubicBezTo>
                  <a:close/>
                  <a:moveTo>
                    <a:pt x="82" y="193"/>
                  </a:moveTo>
                  <a:cubicBezTo>
                    <a:pt x="84" y="191"/>
                    <a:pt x="82" y="191"/>
                    <a:pt x="82" y="191"/>
                  </a:cubicBezTo>
                  <a:cubicBezTo>
                    <a:pt x="82" y="191"/>
                    <a:pt x="80" y="191"/>
                    <a:pt x="79" y="191"/>
                  </a:cubicBezTo>
                  <a:cubicBezTo>
                    <a:pt x="77" y="191"/>
                    <a:pt x="79" y="193"/>
                    <a:pt x="77" y="193"/>
                  </a:cubicBezTo>
                  <a:cubicBezTo>
                    <a:pt x="76" y="193"/>
                    <a:pt x="77" y="193"/>
                    <a:pt x="76" y="194"/>
                  </a:cubicBezTo>
                  <a:cubicBezTo>
                    <a:pt x="76" y="194"/>
                    <a:pt x="76" y="196"/>
                    <a:pt x="79" y="194"/>
                  </a:cubicBezTo>
                  <a:cubicBezTo>
                    <a:pt x="79" y="194"/>
                    <a:pt x="80" y="194"/>
                    <a:pt x="82" y="193"/>
                  </a:cubicBezTo>
                  <a:close/>
                  <a:moveTo>
                    <a:pt x="85" y="188"/>
                  </a:moveTo>
                  <a:cubicBezTo>
                    <a:pt x="87" y="188"/>
                    <a:pt x="84" y="186"/>
                    <a:pt x="85" y="186"/>
                  </a:cubicBezTo>
                  <a:cubicBezTo>
                    <a:pt x="87" y="185"/>
                    <a:pt x="84" y="182"/>
                    <a:pt x="84" y="183"/>
                  </a:cubicBezTo>
                  <a:cubicBezTo>
                    <a:pt x="82" y="183"/>
                    <a:pt x="84" y="185"/>
                    <a:pt x="82" y="185"/>
                  </a:cubicBezTo>
                  <a:cubicBezTo>
                    <a:pt x="80" y="185"/>
                    <a:pt x="82" y="186"/>
                    <a:pt x="80" y="186"/>
                  </a:cubicBezTo>
                  <a:cubicBezTo>
                    <a:pt x="79" y="186"/>
                    <a:pt x="80" y="185"/>
                    <a:pt x="79" y="185"/>
                  </a:cubicBezTo>
                  <a:cubicBezTo>
                    <a:pt x="79" y="186"/>
                    <a:pt x="77" y="185"/>
                    <a:pt x="77" y="186"/>
                  </a:cubicBezTo>
                  <a:cubicBezTo>
                    <a:pt x="77" y="186"/>
                    <a:pt x="76" y="188"/>
                    <a:pt x="77" y="188"/>
                  </a:cubicBezTo>
                  <a:cubicBezTo>
                    <a:pt x="79" y="190"/>
                    <a:pt x="79" y="188"/>
                    <a:pt x="82" y="186"/>
                  </a:cubicBezTo>
                  <a:cubicBezTo>
                    <a:pt x="85" y="186"/>
                    <a:pt x="79" y="188"/>
                    <a:pt x="80" y="190"/>
                  </a:cubicBezTo>
                  <a:cubicBezTo>
                    <a:pt x="82" y="190"/>
                    <a:pt x="84" y="188"/>
                    <a:pt x="85" y="188"/>
                  </a:cubicBezTo>
                  <a:close/>
                  <a:moveTo>
                    <a:pt x="87" y="185"/>
                  </a:moveTo>
                  <a:cubicBezTo>
                    <a:pt x="87" y="185"/>
                    <a:pt x="87" y="183"/>
                    <a:pt x="88" y="183"/>
                  </a:cubicBezTo>
                  <a:cubicBezTo>
                    <a:pt x="90" y="183"/>
                    <a:pt x="90" y="182"/>
                    <a:pt x="91" y="180"/>
                  </a:cubicBezTo>
                  <a:cubicBezTo>
                    <a:pt x="91" y="179"/>
                    <a:pt x="91" y="177"/>
                    <a:pt x="90" y="179"/>
                  </a:cubicBezTo>
                  <a:cubicBezTo>
                    <a:pt x="88" y="180"/>
                    <a:pt x="87" y="180"/>
                    <a:pt x="87" y="183"/>
                  </a:cubicBezTo>
                  <a:cubicBezTo>
                    <a:pt x="85" y="183"/>
                    <a:pt x="85" y="183"/>
                    <a:pt x="87" y="185"/>
                  </a:cubicBezTo>
                  <a:close/>
                  <a:moveTo>
                    <a:pt x="93" y="183"/>
                  </a:moveTo>
                  <a:cubicBezTo>
                    <a:pt x="96" y="183"/>
                    <a:pt x="96" y="183"/>
                    <a:pt x="96" y="183"/>
                  </a:cubicBezTo>
                  <a:cubicBezTo>
                    <a:pt x="94" y="185"/>
                    <a:pt x="93" y="183"/>
                    <a:pt x="93" y="183"/>
                  </a:cubicBezTo>
                  <a:close/>
                  <a:moveTo>
                    <a:pt x="91" y="185"/>
                  </a:moveTo>
                  <a:cubicBezTo>
                    <a:pt x="91" y="185"/>
                    <a:pt x="93" y="186"/>
                    <a:pt x="90" y="188"/>
                  </a:cubicBezTo>
                  <a:cubicBezTo>
                    <a:pt x="88" y="190"/>
                    <a:pt x="91" y="186"/>
                    <a:pt x="90" y="186"/>
                  </a:cubicBezTo>
                  <a:cubicBezTo>
                    <a:pt x="88" y="186"/>
                    <a:pt x="91" y="185"/>
                    <a:pt x="90" y="183"/>
                  </a:cubicBezTo>
                  <a:cubicBezTo>
                    <a:pt x="88" y="183"/>
                    <a:pt x="87" y="185"/>
                    <a:pt x="87" y="186"/>
                  </a:cubicBezTo>
                  <a:cubicBezTo>
                    <a:pt x="85" y="188"/>
                    <a:pt x="88" y="190"/>
                    <a:pt x="85" y="190"/>
                  </a:cubicBezTo>
                  <a:cubicBezTo>
                    <a:pt x="84" y="190"/>
                    <a:pt x="85" y="190"/>
                    <a:pt x="84" y="193"/>
                  </a:cubicBezTo>
                  <a:cubicBezTo>
                    <a:pt x="82" y="194"/>
                    <a:pt x="85" y="191"/>
                    <a:pt x="87" y="193"/>
                  </a:cubicBezTo>
                  <a:cubicBezTo>
                    <a:pt x="88" y="194"/>
                    <a:pt x="88" y="191"/>
                    <a:pt x="88" y="191"/>
                  </a:cubicBezTo>
                  <a:cubicBezTo>
                    <a:pt x="90" y="193"/>
                    <a:pt x="90" y="193"/>
                    <a:pt x="90" y="191"/>
                  </a:cubicBezTo>
                  <a:cubicBezTo>
                    <a:pt x="91" y="190"/>
                    <a:pt x="91" y="190"/>
                    <a:pt x="93" y="190"/>
                  </a:cubicBezTo>
                  <a:cubicBezTo>
                    <a:pt x="96" y="188"/>
                    <a:pt x="94" y="185"/>
                    <a:pt x="93" y="185"/>
                  </a:cubicBezTo>
                  <a:cubicBezTo>
                    <a:pt x="93" y="183"/>
                    <a:pt x="93" y="183"/>
                    <a:pt x="91" y="185"/>
                  </a:cubicBezTo>
                  <a:close/>
                  <a:moveTo>
                    <a:pt x="91" y="191"/>
                  </a:moveTo>
                  <a:cubicBezTo>
                    <a:pt x="93" y="190"/>
                    <a:pt x="94" y="190"/>
                    <a:pt x="94" y="190"/>
                  </a:cubicBezTo>
                  <a:cubicBezTo>
                    <a:pt x="93" y="191"/>
                    <a:pt x="91" y="193"/>
                    <a:pt x="91" y="191"/>
                  </a:cubicBezTo>
                  <a:close/>
                  <a:moveTo>
                    <a:pt x="117" y="166"/>
                  </a:moveTo>
                  <a:cubicBezTo>
                    <a:pt x="119" y="165"/>
                    <a:pt x="120" y="166"/>
                    <a:pt x="120" y="166"/>
                  </a:cubicBezTo>
                  <a:cubicBezTo>
                    <a:pt x="119" y="166"/>
                    <a:pt x="117" y="166"/>
                    <a:pt x="117" y="166"/>
                  </a:cubicBezTo>
                  <a:close/>
                  <a:moveTo>
                    <a:pt x="74" y="193"/>
                  </a:moveTo>
                  <a:cubicBezTo>
                    <a:pt x="76" y="193"/>
                    <a:pt x="76" y="193"/>
                    <a:pt x="76" y="193"/>
                  </a:cubicBezTo>
                  <a:cubicBezTo>
                    <a:pt x="76" y="194"/>
                    <a:pt x="74" y="193"/>
                    <a:pt x="74" y="193"/>
                  </a:cubicBezTo>
                  <a:close/>
                  <a:moveTo>
                    <a:pt x="70" y="196"/>
                  </a:moveTo>
                  <a:cubicBezTo>
                    <a:pt x="70" y="196"/>
                    <a:pt x="70" y="197"/>
                    <a:pt x="71" y="196"/>
                  </a:cubicBezTo>
                  <a:cubicBezTo>
                    <a:pt x="71" y="196"/>
                    <a:pt x="71" y="196"/>
                    <a:pt x="73" y="196"/>
                  </a:cubicBezTo>
                  <a:cubicBezTo>
                    <a:pt x="73" y="196"/>
                    <a:pt x="73" y="194"/>
                    <a:pt x="74" y="194"/>
                  </a:cubicBezTo>
                  <a:cubicBezTo>
                    <a:pt x="76" y="194"/>
                    <a:pt x="74" y="194"/>
                    <a:pt x="73" y="193"/>
                  </a:cubicBezTo>
                  <a:cubicBezTo>
                    <a:pt x="71" y="193"/>
                    <a:pt x="71" y="193"/>
                    <a:pt x="70" y="194"/>
                  </a:cubicBezTo>
                  <a:cubicBezTo>
                    <a:pt x="70" y="196"/>
                    <a:pt x="71" y="196"/>
                    <a:pt x="70" y="196"/>
                  </a:cubicBezTo>
                  <a:close/>
                  <a:moveTo>
                    <a:pt x="70" y="196"/>
                  </a:moveTo>
                  <a:cubicBezTo>
                    <a:pt x="71" y="196"/>
                    <a:pt x="68" y="194"/>
                    <a:pt x="68" y="196"/>
                  </a:cubicBezTo>
                  <a:cubicBezTo>
                    <a:pt x="68" y="197"/>
                    <a:pt x="68" y="196"/>
                    <a:pt x="68" y="197"/>
                  </a:cubicBezTo>
                  <a:cubicBezTo>
                    <a:pt x="68" y="197"/>
                    <a:pt x="68" y="197"/>
                    <a:pt x="70" y="196"/>
                  </a:cubicBezTo>
                  <a:close/>
                  <a:moveTo>
                    <a:pt x="65" y="197"/>
                  </a:moveTo>
                  <a:cubicBezTo>
                    <a:pt x="65" y="200"/>
                    <a:pt x="65" y="200"/>
                    <a:pt x="67" y="199"/>
                  </a:cubicBezTo>
                  <a:cubicBezTo>
                    <a:pt x="67" y="197"/>
                    <a:pt x="67" y="197"/>
                    <a:pt x="67" y="196"/>
                  </a:cubicBezTo>
                  <a:cubicBezTo>
                    <a:pt x="67" y="196"/>
                    <a:pt x="67" y="196"/>
                    <a:pt x="65" y="197"/>
                  </a:cubicBezTo>
                  <a:close/>
                  <a:moveTo>
                    <a:pt x="87" y="197"/>
                  </a:moveTo>
                  <a:cubicBezTo>
                    <a:pt x="88" y="197"/>
                    <a:pt x="88" y="197"/>
                    <a:pt x="88" y="197"/>
                  </a:cubicBezTo>
                  <a:cubicBezTo>
                    <a:pt x="90" y="197"/>
                    <a:pt x="87" y="197"/>
                    <a:pt x="87" y="197"/>
                  </a:cubicBezTo>
                  <a:close/>
                  <a:moveTo>
                    <a:pt x="64" y="224"/>
                  </a:moveTo>
                  <a:cubicBezTo>
                    <a:pt x="64" y="222"/>
                    <a:pt x="62" y="222"/>
                    <a:pt x="62" y="222"/>
                  </a:cubicBezTo>
                  <a:cubicBezTo>
                    <a:pt x="62" y="224"/>
                    <a:pt x="61" y="225"/>
                    <a:pt x="62" y="225"/>
                  </a:cubicBezTo>
                  <a:cubicBezTo>
                    <a:pt x="62" y="224"/>
                    <a:pt x="64" y="225"/>
                    <a:pt x="64" y="224"/>
                  </a:cubicBezTo>
                  <a:close/>
                  <a:moveTo>
                    <a:pt x="64" y="227"/>
                  </a:moveTo>
                  <a:cubicBezTo>
                    <a:pt x="65" y="225"/>
                    <a:pt x="65" y="225"/>
                    <a:pt x="64" y="225"/>
                  </a:cubicBezTo>
                  <a:cubicBezTo>
                    <a:pt x="64" y="225"/>
                    <a:pt x="62" y="225"/>
                    <a:pt x="62" y="227"/>
                  </a:cubicBezTo>
                  <a:cubicBezTo>
                    <a:pt x="62" y="227"/>
                    <a:pt x="62" y="227"/>
                    <a:pt x="64" y="227"/>
                  </a:cubicBezTo>
                  <a:close/>
                  <a:moveTo>
                    <a:pt x="59" y="235"/>
                  </a:moveTo>
                  <a:cubicBezTo>
                    <a:pt x="59" y="236"/>
                    <a:pt x="58" y="236"/>
                    <a:pt x="59" y="236"/>
                  </a:cubicBezTo>
                  <a:cubicBezTo>
                    <a:pt x="61" y="236"/>
                    <a:pt x="59" y="235"/>
                    <a:pt x="61" y="235"/>
                  </a:cubicBezTo>
                  <a:cubicBezTo>
                    <a:pt x="62" y="235"/>
                    <a:pt x="62" y="235"/>
                    <a:pt x="62" y="233"/>
                  </a:cubicBezTo>
                  <a:cubicBezTo>
                    <a:pt x="61" y="231"/>
                    <a:pt x="61" y="231"/>
                    <a:pt x="61" y="233"/>
                  </a:cubicBezTo>
                  <a:cubicBezTo>
                    <a:pt x="61" y="233"/>
                    <a:pt x="59" y="233"/>
                    <a:pt x="59" y="235"/>
                  </a:cubicBezTo>
                  <a:close/>
                  <a:moveTo>
                    <a:pt x="56" y="230"/>
                  </a:moveTo>
                  <a:cubicBezTo>
                    <a:pt x="56" y="230"/>
                    <a:pt x="58" y="228"/>
                    <a:pt x="59" y="230"/>
                  </a:cubicBezTo>
                  <a:cubicBezTo>
                    <a:pt x="59" y="230"/>
                    <a:pt x="56" y="231"/>
                    <a:pt x="56" y="230"/>
                  </a:cubicBezTo>
                  <a:close/>
                  <a:moveTo>
                    <a:pt x="59" y="238"/>
                  </a:moveTo>
                  <a:cubicBezTo>
                    <a:pt x="58" y="238"/>
                    <a:pt x="59" y="238"/>
                    <a:pt x="61" y="238"/>
                  </a:cubicBezTo>
                  <a:cubicBezTo>
                    <a:pt x="62" y="236"/>
                    <a:pt x="61" y="236"/>
                    <a:pt x="59" y="236"/>
                  </a:cubicBezTo>
                  <a:cubicBezTo>
                    <a:pt x="59" y="238"/>
                    <a:pt x="59" y="236"/>
                    <a:pt x="59" y="238"/>
                  </a:cubicBezTo>
                  <a:close/>
                  <a:moveTo>
                    <a:pt x="55" y="238"/>
                  </a:moveTo>
                  <a:cubicBezTo>
                    <a:pt x="56" y="238"/>
                    <a:pt x="58" y="238"/>
                    <a:pt x="58" y="238"/>
                  </a:cubicBezTo>
                  <a:cubicBezTo>
                    <a:pt x="56" y="238"/>
                    <a:pt x="55" y="238"/>
                    <a:pt x="55" y="238"/>
                  </a:cubicBezTo>
                  <a:close/>
                  <a:moveTo>
                    <a:pt x="53" y="245"/>
                  </a:moveTo>
                  <a:cubicBezTo>
                    <a:pt x="55" y="245"/>
                    <a:pt x="55" y="245"/>
                    <a:pt x="53" y="245"/>
                  </a:cubicBezTo>
                  <a:cubicBezTo>
                    <a:pt x="53" y="245"/>
                    <a:pt x="53" y="244"/>
                    <a:pt x="52" y="244"/>
                  </a:cubicBezTo>
                  <a:cubicBezTo>
                    <a:pt x="52" y="245"/>
                    <a:pt x="52" y="245"/>
                    <a:pt x="53" y="245"/>
                  </a:cubicBezTo>
                  <a:close/>
                  <a:moveTo>
                    <a:pt x="53" y="244"/>
                  </a:moveTo>
                  <a:cubicBezTo>
                    <a:pt x="53" y="244"/>
                    <a:pt x="55" y="244"/>
                    <a:pt x="53" y="244"/>
                  </a:cubicBezTo>
                  <a:cubicBezTo>
                    <a:pt x="53" y="244"/>
                    <a:pt x="52" y="242"/>
                    <a:pt x="53" y="244"/>
                  </a:cubicBezTo>
                  <a:close/>
                  <a:moveTo>
                    <a:pt x="50" y="244"/>
                  </a:moveTo>
                  <a:cubicBezTo>
                    <a:pt x="52" y="242"/>
                    <a:pt x="52" y="244"/>
                    <a:pt x="52" y="244"/>
                  </a:cubicBezTo>
                  <a:cubicBezTo>
                    <a:pt x="50" y="244"/>
                    <a:pt x="50" y="244"/>
                    <a:pt x="50" y="244"/>
                  </a:cubicBezTo>
                  <a:close/>
                  <a:moveTo>
                    <a:pt x="64" y="222"/>
                  </a:moveTo>
                  <a:cubicBezTo>
                    <a:pt x="65" y="221"/>
                    <a:pt x="65" y="221"/>
                    <a:pt x="65" y="221"/>
                  </a:cubicBezTo>
                  <a:cubicBezTo>
                    <a:pt x="67" y="222"/>
                    <a:pt x="65" y="222"/>
                    <a:pt x="64" y="222"/>
                  </a:cubicBezTo>
                  <a:close/>
                  <a:moveTo>
                    <a:pt x="26" y="261"/>
                  </a:moveTo>
                  <a:cubicBezTo>
                    <a:pt x="24" y="261"/>
                    <a:pt x="29" y="259"/>
                    <a:pt x="29" y="261"/>
                  </a:cubicBezTo>
                  <a:cubicBezTo>
                    <a:pt x="29" y="261"/>
                    <a:pt x="27" y="262"/>
                    <a:pt x="26" y="261"/>
                  </a:cubicBezTo>
                  <a:close/>
                  <a:moveTo>
                    <a:pt x="33" y="256"/>
                  </a:moveTo>
                  <a:cubicBezTo>
                    <a:pt x="35" y="256"/>
                    <a:pt x="33" y="255"/>
                    <a:pt x="33" y="255"/>
                  </a:cubicBezTo>
                  <a:cubicBezTo>
                    <a:pt x="32" y="256"/>
                    <a:pt x="29" y="256"/>
                    <a:pt x="29" y="258"/>
                  </a:cubicBezTo>
                  <a:cubicBezTo>
                    <a:pt x="30" y="258"/>
                    <a:pt x="32" y="258"/>
                    <a:pt x="33" y="256"/>
                  </a:cubicBezTo>
                  <a:close/>
                  <a:moveTo>
                    <a:pt x="32" y="259"/>
                  </a:moveTo>
                  <a:cubicBezTo>
                    <a:pt x="35" y="259"/>
                    <a:pt x="36" y="259"/>
                    <a:pt x="36" y="259"/>
                  </a:cubicBezTo>
                  <a:cubicBezTo>
                    <a:pt x="36" y="258"/>
                    <a:pt x="35" y="259"/>
                    <a:pt x="35" y="258"/>
                  </a:cubicBezTo>
                  <a:cubicBezTo>
                    <a:pt x="35" y="256"/>
                    <a:pt x="32" y="258"/>
                    <a:pt x="32" y="258"/>
                  </a:cubicBezTo>
                  <a:cubicBezTo>
                    <a:pt x="30" y="259"/>
                    <a:pt x="29" y="259"/>
                    <a:pt x="29" y="259"/>
                  </a:cubicBezTo>
                  <a:cubicBezTo>
                    <a:pt x="29" y="261"/>
                    <a:pt x="30" y="261"/>
                    <a:pt x="32" y="259"/>
                  </a:cubicBezTo>
                  <a:close/>
                  <a:moveTo>
                    <a:pt x="27" y="264"/>
                  </a:moveTo>
                  <a:cubicBezTo>
                    <a:pt x="26" y="262"/>
                    <a:pt x="27" y="262"/>
                    <a:pt x="29" y="264"/>
                  </a:cubicBezTo>
                  <a:cubicBezTo>
                    <a:pt x="27" y="264"/>
                    <a:pt x="27" y="264"/>
                    <a:pt x="27" y="264"/>
                  </a:cubicBezTo>
                  <a:close/>
                  <a:moveTo>
                    <a:pt x="24" y="266"/>
                  </a:moveTo>
                  <a:cubicBezTo>
                    <a:pt x="26" y="266"/>
                    <a:pt x="24" y="264"/>
                    <a:pt x="24" y="266"/>
                  </a:cubicBezTo>
                  <a:cubicBezTo>
                    <a:pt x="23" y="266"/>
                    <a:pt x="23" y="264"/>
                    <a:pt x="23" y="266"/>
                  </a:cubicBezTo>
                  <a:cubicBezTo>
                    <a:pt x="21" y="267"/>
                    <a:pt x="24" y="267"/>
                    <a:pt x="24" y="266"/>
                  </a:cubicBezTo>
                  <a:close/>
                  <a:moveTo>
                    <a:pt x="17" y="270"/>
                  </a:moveTo>
                  <a:cubicBezTo>
                    <a:pt x="15" y="270"/>
                    <a:pt x="18" y="269"/>
                    <a:pt x="18" y="270"/>
                  </a:cubicBezTo>
                  <a:cubicBezTo>
                    <a:pt x="17" y="270"/>
                    <a:pt x="17" y="270"/>
                    <a:pt x="17" y="270"/>
                  </a:cubicBezTo>
                  <a:close/>
                  <a:moveTo>
                    <a:pt x="10" y="273"/>
                  </a:moveTo>
                  <a:cubicBezTo>
                    <a:pt x="12" y="275"/>
                    <a:pt x="10" y="276"/>
                    <a:pt x="9" y="276"/>
                  </a:cubicBezTo>
                  <a:cubicBezTo>
                    <a:pt x="9" y="275"/>
                    <a:pt x="10" y="273"/>
                    <a:pt x="10" y="273"/>
                  </a:cubicBezTo>
                  <a:close/>
                  <a:moveTo>
                    <a:pt x="7" y="276"/>
                  </a:moveTo>
                  <a:cubicBezTo>
                    <a:pt x="7" y="275"/>
                    <a:pt x="9" y="275"/>
                    <a:pt x="9" y="276"/>
                  </a:cubicBezTo>
                  <a:cubicBezTo>
                    <a:pt x="7" y="276"/>
                    <a:pt x="7" y="276"/>
                    <a:pt x="7" y="276"/>
                  </a:cubicBezTo>
                  <a:close/>
                  <a:moveTo>
                    <a:pt x="1" y="283"/>
                  </a:moveTo>
                  <a:cubicBezTo>
                    <a:pt x="1" y="281"/>
                    <a:pt x="3" y="281"/>
                    <a:pt x="4" y="281"/>
                  </a:cubicBezTo>
                  <a:cubicBezTo>
                    <a:pt x="4" y="281"/>
                    <a:pt x="3" y="283"/>
                    <a:pt x="1" y="283"/>
                  </a:cubicBezTo>
                  <a:close/>
                  <a:moveTo>
                    <a:pt x="1" y="292"/>
                  </a:moveTo>
                  <a:cubicBezTo>
                    <a:pt x="1" y="292"/>
                    <a:pt x="1" y="290"/>
                    <a:pt x="3" y="290"/>
                  </a:cubicBezTo>
                  <a:cubicBezTo>
                    <a:pt x="3" y="290"/>
                    <a:pt x="3" y="292"/>
                    <a:pt x="1" y="292"/>
                  </a:cubicBezTo>
                  <a:close/>
                  <a:moveTo>
                    <a:pt x="6" y="308"/>
                  </a:moveTo>
                  <a:cubicBezTo>
                    <a:pt x="6" y="306"/>
                    <a:pt x="6" y="306"/>
                    <a:pt x="7" y="308"/>
                  </a:cubicBezTo>
                  <a:cubicBezTo>
                    <a:pt x="7" y="308"/>
                    <a:pt x="7" y="306"/>
                    <a:pt x="9" y="306"/>
                  </a:cubicBezTo>
                  <a:cubicBezTo>
                    <a:pt x="9" y="304"/>
                    <a:pt x="6" y="304"/>
                    <a:pt x="6" y="306"/>
                  </a:cubicBezTo>
                  <a:cubicBezTo>
                    <a:pt x="4" y="308"/>
                    <a:pt x="6" y="309"/>
                    <a:pt x="7" y="309"/>
                  </a:cubicBezTo>
                  <a:cubicBezTo>
                    <a:pt x="7" y="309"/>
                    <a:pt x="7" y="308"/>
                    <a:pt x="6" y="308"/>
                  </a:cubicBezTo>
                  <a:close/>
                  <a:moveTo>
                    <a:pt x="4" y="317"/>
                  </a:moveTo>
                  <a:cubicBezTo>
                    <a:pt x="6" y="317"/>
                    <a:pt x="4" y="312"/>
                    <a:pt x="4" y="314"/>
                  </a:cubicBezTo>
                  <a:cubicBezTo>
                    <a:pt x="4" y="315"/>
                    <a:pt x="3" y="317"/>
                    <a:pt x="4" y="317"/>
                  </a:cubicBezTo>
                  <a:close/>
                  <a:moveTo>
                    <a:pt x="4" y="311"/>
                  </a:moveTo>
                  <a:cubicBezTo>
                    <a:pt x="4" y="312"/>
                    <a:pt x="4" y="309"/>
                    <a:pt x="4" y="309"/>
                  </a:cubicBezTo>
                  <a:cubicBezTo>
                    <a:pt x="6" y="309"/>
                    <a:pt x="6" y="311"/>
                    <a:pt x="6" y="309"/>
                  </a:cubicBezTo>
                  <a:cubicBezTo>
                    <a:pt x="6" y="309"/>
                    <a:pt x="6" y="309"/>
                    <a:pt x="4" y="308"/>
                  </a:cubicBezTo>
                  <a:cubicBezTo>
                    <a:pt x="4" y="308"/>
                    <a:pt x="4" y="309"/>
                    <a:pt x="4" y="311"/>
                  </a:cubicBezTo>
                  <a:close/>
                  <a:moveTo>
                    <a:pt x="3" y="303"/>
                  </a:moveTo>
                  <a:cubicBezTo>
                    <a:pt x="3" y="300"/>
                    <a:pt x="3" y="300"/>
                    <a:pt x="3" y="300"/>
                  </a:cubicBezTo>
                  <a:cubicBezTo>
                    <a:pt x="3" y="301"/>
                    <a:pt x="4" y="304"/>
                    <a:pt x="3" y="303"/>
                  </a:cubicBezTo>
                  <a:close/>
                  <a:moveTo>
                    <a:pt x="4" y="300"/>
                  </a:moveTo>
                  <a:cubicBezTo>
                    <a:pt x="4" y="301"/>
                    <a:pt x="3" y="300"/>
                    <a:pt x="3" y="298"/>
                  </a:cubicBezTo>
                  <a:cubicBezTo>
                    <a:pt x="4" y="300"/>
                    <a:pt x="4" y="300"/>
                    <a:pt x="4" y="300"/>
                  </a:cubicBezTo>
                  <a:close/>
                  <a:moveTo>
                    <a:pt x="3" y="298"/>
                  </a:moveTo>
                  <a:cubicBezTo>
                    <a:pt x="4" y="298"/>
                    <a:pt x="3" y="297"/>
                    <a:pt x="3" y="297"/>
                  </a:cubicBezTo>
                  <a:cubicBezTo>
                    <a:pt x="1" y="295"/>
                    <a:pt x="1" y="297"/>
                    <a:pt x="3" y="29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7" name="Freeform 201"/>
            <p:cNvSpPr>
              <a:spLocks noEditPoints="1"/>
            </p:cNvSpPr>
            <p:nvPr/>
          </p:nvSpPr>
          <p:spPr bwMode="auto">
            <a:xfrm>
              <a:off x="4739181" y="3084074"/>
              <a:ext cx="257085" cy="420969"/>
            </a:xfrm>
            <a:custGeom>
              <a:avLst/>
              <a:gdLst/>
              <a:ahLst/>
              <a:cxnLst>
                <a:cxn ang="0">
                  <a:pos x="32" y="78"/>
                </a:cxn>
                <a:cxn ang="0">
                  <a:pos x="29" y="67"/>
                </a:cxn>
                <a:cxn ang="0">
                  <a:pos x="25" y="62"/>
                </a:cxn>
                <a:cxn ang="0">
                  <a:pos x="23" y="64"/>
                </a:cxn>
                <a:cxn ang="0">
                  <a:pos x="23" y="55"/>
                </a:cxn>
                <a:cxn ang="0">
                  <a:pos x="20" y="52"/>
                </a:cxn>
                <a:cxn ang="0">
                  <a:pos x="22" y="44"/>
                </a:cxn>
                <a:cxn ang="0">
                  <a:pos x="25" y="34"/>
                </a:cxn>
                <a:cxn ang="0">
                  <a:pos x="32" y="30"/>
                </a:cxn>
                <a:cxn ang="0">
                  <a:pos x="35" y="39"/>
                </a:cxn>
                <a:cxn ang="0">
                  <a:pos x="52" y="42"/>
                </a:cxn>
                <a:cxn ang="0">
                  <a:pos x="46" y="59"/>
                </a:cxn>
                <a:cxn ang="0">
                  <a:pos x="53" y="67"/>
                </a:cxn>
                <a:cxn ang="0">
                  <a:pos x="67" y="89"/>
                </a:cxn>
                <a:cxn ang="0">
                  <a:pos x="69" y="101"/>
                </a:cxn>
                <a:cxn ang="0">
                  <a:pos x="75" y="114"/>
                </a:cxn>
                <a:cxn ang="0">
                  <a:pos x="79" y="118"/>
                </a:cxn>
                <a:cxn ang="0">
                  <a:pos x="60" y="126"/>
                </a:cxn>
                <a:cxn ang="0">
                  <a:pos x="46" y="128"/>
                </a:cxn>
                <a:cxn ang="0">
                  <a:pos x="28" y="134"/>
                </a:cxn>
                <a:cxn ang="0">
                  <a:pos x="29" y="128"/>
                </a:cxn>
                <a:cxn ang="0">
                  <a:pos x="43" y="121"/>
                </a:cxn>
                <a:cxn ang="0">
                  <a:pos x="38" y="118"/>
                </a:cxn>
                <a:cxn ang="0">
                  <a:pos x="26" y="112"/>
                </a:cxn>
                <a:cxn ang="0">
                  <a:pos x="31" y="101"/>
                </a:cxn>
                <a:cxn ang="0">
                  <a:pos x="40" y="95"/>
                </a:cxn>
                <a:cxn ang="0">
                  <a:pos x="44" y="90"/>
                </a:cxn>
                <a:cxn ang="0">
                  <a:pos x="40" y="78"/>
                </a:cxn>
                <a:cxn ang="0">
                  <a:pos x="23" y="83"/>
                </a:cxn>
                <a:cxn ang="0">
                  <a:pos x="23" y="78"/>
                </a:cxn>
                <a:cxn ang="0">
                  <a:pos x="14" y="72"/>
                </a:cxn>
                <a:cxn ang="0">
                  <a:pos x="11" y="84"/>
                </a:cxn>
                <a:cxn ang="0">
                  <a:pos x="22" y="84"/>
                </a:cxn>
                <a:cxn ang="0">
                  <a:pos x="31" y="95"/>
                </a:cxn>
                <a:cxn ang="0">
                  <a:pos x="25" y="66"/>
                </a:cxn>
                <a:cxn ang="0">
                  <a:pos x="55" y="128"/>
                </a:cxn>
                <a:cxn ang="0">
                  <a:pos x="13" y="38"/>
                </a:cxn>
                <a:cxn ang="0">
                  <a:pos x="16" y="38"/>
                </a:cxn>
                <a:cxn ang="0">
                  <a:pos x="17" y="33"/>
                </a:cxn>
                <a:cxn ang="0">
                  <a:pos x="11" y="42"/>
                </a:cxn>
                <a:cxn ang="0">
                  <a:pos x="9" y="48"/>
                </a:cxn>
                <a:cxn ang="0">
                  <a:pos x="16" y="45"/>
                </a:cxn>
                <a:cxn ang="0">
                  <a:pos x="22" y="47"/>
                </a:cxn>
                <a:cxn ang="0">
                  <a:pos x="16" y="42"/>
                </a:cxn>
                <a:cxn ang="0">
                  <a:pos x="19" y="58"/>
                </a:cxn>
                <a:cxn ang="0">
                  <a:pos x="17" y="55"/>
                </a:cxn>
                <a:cxn ang="0">
                  <a:pos x="17" y="67"/>
                </a:cxn>
                <a:cxn ang="0">
                  <a:pos x="16" y="66"/>
                </a:cxn>
                <a:cxn ang="0">
                  <a:pos x="20" y="64"/>
                </a:cxn>
                <a:cxn ang="0">
                  <a:pos x="44" y="25"/>
                </a:cxn>
                <a:cxn ang="0">
                  <a:pos x="43" y="22"/>
                </a:cxn>
                <a:cxn ang="0">
                  <a:pos x="44" y="27"/>
                </a:cxn>
                <a:cxn ang="0">
                  <a:pos x="46" y="21"/>
                </a:cxn>
                <a:cxn ang="0">
                  <a:pos x="46" y="22"/>
                </a:cxn>
                <a:cxn ang="0">
                  <a:pos x="58" y="11"/>
                </a:cxn>
                <a:cxn ang="0">
                  <a:pos x="58" y="5"/>
                </a:cxn>
                <a:cxn ang="0">
                  <a:pos x="53" y="8"/>
                </a:cxn>
                <a:cxn ang="0">
                  <a:pos x="58" y="11"/>
                </a:cxn>
                <a:cxn ang="0">
                  <a:pos x="58" y="3"/>
                </a:cxn>
                <a:cxn ang="0">
                  <a:pos x="60" y="2"/>
                </a:cxn>
              </a:cxnLst>
              <a:rect l="0" t="0" r="r" b="b"/>
              <a:pathLst>
                <a:path w="82" h="135">
                  <a:moveTo>
                    <a:pt x="40" y="75"/>
                  </a:moveTo>
                  <a:cubicBezTo>
                    <a:pt x="38" y="78"/>
                    <a:pt x="38" y="75"/>
                    <a:pt x="37" y="76"/>
                  </a:cubicBezTo>
                  <a:cubicBezTo>
                    <a:pt x="35" y="80"/>
                    <a:pt x="32" y="75"/>
                    <a:pt x="32" y="76"/>
                  </a:cubicBezTo>
                  <a:cubicBezTo>
                    <a:pt x="34" y="78"/>
                    <a:pt x="32" y="80"/>
                    <a:pt x="32" y="78"/>
                  </a:cubicBezTo>
                  <a:cubicBezTo>
                    <a:pt x="31" y="76"/>
                    <a:pt x="28" y="75"/>
                    <a:pt x="28" y="78"/>
                  </a:cubicBezTo>
                  <a:cubicBezTo>
                    <a:pt x="29" y="81"/>
                    <a:pt x="26" y="76"/>
                    <a:pt x="26" y="75"/>
                  </a:cubicBezTo>
                  <a:cubicBezTo>
                    <a:pt x="28" y="73"/>
                    <a:pt x="28" y="76"/>
                    <a:pt x="28" y="73"/>
                  </a:cubicBezTo>
                  <a:cubicBezTo>
                    <a:pt x="28" y="70"/>
                    <a:pt x="32" y="70"/>
                    <a:pt x="29" y="67"/>
                  </a:cubicBezTo>
                  <a:cubicBezTo>
                    <a:pt x="28" y="64"/>
                    <a:pt x="29" y="64"/>
                    <a:pt x="31" y="62"/>
                  </a:cubicBezTo>
                  <a:cubicBezTo>
                    <a:pt x="28" y="59"/>
                    <a:pt x="29" y="64"/>
                    <a:pt x="28" y="64"/>
                  </a:cubicBezTo>
                  <a:cubicBezTo>
                    <a:pt x="26" y="62"/>
                    <a:pt x="28" y="64"/>
                    <a:pt x="26" y="64"/>
                  </a:cubicBezTo>
                  <a:cubicBezTo>
                    <a:pt x="25" y="62"/>
                    <a:pt x="26" y="61"/>
                    <a:pt x="25" y="62"/>
                  </a:cubicBezTo>
                  <a:cubicBezTo>
                    <a:pt x="23" y="62"/>
                    <a:pt x="26" y="64"/>
                    <a:pt x="25" y="66"/>
                  </a:cubicBezTo>
                  <a:cubicBezTo>
                    <a:pt x="23" y="67"/>
                    <a:pt x="23" y="72"/>
                    <a:pt x="22" y="72"/>
                  </a:cubicBezTo>
                  <a:cubicBezTo>
                    <a:pt x="20" y="70"/>
                    <a:pt x="25" y="64"/>
                    <a:pt x="23" y="66"/>
                  </a:cubicBezTo>
                  <a:cubicBezTo>
                    <a:pt x="23" y="66"/>
                    <a:pt x="23" y="66"/>
                    <a:pt x="23" y="64"/>
                  </a:cubicBezTo>
                  <a:cubicBezTo>
                    <a:pt x="23" y="62"/>
                    <a:pt x="22" y="62"/>
                    <a:pt x="23" y="61"/>
                  </a:cubicBezTo>
                  <a:cubicBezTo>
                    <a:pt x="23" y="59"/>
                    <a:pt x="22" y="59"/>
                    <a:pt x="23" y="58"/>
                  </a:cubicBezTo>
                  <a:cubicBezTo>
                    <a:pt x="25" y="58"/>
                    <a:pt x="23" y="56"/>
                    <a:pt x="25" y="55"/>
                  </a:cubicBezTo>
                  <a:cubicBezTo>
                    <a:pt x="26" y="53"/>
                    <a:pt x="26" y="53"/>
                    <a:pt x="23" y="55"/>
                  </a:cubicBezTo>
                  <a:cubicBezTo>
                    <a:pt x="22" y="56"/>
                    <a:pt x="23" y="55"/>
                    <a:pt x="22" y="55"/>
                  </a:cubicBezTo>
                  <a:cubicBezTo>
                    <a:pt x="20" y="55"/>
                    <a:pt x="19" y="55"/>
                    <a:pt x="20" y="55"/>
                  </a:cubicBezTo>
                  <a:cubicBezTo>
                    <a:pt x="22" y="53"/>
                    <a:pt x="23" y="53"/>
                    <a:pt x="20" y="53"/>
                  </a:cubicBezTo>
                  <a:cubicBezTo>
                    <a:pt x="17" y="53"/>
                    <a:pt x="19" y="52"/>
                    <a:pt x="20" y="52"/>
                  </a:cubicBezTo>
                  <a:cubicBezTo>
                    <a:pt x="20" y="53"/>
                    <a:pt x="22" y="52"/>
                    <a:pt x="22" y="52"/>
                  </a:cubicBezTo>
                  <a:cubicBezTo>
                    <a:pt x="19" y="50"/>
                    <a:pt x="23" y="50"/>
                    <a:pt x="22" y="48"/>
                  </a:cubicBezTo>
                  <a:cubicBezTo>
                    <a:pt x="22" y="48"/>
                    <a:pt x="22" y="48"/>
                    <a:pt x="23" y="47"/>
                  </a:cubicBezTo>
                  <a:cubicBezTo>
                    <a:pt x="23" y="45"/>
                    <a:pt x="22" y="47"/>
                    <a:pt x="22" y="44"/>
                  </a:cubicBezTo>
                  <a:cubicBezTo>
                    <a:pt x="20" y="41"/>
                    <a:pt x="23" y="42"/>
                    <a:pt x="22" y="39"/>
                  </a:cubicBezTo>
                  <a:cubicBezTo>
                    <a:pt x="20" y="38"/>
                    <a:pt x="23" y="38"/>
                    <a:pt x="25" y="39"/>
                  </a:cubicBezTo>
                  <a:cubicBezTo>
                    <a:pt x="25" y="39"/>
                    <a:pt x="25" y="38"/>
                    <a:pt x="25" y="36"/>
                  </a:cubicBezTo>
                  <a:cubicBezTo>
                    <a:pt x="23" y="34"/>
                    <a:pt x="28" y="36"/>
                    <a:pt x="25" y="34"/>
                  </a:cubicBezTo>
                  <a:cubicBezTo>
                    <a:pt x="23" y="31"/>
                    <a:pt x="29" y="36"/>
                    <a:pt x="26" y="33"/>
                  </a:cubicBezTo>
                  <a:cubicBezTo>
                    <a:pt x="25" y="31"/>
                    <a:pt x="28" y="33"/>
                    <a:pt x="28" y="30"/>
                  </a:cubicBezTo>
                  <a:cubicBezTo>
                    <a:pt x="26" y="28"/>
                    <a:pt x="28" y="28"/>
                    <a:pt x="29" y="30"/>
                  </a:cubicBezTo>
                  <a:cubicBezTo>
                    <a:pt x="31" y="30"/>
                    <a:pt x="31" y="28"/>
                    <a:pt x="32" y="30"/>
                  </a:cubicBezTo>
                  <a:cubicBezTo>
                    <a:pt x="34" y="30"/>
                    <a:pt x="37" y="28"/>
                    <a:pt x="40" y="28"/>
                  </a:cubicBezTo>
                  <a:cubicBezTo>
                    <a:pt x="41" y="30"/>
                    <a:pt x="38" y="28"/>
                    <a:pt x="41" y="28"/>
                  </a:cubicBezTo>
                  <a:cubicBezTo>
                    <a:pt x="44" y="28"/>
                    <a:pt x="43" y="30"/>
                    <a:pt x="43" y="30"/>
                  </a:cubicBezTo>
                  <a:cubicBezTo>
                    <a:pt x="44" y="31"/>
                    <a:pt x="37" y="38"/>
                    <a:pt x="35" y="39"/>
                  </a:cubicBezTo>
                  <a:cubicBezTo>
                    <a:pt x="34" y="39"/>
                    <a:pt x="38" y="38"/>
                    <a:pt x="37" y="39"/>
                  </a:cubicBezTo>
                  <a:cubicBezTo>
                    <a:pt x="35" y="41"/>
                    <a:pt x="34" y="42"/>
                    <a:pt x="35" y="42"/>
                  </a:cubicBezTo>
                  <a:cubicBezTo>
                    <a:pt x="38" y="42"/>
                    <a:pt x="38" y="39"/>
                    <a:pt x="43" y="41"/>
                  </a:cubicBezTo>
                  <a:cubicBezTo>
                    <a:pt x="49" y="41"/>
                    <a:pt x="52" y="39"/>
                    <a:pt x="52" y="42"/>
                  </a:cubicBezTo>
                  <a:cubicBezTo>
                    <a:pt x="53" y="44"/>
                    <a:pt x="52" y="44"/>
                    <a:pt x="50" y="50"/>
                  </a:cubicBezTo>
                  <a:cubicBezTo>
                    <a:pt x="47" y="56"/>
                    <a:pt x="46" y="56"/>
                    <a:pt x="44" y="56"/>
                  </a:cubicBezTo>
                  <a:cubicBezTo>
                    <a:pt x="43" y="56"/>
                    <a:pt x="46" y="56"/>
                    <a:pt x="44" y="58"/>
                  </a:cubicBezTo>
                  <a:cubicBezTo>
                    <a:pt x="44" y="58"/>
                    <a:pt x="49" y="58"/>
                    <a:pt x="46" y="59"/>
                  </a:cubicBezTo>
                  <a:cubicBezTo>
                    <a:pt x="44" y="61"/>
                    <a:pt x="44" y="59"/>
                    <a:pt x="43" y="61"/>
                  </a:cubicBezTo>
                  <a:cubicBezTo>
                    <a:pt x="43" y="62"/>
                    <a:pt x="38" y="62"/>
                    <a:pt x="41" y="62"/>
                  </a:cubicBezTo>
                  <a:cubicBezTo>
                    <a:pt x="46" y="64"/>
                    <a:pt x="43" y="59"/>
                    <a:pt x="47" y="62"/>
                  </a:cubicBezTo>
                  <a:cubicBezTo>
                    <a:pt x="52" y="64"/>
                    <a:pt x="50" y="66"/>
                    <a:pt x="53" y="67"/>
                  </a:cubicBezTo>
                  <a:cubicBezTo>
                    <a:pt x="55" y="69"/>
                    <a:pt x="53" y="70"/>
                    <a:pt x="57" y="75"/>
                  </a:cubicBezTo>
                  <a:cubicBezTo>
                    <a:pt x="58" y="81"/>
                    <a:pt x="58" y="80"/>
                    <a:pt x="61" y="80"/>
                  </a:cubicBezTo>
                  <a:cubicBezTo>
                    <a:pt x="64" y="81"/>
                    <a:pt x="63" y="84"/>
                    <a:pt x="66" y="84"/>
                  </a:cubicBezTo>
                  <a:cubicBezTo>
                    <a:pt x="67" y="86"/>
                    <a:pt x="64" y="86"/>
                    <a:pt x="67" y="89"/>
                  </a:cubicBezTo>
                  <a:cubicBezTo>
                    <a:pt x="70" y="92"/>
                    <a:pt x="69" y="92"/>
                    <a:pt x="66" y="90"/>
                  </a:cubicBezTo>
                  <a:cubicBezTo>
                    <a:pt x="64" y="89"/>
                    <a:pt x="64" y="90"/>
                    <a:pt x="67" y="92"/>
                  </a:cubicBezTo>
                  <a:cubicBezTo>
                    <a:pt x="69" y="94"/>
                    <a:pt x="72" y="98"/>
                    <a:pt x="70" y="98"/>
                  </a:cubicBezTo>
                  <a:cubicBezTo>
                    <a:pt x="69" y="100"/>
                    <a:pt x="67" y="101"/>
                    <a:pt x="69" y="101"/>
                  </a:cubicBezTo>
                  <a:cubicBezTo>
                    <a:pt x="70" y="101"/>
                    <a:pt x="70" y="103"/>
                    <a:pt x="72" y="100"/>
                  </a:cubicBezTo>
                  <a:cubicBezTo>
                    <a:pt x="72" y="98"/>
                    <a:pt x="81" y="100"/>
                    <a:pt x="81" y="104"/>
                  </a:cubicBezTo>
                  <a:cubicBezTo>
                    <a:pt x="82" y="112"/>
                    <a:pt x="76" y="112"/>
                    <a:pt x="78" y="114"/>
                  </a:cubicBezTo>
                  <a:cubicBezTo>
                    <a:pt x="79" y="114"/>
                    <a:pt x="76" y="112"/>
                    <a:pt x="75" y="114"/>
                  </a:cubicBezTo>
                  <a:cubicBezTo>
                    <a:pt x="73" y="115"/>
                    <a:pt x="76" y="114"/>
                    <a:pt x="75" y="117"/>
                  </a:cubicBezTo>
                  <a:cubicBezTo>
                    <a:pt x="75" y="117"/>
                    <a:pt x="70" y="117"/>
                    <a:pt x="72" y="117"/>
                  </a:cubicBezTo>
                  <a:cubicBezTo>
                    <a:pt x="73" y="118"/>
                    <a:pt x="72" y="118"/>
                    <a:pt x="73" y="118"/>
                  </a:cubicBezTo>
                  <a:cubicBezTo>
                    <a:pt x="75" y="120"/>
                    <a:pt x="79" y="117"/>
                    <a:pt x="79" y="118"/>
                  </a:cubicBezTo>
                  <a:cubicBezTo>
                    <a:pt x="78" y="120"/>
                    <a:pt x="79" y="121"/>
                    <a:pt x="76" y="123"/>
                  </a:cubicBezTo>
                  <a:cubicBezTo>
                    <a:pt x="73" y="123"/>
                    <a:pt x="76" y="125"/>
                    <a:pt x="73" y="125"/>
                  </a:cubicBezTo>
                  <a:cubicBezTo>
                    <a:pt x="72" y="125"/>
                    <a:pt x="70" y="128"/>
                    <a:pt x="67" y="126"/>
                  </a:cubicBezTo>
                  <a:cubicBezTo>
                    <a:pt x="64" y="125"/>
                    <a:pt x="61" y="128"/>
                    <a:pt x="60" y="126"/>
                  </a:cubicBezTo>
                  <a:cubicBezTo>
                    <a:pt x="60" y="125"/>
                    <a:pt x="60" y="126"/>
                    <a:pt x="58" y="126"/>
                  </a:cubicBezTo>
                  <a:cubicBezTo>
                    <a:pt x="55" y="125"/>
                    <a:pt x="58" y="126"/>
                    <a:pt x="53" y="126"/>
                  </a:cubicBezTo>
                  <a:cubicBezTo>
                    <a:pt x="50" y="128"/>
                    <a:pt x="53" y="129"/>
                    <a:pt x="50" y="128"/>
                  </a:cubicBezTo>
                  <a:cubicBezTo>
                    <a:pt x="47" y="128"/>
                    <a:pt x="49" y="131"/>
                    <a:pt x="46" y="128"/>
                  </a:cubicBezTo>
                  <a:cubicBezTo>
                    <a:pt x="44" y="125"/>
                    <a:pt x="41" y="129"/>
                    <a:pt x="40" y="128"/>
                  </a:cubicBezTo>
                  <a:cubicBezTo>
                    <a:pt x="40" y="128"/>
                    <a:pt x="40" y="134"/>
                    <a:pt x="37" y="132"/>
                  </a:cubicBezTo>
                  <a:cubicBezTo>
                    <a:pt x="35" y="131"/>
                    <a:pt x="35" y="131"/>
                    <a:pt x="32" y="131"/>
                  </a:cubicBezTo>
                  <a:cubicBezTo>
                    <a:pt x="29" y="131"/>
                    <a:pt x="29" y="132"/>
                    <a:pt x="28" y="134"/>
                  </a:cubicBezTo>
                  <a:cubicBezTo>
                    <a:pt x="26" y="134"/>
                    <a:pt x="28" y="135"/>
                    <a:pt x="26" y="135"/>
                  </a:cubicBezTo>
                  <a:cubicBezTo>
                    <a:pt x="25" y="135"/>
                    <a:pt x="25" y="134"/>
                    <a:pt x="23" y="134"/>
                  </a:cubicBezTo>
                  <a:cubicBezTo>
                    <a:pt x="22" y="135"/>
                    <a:pt x="22" y="132"/>
                    <a:pt x="25" y="132"/>
                  </a:cubicBezTo>
                  <a:cubicBezTo>
                    <a:pt x="26" y="132"/>
                    <a:pt x="26" y="129"/>
                    <a:pt x="29" y="128"/>
                  </a:cubicBezTo>
                  <a:cubicBezTo>
                    <a:pt x="31" y="128"/>
                    <a:pt x="29" y="128"/>
                    <a:pt x="31" y="126"/>
                  </a:cubicBezTo>
                  <a:cubicBezTo>
                    <a:pt x="32" y="125"/>
                    <a:pt x="29" y="123"/>
                    <a:pt x="32" y="123"/>
                  </a:cubicBezTo>
                  <a:cubicBezTo>
                    <a:pt x="35" y="123"/>
                    <a:pt x="32" y="120"/>
                    <a:pt x="35" y="120"/>
                  </a:cubicBezTo>
                  <a:cubicBezTo>
                    <a:pt x="40" y="120"/>
                    <a:pt x="38" y="121"/>
                    <a:pt x="43" y="121"/>
                  </a:cubicBezTo>
                  <a:cubicBezTo>
                    <a:pt x="46" y="120"/>
                    <a:pt x="41" y="120"/>
                    <a:pt x="47" y="117"/>
                  </a:cubicBezTo>
                  <a:cubicBezTo>
                    <a:pt x="47" y="115"/>
                    <a:pt x="47" y="115"/>
                    <a:pt x="49" y="114"/>
                  </a:cubicBezTo>
                  <a:cubicBezTo>
                    <a:pt x="46" y="115"/>
                    <a:pt x="46" y="117"/>
                    <a:pt x="44" y="117"/>
                  </a:cubicBezTo>
                  <a:cubicBezTo>
                    <a:pt x="43" y="117"/>
                    <a:pt x="41" y="121"/>
                    <a:pt x="38" y="118"/>
                  </a:cubicBezTo>
                  <a:cubicBezTo>
                    <a:pt x="35" y="115"/>
                    <a:pt x="32" y="118"/>
                    <a:pt x="34" y="117"/>
                  </a:cubicBezTo>
                  <a:cubicBezTo>
                    <a:pt x="34" y="115"/>
                    <a:pt x="32" y="114"/>
                    <a:pt x="29" y="115"/>
                  </a:cubicBezTo>
                  <a:cubicBezTo>
                    <a:pt x="28" y="117"/>
                    <a:pt x="26" y="115"/>
                    <a:pt x="26" y="114"/>
                  </a:cubicBezTo>
                  <a:cubicBezTo>
                    <a:pt x="28" y="112"/>
                    <a:pt x="25" y="114"/>
                    <a:pt x="26" y="112"/>
                  </a:cubicBezTo>
                  <a:cubicBezTo>
                    <a:pt x="28" y="109"/>
                    <a:pt x="28" y="112"/>
                    <a:pt x="32" y="109"/>
                  </a:cubicBezTo>
                  <a:cubicBezTo>
                    <a:pt x="37" y="106"/>
                    <a:pt x="34" y="104"/>
                    <a:pt x="35" y="103"/>
                  </a:cubicBezTo>
                  <a:cubicBezTo>
                    <a:pt x="37" y="101"/>
                    <a:pt x="34" y="103"/>
                    <a:pt x="35" y="101"/>
                  </a:cubicBezTo>
                  <a:cubicBezTo>
                    <a:pt x="35" y="98"/>
                    <a:pt x="32" y="103"/>
                    <a:pt x="31" y="101"/>
                  </a:cubicBezTo>
                  <a:cubicBezTo>
                    <a:pt x="31" y="101"/>
                    <a:pt x="29" y="103"/>
                    <a:pt x="31" y="101"/>
                  </a:cubicBezTo>
                  <a:cubicBezTo>
                    <a:pt x="31" y="100"/>
                    <a:pt x="32" y="100"/>
                    <a:pt x="34" y="97"/>
                  </a:cubicBezTo>
                  <a:cubicBezTo>
                    <a:pt x="35" y="95"/>
                    <a:pt x="35" y="97"/>
                    <a:pt x="37" y="95"/>
                  </a:cubicBezTo>
                  <a:cubicBezTo>
                    <a:pt x="37" y="95"/>
                    <a:pt x="37" y="97"/>
                    <a:pt x="40" y="95"/>
                  </a:cubicBezTo>
                  <a:cubicBezTo>
                    <a:pt x="41" y="94"/>
                    <a:pt x="43" y="97"/>
                    <a:pt x="43" y="95"/>
                  </a:cubicBezTo>
                  <a:cubicBezTo>
                    <a:pt x="41" y="94"/>
                    <a:pt x="43" y="94"/>
                    <a:pt x="44" y="95"/>
                  </a:cubicBezTo>
                  <a:cubicBezTo>
                    <a:pt x="44" y="97"/>
                    <a:pt x="44" y="95"/>
                    <a:pt x="44" y="94"/>
                  </a:cubicBezTo>
                  <a:cubicBezTo>
                    <a:pt x="41" y="90"/>
                    <a:pt x="44" y="90"/>
                    <a:pt x="44" y="90"/>
                  </a:cubicBezTo>
                  <a:cubicBezTo>
                    <a:pt x="41" y="89"/>
                    <a:pt x="46" y="87"/>
                    <a:pt x="44" y="87"/>
                  </a:cubicBezTo>
                  <a:cubicBezTo>
                    <a:pt x="44" y="86"/>
                    <a:pt x="46" y="84"/>
                    <a:pt x="44" y="84"/>
                  </a:cubicBezTo>
                  <a:cubicBezTo>
                    <a:pt x="43" y="84"/>
                    <a:pt x="43" y="87"/>
                    <a:pt x="41" y="86"/>
                  </a:cubicBezTo>
                  <a:cubicBezTo>
                    <a:pt x="40" y="83"/>
                    <a:pt x="37" y="83"/>
                    <a:pt x="40" y="78"/>
                  </a:cubicBezTo>
                  <a:cubicBezTo>
                    <a:pt x="43" y="73"/>
                    <a:pt x="40" y="78"/>
                    <a:pt x="41" y="75"/>
                  </a:cubicBezTo>
                  <a:cubicBezTo>
                    <a:pt x="43" y="75"/>
                    <a:pt x="40" y="75"/>
                    <a:pt x="40" y="75"/>
                  </a:cubicBezTo>
                  <a:close/>
                  <a:moveTo>
                    <a:pt x="22" y="84"/>
                  </a:moveTo>
                  <a:cubicBezTo>
                    <a:pt x="22" y="83"/>
                    <a:pt x="23" y="84"/>
                    <a:pt x="23" y="83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3" y="81"/>
                    <a:pt x="23" y="80"/>
                    <a:pt x="23" y="81"/>
                  </a:cubicBezTo>
                  <a:cubicBezTo>
                    <a:pt x="23" y="83"/>
                    <a:pt x="25" y="83"/>
                    <a:pt x="25" y="81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2" y="80"/>
                    <a:pt x="20" y="80"/>
                    <a:pt x="22" y="78"/>
                  </a:cubicBezTo>
                  <a:cubicBezTo>
                    <a:pt x="23" y="78"/>
                    <a:pt x="23" y="76"/>
                    <a:pt x="22" y="76"/>
                  </a:cubicBezTo>
                  <a:cubicBezTo>
                    <a:pt x="20" y="76"/>
                    <a:pt x="20" y="73"/>
                    <a:pt x="19" y="72"/>
                  </a:cubicBezTo>
                  <a:cubicBezTo>
                    <a:pt x="19" y="70"/>
                    <a:pt x="16" y="72"/>
                    <a:pt x="14" y="72"/>
                  </a:cubicBezTo>
                  <a:cubicBezTo>
                    <a:pt x="11" y="72"/>
                    <a:pt x="13" y="73"/>
                    <a:pt x="9" y="73"/>
                  </a:cubicBezTo>
                  <a:cubicBezTo>
                    <a:pt x="6" y="75"/>
                    <a:pt x="9" y="78"/>
                    <a:pt x="6" y="78"/>
                  </a:cubicBezTo>
                  <a:cubicBezTo>
                    <a:pt x="3" y="78"/>
                    <a:pt x="8" y="80"/>
                    <a:pt x="5" y="81"/>
                  </a:cubicBezTo>
                  <a:cubicBezTo>
                    <a:pt x="0" y="83"/>
                    <a:pt x="11" y="87"/>
                    <a:pt x="11" y="84"/>
                  </a:cubicBezTo>
                  <a:cubicBezTo>
                    <a:pt x="11" y="83"/>
                    <a:pt x="13" y="81"/>
                    <a:pt x="13" y="83"/>
                  </a:cubicBezTo>
                  <a:cubicBezTo>
                    <a:pt x="14" y="86"/>
                    <a:pt x="14" y="84"/>
                    <a:pt x="14" y="86"/>
                  </a:cubicBezTo>
                  <a:cubicBezTo>
                    <a:pt x="16" y="87"/>
                    <a:pt x="16" y="86"/>
                    <a:pt x="17" y="86"/>
                  </a:cubicBezTo>
                  <a:cubicBezTo>
                    <a:pt x="20" y="86"/>
                    <a:pt x="19" y="89"/>
                    <a:pt x="22" y="84"/>
                  </a:cubicBezTo>
                  <a:close/>
                  <a:moveTo>
                    <a:pt x="32" y="83"/>
                  </a:moveTo>
                  <a:cubicBezTo>
                    <a:pt x="34" y="83"/>
                    <a:pt x="32" y="87"/>
                    <a:pt x="31" y="86"/>
                  </a:cubicBezTo>
                  <a:cubicBezTo>
                    <a:pt x="28" y="86"/>
                    <a:pt x="32" y="81"/>
                    <a:pt x="32" y="83"/>
                  </a:cubicBezTo>
                  <a:close/>
                  <a:moveTo>
                    <a:pt x="31" y="95"/>
                  </a:moveTo>
                  <a:cubicBezTo>
                    <a:pt x="32" y="92"/>
                    <a:pt x="35" y="95"/>
                    <a:pt x="34" y="97"/>
                  </a:cubicBezTo>
                  <a:cubicBezTo>
                    <a:pt x="32" y="98"/>
                    <a:pt x="31" y="97"/>
                    <a:pt x="31" y="95"/>
                  </a:cubicBezTo>
                  <a:close/>
                  <a:moveTo>
                    <a:pt x="26" y="69"/>
                  </a:moveTo>
                  <a:cubicBezTo>
                    <a:pt x="25" y="69"/>
                    <a:pt x="25" y="67"/>
                    <a:pt x="25" y="66"/>
                  </a:cubicBezTo>
                  <a:cubicBezTo>
                    <a:pt x="26" y="64"/>
                    <a:pt x="28" y="69"/>
                    <a:pt x="26" y="69"/>
                  </a:cubicBezTo>
                  <a:close/>
                  <a:moveTo>
                    <a:pt x="55" y="128"/>
                  </a:moveTo>
                  <a:cubicBezTo>
                    <a:pt x="57" y="126"/>
                    <a:pt x="58" y="126"/>
                    <a:pt x="58" y="128"/>
                  </a:cubicBezTo>
                  <a:cubicBezTo>
                    <a:pt x="60" y="128"/>
                    <a:pt x="58" y="129"/>
                    <a:pt x="55" y="128"/>
                  </a:cubicBezTo>
                  <a:close/>
                  <a:moveTo>
                    <a:pt x="14" y="34"/>
                  </a:moveTo>
                  <a:cubicBezTo>
                    <a:pt x="13" y="36"/>
                    <a:pt x="13" y="33"/>
                    <a:pt x="13" y="34"/>
                  </a:cubicBezTo>
                  <a:cubicBezTo>
                    <a:pt x="11" y="34"/>
                    <a:pt x="11" y="36"/>
                    <a:pt x="11" y="36"/>
                  </a:cubicBezTo>
                  <a:cubicBezTo>
                    <a:pt x="13" y="38"/>
                    <a:pt x="9" y="36"/>
                    <a:pt x="13" y="38"/>
                  </a:cubicBezTo>
                  <a:cubicBezTo>
                    <a:pt x="14" y="38"/>
                    <a:pt x="9" y="38"/>
                    <a:pt x="11" y="39"/>
                  </a:cubicBezTo>
                  <a:cubicBezTo>
                    <a:pt x="13" y="41"/>
                    <a:pt x="13" y="39"/>
                    <a:pt x="14" y="39"/>
                  </a:cubicBezTo>
                  <a:cubicBezTo>
                    <a:pt x="14" y="39"/>
                    <a:pt x="14" y="39"/>
                    <a:pt x="14" y="38"/>
                  </a:cubicBezTo>
                  <a:cubicBezTo>
                    <a:pt x="16" y="38"/>
                    <a:pt x="17" y="38"/>
                    <a:pt x="16" y="38"/>
                  </a:cubicBezTo>
                  <a:cubicBezTo>
                    <a:pt x="16" y="36"/>
                    <a:pt x="17" y="36"/>
                    <a:pt x="17" y="36"/>
                  </a:cubicBezTo>
                  <a:cubicBezTo>
                    <a:pt x="16" y="36"/>
                    <a:pt x="17" y="36"/>
                    <a:pt x="17" y="34"/>
                  </a:cubicBezTo>
                  <a:cubicBezTo>
                    <a:pt x="17" y="33"/>
                    <a:pt x="17" y="34"/>
                    <a:pt x="19" y="34"/>
                  </a:cubicBezTo>
                  <a:cubicBezTo>
                    <a:pt x="20" y="33"/>
                    <a:pt x="17" y="34"/>
                    <a:pt x="17" y="33"/>
                  </a:cubicBezTo>
                  <a:cubicBezTo>
                    <a:pt x="19" y="33"/>
                    <a:pt x="19" y="31"/>
                    <a:pt x="19" y="30"/>
                  </a:cubicBezTo>
                  <a:cubicBezTo>
                    <a:pt x="19" y="30"/>
                    <a:pt x="16" y="31"/>
                    <a:pt x="14" y="33"/>
                  </a:cubicBezTo>
                  <a:cubicBezTo>
                    <a:pt x="13" y="33"/>
                    <a:pt x="14" y="34"/>
                    <a:pt x="14" y="34"/>
                  </a:cubicBezTo>
                  <a:close/>
                  <a:moveTo>
                    <a:pt x="11" y="42"/>
                  </a:moveTo>
                  <a:cubicBezTo>
                    <a:pt x="13" y="41"/>
                    <a:pt x="11" y="41"/>
                    <a:pt x="11" y="41"/>
                  </a:cubicBezTo>
                  <a:cubicBezTo>
                    <a:pt x="9" y="41"/>
                    <a:pt x="9" y="41"/>
                    <a:pt x="8" y="41"/>
                  </a:cubicBezTo>
                  <a:cubicBezTo>
                    <a:pt x="8" y="42"/>
                    <a:pt x="11" y="44"/>
                    <a:pt x="11" y="42"/>
                  </a:cubicBezTo>
                  <a:close/>
                  <a:moveTo>
                    <a:pt x="9" y="48"/>
                  </a:moveTo>
                  <a:cubicBezTo>
                    <a:pt x="11" y="48"/>
                    <a:pt x="9" y="47"/>
                    <a:pt x="9" y="47"/>
                  </a:cubicBezTo>
                  <a:cubicBezTo>
                    <a:pt x="11" y="45"/>
                    <a:pt x="11" y="45"/>
                    <a:pt x="9" y="45"/>
                  </a:cubicBezTo>
                  <a:cubicBezTo>
                    <a:pt x="8" y="44"/>
                    <a:pt x="8" y="48"/>
                    <a:pt x="9" y="48"/>
                  </a:cubicBezTo>
                  <a:close/>
                  <a:moveTo>
                    <a:pt x="16" y="45"/>
                  </a:moveTo>
                  <a:cubicBezTo>
                    <a:pt x="17" y="45"/>
                    <a:pt x="16" y="45"/>
                    <a:pt x="17" y="47"/>
                  </a:cubicBezTo>
                  <a:cubicBezTo>
                    <a:pt x="17" y="48"/>
                    <a:pt x="19" y="47"/>
                    <a:pt x="20" y="47"/>
                  </a:cubicBezTo>
                  <a:cubicBezTo>
                    <a:pt x="22" y="47"/>
                    <a:pt x="19" y="48"/>
                    <a:pt x="20" y="50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5"/>
                    <a:pt x="22" y="47"/>
                    <a:pt x="20" y="45"/>
                  </a:cubicBezTo>
                  <a:cubicBezTo>
                    <a:pt x="19" y="45"/>
                    <a:pt x="19" y="41"/>
                    <a:pt x="17" y="41"/>
                  </a:cubicBezTo>
                  <a:cubicBezTo>
                    <a:pt x="17" y="41"/>
                    <a:pt x="17" y="42"/>
                    <a:pt x="17" y="4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4" y="42"/>
                    <a:pt x="16" y="44"/>
                    <a:pt x="16" y="44"/>
                  </a:cubicBezTo>
                  <a:cubicBezTo>
                    <a:pt x="16" y="44"/>
                    <a:pt x="13" y="44"/>
                    <a:pt x="14" y="45"/>
                  </a:cubicBezTo>
                  <a:cubicBezTo>
                    <a:pt x="16" y="45"/>
                    <a:pt x="16" y="44"/>
                    <a:pt x="16" y="45"/>
                  </a:cubicBezTo>
                  <a:close/>
                  <a:moveTo>
                    <a:pt x="19" y="58"/>
                  </a:moveTo>
                  <a:cubicBezTo>
                    <a:pt x="19" y="58"/>
                    <a:pt x="17" y="58"/>
                    <a:pt x="17" y="59"/>
                  </a:cubicBezTo>
                  <a:cubicBezTo>
                    <a:pt x="17" y="59"/>
                    <a:pt x="20" y="58"/>
                    <a:pt x="22" y="58"/>
                  </a:cubicBezTo>
                  <a:cubicBezTo>
                    <a:pt x="23" y="58"/>
                    <a:pt x="22" y="56"/>
                    <a:pt x="20" y="56"/>
                  </a:cubicBezTo>
                  <a:cubicBezTo>
                    <a:pt x="19" y="55"/>
                    <a:pt x="19" y="53"/>
                    <a:pt x="17" y="55"/>
                  </a:cubicBezTo>
                  <a:cubicBezTo>
                    <a:pt x="17" y="56"/>
                    <a:pt x="17" y="56"/>
                    <a:pt x="19" y="56"/>
                  </a:cubicBezTo>
                  <a:cubicBezTo>
                    <a:pt x="20" y="56"/>
                    <a:pt x="19" y="56"/>
                    <a:pt x="19" y="58"/>
                  </a:cubicBezTo>
                  <a:close/>
                  <a:moveTo>
                    <a:pt x="17" y="66"/>
                  </a:moveTo>
                  <a:cubicBezTo>
                    <a:pt x="19" y="67"/>
                    <a:pt x="17" y="67"/>
                    <a:pt x="17" y="67"/>
                  </a:cubicBezTo>
                  <a:cubicBezTo>
                    <a:pt x="17" y="69"/>
                    <a:pt x="19" y="67"/>
                    <a:pt x="19" y="67"/>
                  </a:cubicBezTo>
                  <a:cubicBezTo>
                    <a:pt x="20" y="66"/>
                    <a:pt x="19" y="66"/>
                    <a:pt x="19" y="64"/>
                  </a:cubicBezTo>
                  <a:cubicBezTo>
                    <a:pt x="19" y="62"/>
                    <a:pt x="17" y="64"/>
                    <a:pt x="17" y="64"/>
                  </a:cubicBezTo>
                  <a:cubicBezTo>
                    <a:pt x="17" y="62"/>
                    <a:pt x="14" y="66"/>
                    <a:pt x="16" y="66"/>
                  </a:cubicBezTo>
                  <a:cubicBezTo>
                    <a:pt x="17" y="67"/>
                    <a:pt x="17" y="64"/>
                    <a:pt x="17" y="66"/>
                  </a:cubicBezTo>
                  <a:close/>
                  <a:moveTo>
                    <a:pt x="20" y="64"/>
                  </a:moveTo>
                  <a:cubicBezTo>
                    <a:pt x="19" y="62"/>
                    <a:pt x="20" y="61"/>
                    <a:pt x="22" y="61"/>
                  </a:cubicBezTo>
                  <a:cubicBezTo>
                    <a:pt x="23" y="59"/>
                    <a:pt x="20" y="66"/>
                    <a:pt x="20" y="64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5"/>
                    <a:pt x="41" y="25"/>
                  </a:cubicBezTo>
                  <a:cubicBezTo>
                    <a:pt x="41" y="25"/>
                    <a:pt x="43" y="27"/>
                    <a:pt x="41" y="27"/>
                  </a:cubicBezTo>
                  <a:close/>
                  <a:moveTo>
                    <a:pt x="44" y="25"/>
                  </a:moveTo>
                  <a:cubicBezTo>
                    <a:pt x="44" y="27"/>
                    <a:pt x="46" y="25"/>
                    <a:pt x="46" y="24"/>
                  </a:cubicBezTo>
                  <a:cubicBezTo>
                    <a:pt x="46" y="24"/>
                    <a:pt x="44" y="25"/>
                    <a:pt x="44" y="24"/>
                  </a:cubicBezTo>
                  <a:cubicBezTo>
                    <a:pt x="44" y="24"/>
                    <a:pt x="43" y="25"/>
                    <a:pt x="43" y="24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1" y="22"/>
                    <a:pt x="40" y="24"/>
                    <a:pt x="41" y="24"/>
                  </a:cubicBezTo>
                  <a:cubicBezTo>
                    <a:pt x="43" y="25"/>
                    <a:pt x="43" y="24"/>
                    <a:pt x="44" y="25"/>
                  </a:cubicBezTo>
                  <a:close/>
                  <a:moveTo>
                    <a:pt x="44" y="27"/>
                  </a:moveTo>
                  <a:cubicBezTo>
                    <a:pt x="44" y="25"/>
                    <a:pt x="44" y="27"/>
                    <a:pt x="44" y="27"/>
                  </a:cubicBezTo>
                  <a:cubicBezTo>
                    <a:pt x="43" y="27"/>
                    <a:pt x="43" y="27"/>
                    <a:pt x="44" y="27"/>
                  </a:cubicBezTo>
                  <a:close/>
                  <a:moveTo>
                    <a:pt x="46" y="21"/>
                  </a:moveTo>
                  <a:cubicBezTo>
                    <a:pt x="47" y="21"/>
                    <a:pt x="47" y="19"/>
                    <a:pt x="47" y="21"/>
                  </a:cubicBezTo>
                  <a:cubicBezTo>
                    <a:pt x="46" y="21"/>
                    <a:pt x="46" y="19"/>
                    <a:pt x="46" y="21"/>
                  </a:cubicBezTo>
                  <a:cubicBezTo>
                    <a:pt x="46" y="22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7" y="22"/>
                    <a:pt x="47" y="22"/>
                  </a:cubicBezTo>
                  <a:cubicBezTo>
                    <a:pt x="46" y="24"/>
                    <a:pt x="46" y="24"/>
                    <a:pt x="46" y="22"/>
                  </a:cubicBezTo>
                  <a:close/>
                  <a:moveTo>
                    <a:pt x="43" y="19"/>
                  </a:moveTo>
                  <a:cubicBezTo>
                    <a:pt x="44" y="19"/>
                    <a:pt x="44" y="21"/>
                    <a:pt x="44" y="21"/>
                  </a:cubicBezTo>
                  <a:cubicBezTo>
                    <a:pt x="44" y="21"/>
                    <a:pt x="43" y="21"/>
                    <a:pt x="43" y="19"/>
                  </a:cubicBezTo>
                  <a:close/>
                  <a:moveTo>
                    <a:pt x="58" y="11"/>
                  </a:moveTo>
                  <a:cubicBezTo>
                    <a:pt x="58" y="10"/>
                    <a:pt x="58" y="10"/>
                    <a:pt x="58" y="8"/>
                  </a:cubicBezTo>
                  <a:cubicBezTo>
                    <a:pt x="58" y="8"/>
                    <a:pt x="58" y="8"/>
                    <a:pt x="60" y="5"/>
                  </a:cubicBezTo>
                  <a:cubicBezTo>
                    <a:pt x="60" y="3"/>
                    <a:pt x="58" y="7"/>
                    <a:pt x="58" y="5"/>
                  </a:cubicBezTo>
                  <a:cubicBezTo>
                    <a:pt x="58" y="5"/>
                    <a:pt x="58" y="3"/>
                    <a:pt x="58" y="5"/>
                  </a:cubicBezTo>
                  <a:cubicBezTo>
                    <a:pt x="57" y="7"/>
                    <a:pt x="57" y="5"/>
                    <a:pt x="57" y="3"/>
                  </a:cubicBezTo>
                  <a:cubicBezTo>
                    <a:pt x="58" y="2"/>
                    <a:pt x="53" y="5"/>
                    <a:pt x="55" y="5"/>
                  </a:cubicBezTo>
                  <a:cubicBezTo>
                    <a:pt x="55" y="5"/>
                    <a:pt x="57" y="5"/>
                    <a:pt x="57" y="7"/>
                  </a:cubicBezTo>
                  <a:cubicBezTo>
                    <a:pt x="57" y="7"/>
                    <a:pt x="53" y="7"/>
                    <a:pt x="53" y="8"/>
                  </a:cubicBezTo>
                  <a:cubicBezTo>
                    <a:pt x="53" y="10"/>
                    <a:pt x="55" y="8"/>
                    <a:pt x="55" y="8"/>
                  </a:cubicBezTo>
                  <a:cubicBezTo>
                    <a:pt x="57" y="10"/>
                    <a:pt x="57" y="8"/>
                    <a:pt x="57" y="8"/>
                  </a:cubicBezTo>
                  <a:cubicBezTo>
                    <a:pt x="58" y="10"/>
                    <a:pt x="55" y="11"/>
                    <a:pt x="57" y="13"/>
                  </a:cubicBezTo>
                  <a:cubicBezTo>
                    <a:pt x="58" y="14"/>
                    <a:pt x="58" y="11"/>
                    <a:pt x="58" y="11"/>
                  </a:cubicBezTo>
                  <a:close/>
                  <a:moveTo>
                    <a:pt x="60" y="3"/>
                  </a:moveTo>
                  <a:cubicBezTo>
                    <a:pt x="60" y="2"/>
                    <a:pt x="60" y="2"/>
                    <a:pt x="60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5"/>
                    <a:pt x="58" y="3"/>
                    <a:pt x="60" y="3"/>
                  </a:cubicBezTo>
                  <a:close/>
                  <a:moveTo>
                    <a:pt x="60" y="2"/>
                  </a:moveTo>
                  <a:cubicBezTo>
                    <a:pt x="60" y="0"/>
                    <a:pt x="60" y="0"/>
                    <a:pt x="61" y="0"/>
                  </a:cubicBezTo>
                  <a:cubicBezTo>
                    <a:pt x="61" y="0"/>
                    <a:pt x="61" y="2"/>
                    <a:pt x="60" y="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8" name="Freeform 202"/>
            <p:cNvSpPr>
              <a:spLocks/>
            </p:cNvSpPr>
            <p:nvPr/>
          </p:nvSpPr>
          <p:spPr bwMode="auto">
            <a:xfrm>
              <a:off x="4764889" y="3027837"/>
              <a:ext cx="1285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1" y="3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1" y="0"/>
                    <a:pt x="3" y="1"/>
                  </a:cubicBezTo>
                  <a:cubicBezTo>
                    <a:pt x="4" y="1"/>
                    <a:pt x="3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9" name="Freeform 203"/>
            <p:cNvSpPr>
              <a:spLocks/>
            </p:cNvSpPr>
            <p:nvPr/>
          </p:nvSpPr>
          <p:spPr bwMode="auto">
            <a:xfrm>
              <a:off x="4780957" y="3037478"/>
              <a:ext cx="6427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0"/>
                    <a:pt x="2" y="1"/>
                    <a:pt x="2" y="3"/>
                  </a:cubicBezTo>
                  <a:cubicBezTo>
                    <a:pt x="2" y="3"/>
                    <a:pt x="2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0" name="Freeform 204"/>
            <p:cNvSpPr>
              <a:spLocks/>
            </p:cNvSpPr>
            <p:nvPr/>
          </p:nvSpPr>
          <p:spPr bwMode="auto">
            <a:xfrm>
              <a:off x="4777744" y="3053546"/>
              <a:ext cx="9641" cy="112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3" y="3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1" y="0"/>
                    <a:pt x="0" y="0"/>
                    <a:pt x="1" y="0"/>
                  </a:cubicBezTo>
                  <a:cubicBezTo>
                    <a:pt x="3" y="1"/>
                    <a:pt x="1" y="3"/>
                    <a:pt x="3" y="3"/>
                  </a:cubicBezTo>
                  <a:cubicBezTo>
                    <a:pt x="3" y="3"/>
                    <a:pt x="3" y="4"/>
                    <a:pt x="1" y="3"/>
                  </a:cubicBezTo>
                  <a:cubicBezTo>
                    <a:pt x="1" y="1"/>
                    <a:pt x="0" y="0"/>
                    <a:pt x="0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1" name="Freeform 205"/>
            <p:cNvSpPr>
              <a:spLocks/>
            </p:cNvSpPr>
            <p:nvPr/>
          </p:nvSpPr>
          <p:spPr bwMode="auto">
            <a:xfrm>
              <a:off x="4774530" y="3021411"/>
              <a:ext cx="12854" cy="1928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0" y="2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1" y="2"/>
                    <a:pt x="3" y="3"/>
                  </a:cubicBezTo>
                  <a:cubicBezTo>
                    <a:pt x="4" y="5"/>
                    <a:pt x="4" y="6"/>
                    <a:pt x="3" y="5"/>
                  </a:cubicBezTo>
                  <a:cubicBezTo>
                    <a:pt x="1" y="2"/>
                    <a:pt x="1" y="3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2" name="Freeform 206"/>
            <p:cNvSpPr>
              <a:spLocks/>
            </p:cNvSpPr>
            <p:nvPr/>
          </p:nvSpPr>
          <p:spPr bwMode="auto">
            <a:xfrm>
              <a:off x="4777744" y="3021411"/>
              <a:ext cx="1285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1" y="3"/>
                </a:cxn>
              </a:cxnLst>
              <a:rect l="0" t="0" r="r" b="b"/>
              <a:pathLst>
                <a:path w="4" h="3">
                  <a:moveTo>
                    <a:pt x="1" y="3"/>
                  </a:moveTo>
                  <a:cubicBezTo>
                    <a:pt x="1" y="2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3" y="0"/>
                    <a:pt x="1" y="2"/>
                    <a:pt x="3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4" y="3"/>
                    <a:pt x="3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Freeform 207"/>
            <p:cNvSpPr>
              <a:spLocks/>
            </p:cNvSpPr>
            <p:nvPr/>
          </p:nvSpPr>
          <p:spPr bwMode="auto">
            <a:xfrm>
              <a:off x="4787385" y="3018197"/>
              <a:ext cx="8034" cy="96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3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1" y="1"/>
                    <a:pt x="1" y="1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3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Freeform 208"/>
            <p:cNvSpPr>
              <a:spLocks/>
            </p:cNvSpPr>
            <p:nvPr/>
          </p:nvSpPr>
          <p:spPr bwMode="auto">
            <a:xfrm>
              <a:off x="4787385" y="3018197"/>
              <a:ext cx="3213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Freeform 209"/>
            <p:cNvSpPr>
              <a:spLocks noEditPoints="1"/>
            </p:cNvSpPr>
            <p:nvPr/>
          </p:nvSpPr>
          <p:spPr bwMode="auto">
            <a:xfrm>
              <a:off x="4715080" y="3729988"/>
              <a:ext cx="342245" cy="273148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" y="11"/>
                </a:cxn>
                <a:cxn ang="0">
                  <a:pos x="8" y="6"/>
                </a:cxn>
                <a:cxn ang="0">
                  <a:pos x="11" y="2"/>
                </a:cxn>
                <a:cxn ang="0">
                  <a:pos x="22" y="3"/>
                </a:cxn>
                <a:cxn ang="0">
                  <a:pos x="32" y="3"/>
                </a:cxn>
                <a:cxn ang="0">
                  <a:pos x="49" y="5"/>
                </a:cxn>
                <a:cxn ang="0">
                  <a:pos x="57" y="5"/>
                </a:cxn>
                <a:cxn ang="0">
                  <a:pos x="61" y="5"/>
                </a:cxn>
                <a:cxn ang="0">
                  <a:pos x="64" y="8"/>
                </a:cxn>
                <a:cxn ang="0">
                  <a:pos x="71" y="11"/>
                </a:cxn>
                <a:cxn ang="0">
                  <a:pos x="75" y="12"/>
                </a:cxn>
                <a:cxn ang="0">
                  <a:pos x="80" y="12"/>
                </a:cxn>
                <a:cxn ang="0">
                  <a:pos x="87" y="14"/>
                </a:cxn>
                <a:cxn ang="0">
                  <a:pos x="89" y="16"/>
                </a:cxn>
                <a:cxn ang="0">
                  <a:pos x="95" y="16"/>
                </a:cxn>
                <a:cxn ang="0">
                  <a:pos x="100" y="16"/>
                </a:cxn>
                <a:cxn ang="0">
                  <a:pos x="101" y="20"/>
                </a:cxn>
                <a:cxn ang="0">
                  <a:pos x="93" y="28"/>
                </a:cxn>
                <a:cxn ang="0">
                  <a:pos x="81" y="33"/>
                </a:cxn>
                <a:cxn ang="0">
                  <a:pos x="81" y="37"/>
                </a:cxn>
                <a:cxn ang="0">
                  <a:pos x="74" y="52"/>
                </a:cxn>
                <a:cxn ang="0">
                  <a:pos x="77" y="58"/>
                </a:cxn>
                <a:cxn ang="0">
                  <a:pos x="69" y="69"/>
                </a:cxn>
                <a:cxn ang="0">
                  <a:pos x="66" y="70"/>
                </a:cxn>
                <a:cxn ang="0">
                  <a:pos x="57" y="78"/>
                </a:cxn>
                <a:cxn ang="0">
                  <a:pos x="46" y="80"/>
                </a:cxn>
                <a:cxn ang="0">
                  <a:pos x="40" y="81"/>
                </a:cxn>
                <a:cxn ang="0">
                  <a:pos x="34" y="83"/>
                </a:cxn>
                <a:cxn ang="0">
                  <a:pos x="31" y="86"/>
                </a:cxn>
                <a:cxn ang="0">
                  <a:pos x="28" y="86"/>
                </a:cxn>
                <a:cxn ang="0">
                  <a:pos x="23" y="78"/>
                </a:cxn>
                <a:cxn ang="0">
                  <a:pos x="16" y="73"/>
                </a:cxn>
                <a:cxn ang="0">
                  <a:pos x="19" y="66"/>
                </a:cxn>
                <a:cxn ang="0">
                  <a:pos x="19" y="62"/>
                </a:cxn>
                <a:cxn ang="0">
                  <a:pos x="19" y="56"/>
                </a:cxn>
                <a:cxn ang="0">
                  <a:pos x="17" y="52"/>
                </a:cxn>
                <a:cxn ang="0">
                  <a:pos x="17" y="47"/>
                </a:cxn>
                <a:cxn ang="0">
                  <a:pos x="20" y="42"/>
                </a:cxn>
                <a:cxn ang="0">
                  <a:pos x="20" y="33"/>
                </a:cxn>
                <a:cxn ang="0">
                  <a:pos x="25" y="25"/>
                </a:cxn>
                <a:cxn ang="0">
                  <a:pos x="20" y="20"/>
                </a:cxn>
                <a:cxn ang="0">
                  <a:pos x="14" y="22"/>
                </a:cxn>
                <a:cxn ang="0">
                  <a:pos x="10" y="22"/>
                </a:cxn>
                <a:cxn ang="0">
                  <a:pos x="11" y="19"/>
                </a:cxn>
                <a:cxn ang="0">
                  <a:pos x="5" y="22"/>
                </a:cxn>
                <a:cxn ang="0">
                  <a:pos x="3" y="16"/>
                </a:cxn>
                <a:cxn ang="0">
                  <a:pos x="97" y="48"/>
                </a:cxn>
                <a:cxn ang="0">
                  <a:pos x="98" y="52"/>
                </a:cxn>
                <a:cxn ang="0">
                  <a:pos x="103" y="47"/>
                </a:cxn>
                <a:cxn ang="0">
                  <a:pos x="101" y="45"/>
                </a:cxn>
                <a:cxn ang="0">
                  <a:pos x="95" y="48"/>
                </a:cxn>
                <a:cxn ang="0">
                  <a:pos x="97" y="48"/>
                </a:cxn>
                <a:cxn ang="0">
                  <a:pos x="109" y="44"/>
                </a:cxn>
                <a:cxn ang="0">
                  <a:pos x="109" y="44"/>
                </a:cxn>
                <a:cxn ang="0">
                  <a:pos x="106" y="44"/>
                </a:cxn>
                <a:cxn ang="0">
                  <a:pos x="109" y="44"/>
                </a:cxn>
                <a:cxn ang="0">
                  <a:pos x="87" y="53"/>
                </a:cxn>
                <a:cxn ang="0">
                  <a:pos x="84" y="56"/>
                </a:cxn>
                <a:cxn ang="0">
                  <a:pos x="87" y="53"/>
                </a:cxn>
              </a:cxnLst>
              <a:rect l="0" t="0" r="r" b="b"/>
              <a:pathLst>
                <a:path w="110" h="88">
                  <a:moveTo>
                    <a:pt x="3" y="16"/>
                  </a:moveTo>
                  <a:cubicBezTo>
                    <a:pt x="2" y="12"/>
                    <a:pt x="3" y="11"/>
                    <a:pt x="2" y="11"/>
                  </a:cubicBezTo>
                  <a:cubicBezTo>
                    <a:pt x="0" y="9"/>
                    <a:pt x="3" y="6"/>
                    <a:pt x="8" y="6"/>
                  </a:cubicBezTo>
                  <a:cubicBezTo>
                    <a:pt x="11" y="6"/>
                    <a:pt x="8" y="3"/>
                    <a:pt x="11" y="2"/>
                  </a:cubicBezTo>
                  <a:cubicBezTo>
                    <a:pt x="16" y="0"/>
                    <a:pt x="16" y="3"/>
                    <a:pt x="22" y="3"/>
                  </a:cubicBezTo>
                  <a:cubicBezTo>
                    <a:pt x="28" y="3"/>
                    <a:pt x="28" y="2"/>
                    <a:pt x="32" y="3"/>
                  </a:cubicBezTo>
                  <a:cubicBezTo>
                    <a:pt x="40" y="6"/>
                    <a:pt x="43" y="3"/>
                    <a:pt x="49" y="5"/>
                  </a:cubicBezTo>
                  <a:cubicBezTo>
                    <a:pt x="54" y="6"/>
                    <a:pt x="52" y="3"/>
                    <a:pt x="57" y="5"/>
                  </a:cubicBezTo>
                  <a:cubicBezTo>
                    <a:pt x="58" y="6"/>
                    <a:pt x="60" y="5"/>
                    <a:pt x="61" y="5"/>
                  </a:cubicBezTo>
                  <a:cubicBezTo>
                    <a:pt x="63" y="6"/>
                    <a:pt x="64" y="5"/>
                    <a:pt x="64" y="8"/>
                  </a:cubicBezTo>
                  <a:cubicBezTo>
                    <a:pt x="64" y="9"/>
                    <a:pt x="69" y="8"/>
                    <a:pt x="71" y="11"/>
                  </a:cubicBezTo>
                  <a:cubicBezTo>
                    <a:pt x="71" y="12"/>
                    <a:pt x="74" y="11"/>
                    <a:pt x="75" y="12"/>
                  </a:cubicBezTo>
                  <a:cubicBezTo>
                    <a:pt x="77" y="14"/>
                    <a:pt x="77" y="11"/>
                    <a:pt x="80" y="12"/>
                  </a:cubicBezTo>
                  <a:cubicBezTo>
                    <a:pt x="83" y="12"/>
                    <a:pt x="78" y="8"/>
                    <a:pt x="87" y="14"/>
                  </a:cubicBezTo>
                  <a:cubicBezTo>
                    <a:pt x="87" y="16"/>
                    <a:pt x="89" y="16"/>
                    <a:pt x="89" y="16"/>
                  </a:cubicBezTo>
                  <a:cubicBezTo>
                    <a:pt x="93" y="17"/>
                    <a:pt x="93" y="16"/>
                    <a:pt x="95" y="16"/>
                  </a:cubicBezTo>
                  <a:cubicBezTo>
                    <a:pt x="98" y="17"/>
                    <a:pt x="97" y="16"/>
                    <a:pt x="100" y="16"/>
                  </a:cubicBezTo>
                  <a:cubicBezTo>
                    <a:pt x="104" y="19"/>
                    <a:pt x="100" y="17"/>
                    <a:pt x="101" y="20"/>
                  </a:cubicBezTo>
                  <a:cubicBezTo>
                    <a:pt x="103" y="23"/>
                    <a:pt x="93" y="25"/>
                    <a:pt x="93" y="28"/>
                  </a:cubicBezTo>
                  <a:cubicBezTo>
                    <a:pt x="92" y="30"/>
                    <a:pt x="83" y="30"/>
                    <a:pt x="81" y="33"/>
                  </a:cubicBezTo>
                  <a:cubicBezTo>
                    <a:pt x="81" y="36"/>
                    <a:pt x="86" y="34"/>
                    <a:pt x="81" y="37"/>
                  </a:cubicBezTo>
                  <a:cubicBezTo>
                    <a:pt x="78" y="37"/>
                    <a:pt x="72" y="47"/>
                    <a:pt x="74" y="52"/>
                  </a:cubicBezTo>
                  <a:cubicBezTo>
                    <a:pt x="74" y="56"/>
                    <a:pt x="77" y="56"/>
                    <a:pt x="77" y="58"/>
                  </a:cubicBezTo>
                  <a:cubicBezTo>
                    <a:pt x="77" y="58"/>
                    <a:pt x="68" y="62"/>
                    <a:pt x="69" y="69"/>
                  </a:cubicBezTo>
                  <a:cubicBezTo>
                    <a:pt x="69" y="70"/>
                    <a:pt x="69" y="70"/>
                    <a:pt x="66" y="70"/>
                  </a:cubicBezTo>
                  <a:cubicBezTo>
                    <a:pt x="60" y="70"/>
                    <a:pt x="60" y="81"/>
                    <a:pt x="57" y="78"/>
                  </a:cubicBezTo>
                  <a:cubicBezTo>
                    <a:pt x="55" y="77"/>
                    <a:pt x="51" y="81"/>
                    <a:pt x="46" y="80"/>
                  </a:cubicBezTo>
                  <a:cubicBezTo>
                    <a:pt x="43" y="78"/>
                    <a:pt x="40" y="80"/>
                    <a:pt x="40" y="81"/>
                  </a:cubicBezTo>
                  <a:cubicBezTo>
                    <a:pt x="38" y="83"/>
                    <a:pt x="35" y="81"/>
                    <a:pt x="34" y="83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8"/>
                    <a:pt x="31" y="88"/>
                    <a:pt x="28" y="86"/>
                  </a:cubicBezTo>
                  <a:cubicBezTo>
                    <a:pt x="25" y="83"/>
                    <a:pt x="23" y="81"/>
                    <a:pt x="23" y="78"/>
                  </a:cubicBezTo>
                  <a:cubicBezTo>
                    <a:pt x="23" y="77"/>
                    <a:pt x="20" y="72"/>
                    <a:pt x="16" y="73"/>
                  </a:cubicBezTo>
                  <a:cubicBezTo>
                    <a:pt x="16" y="72"/>
                    <a:pt x="16" y="67"/>
                    <a:pt x="19" y="66"/>
                  </a:cubicBezTo>
                  <a:cubicBezTo>
                    <a:pt x="22" y="62"/>
                    <a:pt x="20" y="62"/>
                    <a:pt x="19" y="62"/>
                  </a:cubicBezTo>
                  <a:cubicBezTo>
                    <a:pt x="17" y="62"/>
                    <a:pt x="16" y="61"/>
                    <a:pt x="19" y="56"/>
                  </a:cubicBezTo>
                  <a:cubicBezTo>
                    <a:pt x="22" y="52"/>
                    <a:pt x="19" y="55"/>
                    <a:pt x="17" y="52"/>
                  </a:cubicBezTo>
                  <a:cubicBezTo>
                    <a:pt x="17" y="47"/>
                    <a:pt x="14" y="47"/>
                    <a:pt x="17" y="47"/>
                  </a:cubicBezTo>
                  <a:cubicBezTo>
                    <a:pt x="20" y="47"/>
                    <a:pt x="20" y="45"/>
                    <a:pt x="20" y="42"/>
                  </a:cubicBezTo>
                  <a:cubicBezTo>
                    <a:pt x="19" y="41"/>
                    <a:pt x="22" y="41"/>
                    <a:pt x="20" y="33"/>
                  </a:cubicBezTo>
                  <a:cubicBezTo>
                    <a:pt x="20" y="31"/>
                    <a:pt x="29" y="25"/>
                    <a:pt x="25" y="25"/>
                  </a:cubicBezTo>
                  <a:cubicBezTo>
                    <a:pt x="22" y="23"/>
                    <a:pt x="25" y="22"/>
                    <a:pt x="20" y="20"/>
                  </a:cubicBezTo>
                  <a:cubicBezTo>
                    <a:pt x="16" y="20"/>
                    <a:pt x="19" y="23"/>
                    <a:pt x="14" y="22"/>
                  </a:cubicBezTo>
                  <a:cubicBezTo>
                    <a:pt x="11" y="20"/>
                    <a:pt x="11" y="23"/>
                    <a:pt x="10" y="22"/>
                  </a:cubicBezTo>
                  <a:cubicBezTo>
                    <a:pt x="8" y="22"/>
                    <a:pt x="13" y="20"/>
                    <a:pt x="11" y="19"/>
                  </a:cubicBezTo>
                  <a:cubicBezTo>
                    <a:pt x="10" y="19"/>
                    <a:pt x="10" y="19"/>
                    <a:pt x="5" y="22"/>
                  </a:cubicBezTo>
                  <a:cubicBezTo>
                    <a:pt x="3" y="20"/>
                    <a:pt x="5" y="17"/>
                    <a:pt x="3" y="16"/>
                  </a:cubicBezTo>
                  <a:close/>
                  <a:moveTo>
                    <a:pt x="97" y="48"/>
                  </a:moveTo>
                  <a:cubicBezTo>
                    <a:pt x="98" y="48"/>
                    <a:pt x="97" y="50"/>
                    <a:pt x="98" y="52"/>
                  </a:cubicBezTo>
                  <a:cubicBezTo>
                    <a:pt x="101" y="52"/>
                    <a:pt x="101" y="48"/>
                    <a:pt x="103" y="47"/>
                  </a:cubicBezTo>
                  <a:cubicBezTo>
                    <a:pt x="104" y="44"/>
                    <a:pt x="101" y="47"/>
                    <a:pt x="101" y="45"/>
                  </a:cubicBezTo>
                  <a:cubicBezTo>
                    <a:pt x="100" y="42"/>
                    <a:pt x="93" y="47"/>
                    <a:pt x="95" y="48"/>
                  </a:cubicBezTo>
                  <a:cubicBezTo>
                    <a:pt x="95" y="48"/>
                    <a:pt x="93" y="48"/>
                    <a:pt x="97" y="48"/>
                  </a:cubicBezTo>
                  <a:close/>
                  <a:moveTo>
                    <a:pt x="109" y="44"/>
                  </a:moveTo>
                  <a:cubicBezTo>
                    <a:pt x="109" y="45"/>
                    <a:pt x="110" y="45"/>
                    <a:pt x="109" y="44"/>
                  </a:cubicBezTo>
                  <a:cubicBezTo>
                    <a:pt x="109" y="42"/>
                    <a:pt x="106" y="42"/>
                    <a:pt x="106" y="44"/>
                  </a:cubicBezTo>
                  <a:cubicBezTo>
                    <a:pt x="106" y="44"/>
                    <a:pt x="107" y="44"/>
                    <a:pt x="109" y="44"/>
                  </a:cubicBezTo>
                  <a:close/>
                  <a:moveTo>
                    <a:pt x="87" y="53"/>
                  </a:moveTo>
                  <a:cubicBezTo>
                    <a:pt x="89" y="55"/>
                    <a:pt x="86" y="56"/>
                    <a:pt x="84" y="56"/>
                  </a:cubicBezTo>
                  <a:cubicBezTo>
                    <a:pt x="84" y="55"/>
                    <a:pt x="86" y="52"/>
                    <a:pt x="87" y="53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" name="Freeform 210"/>
            <p:cNvSpPr>
              <a:spLocks noEditPoints="1"/>
            </p:cNvSpPr>
            <p:nvPr/>
          </p:nvSpPr>
          <p:spPr bwMode="auto">
            <a:xfrm>
              <a:off x="7843484" y="4559073"/>
              <a:ext cx="241017" cy="457924"/>
            </a:xfrm>
            <a:custGeom>
              <a:avLst/>
              <a:gdLst/>
              <a:ahLst/>
              <a:cxnLst>
                <a:cxn ang="0">
                  <a:pos x="38" y="38"/>
                </a:cxn>
                <a:cxn ang="0">
                  <a:pos x="56" y="52"/>
                </a:cxn>
                <a:cxn ang="0">
                  <a:pos x="59" y="78"/>
                </a:cxn>
                <a:cxn ang="0">
                  <a:pos x="62" y="84"/>
                </a:cxn>
                <a:cxn ang="0">
                  <a:pos x="64" y="81"/>
                </a:cxn>
                <a:cxn ang="0">
                  <a:pos x="58" y="72"/>
                </a:cxn>
                <a:cxn ang="0">
                  <a:pos x="48" y="95"/>
                </a:cxn>
                <a:cxn ang="0">
                  <a:pos x="47" y="78"/>
                </a:cxn>
                <a:cxn ang="0">
                  <a:pos x="42" y="91"/>
                </a:cxn>
                <a:cxn ang="0">
                  <a:pos x="45" y="80"/>
                </a:cxn>
                <a:cxn ang="0">
                  <a:pos x="53" y="66"/>
                </a:cxn>
                <a:cxn ang="0">
                  <a:pos x="50" y="66"/>
                </a:cxn>
                <a:cxn ang="0">
                  <a:pos x="68" y="80"/>
                </a:cxn>
                <a:cxn ang="0">
                  <a:pos x="53" y="77"/>
                </a:cxn>
                <a:cxn ang="0">
                  <a:pos x="55" y="81"/>
                </a:cxn>
                <a:cxn ang="0">
                  <a:pos x="50" y="87"/>
                </a:cxn>
                <a:cxn ang="0">
                  <a:pos x="59" y="89"/>
                </a:cxn>
                <a:cxn ang="0">
                  <a:pos x="55" y="87"/>
                </a:cxn>
                <a:cxn ang="0">
                  <a:pos x="41" y="114"/>
                </a:cxn>
                <a:cxn ang="0">
                  <a:pos x="47" y="111"/>
                </a:cxn>
                <a:cxn ang="0">
                  <a:pos x="53" y="109"/>
                </a:cxn>
                <a:cxn ang="0">
                  <a:pos x="56" y="123"/>
                </a:cxn>
                <a:cxn ang="0">
                  <a:pos x="67" y="130"/>
                </a:cxn>
                <a:cxn ang="0">
                  <a:pos x="68" y="114"/>
                </a:cxn>
                <a:cxn ang="0">
                  <a:pos x="71" y="119"/>
                </a:cxn>
                <a:cxn ang="0">
                  <a:pos x="74" y="109"/>
                </a:cxn>
                <a:cxn ang="0">
                  <a:pos x="73" y="97"/>
                </a:cxn>
                <a:cxn ang="0">
                  <a:pos x="67" y="94"/>
                </a:cxn>
                <a:cxn ang="0">
                  <a:pos x="58" y="103"/>
                </a:cxn>
                <a:cxn ang="0">
                  <a:pos x="50" y="100"/>
                </a:cxn>
                <a:cxn ang="0">
                  <a:pos x="42" y="106"/>
                </a:cxn>
                <a:cxn ang="0">
                  <a:pos x="41" y="122"/>
                </a:cxn>
                <a:cxn ang="0">
                  <a:pos x="33" y="126"/>
                </a:cxn>
                <a:cxn ang="0">
                  <a:pos x="52" y="97"/>
                </a:cxn>
                <a:cxn ang="0">
                  <a:pos x="61" y="97"/>
                </a:cxn>
                <a:cxn ang="0">
                  <a:pos x="39" y="61"/>
                </a:cxn>
                <a:cxn ang="0">
                  <a:pos x="38" y="53"/>
                </a:cxn>
                <a:cxn ang="0">
                  <a:pos x="42" y="63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23" y="81"/>
                </a:cxn>
                <a:cxn ang="0">
                  <a:pos x="67" y="73"/>
                </a:cxn>
                <a:cxn ang="0">
                  <a:pos x="59" y="67"/>
                </a:cxn>
                <a:cxn ang="0">
                  <a:pos x="68" y="77"/>
                </a:cxn>
                <a:cxn ang="0">
                  <a:pos x="70" y="87"/>
                </a:cxn>
                <a:cxn ang="0">
                  <a:pos x="47" y="77"/>
                </a:cxn>
                <a:cxn ang="0">
                  <a:pos x="39" y="70"/>
                </a:cxn>
                <a:cxn ang="0">
                  <a:pos x="35" y="63"/>
                </a:cxn>
                <a:cxn ang="0">
                  <a:pos x="27" y="56"/>
                </a:cxn>
                <a:cxn ang="0">
                  <a:pos x="11" y="94"/>
                </a:cxn>
                <a:cxn ang="0">
                  <a:pos x="20" y="73"/>
                </a:cxn>
                <a:cxn ang="0">
                  <a:pos x="7" y="94"/>
                </a:cxn>
                <a:cxn ang="0">
                  <a:pos x="53" y="56"/>
                </a:cxn>
                <a:cxn ang="0">
                  <a:pos x="47" y="50"/>
                </a:cxn>
                <a:cxn ang="0">
                  <a:pos x="36" y="41"/>
                </a:cxn>
                <a:cxn ang="0">
                  <a:pos x="42" y="19"/>
                </a:cxn>
                <a:cxn ang="0">
                  <a:pos x="26" y="8"/>
                </a:cxn>
                <a:cxn ang="0">
                  <a:pos x="21" y="28"/>
                </a:cxn>
                <a:cxn ang="0">
                  <a:pos x="29" y="41"/>
                </a:cxn>
                <a:cxn ang="0">
                  <a:pos x="35" y="49"/>
                </a:cxn>
                <a:cxn ang="0">
                  <a:pos x="45" y="52"/>
                </a:cxn>
                <a:cxn ang="0">
                  <a:pos x="56" y="59"/>
                </a:cxn>
                <a:cxn ang="0">
                  <a:pos x="77" y="142"/>
                </a:cxn>
              </a:cxnLst>
              <a:rect l="0" t="0" r="r" b="b"/>
              <a:pathLst>
                <a:path w="77" h="147">
                  <a:moveTo>
                    <a:pt x="38" y="38"/>
                  </a:moveTo>
                  <a:cubicBezTo>
                    <a:pt x="38" y="36"/>
                    <a:pt x="38" y="38"/>
                    <a:pt x="39" y="39"/>
                  </a:cubicBezTo>
                  <a:cubicBezTo>
                    <a:pt x="39" y="41"/>
                    <a:pt x="38" y="42"/>
                    <a:pt x="38" y="41"/>
                  </a:cubicBezTo>
                  <a:cubicBezTo>
                    <a:pt x="38" y="38"/>
                    <a:pt x="36" y="38"/>
                    <a:pt x="38" y="38"/>
                  </a:cubicBezTo>
                  <a:close/>
                  <a:moveTo>
                    <a:pt x="58" y="50"/>
                  </a:moveTo>
                  <a:cubicBezTo>
                    <a:pt x="58" y="49"/>
                    <a:pt x="58" y="49"/>
                    <a:pt x="58" y="49"/>
                  </a:cubicBezTo>
                  <a:cubicBezTo>
                    <a:pt x="56" y="47"/>
                    <a:pt x="55" y="45"/>
                    <a:pt x="56" y="49"/>
                  </a:cubicBezTo>
                  <a:cubicBezTo>
                    <a:pt x="56" y="52"/>
                    <a:pt x="55" y="50"/>
                    <a:pt x="56" y="52"/>
                  </a:cubicBezTo>
                  <a:cubicBezTo>
                    <a:pt x="56" y="53"/>
                    <a:pt x="58" y="52"/>
                    <a:pt x="58" y="50"/>
                  </a:cubicBezTo>
                  <a:close/>
                  <a:moveTo>
                    <a:pt x="58" y="75"/>
                  </a:moveTo>
                  <a:cubicBezTo>
                    <a:pt x="58" y="77"/>
                    <a:pt x="59" y="77"/>
                    <a:pt x="58" y="78"/>
                  </a:cubicBezTo>
                  <a:cubicBezTo>
                    <a:pt x="56" y="78"/>
                    <a:pt x="59" y="80"/>
                    <a:pt x="59" y="78"/>
                  </a:cubicBezTo>
                  <a:cubicBezTo>
                    <a:pt x="59" y="77"/>
                    <a:pt x="62" y="80"/>
                    <a:pt x="61" y="81"/>
                  </a:cubicBezTo>
                  <a:cubicBezTo>
                    <a:pt x="59" y="83"/>
                    <a:pt x="61" y="83"/>
                    <a:pt x="61" y="84"/>
                  </a:cubicBezTo>
                  <a:cubicBezTo>
                    <a:pt x="61" y="86"/>
                    <a:pt x="61" y="86"/>
                    <a:pt x="62" y="86"/>
                  </a:cubicBezTo>
                  <a:cubicBezTo>
                    <a:pt x="64" y="87"/>
                    <a:pt x="62" y="84"/>
                    <a:pt x="62" y="84"/>
                  </a:cubicBezTo>
                  <a:cubicBezTo>
                    <a:pt x="64" y="84"/>
                    <a:pt x="64" y="86"/>
                    <a:pt x="64" y="87"/>
                  </a:cubicBezTo>
                  <a:cubicBezTo>
                    <a:pt x="65" y="89"/>
                    <a:pt x="65" y="87"/>
                    <a:pt x="64" y="86"/>
                  </a:cubicBezTo>
                  <a:cubicBezTo>
                    <a:pt x="64" y="84"/>
                    <a:pt x="67" y="84"/>
                    <a:pt x="65" y="83"/>
                  </a:cubicBezTo>
                  <a:cubicBezTo>
                    <a:pt x="64" y="83"/>
                    <a:pt x="65" y="81"/>
                    <a:pt x="64" y="81"/>
                  </a:cubicBezTo>
                  <a:cubicBezTo>
                    <a:pt x="62" y="80"/>
                    <a:pt x="64" y="75"/>
                    <a:pt x="62" y="75"/>
                  </a:cubicBezTo>
                  <a:cubicBezTo>
                    <a:pt x="62" y="75"/>
                    <a:pt x="64" y="73"/>
                    <a:pt x="62" y="73"/>
                  </a:cubicBezTo>
                  <a:cubicBezTo>
                    <a:pt x="61" y="73"/>
                    <a:pt x="61" y="75"/>
                    <a:pt x="59" y="73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6" y="73"/>
                    <a:pt x="58" y="75"/>
                    <a:pt x="58" y="75"/>
                  </a:cubicBezTo>
                  <a:close/>
                  <a:moveTo>
                    <a:pt x="42" y="91"/>
                  </a:moveTo>
                  <a:cubicBezTo>
                    <a:pt x="44" y="94"/>
                    <a:pt x="45" y="92"/>
                    <a:pt x="45" y="95"/>
                  </a:cubicBezTo>
                  <a:cubicBezTo>
                    <a:pt x="47" y="98"/>
                    <a:pt x="48" y="97"/>
                    <a:pt x="48" y="95"/>
                  </a:cubicBezTo>
                  <a:cubicBezTo>
                    <a:pt x="50" y="94"/>
                    <a:pt x="47" y="91"/>
                    <a:pt x="48" y="87"/>
                  </a:cubicBezTo>
                  <a:cubicBezTo>
                    <a:pt x="50" y="86"/>
                    <a:pt x="48" y="86"/>
                    <a:pt x="50" y="83"/>
                  </a:cubicBezTo>
                  <a:cubicBezTo>
                    <a:pt x="52" y="81"/>
                    <a:pt x="52" y="78"/>
                    <a:pt x="50" y="78"/>
                  </a:cubicBezTo>
                  <a:cubicBezTo>
                    <a:pt x="48" y="78"/>
                    <a:pt x="48" y="77"/>
                    <a:pt x="47" y="78"/>
                  </a:cubicBezTo>
                  <a:cubicBezTo>
                    <a:pt x="45" y="80"/>
                    <a:pt x="47" y="81"/>
                    <a:pt x="45" y="81"/>
                  </a:cubicBezTo>
                  <a:cubicBezTo>
                    <a:pt x="44" y="83"/>
                    <a:pt x="47" y="86"/>
                    <a:pt x="45" y="87"/>
                  </a:cubicBezTo>
                  <a:cubicBezTo>
                    <a:pt x="42" y="89"/>
                    <a:pt x="42" y="86"/>
                    <a:pt x="42" y="89"/>
                  </a:cubicBezTo>
                  <a:cubicBezTo>
                    <a:pt x="42" y="91"/>
                    <a:pt x="42" y="91"/>
                    <a:pt x="42" y="91"/>
                  </a:cubicBezTo>
                  <a:close/>
                  <a:moveTo>
                    <a:pt x="45" y="80"/>
                  </a:moveTo>
                  <a:cubicBezTo>
                    <a:pt x="44" y="80"/>
                    <a:pt x="42" y="81"/>
                    <a:pt x="44" y="81"/>
                  </a:cubicBezTo>
                  <a:cubicBezTo>
                    <a:pt x="44" y="83"/>
                    <a:pt x="42" y="83"/>
                    <a:pt x="44" y="83"/>
                  </a:cubicBezTo>
                  <a:cubicBezTo>
                    <a:pt x="44" y="84"/>
                    <a:pt x="45" y="81"/>
                    <a:pt x="45" y="80"/>
                  </a:cubicBezTo>
                  <a:close/>
                  <a:moveTo>
                    <a:pt x="50" y="66"/>
                  </a:moveTo>
                  <a:cubicBezTo>
                    <a:pt x="52" y="64"/>
                    <a:pt x="52" y="69"/>
                    <a:pt x="53" y="69"/>
                  </a:cubicBezTo>
                  <a:cubicBezTo>
                    <a:pt x="55" y="69"/>
                    <a:pt x="56" y="72"/>
                    <a:pt x="56" y="70"/>
                  </a:cubicBezTo>
                  <a:cubicBezTo>
                    <a:pt x="55" y="67"/>
                    <a:pt x="55" y="66"/>
                    <a:pt x="53" y="66"/>
                  </a:cubicBezTo>
                  <a:cubicBezTo>
                    <a:pt x="52" y="64"/>
                    <a:pt x="52" y="63"/>
                    <a:pt x="50" y="63"/>
                  </a:cubicBezTo>
                  <a:cubicBezTo>
                    <a:pt x="50" y="63"/>
                    <a:pt x="48" y="61"/>
                    <a:pt x="48" y="63"/>
                  </a:cubicBezTo>
                  <a:cubicBezTo>
                    <a:pt x="48" y="64"/>
                    <a:pt x="48" y="66"/>
                    <a:pt x="48" y="69"/>
                  </a:cubicBezTo>
                  <a:cubicBezTo>
                    <a:pt x="47" y="69"/>
                    <a:pt x="50" y="67"/>
                    <a:pt x="50" y="66"/>
                  </a:cubicBezTo>
                  <a:close/>
                  <a:moveTo>
                    <a:pt x="59" y="70"/>
                  </a:moveTo>
                  <a:cubicBezTo>
                    <a:pt x="59" y="70"/>
                    <a:pt x="61" y="73"/>
                    <a:pt x="59" y="72"/>
                  </a:cubicBezTo>
                  <a:cubicBezTo>
                    <a:pt x="58" y="72"/>
                    <a:pt x="58" y="70"/>
                    <a:pt x="59" y="70"/>
                  </a:cubicBezTo>
                  <a:close/>
                  <a:moveTo>
                    <a:pt x="68" y="80"/>
                  </a:moveTo>
                  <a:cubicBezTo>
                    <a:pt x="68" y="80"/>
                    <a:pt x="70" y="80"/>
                    <a:pt x="68" y="80"/>
                  </a:cubicBezTo>
                  <a:cubicBezTo>
                    <a:pt x="68" y="81"/>
                    <a:pt x="68" y="80"/>
                    <a:pt x="68" y="80"/>
                  </a:cubicBezTo>
                  <a:close/>
                  <a:moveTo>
                    <a:pt x="53" y="75"/>
                  </a:moveTo>
                  <a:cubicBezTo>
                    <a:pt x="53" y="73"/>
                    <a:pt x="53" y="77"/>
                    <a:pt x="53" y="77"/>
                  </a:cubicBezTo>
                  <a:cubicBezTo>
                    <a:pt x="53" y="77"/>
                    <a:pt x="52" y="75"/>
                    <a:pt x="53" y="75"/>
                  </a:cubicBezTo>
                  <a:close/>
                  <a:moveTo>
                    <a:pt x="52" y="91"/>
                  </a:moveTo>
                  <a:cubicBezTo>
                    <a:pt x="52" y="87"/>
                    <a:pt x="52" y="89"/>
                    <a:pt x="52" y="87"/>
                  </a:cubicBezTo>
                  <a:cubicBezTo>
                    <a:pt x="52" y="84"/>
                    <a:pt x="56" y="84"/>
                    <a:pt x="55" y="81"/>
                  </a:cubicBezTo>
                  <a:cubicBezTo>
                    <a:pt x="55" y="80"/>
                    <a:pt x="56" y="80"/>
                    <a:pt x="56" y="78"/>
                  </a:cubicBezTo>
                  <a:cubicBezTo>
                    <a:pt x="55" y="77"/>
                    <a:pt x="56" y="72"/>
                    <a:pt x="55" y="77"/>
                  </a:cubicBezTo>
                  <a:cubicBezTo>
                    <a:pt x="53" y="80"/>
                    <a:pt x="53" y="78"/>
                    <a:pt x="53" y="81"/>
                  </a:cubicBezTo>
                  <a:cubicBezTo>
                    <a:pt x="52" y="84"/>
                    <a:pt x="50" y="86"/>
                    <a:pt x="50" y="87"/>
                  </a:cubicBezTo>
                  <a:cubicBezTo>
                    <a:pt x="50" y="89"/>
                    <a:pt x="50" y="89"/>
                    <a:pt x="50" y="92"/>
                  </a:cubicBezTo>
                  <a:cubicBezTo>
                    <a:pt x="50" y="94"/>
                    <a:pt x="50" y="92"/>
                    <a:pt x="52" y="91"/>
                  </a:cubicBezTo>
                  <a:close/>
                  <a:moveTo>
                    <a:pt x="58" y="91"/>
                  </a:moveTo>
                  <a:cubicBezTo>
                    <a:pt x="59" y="89"/>
                    <a:pt x="59" y="91"/>
                    <a:pt x="59" y="89"/>
                  </a:cubicBezTo>
                  <a:cubicBezTo>
                    <a:pt x="59" y="87"/>
                    <a:pt x="61" y="86"/>
                    <a:pt x="59" y="86"/>
                  </a:cubicBezTo>
                  <a:cubicBezTo>
                    <a:pt x="59" y="86"/>
                    <a:pt x="59" y="87"/>
                    <a:pt x="58" y="86"/>
                  </a:cubicBezTo>
                  <a:cubicBezTo>
                    <a:pt x="58" y="86"/>
                    <a:pt x="56" y="84"/>
                    <a:pt x="56" y="86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7"/>
                    <a:pt x="53" y="89"/>
                    <a:pt x="53" y="91"/>
                  </a:cubicBezTo>
                  <a:cubicBezTo>
                    <a:pt x="55" y="92"/>
                    <a:pt x="58" y="91"/>
                    <a:pt x="58" y="91"/>
                  </a:cubicBezTo>
                  <a:close/>
                  <a:moveTo>
                    <a:pt x="39" y="117"/>
                  </a:moveTo>
                  <a:cubicBezTo>
                    <a:pt x="41" y="119"/>
                    <a:pt x="41" y="116"/>
                    <a:pt x="41" y="114"/>
                  </a:cubicBezTo>
                  <a:cubicBezTo>
                    <a:pt x="42" y="112"/>
                    <a:pt x="41" y="112"/>
                    <a:pt x="42" y="112"/>
                  </a:cubicBezTo>
                  <a:cubicBezTo>
                    <a:pt x="44" y="111"/>
                    <a:pt x="42" y="111"/>
                    <a:pt x="44" y="109"/>
                  </a:cubicBezTo>
                  <a:cubicBezTo>
                    <a:pt x="45" y="108"/>
                    <a:pt x="45" y="109"/>
                    <a:pt x="45" y="111"/>
                  </a:cubicBezTo>
                  <a:cubicBezTo>
                    <a:pt x="44" y="112"/>
                    <a:pt x="47" y="112"/>
                    <a:pt x="47" y="111"/>
                  </a:cubicBezTo>
                  <a:cubicBezTo>
                    <a:pt x="48" y="108"/>
                    <a:pt x="47" y="112"/>
                    <a:pt x="48" y="112"/>
                  </a:cubicBezTo>
                  <a:cubicBezTo>
                    <a:pt x="50" y="112"/>
                    <a:pt x="52" y="114"/>
                    <a:pt x="50" y="112"/>
                  </a:cubicBezTo>
                  <a:cubicBezTo>
                    <a:pt x="50" y="111"/>
                    <a:pt x="52" y="109"/>
                    <a:pt x="50" y="109"/>
                  </a:cubicBezTo>
                  <a:cubicBezTo>
                    <a:pt x="50" y="109"/>
                    <a:pt x="52" y="108"/>
                    <a:pt x="53" y="109"/>
                  </a:cubicBezTo>
                  <a:cubicBezTo>
                    <a:pt x="53" y="111"/>
                    <a:pt x="55" y="109"/>
                    <a:pt x="56" y="111"/>
                  </a:cubicBezTo>
                  <a:cubicBezTo>
                    <a:pt x="56" y="114"/>
                    <a:pt x="56" y="112"/>
                    <a:pt x="56" y="114"/>
                  </a:cubicBezTo>
                  <a:cubicBezTo>
                    <a:pt x="56" y="114"/>
                    <a:pt x="53" y="116"/>
                    <a:pt x="55" y="119"/>
                  </a:cubicBezTo>
                  <a:cubicBezTo>
                    <a:pt x="55" y="120"/>
                    <a:pt x="55" y="123"/>
                    <a:pt x="56" y="123"/>
                  </a:cubicBezTo>
                  <a:cubicBezTo>
                    <a:pt x="58" y="125"/>
                    <a:pt x="55" y="125"/>
                    <a:pt x="58" y="126"/>
                  </a:cubicBezTo>
                  <a:cubicBezTo>
                    <a:pt x="61" y="128"/>
                    <a:pt x="62" y="130"/>
                    <a:pt x="64" y="126"/>
                  </a:cubicBezTo>
                  <a:cubicBezTo>
                    <a:pt x="64" y="125"/>
                    <a:pt x="65" y="125"/>
                    <a:pt x="65" y="126"/>
                  </a:cubicBezTo>
                  <a:cubicBezTo>
                    <a:pt x="64" y="128"/>
                    <a:pt x="65" y="133"/>
                    <a:pt x="67" y="130"/>
                  </a:cubicBezTo>
                  <a:cubicBezTo>
                    <a:pt x="68" y="128"/>
                    <a:pt x="68" y="125"/>
                    <a:pt x="68" y="123"/>
                  </a:cubicBezTo>
                  <a:cubicBezTo>
                    <a:pt x="67" y="122"/>
                    <a:pt x="67" y="120"/>
                    <a:pt x="67" y="120"/>
                  </a:cubicBezTo>
                  <a:cubicBezTo>
                    <a:pt x="65" y="120"/>
                    <a:pt x="65" y="117"/>
                    <a:pt x="67" y="117"/>
                  </a:cubicBezTo>
                  <a:cubicBezTo>
                    <a:pt x="68" y="116"/>
                    <a:pt x="67" y="114"/>
                    <a:pt x="68" y="114"/>
                  </a:cubicBezTo>
                  <a:cubicBezTo>
                    <a:pt x="70" y="112"/>
                    <a:pt x="68" y="114"/>
                    <a:pt x="70" y="116"/>
                  </a:cubicBezTo>
                  <a:cubicBezTo>
                    <a:pt x="70" y="117"/>
                    <a:pt x="70" y="117"/>
                    <a:pt x="71" y="119"/>
                  </a:cubicBezTo>
                  <a:cubicBezTo>
                    <a:pt x="71" y="120"/>
                    <a:pt x="70" y="119"/>
                    <a:pt x="71" y="123"/>
                  </a:cubicBezTo>
                  <a:cubicBezTo>
                    <a:pt x="73" y="125"/>
                    <a:pt x="73" y="122"/>
                    <a:pt x="71" y="119"/>
                  </a:cubicBezTo>
                  <a:cubicBezTo>
                    <a:pt x="71" y="116"/>
                    <a:pt x="74" y="120"/>
                    <a:pt x="73" y="117"/>
                  </a:cubicBezTo>
                  <a:cubicBezTo>
                    <a:pt x="73" y="116"/>
                    <a:pt x="74" y="119"/>
                    <a:pt x="74" y="116"/>
                  </a:cubicBezTo>
                  <a:cubicBezTo>
                    <a:pt x="76" y="114"/>
                    <a:pt x="76" y="112"/>
                    <a:pt x="74" y="111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3" y="108"/>
                    <a:pt x="74" y="105"/>
                    <a:pt x="74" y="105"/>
                  </a:cubicBezTo>
                  <a:cubicBezTo>
                    <a:pt x="73" y="103"/>
                    <a:pt x="74" y="101"/>
                    <a:pt x="73" y="101"/>
                  </a:cubicBezTo>
                  <a:cubicBezTo>
                    <a:pt x="71" y="101"/>
                    <a:pt x="71" y="101"/>
                    <a:pt x="71" y="100"/>
                  </a:cubicBezTo>
                  <a:cubicBezTo>
                    <a:pt x="73" y="100"/>
                    <a:pt x="74" y="98"/>
                    <a:pt x="73" y="97"/>
                  </a:cubicBezTo>
                  <a:cubicBezTo>
                    <a:pt x="71" y="95"/>
                    <a:pt x="73" y="94"/>
                    <a:pt x="71" y="94"/>
                  </a:cubicBezTo>
                  <a:cubicBezTo>
                    <a:pt x="70" y="95"/>
                    <a:pt x="71" y="92"/>
                    <a:pt x="68" y="92"/>
                  </a:cubicBezTo>
                  <a:cubicBezTo>
                    <a:pt x="67" y="91"/>
                    <a:pt x="68" y="91"/>
                    <a:pt x="67" y="89"/>
                  </a:cubicBezTo>
                  <a:cubicBezTo>
                    <a:pt x="65" y="89"/>
                    <a:pt x="65" y="89"/>
                    <a:pt x="67" y="94"/>
                  </a:cubicBezTo>
                  <a:cubicBezTo>
                    <a:pt x="68" y="98"/>
                    <a:pt x="65" y="97"/>
                    <a:pt x="65" y="97"/>
                  </a:cubicBezTo>
                  <a:cubicBezTo>
                    <a:pt x="64" y="95"/>
                    <a:pt x="65" y="100"/>
                    <a:pt x="62" y="98"/>
                  </a:cubicBezTo>
                  <a:cubicBezTo>
                    <a:pt x="61" y="95"/>
                    <a:pt x="61" y="98"/>
                    <a:pt x="61" y="101"/>
                  </a:cubicBezTo>
                  <a:cubicBezTo>
                    <a:pt x="61" y="105"/>
                    <a:pt x="58" y="98"/>
                    <a:pt x="58" y="103"/>
                  </a:cubicBezTo>
                  <a:cubicBezTo>
                    <a:pt x="56" y="106"/>
                    <a:pt x="56" y="105"/>
                    <a:pt x="55" y="106"/>
                  </a:cubicBezTo>
                  <a:cubicBezTo>
                    <a:pt x="52" y="108"/>
                    <a:pt x="55" y="106"/>
                    <a:pt x="53" y="103"/>
                  </a:cubicBezTo>
                  <a:cubicBezTo>
                    <a:pt x="53" y="101"/>
                    <a:pt x="53" y="100"/>
                    <a:pt x="52" y="101"/>
                  </a:cubicBezTo>
                  <a:cubicBezTo>
                    <a:pt x="50" y="101"/>
                    <a:pt x="52" y="100"/>
                    <a:pt x="50" y="100"/>
                  </a:cubicBezTo>
                  <a:cubicBezTo>
                    <a:pt x="50" y="100"/>
                    <a:pt x="50" y="101"/>
                    <a:pt x="48" y="101"/>
                  </a:cubicBezTo>
                  <a:cubicBezTo>
                    <a:pt x="47" y="101"/>
                    <a:pt x="45" y="103"/>
                    <a:pt x="47" y="10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5"/>
                    <a:pt x="44" y="106"/>
                    <a:pt x="42" y="106"/>
                  </a:cubicBezTo>
                  <a:cubicBezTo>
                    <a:pt x="41" y="106"/>
                    <a:pt x="39" y="108"/>
                    <a:pt x="39" y="109"/>
                  </a:cubicBezTo>
                  <a:cubicBezTo>
                    <a:pt x="39" y="111"/>
                    <a:pt x="39" y="112"/>
                    <a:pt x="38" y="114"/>
                  </a:cubicBezTo>
                  <a:cubicBezTo>
                    <a:pt x="38" y="116"/>
                    <a:pt x="38" y="116"/>
                    <a:pt x="39" y="117"/>
                  </a:cubicBezTo>
                  <a:close/>
                  <a:moveTo>
                    <a:pt x="41" y="122"/>
                  </a:moveTo>
                  <a:cubicBezTo>
                    <a:pt x="41" y="122"/>
                    <a:pt x="38" y="123"/>
                    <a:pt x="38" y="122"/>
                  </a:cubicBezTo>
                  <a:cubicBezTo>
                    <a:pt x="38" y="119"/>
                    <a:pt x="41" y="120"/>
                    <a:pt x="41" y="122"/>
                  </a:cubicBezTo>
                  <a:close/>
                  <a:moveTo>
                    <a:pt x="32" y="128"/>
                  </a:moveTo>
                  <a:cubicBezTo>
                    <a:pt x="33" y="128"/>
                    <a:pt x="35" y="126"/>
                    <a:pt x="33" y="126"/>
                  </a:cubicBezTo>
                  <a:cubicBezTo>
                    <a:pt x="33" y="126"/>
                    <a:pt x="32" y="123"/>
                    <a:pt x="30" y="126"/>
                  </a:cubicBezTo>
                  <a:cubicBezTo>
                    <a:pt x="29" y="128"/>
                    <a:pt x="32" y="126"/>
                    <a:pt x="32" y="128"/>
                  </a:cubicBezTo>
                  <a:close/>
                  <a:moveTo>
                    <a:pt x="50" y="95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3" y="95"/>
                    <a:pt x="52" y="94"/>
                    <a:pt x="52" y="95"/>
                  </a:cubicBezTo>
                  <a:cubicBezTo>
                    <a:pt x="52" y="95"/>
                    <a:pt x="52" y="95"/>
                    <a:pt x="50" y="95"/>
                  </a:cubicBezTo>
                  <a:close/>
                  <a:moveTo>
                    <a:pt x="59" y="95"/>
                  </a:moveTo>
                  <a:cubicBezTo>
                    <a:pt x="61" y="95"/>
                    <a:pt x="62" y="95"/>
                    <a:pt x="61" y="97"/>
                  </a:cubicBezTo>
                  <a:cubicBezTo>
                    <a:pt x="59" y="95"/>
                    <a:pt x="59" y="95"/>
                    <a:pt x="59" y="95"/>
                  </a:cubicBezTo>
                  <a:close/>
                  <a:moveTo>
                    <a:pt x="38" y="64"/>
                  </a:moveTo>
                  <a:cubicBezTo>
                    <a:pt x="38" y="66"/>
                    <a:pt x="39" y="66"/>
                    <a:pt x="39" y="64"/>
                  </a:cubicBezTo>
                  <a:cubicBezTo>
                    <a:pt x="39" y="61"/>
                    <a:pt x="41" y="61"/>
                    <a:pt x="39" y="61"/>
                  </a:cubicBezTo>
                  <a:cubicBezTo>
                    <a:pt x="38" y="63"/>
                    <a:pt x="39" y="61"/>
                    <a:pt x="38" y="64"/>
                  </a:cubicBezTo>
                  <a:close/>
                  <a:moveTo>
                    <a:pt x="39" y="55"/>
                  </a:moveTo>
                  <a:cubicBezTo>
                    <a:pt x="39" y="55"/>
                    <a:pt x="41" y="53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5"/>
                    <a:pt x="38" y="56"/>
                    <a:pt x="39" y="55"/>
                  </a:cubicBezTo>
                  <a:close/>
                  <a:moveTo>
                    <a:pt x="42" y="64"/>
                  </a:moveTo>
                  <a:cubicBezTo>
                    <a:pt x="44" y="64"/>
                    <a:pt x="44" y="66"/>
                    <a:pt x="44" y="64"/>
                  </a:cubicBezTo>
                  <a:cubicBezTo>
                    <a:pt x="45" y="63"/>
                    <a:pt x="42" y="63"/>
                    <a:pt x="42" y="63"/>
                  </a:cubicBezTo>
                  <a:cubicBezTo>
                    <a:pt x="42" y="64"/>
                    <a:pt x="42" y="64"/>
                    <a:pt x="42" y="64"/>
                  </a:cubicBezTo>
                  <a:close/>
                  <a:moveTo>
                    <a:pt x="47" y="58"/>
                  </a:moveTo>
                  <a:cubicBezTo>
                    <a:pt x="47" y="59"/>
                    <a:pt x="47" y="59"/>
                    <a:pt x="48" y="59"/>
                  </a:cubicBezTo>
                  <a:cubicBezTo>
                    <a:pt x="48" y="59"/>
                    <a:pt x="48" y="59"/>
                    <a:pt x="50" y="61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8"/>
                    <a:pt x="47" y="56"/>
                    <a:pt x="47" y="56"/>
                  </a:cubicBezTo>
                  <a:cubicBezTo>
                    <a:pt x="45" y="56"/>
                    <a:pt x="45" y="58"/>
                    <a:pt x="47" y="58"/>
                  </a:cubicBezTo>
                  <a:close/>
                  <a:moveTo>
                    <a:pt x="52" y="61"/>
                  </a:moveTo>
                  <a:cubicBezTo>
                    <a:pt x="53" y="64"/>
                    <a:pt x="53" y="64"/>
                    <a:pt x="53" y="64"/>
                  </a:cubicBezTo>
                  <a:cubicBezTo>
                    <a:pt x="52" y="61"/>
                    <a:pt x="52" y="61"/>
                    <a:pt x="52" y="61"/>
                  </a:cubicBezTo>
                  <a:close/>
                  <a:moveTo>
                    <a:pt x="21" y="83"/>
                  </a:moveTo>
                  <a:cubicBezTo>
                    <a:pt x="23" y="80"/>
                    <a:pt x="24" y="81"/>
                    <a:pt x="23" y="81"/>
                  </a:cubicBezTo>
                  <a:cubicBezTo>
                    <a:pt x="23" y="83"/>
                    <a:pt x="21" y="84"/>
                    <a:pt x="21" y="83"/>
                  </a:cubicBezTo>
                  <a:close/>
                  <a:moveTo>
                    <a:pt x="68" y="77"/>
                  </a:moveTo>
                  <a:cubicBezTo>
                    <a:pt x="70" y="78"/>
                    <a:pt x="68" y="77"/>
                    <a:pt x="68" y="75"/>
                  </a:cubicBezTo>
                  <a:cubicBezTo>
                    <a:pt x="67" y="75"/>
                    <a:pt x="68" y="73"/>
                    <a:pt x="67" y="73"/>
                  </a:cubicBezTo>
                  <a:cubicBezTo>
                    <a:pt x="65" y="72"/>
                    <a:pt x="67" y="66"/>
                    <a:pt x="65" y="64"/>
                  </a:cubicBezTo>
                  <a:cubicBezTo>
                    <a:pt x="65" y="64"/>
                    <a:pt x="65" y="63"/>
                    <a:pt x="64" y="63"/>
                  </a:cubicBezTo>
                  <a:cubicBezTo>
                    <a:pt x="62" y="61"/>
                    <a:pt x="61" y="63"/>
                    <a:pt x="58" y="63"/>
                  </a:cubicBezTo>
                  <a:cubicBezTo>
                    <a:pt x="56" y="61"/>
                    <a:pt x="58" y="66"/>
                    <a:pt x="59" y="67"/>
                  </a:cubicBezTo>
                  <a:cubicBezTo>
                    <a:pt x="62" y="69"/>
                    <a:pt x="61" y="69"/>
                    <a:pt x="62" y="70"/>
                  </a:cubicBezTo>
                  <a:cubicBezTo>
                    <a:pt x="64" y="70"/>
                    <a:pt x="62" y="70"/>
                    <a:pt x="62" y="72"/>
                  </a:cubicBezTo>
                  <a:cubicBezTo>
                    <a:pt x="61" y="72"/>
                    <a:pt x="64" y="73"/>
                    <a:pt x="64" y="77"/>
                  </a:cubicBezTo>
                  <a:cubicBezTo>
                    <a:pt x="64" y="78"/>
                    <a:pt x="67" y="75"/>
                    <a:pt x="68" y="77"/>
                  </a:cubicBezTo>
                  <a:close/>
                  <a:moveTo>
                    <a:pt x="67" y="87"/>
                  </a:moveTo>
                  <a:cubicBezTo>
                    <a:pt x="65" y="86"/>
                    <a:pt x="68" y="81"/>
                    <a:pt x="68" y="83"/>
                  </a:cubicBezTo>
                  <a:cubicBezTo>
                    <a:pt x="68" y="86"/>
                    <a:pt x="70" y="91"/>
                    <a:pt x="67" y="87"/>
                  </a:cubicBezTo>
                  <a:close/>
                  <a:moveTo>
                    <a:pt x="70" y="87"/>
                  </a:moveTo>
                  <a:cubicBezTo>
                    <a:pt x="71" y="86"/>
                    <a:pt x="71" y="86"/>
                    <a:pt x="71" y="87"/>
                  </a:cubicBezTo>
                  <a:cubicBezTo>
                    <a:pt x="73" y="91"/>
                    <a:pt x="70" y="91"/>
                    <a:pt x="70" y="87"/>
                  </a:cubicBezTo>
                  <a:close/>
                  <a:moveTo>
                    <a:pt x="42" y="81"/>
                  </a:moveTo>
                  <a:cubicBezTo>
                    <a:pt x="44" y="81"/>
                    <a:pt x="45" y="78"/>
                    <a:pt x="47" y="77"/>
                  </a:cubicBezTo>
                  <a:cubicBezTo>
                    <a:pt x="48" y="75"/>
                    <a:pt x="48" y="72"/>
                    <a:pt x="47" y="72"/>
                  </a:cubicBezTo>
                  <a:cubicBezTo>
                    <a:pt x="45" y="73"/>
                    <a:pt x="45" y="70"/>
                    <a:pt x="44" y="72"/>
                  </a:cubicBezTo>
                  <a:cubicBezTo>
                    <a:pt x="44" y="73"/>
                    <a:pt x="41" y="69"/>
                    <a:pt x="39" y="69"/>
                  </a:cubicBezTo>
                  <a:cubicBezTo>
                    <a:pt x="38" y="67"/>
                    <a:pt x="36" y="69"/>
                    <a:pt x="39" y="70"/>
                  </a:cubicBezTo>
                  <a:cubicBezTo>
                    <a:pt x="41" y="72"/>
                    <a:pt x="39" y="73"/>
                    <a:pt x="39" y="77"/>
                  </a:cubicBezTo>
                  <a:cubicBezTo>
                    <a:pt x="39" y="78"/>
                    <a:pt x="38" y="77"/>
                    <a:pt x="38" y="81"/>
                  </a:cubicBezTo>
                  <a:cubicBezTo>
                    <a:pt x="38" y="86"/>
                    <a:pt x="39" y="81"/>
                    <a:pt x="42" y="81"/>
                  </a:cubicBezTo>
                  <a:close/>
                  <a:moveTo>
                    <a:pt x="35" y="63"/>
                  </a:moveTo>
                  <a:cubicBezTo>
                    <a:pt x="36" y="59"/>
                    <a:pt x="35" y="61"/>
                    <a:pt x="35" y="58"/>
                  </a:cubicBezTo>
                  <a:cubicBezTo>
                    <a:pt x="36" y="55"/>
                    <a:pt x="33" y="53"/>
                    <a:pt x="29" y="53"/>
                  </a:cubicBezTo>
                  <a:cubicBezTo>
                    <a:pt x="26" y="52"/>
                    <a:pt x="24" y="53"/>
                    <a:pt x="26" y="53"/>
                  </a:cubicBezTo>
                  <a:cubicBezTo>
                    <a:pt x="27" y="55"/>
                    <a:pt x="27" y="55"/>
                    <a:pt x="27" y="56"/>
                  </a:cubicBezTo>
                  <a:cubicBezTo>
                    <a:pt x="29" y="56"/>
                    <a:pt x="30" y="61"/>
                    <a:pt x="32" y="64"/>
                  </a:cubicBezTo>
                  <a:cubicBezTo>
                    <a:pt x="32" y="67"/>
                    <a:pt x="33" y="66"/>
                    <a:pt x="35" y="63"/>
                  </a:cubicBezTo>
                  <a:close/>
                  <a:moveTo>
                    <a:pt x="4" y="101"/>
                  </a:moveTo>
                  <a:cubicBezTo>
                    <a:pt x="4" y="100"/>
                    <a:pt x="6" y="98"/>
                    <a:pt x="11" y="94"/>
                  </a:cubicBezTo>
                  <a:cubicBezTo>
                    <a:pt x="17" y="89"/>
                    <a:pt x="12" y="89"/>
                    <a:pt x="15" y="87"/>
                  </a:cubicBezTo>
                  <a:cubicBezTo>
                    <a:pt x="18" y="87"/>
                    <a:pt x="17" y="84"/>
                    <a:pt x="18" y="84"/>
                  </a:cubicBezTo>
                  <a:cubicBezTo>
                    <a:pt x="20" y="84"/>
                    <a:pt x="21" y="83"/>
                    <a:pt x="20" y="80"/>
                  </a:cubicBezTo>
                  <a:cubicBezTo>
                    <a:pt x="20" y="78"/>
                    <a:pt x="21" y="73"/>
                    <a:pt x="20" y="73"/>
                  </a:cubicBezTo>
                  <a:cubicBezTo>
                    <a:pt x="18" y="73"/>
                    <a:pt x="18" y="78"/>
                    <a:pt x="17" y="78"/>
                  </a:cubicBezTo>
                  <a:cubicBezTo>
                    <a:pt x="15" y="78"/>
                    <a:pt x="18" y="80"/>
                    <a:pt x="17" y="83"/>
                  </a:cubicBezTo>
                  <a:cubicBezTo>
                    <a:pt x="17" y="84"/>
                    <a:pt x="17" y="81"/>
                    <a:pt x="15" y="84"/>
                  </a:cubicBezTo>
                  <a:cubicBezTo>
                    <a:pt x="14" y="87"/>
                    <a:pt x="9" y="92"/>
                    <a:pt x="7" y="94"/>
                  </a:cubicBezTo>
                  <a:cubicBezTo>
                    <a:pt x="6" y="95"/>
                    <a:pt x="3" y="98"/>
                    <a:pt x="1" y="103"/>
                  </a:cubicBezTo>
                  <a:cubicBezTo>
                    <a:pt x="0" y="105"/>
                    <a:pt x="3" y="103"/>
                    <a:pt x="4" y="101"/>
                  </a:cubicBezTo>
                  <a:close/>
                  <a:moveTo>
                    <a:pt x="56" y="59"/>
                  </a:moveTo>
                  <a:cubicBezTo>
                    <a:pt x="56" y="58"/>
                    <a:pt x="56" y="56"/>
                    <a:pt x="53" y="56"/>
                  </a:cubicBezTo>
                  <a:cubicBezTo>
                    <a:pt x="50" y="56"/>
                    <a:pt x="55" y="56"/>
                    <a:pt x="52" y="53"/>
                  </a:cubicBezTo>
                  <a:cubicBezTo>
                    <a:pt x="48" y="50"/>
                    <a:pt x="53" y="52"/>
                    <a:pt x="55" y="52"/>
                  </a:cubicBezTo>
                  <a:cubicBezTo>
                    <a:pt x="55" y="50"/>
                    <a:pt x="53" y="50"/>
                    <a:pt x="50" y="49"/>
                  </a:cubicBezTo>
                  <a:cubicBezTo>
                    <a:pt x="47" y="45"/>
                    <a:pt x="48" y="52"/>
                    <a:pt x="47" y="50"/>
                  </a:cubicBezTo>
                  <a:cubicBezTo>
                    <a:pt x="45" y="50"/>
                    <a:pt x="48" y="47"/>
                    <a:pt x="44" y="45"/>
                  </a:cubicBezTo>
                  <a:cubicBezTo>
                    <a:pt x="41" y="44"/>
                    <a:pt x="42" y="47"/>
                    <a:pt x="41" y="45"/>
                  </a:cubicBezTo>
                  <a:cubicBezTo>
                    <a:pt x="38" y="45"/>
                    <a:pt x="41" y="49"/>
                    <a:pt x="39" y="49"/>
                  </a:cubicBezTo>
                  <a:cubicBezTo>
                    <a:pt x="36" y="47"/>
                    <a:pt x="35" y="42"/>
                    <a:pt x="36" y="41"/>
                  </a:cubicBezTo>
                  <a:cubicBezTo>
                    <a:pt x="36" y="39"/>
                    <a:pt x="33" y="36"/>
                    <a:pt x="35" y="33"/>
                  </a:cubicBezTo>
                  <a:cubicBezTo>
                    <a:pt x="36" y="30"/>
                    <a:pt x="35" y="30"/>
                    <a:pt x="36" y="27"/>
                  </a:cubicBezTo>
                  <a:cubicBezTo>
                    <a:pt x="39" y="25"/>
                    <a:pt x="38" y="28"/>
                    <a:pt x="39" y="28"/>
                  </a:cubicBezTo>
                  <a:cubicBezTo>
                    <a:pt x="41" y="27"/>
                    <a:pt x="42" y="20"/>
                    <a:pt x="42" y="19"/>
                  </a:cubicBezTo>
                  <a:cubicBezTo>
                    <a:pt x="42" y="16"/>
                    <a:pt x="38" y="14"/>
                    <a:pt x="41" y="8"/>
                  </a:cubicBezTo>
                  <a:cubicBezTo>
                    <a:pt x="42" y="3"/>
                    <a:pt x="41" y="2"/>
                    <a:pt x="39" y="5"/>
                  </a:cubicBezTo>
                  <a:cubicBezTo>
                    <a:pt x="36" y="8"/>
                    <a:pt x="33" y="0"/>
                    <a:pt x="29" y="2"/>
                  </a:cubicBezTo>
                  <a:cubicBezTo>
                    <a:pt x="26" y="3"/>
                    <a:pt x="27" y="3"/>
                    <a:pt x="26" y="8"/>
                  </a:cubicBezTo>
                  <a:cubicBezTo>
                    <a:pt x="24" y="13"/>
                    <a:pt x="27" y="14"/>
                    <a:pt x="26" y="20"/>
                  </a:cubicBezTo>
                  <a:cubicBezTo>
                    <a:pt x="23" y="25"/>
                    <a:pt x="27" y="24"/>
                    <a:pt x="26" y="27"/>
                  </a:cubicBezTo>
                  <a:cubicBezTo>
                    <a:pt x="24" y="31"/>
                    <a:pt x="23" y="24"/>
                    <a:pt x="21" y="25"/>
                  </a:cubicBezTo>
                  <a:cubicBezTo>
                    <a:pt x="20" y="25"/>
                    <a:pt x="20" y="28"/>
                    <a:pt x="21" y="28"/>
                  </a:cubicBezTo>
                  <a:cubicBezTo>
                    <a:pt x="23" y="30"/>
                    <a:pt x="21" y="28"/>
                    <a:pt x="23" y="36"/>
                  </a:cubicBezTo>
                  <a:cubicBezTo>
                    <a:pt x="23" y="44"/>
                    <a:pt x="24" y="39"/>
                    <a:pt x="26" y="42"/>
                  </a:cubicBezTo>
                  <a:cubicBezTo>
                    <a:pt x="26" y="45"/>
                    <a:pt x="27" y="44"/>
                    <a:pt x="27" y="42"/>
                  </a:cubicBezTo>
                  <a:cubicBezTo>
                    <a:pt x="27" y="39"/>
                    <a:pt x="27" y="39"/>
                    <a:pt x="29" y="41"/>
                  </a:cubicBezTo>
                  <a:cubicBezTo>
                    <a:pt x="30" y="42"/>
                    <a:pt x="30" y="44"/>
                    <a:pt x="29" y="44"/>
                  </a:cubicBezTo>
                  <a:cubicBezTo>
                    <a:pt x="27" y="45"/>
                    <a:pt x="26" y="50"/>
                    <a:pt x="29" y="50"/>
                  </a:cubicBezTo>
                  <a:cubicBezTo>
                    <a:pt x="30" y="49"/>
                    <a:pt x="30" y="52"/>
                    <a:pt x="33" y="52"/>
                  </a:cubicBezTo>
                  <a:cubicBezTo>
                    <a:pt x="35" y="52"/>
                    <a:pt x="33" y="50"/>
                    <a:pt x="35" y="49"/>
                  </a:cubicBezTo>
                  <a:cubicBezTo>
                    <a:pt x="36" y="49"/>
                    <a:pt x="36" y="49"/>
                    <a:pt x="39" y="52"/>
                  </a:cubicBezTo>
                  <a:cubicBezTo>
                    <a:pt x="42" y="53"/>
                    <a:pt x="41" y="56"/>
                    <a:pt x="44" y="56"/>
                  </a:cubicBezTo>
                  <a:cubicBezTo>
                    <a:pt x="45" y="56"/>
                    <a:pt x="42" y="53"/>
                    <a:pt x="42" y="50"/>
                  </a:cubicBezTo>
                  <a:cubicBezTo>
                    <a:pt x="42" y="49"/>
                    <a:pt x="45" y="50"/>
                    <a:pt x="45" y="52"/>
                  </a:cubicBezTo>
                  <a:cubicBezTo>
                    <a:pt x="45" y="53"/>
                    <a:pt x="47" y="53"/>
                    <a:pt x="48" y="55"/>
                  </a:cubicBezTo>
                  <a:cubicBezTo>
                    <a:pt x="48" y="56"/>
                    <a:pt x="47" y="58"/>
                    <a:pt x="50" y="59"/>
                  </a:cubicBezTo>
                  <a:cubicBezTo>
                    <a:pt x="55" y="61"/>
                    <a:pt x="53" y="61"/>
                    <a:pt x="55" y="63"/>
                  </a:cubicBezTo>
                  <a:cubicBezTo>
                    <a:pt x="55" y="64"/>
                    <a:pt x="56" y="63"/>
                    <a:pt x="56" y="59"/>
                  </a:cubicBezTo>
                  <a:close/>
                  <a:moveTo>
                    <a:pt x="76" y="144"/>
                  </a:moveTo>
                  <a:cubicBezTo>
                    <a:pt x="76" y="144"/>
                    <a:pt x="77" y="144"/>
                    <a:pt x="76" y="145"/>
                  </a:cubicBezTo>
                  <a:cubicBezTo>
                    <a:pt x="74" y="147"/>
                    <a:pt x="77" y="147"/>
                    <a:pt x="77" y="145"/>
                  </a:cubicBezTo>
                  <a:cubicBezTo>
                    <a:pt x="77" y="144"/>
                    <a:pt x="77" y="144"/>
                    <a:pt x="77" y="142"/>
                  </a:cubicBezTo>
                  <a:cubicBezTo>
                    <a:pt x="77" y="142"/>
                    <a:pt x="77" y="140"/>
                    <a:pt x="76" y="140"/>
                  </a:cubicBezTo>
                  <a:cubicBezTo>
                    <a:pt x="76" y="140"/>
                    <a:pt x="76" y="142"/>
                    <a:pt x="76" y="14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7" name="Freeform 211"/>
            <p:cNvSpPr>
              <a:spLocks/>
            </p:cNvSpPr>
            <p:nvPr/>
          </p:nvSpPr>
          <p:spPr bwMode="auto">
            <a:xfrm>
              <a:off x="9315295" y="5667731"/>
              <a:ext cx="56237" cy="27315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0" y="0"/>
                </a:cxn>
                <a:cxn ang="0">
                  <a:pos x="16" y="3"/>
                </a:cxn>
                <a:cxn ang="0">
                  <a:pos x="16" y="8"/>
                </a:cxn>
                <a:cxn ang="0">
                  <a:pos x="13" y="8"/>
                </a:cxn>
                <a:cxn ang="0">
                  <a:pos x="9" y="8"/>
                </a:cxn>
              </a:cxnLst>
              <a:rect l="0" t="0" r="r" b="b"/>
              <a:pathLst>
                <a:path w="18" h="9">
                  <a:moveTo>
                    <a:pt x="9" y="8"/>
                  </a:moveTo>
                  <a:cubicBezTo>
                    <a:pt x="0" y="6"/>
                    <a:pt x="9" y="0"/>
                    <a:pt x="10" y="0"/>
                  </a:cubicBezTo>
                  <a:cubicBezTo>
                    <a:pt x="12" y="0"/>
                    <a:pt x="16" y="0"/>
                    <a:pt x="16" y="3"/>
                  </a:cubicBezTo>
                  <a:cubicBezTo>
                    <a:pt x="15" y="6"/>
                    <a:pt x="18" y="6"/>
                    <a:pt x="16" y="8"/>
                  </a:cubicBezTo>
                  <a:cubicBezTo>
                    <a:pt x="15" y="9"/>
                    <a:pt x="13" y="6"/>
                    <a:pt x="13" y="8"/>
                  </a:cubicBezTo>
                  <a:cubicBezTo>
                    <a:pt x="12" y="9"/>
                    <a:pt x="10" y="8"/>
                    <a:pt x="9" y="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Freeform 212"/>
            <p:cNvSpPr>
              <a:spLocks/>
            </p:cNvSpPr>
            <p:nvPr/>
          </p:nvSpPr>
          <p:spPr bwMode="auto">
            <a:xfrm>
              <a:off x="9355465" y="5624349"/>
              <a:ext cx="49810" cy="33742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5" y="7"/>
                </a:cxn>
                <a:cxn ang="0">
                  <a:pos x="8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8"/>
                </a:cxn>
                <a:cxn ang="0">
                  <a:pos x="10" y="8"/>
                </a:cxn>
                <a:cxn ang="0">
                  <a:pos x="7" y="8"/>
                </a:cxn>
                <a:cxn ang="0">
                  <a:pos x="4" y="10"/>
                </a:cxn>
              </a:cxnLst>
              <a:rect l="0" t="0" r="r" b="b"/>
              <a:pathLst>
                <a:path w="16" h="11">
                  <a:moveTo>
                    <a:pt x="4" y="10"/>
                  </a:moveTo>
                  <a:cubicBezTo>
                    <a:pt x="0" y="5"/>
                    <a:pt x="4" y="8"/>
                    <a:pt x="5" y="7"/>
                  </a:cubicBezTo>
                  <a:cubicBezTo>
                    <a:pt x="5" y="3"/>
                    <a:pt x="7" y="7"/>
                    <a:pt x="8" y="3"/>
                  </a:cubicBezTo>
                  <a:cubicBezTo>
                    <a:pt x="11" y="2"/>
                    <a:pt x="16" y="0"/>
                    <a:pt x="13" y="3"/>
                  </a:cubicBezTo>
                  <a:cubicBezTo>
                    <a:pt x="11" y="5"/>
                    <a:pt x="11" y="8"/>
                    <a:pt x="13" y="5"/>
                  </a:cubicBezTo>
                  <a:cubicBezTo>
                    <a:pt x="14" y="3"/>
                    <a:pt x="13" y="8"/>
                    <a:pt x="13" y="8"/>
                  </a:cubicBezTo>
                  <a:cubicBezTo>
                    <a:pt x="14" y="8"/>
                    <a:pt x="11" y="7"/>
                    <a:pt x="10" y="8"/>
                  </a:cubicBezTo>
                  <a:cubicBezTo>
                    <a:pt x="8" y="10"/>
                    <a:pt x="10" y="7"/>
                    <a:pt x="7" y="8"/>
                  </a:cubicBezTo>
                  <a:cubicBezTo>
                    <a:pt x="4" y="11"/>
                    <a:pt x="4" y="11"/>
                    <a:pt x="4" y="1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9" name="Freeform 213"/>
            <p:cNvSpPr>
              <a:spLocks/>
            </p:cNvSpPr>
            <p:nvPr/>
          </p:nvSpPr>
          <p:spPr bwMode="auto">
            <a:xfrm>
              <a:off x="7653883" y="4922198"/>
              <a:ext cx="245837" cy="194416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2" y="22"/>
                </a:cxn>
                <a:cxn ang="0">
                  <a:pos x="42" y="25"/>
                </a:cxn>
                <a:cxn ang="0">
                  <a:pos x="41" y="29"/>
                </a:cxn>
                <a:cxn ang="0">
                  <a:pos x="39" y="26"/>
                </a:cxn>
                <a:cxn ang="0">
                  <a:pos x="36" y="23"/>
                </a:cxn>
                <a:cxn ang="0">
                  <a:pos x="36" y="26"/>
                </a:cxn>
                <a:cxn ang="0">
                  <a:pos x="29" y="37"/>
                </a:cxn>
                <a:cxn ang="0">
                  <a:pos x="17" y="42"/>
                </a:cxn>
                <a:cxn ang="0">
                  <a:pos x="15" y="45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14" y="54"/>
                </a:cxn>
                <a:cxn ang="0">
                  <a:pos x="12" y="54"/>
                </a:cxn>
                <a:cxn ang="0">
                  <a:pos x="9" y="53"/>
                </a:cxn>
                <a:cxn ang="0">
                  <a:pos x="8" y="51"/>
                </a:cxn>
                <a:cxn ang="0">
                  <a:pos x="6" y="51"/>
                </a:cxn>
                <a:cxn ang="0">
                  <a:pos x="1" y="48"/>
                </a:cxn>
                <a:cxn ang="0">
                  <a:pos x="1" y="51"/>
                </a:cxn>
                <a:cxn ang="0">
                  <a:pos x="3" y="54"/>
                </a:cxn>
                <a:cxn ang="0">
                  <a:pos x="8" y="59"/>
                </a:cxn>
                <a:cxn ang="0">
                  <a:pos x="15" y="59"/>
                </a:cxn>
                <a:cxn ang="0">
                  <a:pos x="21" y="58"/>
                </a:cxn>
                <a:cxn ang="0">
                  <a:pos x="26" y="53"/>
                </a:cxn>
                <a:cxn ang="0">
                  <a:pos x="29" y="54"/>
                </a:cxn>
                <a:cxn ang="0">
                  <a:pos x="35" y="56"/>
                </a:cxn>
                <a:cxn ang="0">
                  <a:pos x="41" y="53"/>
                </a:cxn>
                <a:cxn ang="0">
                  <a:pos x="42" y="48"/>
                </a:cxn>
                <a:cxn ang="0">
                  <a:pos x="45" y="44"/>
                </a:cxn>
                <a:cxn ang="0">
                  <a:pos x="45" y="40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9" y="26"/>
                </a:cxn>
                <a:cxn ang="0">
                  <a:pos x="64" y="28"/>
                </a:cxn>
                <a:cxn ang="0">
                  <a:pos x="67" y="26"/>
                </a:cxn>
                <a:cxn ang="0">
                  <a:pos x="70" y="26"/>
                </a:cxn>
                <a:cxn ang="0">
                  <a:pos x="71" y="23"/>
                </a:cxn>
                <a:cxn ang="0">
                  <a:pos x="70" y="20"/>
                </a:cxn>
                <a:cxn ang="0">
                  <a:pos x="73" y="20"/>
                </a:cxn>
                <a:cxn ang="0">
                  <a:pos x="77" y="15"/>
                </a:cxn>
                <a:cxn ang="0">
                  <a:pos x="74" y="15"/>
                </a:cxn>
                <a:cxn ang="0">
                  <a:pos x="73" y="14"/>
                </a:cxn>
                <a:cxn ang="0">
                  <a:pos x="70" y="12"/>
                </a:cxn>
                <a:cxn ang="0">
                  <a:pos x="67" y="12"/>
                </a:cxn>
                <a:cxn ang="0">
                  <a:pos x="68" y="11"/>
                </a:cxn>
                <a:cxn ang="0">
                  <a:pos x="65" y="9"/>
                </a:cxn>
                <a:cxn ang="0">
                  <a:pos x="65" y="4"/>
                </a:cxn>
                <a:cxn ang="0">
                  <a:pos x="64" y="4"/>
                </a:cxn>
                <a:cxn ang="0">
                  <a:pos x="61" y="0"/>
                </a:cxn>
                <a:cxn ang="0">
                  <a:pos x="59" y="4"/>
                </a:cxn>
                <a:cxn ang="0">
                  <a:pos x="58" y="0"/>
                </a:cxn>
                <a:cxn ang="0">
                  <a:pos x="55" y="6"/>
                </a:cxn>
                <a:cxn ang="0">
                  <a:pos x="53" y="9"/>
                </a:cxn>
                <a:cxn ang="0">
                  <a:pos x="52" y="12"/>
                </a:cxn>
                <a:cxn ang="0">
                  <a:pos x="50" y="14"/>
                </a:cxn>
                <a:cxn ang="0">
                  <a:pos x="47" y="15"/>
                </a:cxn>
                <a:cxn ang="0">
                  <a:pos x="49" y="20"/>
                </a:cxn>
                <a:cxn ang="0">
                  <a:pos x="45" y="20"/>
                </a:cxn>
                <a:cxn ang="0">
                  <a:pos x="47" y="25"/>
                </a:cxn>
                <a:cxn ang="0">
                  <a:pos x="45" y="26"/>
                </a:cxn>
                <a:cxn ang="0">
                  <a:pos x="44" y="22"/>
                </a:cxn>
                <a:cxn ang="0">
                  <a:pos x="44" y="20"/>
                </a:cxn>
              </a:cxnLst>
              <a:rect l="0" t="0" r="r" b="b"/>
              <a:pathLst>
                <a:path w="79" h="62">
                  <a:moveTo>
                    <a:pt x="44" y="20"/>
                  </a:moveTo>
                  <a:cubicBezTo>
                    <a:pt x="44" y="22"/>
                    <a:pt x="42" y="22"/>
                    <a:pt x="42" y="22"/>
                  </a:cubicBezTo>
                  <a:cubicBezTo>
                    <a:pt x="42" y="23"/>
                    <a:pt x="42" y="25"/>
                    <a:pt x="42" y="25"/>
                  </a:cubicBezTo>
                  <a:cubicBezTo>
                    <a:pt x="44" y="25"/>
                    <a:pt x="42" y="29"/>
                    <a:pt x="41" y="29"/>
                  </a:cubicBezTo>
                  <a:cubicBezTo>
                    <a:pt x="39" y="29"/>
                    <a:pt x="41" y="26"/>
                    <a:pt x="39" y="26"/>
                  </a:cubicBezTo>
                  <a:cubicBezTo>
                    <a:pt x="38" y="28"/>
                    <a:pt x="39" y="25"/>
                    <a:pt x="36" y="23"/>
                  </a:cubicBezTo>
                  <a:cubicBezTo>
                    <a:pt x="36" y="23"/>
                    <a:pt x="36" y="23"/>
                    <a:pt x="36" y="26"/>
                  </a:cubicBezTo>
                  <a:cubicBezTo>
                    <a:pt x="36" y="29"/>
                    <a:pt x="30" y="31"/>
                    <a:pt x="29" y="37"/>
                  </a:cubicBezTo>
                  <a:cubicBezTo>
                    <a:pt x="29" y="40"/>
                    <a:pt x="18" y="39"/>
                    <a:pt x="17" y="42"/>
                  </a:cubicBezTo>
                  <a:cubicBezTo>
                    <a:pt x="15" y="44"/>
                    <a:pt x="17" y="47"/>
                    <a:pt x="15" y="45"/>
                  </a:cubicBezTo>
                  <a:cubicBezTo>
                    <a:pt x="14" y="44"/>
                    <a:pt x="14" y="47"/>
                    <a:pt x="14" y="48"/>
                  </a:cubicBezTo>
                  <a:cubicBezTo>
                    <a:pt x="15" y="48"/>
                    <a:pt x="14" y="48"/>
                    <a:pt x="14" y="50"/>
                  </a:cubicBezTo>
                  <a:cubicBezTo>
                    <a:pt x="14" y="53"/>
                    <a:pt x="12" y="53"/>
                    <a:pt x="14" y="54"/>
                  </a:cubicBezTo>
                  <a:cubicBezTo>
                    <a:pt x="15" y="56"/>
                    <a:pt x="14" y="54"/>
                    <a:pt x="12" y="54"/>
                  </a:cubicBezTo>
                  <a:cubicBezTo>
                    <a:pt x="11" y="53"/>
                    <a:pt x="8" y="54"/>
                    <a:pt x="9" y="53"/>
                  </a:cubicBezTo>
                  <a:cubicBezTo>
                    <a:pt x="9" y="51"/>
                    <a:pt x="8" y="53"/>
                    <a:pt x="8" y="51"/>
                  </a:cubicBezTo>
                  <a:cubicBezTo>
                    <a:pt x="6" y="50"/>
                    <a:pt x="8" y="51"/>
                    <a:pt x="6" y="51"/>
                  </a:cubicBezTo>
                  <a:cubicBezTo>
                    <a:pt x="5" y="53"/>
                    <a:pt x="1" y="51"/>
                    <a:pt x="1" y="48"/>
                  </a:cubicBezTo>
                  <a:cubicBezTo>
                    <a:pt x="1" y="48"/>
                    <a:pt x="0" y="51"/>
                    <a:pt x="1" y="51"/>
                  </a:cubicBezTo>
                  <a:cubicBezTo>
                    <a:pt x="3" y="53"/>
                    <a:pt x="1" y="54"/>
                    <a:pt x="3" y="54"/>
                  </a:cubicBezTo>
                  <a:cubicBezTo>
                    <a:pt x="5" y="54"/>
                    <a:pt x="6" y="58"/>
                    <a:pt x="8" y="59"/>
                  </a:cubicBezTo>
                  <a:cubicBezTo>
                    <a:pt x="11" y="62"/>
                    <a:pt x="11" y="58"/>
                    <a:pt x="15" y="59"/>
                  </a:cubicBezTo>
                  <a:cubicBezTo>
                    <a:pt x="20" y="61"/>
                    <a:pt x="18" y="58"/>
                    <a:pt x="21" y="58"/>
                  </a:cubicBezTo>
                  <a:cubicBezTo>
                    <a:pt x="23" y="58"/>
                    <a:pt x="20" y="53"/>
                    <a:pt x="26" y="53"/>
                  </a:cubicBezTo>
                  <a:cubicBezTo>
                    <a:pt x="30" y="53"/>
                    <a:pt x="27" y="54"/>
                    <a:pt x="29" y="54"/>
                  </a:cubicBezTo>
                  <a:cubicBezTo>
                    <a:pt x="30" y="56"/>
                    <a:pt x="33" y="58"/>
                    <a:pt x="35" y="56"/>
                  </a:cubicBezTo>
                  <a:cubicBezTo>
                    <a:pt x="36" y="53"/>
                    <a:pt x="41" y="56"/>
                    <a:pt x="41" y="53"/>
                  </a:cubicBezTo>
                  <a:cubicBezTo>
                    <a:pt x="42" y="51"/>
                    <a:pt x="42" y="50"/>
                    <a:pt x="42" y="48"/>
                  </a:cubicBezTo>
                  <a:cubicBezTo>
                    <a:pt x="42" y="45"/>
                    <a:pt x="47" y="45"/>
                    <a:pt x="45" y="44"/>
                  </a:cubicBezTo>
                  <a:cubicBezTo>
                    <a:pt x="44" y="44"/>
                    <a:pt x="44" y="44"/>
                    <a:pt x="45" y="40"/>
                  </a:cubicBezTo>
                  <a:cubicBezTo>
                    <a:pt x="45" y="37"/>
                    <a:pt x="49" y="40"/>
                    <a:pt x="49" y="37"/>
                  </a:cubicBezTo>
                  <a:cubicBezTo>
                    <a:pt x="49" y="34"/>
                    <a:pt x="49" y="31"/>
                    <a:pt x="50" y="28"/>
                  </a:cubicBezTo>
                  <a:cubicBezTo>
                    <a:pt x="52" y="25"/>
                    <a:pt x="55" y="26"/>
                    <a:pt x="59" y="26"/>
                  </a:cubicBezTo>
                  <a:cubicBezTo>
                    <a:pt x="62" y="26"/>
                    <a:pt x="61" y="25"/>
                    <a:pt x="64" y="28"/>
                  </a:cubicBezTo>
                  <a:cubicBezTo>
                    <a:pt x="67" y="28"/>
                    <a:pt x="64" y="23"/>
                    <a:pt x="67" y="26"/>
                  </a:cubicBezTo>
                  <a:cubicBezTo>
                    <a:pt x="68" y="28"/>
                    <a:pt x="68" y="26"/>
                    <a:pt x="70" y="26"/>
                  </a:cubicBezTo>
                  <a:cubicBezTo>
                    <a:pt x="71" y="26"/>
                    <a:pt x="74" y="26"/>
                    <a:pt x="71" y="23"/>
                  </a:cubicBezTo>
                  <a:cubicBezTo>
                    <a:pt x="68" y="22"/>
                    <a:pt x="68" y="20"/>
                    <a:pt x="70" y="20"/>
                  </a:cubicBezTo>
                  <a:cubicBezTo>
                    <a:pt x="71" y="18"/>
                    <a:pt x="70" y="20"/>
                    <a:pt x="73" y="20"/>
                  </a:cubicBezTo>
                  <a:cubicBezTo>
                    <a:pt x="76" y="18"/>
                    <a:pt x="79" y="18"/>
                    <a:pt x="77" y="15"/>
                  </a:cubicBezTo>
                  <a:cubicBezTo>
                    <a:pt x="77" y="14"/>
                    <a:pt x="76" y="17"/>
                    <a:pt x="74" y="15"/>
                  </a:cubicBezTo>
                  <a:cubicBezTo>
                    <a:pt x="74" y="14"/>
                    <a:pt x="73" y="14"/>
                    <a:pt x="73" y="14"/>
                  </a:cubicBezTo>
                  <a:cubicBezTo>
                    <a:pt x="71" y="12"/>
                    <a:pt x="70" y="11"/>
                    <a:pt x="70" y="12"/>
                  </a:cubicBezTo>
                  <a:cubicBezTo>
                    <a:pt x="68" y="12"/>
                    <a:pt x="68" y="14"/>
                    <a:pt x="67" y="12"/>
                  </a:cubicBezTo>
                  <a:cubicBezTo>
                    <a:pt x="67" y="11"/>
                    <a:pt x="68" y="12"/>
                    <a:pt x="68" y="11"/>
                  </a:cubicBezTo>
                  <a:cubicBezTo>
                    <a:pt x="67" y="8"/>
                    <a:pt x="65" y="11"/>
                    <a:pt x="65" y="9"/>
                  </a:cubicBezTo>
                  <a:cubicBezTo>
                    <a:pt x="64" y="8"/>
                    <a:pt x="67" y="6"/>
                    <a:pt x="65" y="4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2" y="4"/>
                    <a:pt x="62" y="0"/>
                    <a:pt x="61" y="0"/>
                  </a:cubicBezTo>
                  <a:cubicBezTo>
                    <a:pt x="59" y="0"/>
                    <a:pt x="61" y="3"/>
                    <a:pt x="59" y="4"/>
                  </a:cubicBezTo>
                  <a:cubicBezTo>
                    <a:pt x="58" y="6"/>
                    <a:pt x="59" y="0"/>
                    <a:pt x="58" y="0"/>
                  </a:cubicBezTo>
                  <a:cubicBezTo>
                    <a:pt x="56" y="0"/>
                    <a:pt x="58" y="1"/>
                    <a:pt x="55" y="6"/>
                  </a:cubicBezTo>
                  <a:cubicBezTo>
                    <a:pt x="53" y="9"/>
                    <a:pt x="53" y="8"/>
                    <a:pt x="53" y="9"/>
                  </a:cubicBezTo>
                  <a:cubicBezTo>
                    <a:pt x="52" y="12"/>
                    <a:pt x="52" y="11"/>
                    <a:pt x="52" y="12"/>
                  </a:cubicBezTo>
                  <a:cubicBezTo>
                    <a:pt x="52" y="15"/>
                    <a:pt x="50" y="15"/>
                    <a:pt x="50" y="14"/>
                  </a:cubicBezTo>
                  <a:cubicBezTo>
                    <a:pt x="49" y="14"/>
                    <a:pt x="47" y="15"/>
                    <a:pt x="47" y="15"/>
                  </a:cubicBezTo>
                  <a:cubicBezTo>
                    <a:pt x="47" y="17"/>
                    <a:pt x="50" y="17"/>
                    <a:pt x="49" y="20"/>
                  </a:cubicBezTo>
                  <a:cubicBezTo>
                    <a:pt x="45" y="22"/>
                    <a:pt x="47" y="18"/>
                    <a:pt x="45" y="20"/>
                  </a:cubicBezTo>
                  <a:cubicBezTo>
                    <a:pt x="47" y="23"/>
                    <a:pt x="45" y="22"/>
                    <a:pt x="47" y="25"/>
                  </a:cubicBezTo>
                  <a:cubicBezTo>
                    <a:pt x="47" y="28"/>
                    <a:pt x="47" y="26"/>
                    <a:pt x="45" y="26"/>
                  </a:cubicBezTo>
                  <a:cubicBezTo>
                    <a:pt x="44" y="26"/>
                    <a:pt x="44" y="25"/>
                    <a:pt x="44" y="22"/>
                  </a:cubicBezTo>
                  <a:cubicBezTo>
                    <a:pt x="44" y="20"/>
                    <a:pt x="44" y="20"/>
                    <a:pt x="44" y="2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0" name="Freeform 214"/>
            <p:cNvSpPr>
              <a:spLocks/>
            </p:cNvSpPr>
            <p:nvPr/>
          </p:nvSpPr>
          <p:spPr bwMode="auto">
            <a:xfrm>
              <a:off x="7766357" y="4978435"/>
              <a:ext cx="30529" cy="38562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0" y="5"/>
                </a:cxn>
                <a:cxn ang="0">
                  <a:pos x="4" y="8"/>
                </a:cxn>
                <a:cxn ang="0">
                  <a:pos x="5" y="12"/>
                </a:cxn>
                <a:cxn ang="0">
                  <a:pos x="7" y="7"/>
                </a:cxn>
                <a:cxn ang="0">
                  <a:pos x="7" y="4"/>
                </a:cxn>
                <a:cxn ang="0">
                  <a:pos x="8" y="2"/>
                </a:cxn>
              </a:cxnLst>
              <a:rect l="0" t="0" r="r" b="b"/>
              <a:pathLst>
                <a:path w="10" h="12">
                  <a:moveTo>
                    <a:pt x="8" y="2"/>
                  </a:moveTo>
                  <a:cubicBezTo>
                    <a:pt x="10" y="0"/>
                    <a:pt x="8" y="0"/>
                    <a:pt x="8" y="2"/>
                  </a:cubicBezTo>
                  <a:cubicBezTo>
                    <a:pt x="7" y="2"/>
                    <a:pt x="4" y="5"/>
                    <a:pt x="0" y="5"/>
                  </a:cubicBezTo>
                  <a:cubicBezTo>
                    <a:pt x="4" y="7"/>
                    <a:pt x="2" y="10"/>
                    <a:pt x="4" y="8"/>
                  </a:cubicBezTo>
                  <a:cubicBezTo>
                    <a:pt x="5" y="8"/>
                    <a:pt x="4" y="12"/>
                    <a:pt x="5" y="12"/>
                  </a:cubicBezTo>
                  <a:cubicBezTo>
                    <a:pt x="7" y="12"/>
                    <a:pt x="8" y="7"/>
                    <a:pt x="7" y="7"/>
                  </a:cubicBezTo>
                  <a:cubicBezTo>
                    <a:pt x="7" y="7"/>
                    <a:pt x="7" y="5"/>
                    <a:pt x="7" y="4"/>
                  </a:cubicBezTo>
                  <a:cubicBezTo>
                    <a:pt x="7" y="4"/>
                    <a:pt x="8" y="4"/>
                    <a:pt x="8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1" name="Freeform 215"/>
            <p:cNvSpPr>
              <a:spLocks/>
            </p:cNvSpPr>
            <p:nvPr/>
          </p:nvSpPr>
          <p:spPr bwMode="auto">
            <a:xfrm>
              <a:off x="7792066" y="4984862"/>
              <a:ext cx="8034" cy="2570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0" y="1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3"/>
                    <a:pt x="2" y="1"/>
                    <a:pt x="3" y="5"/>
                  </a:cubicBezTo>
                  <a:cubicBezTo>
                    <a:pt x="3" y="8"/>
                    <a:pt x="3" y="6"/>
                    <a:pt x="2" y="6"/>
                  </a:cubicBezTo>
                  <a:cubicBezTo>
                    <a:pt x="0" y="6"/>
                    <a:pt x="0" y="5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2" name="Freeform 216"/>
            <p:cNvSpPr>
              <a:spLocks noEditPoints="1"/>
            </p:cNvSpPr>
            <p:nvPr/>
          </p:nvSpPr>
          <p:spPr bwMode="auto">
            <a:xfrm>
              <a:off x="8413891" y="5176065"/>
              <a:ext cx="393661" cy="313317"/>
            </a:xfrm>
            <a:custGeom>
              <a:avLst/>
              <a:gdLst/>
              <a:ahLst/>
              <a:cxnLst>
                <a:cxn ang="0">
                  <a:pos x="22" y="20"/>
                </a:cxn>
                <a:cxn ang="0">
                  <a:pos x="45" y="37"/>
                </a:cxn>
                <a:cxn ang="0">
                  <a:pos x="56" y="45"/>
                </a:cxn>
                <a:cxn ang="0">
                  <a:pos x="53" y="54"/>
                </a:cxn>
                <a:cxn ang="0">
                  <a:pos x="70" y="76"/>
                </a:cxn>
                <a:cxn ang="0">
                  <a:pos x="80" y="87"/>
                </a:cxn>
                <a:cxn ang="0">
                  <a:pos x="68" y="87"/>
                </a:cxn>
                <a:cxn ang="0">
                  <a:pos x="41" y="65"/>
                </a:cxn>
                <a:cxn ang="0">
                  <a:pos x="29" y="60"/>
                </a:cxn>
                <a:cxn ang="0">
                  <a:pos x="24" y="70"/>
                </a:cxn>
                <a:cxn ang="0">
                  <a:pos x="17" y="77"/>
                </a:cxn>
                <a:cxn ang="0">
                  <a:pos x="0" y="68"/>
                </a:cxn>
                <a:cxn ang="0">
                  <a:pos x="68" y="46"/>
                </a:cxn>
                <a:cxn ang="0">
                  <a:pos x="90" y="43"/>
                </a:cxn>
                <a:cxn ang="0">
                  <a:pos x="94" y="36"/>
                </a:cxn>
                <a:cxn ang="0">
                  <a:pos x="91" y="28"/>
                </a:cxn>
                <a:cxn ang="0">
                  <a:pos x="82" y="40"/>
                </a:cxn>
                <a:cxn ang="0">
                  <a:pos x="79" y="37"/>
                </a:cxn>
                <a:cxn ang="0">
                  <a:pos x="65" y="42"/>
                </a:cxn>
                <a:cxn ang="0">
                  <a:pos x="55" y="9"/>
                </a:cxn>
                <a:cxn ang="0">
                  <a:pos x="50" y="8"/>
                </a:cxn>
                <a:cxn ang="0">
                  <a:pos x="79" y="11"/>
                </a:cxn>
                <a:cxn ang="0">
                  <a:pos x="79" y="11"/>
                </a:cxn>
                <a:cxn ang="0">
                  <a:pos x="97" y="26"/>
                </a:cxn>
                <a:cxn ang="0">
                  <a:pos x="100" y="25"/>
                </a:cxn>
                <a:cxn ang="0">
                  <a:pos x="85" y="14"/>
                </a:cxn>
                <a:cxn ang="0">
                  <a:pos x="74" y="1"/>
                </a:cxn>
                <a:cxn ang="0">
                  <a:pos x="74" y="1"/>
                </a:cxn>
                <a:cxn ang="0">
                  <a:pos x="117" y="42"/>
                </a:cxn>
                <a:cxn ang="0">
                  <a:pos x="115" y="43"/>
                </a:cxn>
                <a:cxn ang="0">
                  <a:pos x="125" y="54"/>
                </a:cxn>
                <a:cxn ang="0">
                  <a:pos x="61" y="43"/>
                </a:cxn>
                <a:cxn ang="0">
                  <a:pos x="61" y="43"/>
                </a:cxn>
                <a:cxn ang="0">
                  <a:pos x="56" y="40"/>
                </a:cxn>
                <a:cxn ang="0">
                  <a:pos x="47" y="31"/>
                </a:cxn>
                <a:cxn ang="0">
                  <a:pos x="47" y="31"/>
                </a:cxn>
                <a:cxn ang="0">
                  <a:pos x="99" y="76"/>
                </a:cxn>
                <a:cxn ang="0">
                  <a:pos x="102" y="76"/>
                </a:cxn>
                <a:cxn ang="0">
                  <a:pos x="108" y="101"/>
                </a:cxn>
                <a:cxn ang="0">
                  <a:pos x="79" y="79"/>
                </a:cxn>
                <a:cxn ang="0">
                  <a:pos x="79" y="79"/>
                </a:cxn>
                <a:cxn ang="0">
                  <a:pos x="85" y="81"/>
                </a:cxn>
                <a:cxn ang="0">
                  <a:pos x="82" y="82"/>
                </a:cxn>
                <a:cxn ang="0">
                  <a:pos x="88" y="87"/>
                </a:cxn>
                <a:cxn ang="0">
                  <a:pos x="85" y="84"/>
                </a:cxn>
              </a:cxnLst>
              <a:rect l="0" t="0" r="r" b="b"/>
              <a:pathLst>
                <a:path w="126" h="101">
                  <a:moveTo>
                    <a:pt x="0" y="11"/>
                  </a:moveTo>
                  <a:cubicBezTo>
                    <a:pt x="6" y="9"/>
                    <a:pt x="17" y="18"/>
                    <a:pt x="22" y="20"/>
                  </a:cubicBezTo>
                  <a:cubicBezTo>
                    <a:pt x="29" y="21"/>
                    <a:pt x="29" y="25"/>
                    <a:pt x="32" y="25"/>
                  </a:cubicBezTo>
                  <a:cubicBezTo>
                    <a:pt x="35" y="25"/>
                    <a:pt x="45" y="34"/>
                    <a:pt x="45" y="37"/>
                  </a:cubicBezTo>
                  <a:cubicBezTo>
                    <a:pt x="44" y="40"/>
                    <a:pt x="42" y="40"/>
                    <a:pt x="48" y="42"/>
                  </a:cubicBezTo>
                  <a:cubicBezTo>
                    <a:pt x="53" y="43"/>
                    <a:pt x="52" y="46"/>
                    <a:pt x="56" y="45"/>
                  </a:cubicBezTo>
                  <a:cubicBezTo>
                    <a:pt x="59" y="45"/>
                    <a:pt x="62" y="51"/>
                    <a:pt x="61" y="53"/>
                  </a:cubicBezTo>
                  <a:cubicBezTo>
                    <a:pt x="59" y="54"/>
                    <a:pt x="56" y="53"/>
                    <a:pt x="53" y="54"/>
                  </a:cubicBezTo>
                  <a:cubicBezTo>
                    <a:pt x="52" y="54"/>
                    <a:pt x="59" y="64"/>
                    <a:pt x="62" y="65"/>
                  </a:cubicBezTo>
                  <a:cubicBezTo>
                    <a:pt x="65" y="67"/>
                    <a:pt x="64" y="77"/>
                    <a:pt x="70" y="76"/>
                  </a:cubicBezTo>
                  <a:cubicBezTo>
                    <a:pt x="77" y="73"/>
                    <a:pt x="67" y="81"/>
                    <a:pt x="74" y="81"/>
                  </a:cubicBezTo>
                  <a:cubicBezTo>
                    <a:pt x="82" y="81"/>
                    <a:pt x="70" y="84"/>
                    <a:pt x="80" y="87"/>
                  </a:cubicBezTo>
                  <a:cubicBezTo>
                    <a:pt x="87" y="88"/>
                    <a:pt x="84" y="91"/>
                    <a:pt x="80" y="91"/>
                  </a:cubicBezTo>
                  <a:cubicBezTo>
                    <a:pt x="76" y="91"/>
                    <a:pt x="79" y="90"/>
                    <a:pt x="68" y="87"/>
                  </a:cubicBezTo>
                  <a:cubicBezTo>
                    <a:pt x="58" y="85"/>
                    <a:pt x="59" y="85"/>
                    <a:pt x="53" y="77"/>
                  </a:cubicBezTo>
                  <a:cubicBezTo>
                    <a:pt x="47" y="70"/>
                    <a:pt x="48" y="65"/>
                    <a:pt x="41" y="65"/>
                  </a:cubicBezTo>
                  <a:cubicBezTo>
                    <a:pt x="35" y="64"/>
                    <a:pt x="39" y="60"/>
                    <a:pt x="33" y="64"/>
                  </a:cubicBezTo>
                  <a:cubicBezTo>
                    <a:pt x="30" y="64"/>
                    <a:pt x="30" y="64"/>
                    <a:pt x="29" y="60"/>
                  </a:cubicBezTo>
                  <a:cubicBezTo>
                    <a:pt x="30" y="68"/>
                    <a:pt x="27" y="64"/>
                    <a:pt x="27" y="67"/>
                  </a:cubicBezTo>
                  <a:cubicBezTo>
                    <a:pt x="27" y="70"/>
                    <a:pt x="20" y="68"/>
                    <a:pt x="24" y="70"/>
                  </a:cubicBezTo>
                  <a:cubicBezTo>
                    <a:pt x="26" y="71"/>
                    <a:pt x="27" y="76"/>
                    <a:pt x="24" y="76"/>
                  </a:cubicBezTo>
                  <a:cubicBezTo>
                    <a:pt x="22" y="76"/>
                    <a:pt x="21" y="81"/>
                    <a:pt x="17" y="77"/>
                  </a:cubicBezTo>
                  <a:cubicBezTo>
                    <a:pt x="13" y="76"/>
                    <a:pt x="7" y="79"/>
                    <a:pt x="6" y="77"/>
                  </a:cubicBezTo>
                  <a:cubicBezTo>
                    <a:pt x="4" y="74"/>
                    <a:pt x="4" y="71"/>
                    <a:pt x="0" y="68"/>
                  </a:cubicBezTo>
                  <a:cubicBezTo>
                    <a:pt x="0" y="11"/>
                    <a:pt x="0" y="11"/>
                    <a:pt x="0" y="11"/>
                  </a:cubicBezTo>
                  <a:close/>
                  <a:moveTo>
                    <a:pt x="68" y="46"/>
                  </a:moveTo>
                  <a:cubicBezTo>
                    <a:pt x="73" y="49"/>
                    <a:pt x="71" y="45"/>
                    <a:pt x="74" y="48"/>
                  </a:cubicBezTo>
                  <a:cubicBezTo>
                    <a:pt x="77" y="51"/>
                    <a:pt x="88" y="46"/>
                    <a:pt x="90" y="43"/>
                  </a:cubicBezTo>
                  <a:cubicBezTo>
                    <a:pt x="91" y="40"/>
                    <a:pt x="91" y="43"/>
                    <a:pt x="94" y="42"/>
                  </a:cubicBezTo>
                  <a:cubicBezTo>
                    <a:pt x="97" y="39"/>
                    <a:pt x="93" y="36"/>
                    <a:pt x="94" y="36"/>
                  </a:cubicBezTo>
                  <a:cubicBezTo>
                    <a:pt x="97" y="36"/>
                    <a:pt x="99" y="31"/>
                    <a:pt x="97" y="29"/>
                  </a:cubicBezTo>
                  <a:cubicBezTo>
                    <a:pt x="96" y="28"/>
                    <a:pt x="94" y="28"/>
                    <a:pt x="91" y="28"/>
                  </a:cubicBezTo>
                  <a:cubicBezTo>
                    <a:pt x="88" y="28"/>
                    <a:pt x="94" y="37"/>
                    <a:pt x="90" y="36"/>
                  </a:cubicBezTo>
                  <a:cubicBezTo>
                    <a:pt x="87" y="34"/>
                    <a:pt x="87" y="43"/>
                    <a:pt x="82" y="40"/>
                  </a:cubicBezTo>
                  <a:cubicBezTo>
                    <a:pt x="80" y="39"/>
                    <a:pt x="80" y="43"/>
                    <a:pt x="79" y="40"/>
                  </a:cubicBezTo>
                  <a:cubicBezTo>
                    <a:pt x="77" y="37"/>
                    <a:pt x="80" y="37"/>
                    <a:pt x="79" y="37"/>
                  </a:cubicBezTo>
                  <a:cubicBezTo>
                    <a:pt x="79" y="36"/>
                    <a:pt x="77" y="36"/>
                    <a:pt x="77" y="40"/>
                  </a:cubicBezTo>
                  <a:cubicBezTo>
                    <a:pt x="77" y="43"/>
                    <a:pt x="65" y="39"/>
                    <a:pt x="65" y="42"/>
                  </a:cubicBezTo>
                  <a:cubicBezTo>
                    <a:pt x="65" y="45"/>
                    <a:pt x="67" y="43"/>
                    <a:pt x="68" y="46"/>
                  </a:cubicBezTo>
                  <a:close/>
                  <a:moveTo>
                    <a:pt x="55" y="9"/>
                  </a:moveTo>
                  <a:cubicBezTo>
                    <a:pt x="58" y="9"/>
                    <a:pt x="58" y="8"/>
                    <a:pt x="56" y="6"/>
                  </a:cubicBezTo>
                  <a:cubicBezTo>
                    <a:pt x="55" y="6"/>
                    <a:pt x="50" y="6"/>
                    <a:pt x="50" y="8"/>
                  </a:cubicBezTo>
                  <a:cubicBezTo>
                    <a:pt x="50" y="11"/>
                    <a:pt x="52" y="9"/>
                    <a:pt x="55" y="9"/>
                  </a:cubicBezTo>
                  <a:close/>
                  <a:moveTo>
                    <a:pt x="79" y="11"/>
                  </a:moveTo>
                  <a:cubicBezTo>
                    <a:pt x="79" y="9"/>
                    <a:pt x="84" y="12"/>
                    <a:pt x="82" y="12"/>
                  </a:cubicBezTo>
                  <a:cubicBezTo>
                    <a:pt x="80" y="14"/>
                    <a:pt x="77" y="12"/>
                    <a:pt x="79" y="11"/>
                  </a:cubicBezTo>
                  <a:close/>
                  <a:moveTo>
                    <a:pt x="91" y="18"/>
                  </a:moveTo>
                  <a:cubicBezTo>
                    <a:pt x="91" y="20"/>
                    <a:pt x="96" y="21"/>
                    <a:pt x="97" y="26"/>
                  </a:cubicBezTo>
                  <a:cubicBezTo>
                    <a:pt x="100" y="29"/>
                    <a:pt x="99" y="29"/>
                    <a:pt x="100" y="34"/>
                  </a:cubicBezTo>
                  <a:cubicBezTo>
                    <a:pt x="102" y="37"/>
                    <a:pt x="105" y="28"/>
                    <a:pt x="100" y="25"/>
                  </a:cubicBezTo>
                  <a:cubicBezTo>
                    <a:pt x="96" y="23"/>
                    <a:pt x="96" y="20"/>
                    <a:pt x="93" y="18"/>
                  </a:cubicBezTo>
                  <a:cubicBezTo>
                    <a:pt x="87" y="15"/>
                    <a:pt x="85" y="11"/>
                    <a:pt x="85" y="14"/>
                  </a:cubicBezTo>
                  <a:cubicBezTo>
                    <a:pt x="80" y="15"/>
                    <a:pt x="87" y="14"/>
                    <a:pt x="91" y="18"/>
                  </a:cubicBezTo>
                  <a:close/>
                  <a:moveTo>
                    <a:pt x="74" y="1"/>
                  </a:moveTo>
                  <a:cubicBezTo>
                    <a:pt x="76" y="0"/>
                    <a:pt x="77" y="3"/>
                    <a:pt x="76" y="3"/>
                  </a:cubicBezTo>
                  <a:cubicBezTo>
                    <a:pt x="74" y="3"/>
                    <a:pt x="74" y="3"/>
                    <a:pt x="74" y="1"/>
                  </a:cubicBezTo>
                  <a:close/>
                  <a:moveTo>
                    <a:pt x="123" y="48"/>
                  </a:moveTo>
                  <a:cubicBezTo>
                    <a:pt x="120" y="46"/>
                    <a:pt x="120" y="42"/>
                    <a:pt x="117" y="42"/>
                  </a:cubicBezTo>
                  <a:cubicBezTo>
                    <a:pt x="115" y="40"/>
                    <a:pt x="115" y="34"/>
                    <a:pt x="114" y="37"/>
                  </a:cubicBezTo>
                  <a:cubicBezTo>
                    <a:pt x="112" y="39"/>
                    <a:pt x="115" y="39"/>
                    <a:pt x="115" y="43"/>
                  </a:cubicBezTo>
                  <a:cubicBezTo>
                    <a:pt x="114" y="46"/>
                    <a:pt x="119" y="48"/>
                    <a:pt x="120" y="51"/>
                  </a:cubicBezTo>
                  <a:cubicBezTo>
                    <a:pt x="120" y="54"/>
                    <a:pt x="122" y="54"/>
                    <a:pt x="125" y="54"/>
                  </a:cubicBezTo>
                  <a:cubicBezTo>
                    <a:pt x="126" y="53"/>
                    <a:pt x="125" y="48"/>
                    <a:pt x="123" y="48"/>
                  </a:cubicBezTo>
                  <a:close/>
                  <a:moveTo>
                    <a:pt x="61" y="43"/>
                  </a:moveTo>
                  <a:cubicBezTo>
                    <a:pt x="59" y="42"/>
                    <a:pt x="61" y="39"/>
                    <a:pt x="62" y="42"/>
                  </a:cubicBezTo>
                  <a:cubicBezTo>
                    <a:pt x="64" y="43"/>
                    <a:pt x="62" y="45"/>
                    <a:pt x="61" y="43"/>
                  </a:cubicBezTo>
                  <a:close/>
                  <a:moveTo>
                    <a:pt x="55" y="39"/>
                  </a:moveTo>
                  <a:cubicBezTo>
                    <a:pt x="55" y="37"/>
                    <a:pt x="58" y="40"/>
                    <a:pt x="56" y="40"/>
                  </a:cubicBezTo>
                  <a:cubicBezTo>
                    <a:pt x="56" y="42"/>
                    <a:pt x="53" y="40"/>
                    <a:pt x="55" y="39"/>
                  </a:cubicBezTo>
                  <a:close/>
                  <a:moveTo>
                    <a:pt x="47" y="31"/>
                  </a:moveTo>
                  <a:cubicBezTo>
                    <a:pt x="48" y="32"/>
                    <a:pt x="47" y="36"/>
                    <a:pt x="45" y="34"/>
                  </a:cubicBezTo>
                  <a:cubicBezTo>
                    <a:pt x="44" y="32"/>
                    <a:pt x="45" y="31"/>
                    <a:pt x="47" y="31"/>
                  </a:cubicBezTo>
                  <a:close/>
                  <a:moveTo>
                    <a:pt x="102" y="76"/>
                  </a:moveTo>
                  <a:cubicBezTo>
                    <a:pt x="100" y="74"/>
                    <a:pt x="97" y="74"/>
                    <a:pt x="99" y="76"/>
                  </a:cubicBezTo>
                  <a:cubicBezTo>
                    <a:pt x="100" y="76"/>
                    <a:pt x="99" y="77"/>
                    <a:pt x="100" y="77"/>
                  </a:cubicBezTo>
                  <a:cubicBezTo>
                    <a:pt x="102" y="77"/>
                    <a:pt x="103" y="77"/>
                    <a:pt x="102" y="76"/>
                  </a:cubicBezTo>
                  <a:close/>
                  <a:moveTo>
                    <a:pt x="103" y="99"/>
                  </a:moveTo>
                  <a:cubicBezTo>
                    <a:pt x="102" y="96"/>
                    <a:pt x="106" y="99"/>
                    <a:pt x="108" y="101"/>
                  </a:cubicBezTo>
                  <a:cubicBezTo>
                    <a:pt x="103" y="99"/>
                    <a:pt x="103" y="99"/>
                    <a:pt x="103" y="99"/>
                  </a:cubicBezTo>
                  <a:close/>
                  <a:moveTo>
                    <a:pt x="79" y="79"/>
                  </a:moveTo>
                  <a:cubicBezTo>
                    <a:pt x="77" y="77"/>
                    <a:pt x="79" y="76"/>
                    <a:pt x="80" y="77"/>
                  </a:cubicBezTo>
                  <a:cubicBezTo>
                    <a:pt x="82" y="79"/>
                    <a:pt x="80" y="82"/>
                    <a:pt x="79" y="79"/>
                  </a:cubicBezTo>
                  <a:close/>
                  <a:moveTo>
                    <a:pt x="82" y="82"/>
                  </a:moveTo>
                  <a:cubicBezTo>
                    <a:pt x="84" y="82"/>
                    <a:pt x="85" y="82"/>
                    <a:pt x="85" y="81"/>
                  </a:cubicBezTo>
                  <a:cubicBezTo>
                    <a:pt x="85" y="79"/>
                    <a:pt x="82" y="77"/>
                    <a:pt x="82" y="79"/>
                  </a:cubicBezTo>
                  <a:cubicBezTo>
                    <a:pt x="82" y="81"/>
                    <a:pt x="80" y="82"/>
                    <a:pt x="82" y="82"/>
                  </a:cubicBezTo>
                  <a:close/>
                  <a:moveTo>
                    <a:pt x="85" y="84"/>
                  </a:moveTo>
                  <a:cubicBezTo>
                    <a:pt x="85" y="85"/>
                    <a:pt x="87" y="88"/>
                    <a:pt x="88" y="87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7" y="85"/>
                    <a:pt x="85" y="82"/>
                    <a:pt x="85" y="8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3" name="Freeform 217"/>
            <p:cNvSpPr>
              <a:spLocks noEditPoints="1"/>
            </p:cNvSpPr>
            <p:nvPr/>
          </p:nvSpPr>
          <p:spPr bwMode="auto">
            <a:xfrm>
              <a:off x="8797911" y="5333527"/>
              <a:ext cx="165499" cy="16549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2" y="5"/>
                </a:cxn>
                <a:cxn ang="0">
                  <a:pos x="14" y="8"/>
                </a:cxn>
                <a:cxn ang="0">
                  <a:pos x="9" y="5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3" y="13"/>
                </a:cxn>
                <a:cxn ang="0">
                  <a:pos x="32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3" y="13"/>
                </a:cxn>
                <a:cxn ang="0">
                  <a:pos x="42" y="28"/>
                </a:cxn>
                <a:cxn ang="0">
                  <a:pos x="44" y="28"/>
                </a:cxn>
                <a:cxn ang="0">
                  <a:pos x="42" y="23"/>
                </a:cxn>
                <a:cxn ang="0">
                  <a:pos x="39" y="17"/>
                </a:cxn>
                <a:cxn ang="0">
                  <a:pos x="39" y="25"/>
                </a:cxn>
                <a:cxn ang="0">
                  <a:pos x="42" y="28"/>
                </a:cxn>
                <a:cxn ang="0">
                  <a:pos x="35" y="33"/>
                </a:cxn>
                <a:cxn ang="0">
                  <a:pos x="39" y="33"/>
                </a:cxn>
                <a:cxn ang="0">
                  <a:pos x="38" y="28"/>
                </a:cxn>
                <a:cxn ang="0">
                  <a:pos x="33" y="28"/>
                </a:cxn>
                <a:cxn ang="0">
                  <a:pos x="30" y="30"/>
                </a:cxn>
                <a:cxn ang="0">
                  <a:pos x="35" y="33"/>
                </a:cxn>
                <a:cxn ang="0">
                  <a:pos x="46" y="39"/>
                </a:cxn>
                <a:cxn ang="0">
                  <a:pos x="52" y="42"/>
                </a:cxn>
                <a:cxn ang="0">
                  <a:pos x="50" y="39"/>
                </a:cxn>
                <a:cxn ang="0">
                  <a:pos x="44" y="36"/>
                </a:cxn>
                <a:cxn ang="0">
                  <a:pos x="46" y="39"/>
                </a:cxn>
                <a:cxn ang="0">
                  <a:pos x="33" y="48"/>
                </a:cxn>
                <a:cxn ang="0">
                  <a:pos x="39" y="51"/>
                </a:cxn>
                <a:cxn ang="0">
                  <a:pos x="33" y="48"/>
                </a:cxn>
                <a:cxn ang="0">
                  <a:pos x="17" y="17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7" y="20"/>
                </a:cxn>
                <a:cxn ang="0">
                  <a:pos x="17" y="17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11" y="13"/>
                </a:cxn>
                <a:cxn ang="0">
                  <a:pos x="6" y="11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53" h="53">
                  <a:moveTo>
                    <a:pt x="6" y="0"/>
                  </a:moveTo>
                  <a:cubicBezTo>
                    <a:pt x="11" y="3"/>
                    <a:pt x="11" y="3"/>
                    <a:pt x="12" y="5"/>
                  </a:cubicBezTo>
                  <a:cubicBezTo>
                    <a:pt x="12" y="8"/>
                    <a:pt x="17" y="8"/>
                    <a:pt x="14" y="8"/>
                  </a:cubicBezTo>
                  <a:cubicBezTo>
                    <a:pt x="12" y="10"/>
                    <a:pt x="9" y="7"/>
                    <a:pt x="9" y="5"/>
                  </a:cubicBezTo>
                  <a:cubicBezTo>
                    <a:pt x="8" y="3"/>
                    <a:pt x="6" y="3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  <a:moveTo>
                    <a:pt x="23" y="13"/>
                  </a:moveTo>
                  <a:cubicBezTo>
                    <a:pt x="23" y="14"/>
                    <a:pt x="30" y="17"/>
                    <a:pt x="32" y="19"/>
                  </a:cubicBezTo>
                  <a:cubicBezTo>
                    <a:pt x="35" y="22"/>
                    <a:pt x="32" y="16"/>
                    <a:pt x="29" y="14"/>
                  </a:cubicBezTo>
                  <a:cubicBezTo>
                    <a:pt x="26" y="13"/>
                    <a:pt x="27" y="11"/>
                    <a:pt x="24" y="11"/>
                  </a:cubicBezTo>
                  <a:cubicBezTo>
                    <a:pt x="23" y="10"/>
                    <a:pt x="23" y="10"/>
                    <a:pt x="23" y="13"/>
                  </a:cubicBezTo>
                  <a:close/>
                  <a:moveTo>
                    <a:pt x="42" y="28"/>
                  </a:moveTo>
                  <a:cubicBezTo>
                    <a:pt x="44" y="31"/>
                    <a:pt x="47" y="31"/>
                    <a:pt x="44" y="28"/>
                  </a:cubicBezTo>
                  <a:cubicBezTo>
                    <a:pt x="44" y="27"/>
                    <a:pt x="46" y="27"/>
                    <a:pt x="42" y="23"/>
                  </a:cubicBezTo>
                  <a:cubicBezTo>
                    <a:pt x="41" y="22"/>
                    <a:pt x="42" y="19"/>
                    <a:pt x="39" y="17"/>
                  </a:cubicBezTo>
                  <a:cubicBezTo>
                    <a:pt x="36" y="17"/>
                    <a:pt x="39" y="19"/>
                    <a:pt x="39" y="25"/>
                  </a:cubicBezTo>
                  <a:cubicBezTo>
                    <a:pt x="41" y="27"/>
                    <a:pt x="41" y="27"/>
                    <a:pt x="42" y="28"/>
                  </a:cubicBezTo>
                  <a:close/>
                  <a:moveTo>
                    <a:pt x="35" y="33"/>
                  </a:moveTo>
                  <a:cubicBezTo>
                    <a:pt x="38" y="31"/>
                    <a:pt x="36" y="33"/>
                    <a:pt x="39" y="33"/>
                  </a:cubicBezTo>
                  <a:cubicBezTo>
                    <a:pt x="42" y="34"/>
                    <a:pt x="39" y="31"/>
                    <a:pt x="38" y="28"/>
                  </a:cubicBezTo>
                  <a:cubicBezTo>
                    <a:pt x="36" y="27"/>
                    <a:pt x="35" y="30"/>
                    <a:pt x="33" y="28"/>
                  </a:cubicBezTo>
                  <a:cubicBezTo>
                    <a:pt x="32" y="27"/>
                    <a:pt x="30" y="27"/>
                    <a:pt x="30" y="30"/>
                  </a:cubicBezTo>
                  <a:cubicBezTo>
                    <a:pt x="30" y="31"/>
                    <a:pt x="33" y="33"/>
                    <a:pt x="35" y="33"/>
                  </a:cubicBezTo>
                  <a:close/>
                  <a:moveTo>
                    <a:pt x="46" y="39"/>
                  </a:moveTo>
                  <a:cubicBezTo>
                    <a:pt x="46" y="40"/>
                    <a:pt x="50" y="42"/>
                    <a:pt x="52" y="42"/>
                  </a:cubicBezTo>
                  <a:cubicBezTo>
                    <a:pt x="53" y="42"/>
                    <a:pt x="52" y="39"/>
                    <a:pt x="50" y="39"/>
                  </a:cubicBezTo>
                  <a:cubicBezTo>
                    <a:pt x="49" y="39"/>
                    <a:pt x="46" y="36"/>
                    <a:pt x="44" y="36"/>
                  </a:cubicBezTo>
                  <a:cubicBezTo>
                    <a:pt x="42" y="37"/>
                    <a:pt x="46" y="37"/>
                    <a:pt x="46" y="39"/>
                  </a:cubicBezTo>
                  <a:close/>
                  <a:moveTo>
                    <a:pt x="33" y="48"/>
                  </a:moveTo>
                  <a:cubicBezTo>
                    <a:pt x="35" y="47"/>
                    <a:pt x="39" y="51"/>
                    <a:pt x="39" y="51"/>
                  </a:cubicBezTo>
                  <a:cubicBezTo>
                    <a:pt x="38" y="53"/>
                    <a:pt x="33" y="50"/>
                    <a:pt x="33" y="48"/>
                  </a:cubicBezTo>
                  <a:close/>
                  <a:moveTo>
                    <a:pt x="17" y="17"/>
                  </a:moveTo>
                  <a:cubicBezTo>
                    <a:pt x="15" y="16"/>
                    <a:pt x="17" y="14"/>
                    <a:pt x="15" y="14"/>
                  </a:cubicBezTo>
                  <a:cubicBezTo>
                    <a:pt x="14" y="13"/>
                    <a:pt x="12" y="19"/>
                    <a:pt x="14" y="17"/>
                  </a:cubicBezTo>
                  <a:cubicBezTo>
                    <a:pt x="15" y="17"/>
                    <a:pt x="15" y="17"/>
                    <a:pt x="17" y="20"/>
                  </a:cubicBezTo>
                  <a:cubicBezTo>
                    <a:pt x="17" y="20"/>
                    <a:pt x="18" y="19"/>
                    <a:pt x="17" y="17"/>
                  </a:cubicBezTo>
                  <a:close/>
                  <a:moveTo>
                    <a:pt x="11" y="13"/>
                  </a:moveTo>
                  <a:cubicBezTo>
                    <a:pt x="11" y="11"/>
                    <a:pt x="12" y="14"/>
                    <a:pt x="12" y="16"/>
                  </a:cubicBezTo>
                  <a:cubicBezTo>
                    <a:pt x="11" y="17"/>
                    <a:pt x="9" y="14"/>
                    <a:pt x="11" y="13"/>
                  </a:cubicBezTo>
                  <a:close/>
                  <a:moveTo>
                    <a:pt x="6" y="11"/>
                  </a:moveTo>
                  <a:cubicBezTo>
                    <a:pt x="6" y="10"/>
                    <a:pt x="11" y="11"/>
                    <a:pt x="9" y="13"/>
                  </a:cubicBezTo>
                  <a:cubicBezTo>
                    <a:pt x="8" y="14"/>
                    <a:pt x="6" y="11"/>
                    <a:pt x="6" y="11"/>
                  </a:cubicBezTo>
                  <a:close/>
                  <a:moveTo>
                    <a:pt x="20" y="22"/>
                  </a:moveTo>
                  <a:cubicBezTo>
                    <a:pt x="18" y="22"/>
                    <a:pt x="17" y="22"/>
                    <a:pt x="18" y="20"/>
                  </a:cubicBezTo>
                  <a:cubicBezTo>
                    <a:pt x="18" y="19"/>
                    <a:pt x="20" y="20"/>
                    <a:pt x="20" y="22"/>
                  </a:cubicBezTo>
                  <a:close/>
                  <a:moveTo>
                    <a:pt x="0" y="5"/>
                  </a:moveTo>
                  <a:cubicBezTo>
                    <a:pt x="0" y="3"/>
                    <a:pt x="2" y="5"/>
                    <a:pt x="2" y="5"/>
                  </a:cubicBezTo>
                  <a:cubicBezTo>
                    <a:pt x="2" y="7"/>
                    <a:pt x="0" y="7"/>
                    <a:pt x="0" y="5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4" name="Freeform 218"/>
            <p:cNvSpPr>
              <a:spLocks noEditPoints="1"/>
            </p:cNvSpPr>
            <p:nvPr/>
          </p:nvSpPr>
          <p:spPr bwMode="auto">
            <a:xfrm>
              <a:off x="9063030" y="5580966"/>
              <a:ext cx="77125" cy="16228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2" y="8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5"/>
                </a:cxn>
                <a:cxn ang="0">
                  <a:pos x="5" y="11"/>
                </a:cxn>
                <a:cxn ang="0">
                  <a:pos x="8" y="16"/>
                </a:cxn>
                <a:cxn ang="0">
                  <a:pos x="11" y="19"/>
                </a:cxn>
                <a:cxn ang="0">
                  <a:pos x="6" y="14"/>
                </a:cxn>
                <a:cxn ang="0">
                  <a:pos x="8" y="16"/>
                </a:cxn>
                <a:cxn ang="0">
                  <a:pos x="14" y="30"/>
                </a:cxn>
                <a:cxn ang="0">
                  <a:pos x="17" y="33"/>
                </a:cxn>
                <a:cxn ang="0">
                  <a:pos x="14" y="30"/>
                </a:cxn>
                <a:cxn ang="0">
                  <a:pos x="15" y="22"/>
                </a:cxn>
                <a:cxn ang="0">
                  <a:pos x="14" y="21"/>
                </a:cxn>
                <a:cxn ang="0">
                  <a:pos x="15" y="22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2" y="18"/>
                </a:cxn>
                <a:cxn ang="0">
                  <a:pos x="11" y="10"/>
                </a:cxn>
                <a:cxn ang="0">
                  <a:pos x="12" y="7"/>
                </a:cxn>
                <a:cxn ang="0">
                  <a:pos x="11" y="10"/>
                </a:cxn>
                <a:cxn ang="0">
                  <a:pos x="20" y="41"/>
                </a:cxn>
                <a:cxn ang="0">
                  <a:pos x="23" y="44"/>
                </a:cxn>
                <a:cxn ang="0">
                  <a:pos x="20" y="41"/>
                </a:cxn>
                <a:cxn ang="0">
                  <a:pos x="23" y="49"/>
                </a:cxn>
                <a:cxn ang="0">
                  <a:pos x="25" y="52"/>
                </a:cxn>
                <a:cxn ang="0">
                  <a:pos x="23" y="49"/>
                </a:cxn>
              </a:cxnLst>
              <a:rect l="0" t="0" r="r" b="b"/>
              <a:pathLst>
                <a:path w="25" h="52">
                  <a:moveTo>
                    <a:pt x="5" y="11"/>
                  </a:moveTo>
                  <a:cubicBezTo>
                    <a:pt x="2" y="11"/>
                    <a:pt x="3" y="11"/>
                    <a:pt x="2" y="8"/>
                  </a:cubicBezTo>
                  <a:cubicBezTo>
                    <a:pt x="0" y="7"/>
                    <a:pt x="2" y="7"/>
                    <a:pt x="2" y="3"/>
                  </a:cubicBezTo>
                  <a:cubicBezTo>
                    <a:pt x="0" y="0"/>
                    <a:pt x="2" y="0"/>
                    <a:pt x="3" y="3"/>
                  </a:cubicBezTo>
                  <a:cubicBezTo>
                    <a:pt x="3" y="8"/>
                    <a:pt x="5" y="2"/>
                    <a:pt x="5" y="5"/>
                  </a:cubicBezTo>
                  <a:cubicBezTo>
                    <a:pt x="6" y="8"/>
                    <a:pt x="8" y="10"/>
                    <a:pt x="5" y="11"/>
                  </a:cubicBezTo>
                  <a:close/>
                  <a:moveTo>
                    <a:pt x="8" y="16"/>
                  </a:moveTo>
                  <a:cubicBezTo>
                    <a:pt x="9" y="18"/>
                    <a:pt x="8" y="21"/>
                    <a:pt x="11" y="19"/>
                  </a:cubicBezTo>
                  <a:cubicBezTo>
                    <a:pt x="12" y="19"/>
                    <a:pt x="6" y="11"/>
                    <a:pt x="6" y="14"/>
                  </a:cubicBezTo>
                  <a:cubicBezTo>
                    <a:pt x="6" y="16"/>
                    <a:pt x="5" y="16"/>
                    <a:pt x="8" y="16"/>
                  </a:cubicBezTo>
                  <a:close/>
                  <a:moveTo>
                    <a:pt x="14" y="30"/>
                  </a:moveTo>
                  <a:cubicBezTo>
                    <a:pt x="15" y="28"/>
                    <a:pt x="18" y="33"/>
                    <a:pt x="17" y="33"/>
                  </a:cubicBezTo>
                  <a:cubicBezTo>
                    <a:pt x="15" y="33"/>
                    <a:pt x="14" y="32"/>
                    <a:pt x="14" y="30"/>
                  </a:cubicBezTo>
                  <a:close/>
                  <a:moveTo>
                    <a:pt x="15" y="22"/>
                  </a:moveTo>
                  <a:cubicBezTo>
                    <a:pt x="12" y="22"/>
                    <a:pt x="14" y="19"/>
                    <a:pt x="14" y="21"/>
                  </a:cubicBezTo>
                  <a:cubicBezTo>
                    <a:pt x="15" y="22"/>
                    <a:pt x="15" y="24"/>
                    <a:pt x="15" y="22"/>
                  </a:cubicBezTo>
                  <a:close/>
                  <a:moveTo>
                    <a:pt x="12" y="18"/>
                  </a:moveTo>
                  <a:cubicBezTo>
                    <a:pt x="11" y="16"/>
                    <a:pt x="14" y="14"/>
                    <a:pt x="14" y="16"/>
                  </a:cubicBezTo>
                  <a:cubicBezTo>
                    <a:pt x="15" y="19"/>
                    <a:pt x="12" y="19"/>
                    <a:pt x="12" y="18"/>
                  </a:cubicBezTo>
                  <a:close/>
                  <a:moveTo>
                    <a:pt x="11" y="10"/>
                  </a:moveTo>
                  <a:cubicBezTo>
                    <a:pt x="9" y="8"/>
                    <a:pt x="12" y="7"/>
                    <a:pt x="12" y="7"/>
                  </a:cubicBezTo>
                  <a:cubicBezTo>
                    <a:pt x="14" y="8"/>
                    <a:pt x="11" y="10"/>
                    <a:pt x="11" y="10"/>
                  </a:cubicBezTo>
                  <a:close/>
                  <a:moveTo>
                    <a:pt x="20" y="41"/>
                  </a:moveTo>
                  <a:cubicBezTo>
                    <a:pt x="21" y="39"/>
                    <a:pt x="25" y="44"/>
                    <a:pt x="23" y="44"/>
                  </a:cubicBezTo>
                  <a:cubicBezTo>
                    <a:pt x="21" y="46"/>
                    <a:pt x="20" y="43"/>
                    <a:pt x="20" y="41"/>
                  </a:cubicBezTo>
                  <a:close/>
                  <a:moveTo>
                    <a:pt x="23" y="49"/>
                  </a:moveTo>
                  <a:cubicBezTo>
                    <a:pt x="23" y="47"/>
                    <a:pt x="25" y="52"/>
                    <a:pt x="25" y="52"/>
                  </a:cubicBezTo>
                  <a:cubicBezTo>
                    <a:pt x="23" y="52"/>
                    <a:pt x="21" y="49"/>
                    <a:pt x="23" y="4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5" name="Freeform 219"/>
            <p:cNvSpPr>
              <a:spLocks noEditPoints="1"/>
            </p:cNvSpPr>
            <p:nvPr/>
          </p:nvSpPr>
          <p:spPr bwMode="auto">
            <a:xfrm>
              <a:off x="8993939" y="5754496"/>
              <a:ext cx="118902" cy="72304"/>
            </a:xfrm>
            <a:custGeom>
              <a:avLst/>
              <a:gdLst/>
              <a:ahLst/>
              <a:cxnLst>
                <a:cxn ang="0">
                  <a:pos x="34" y="14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0" y="6"/>
                </a:cxn>
                <a:cxn ang="0">
                  <a:pos x="27" y="6"/>
                </a:cxn>
                <a:cxn ang="0">
                  <a:pos x="28" y="10"/>
                </a:cxn>
                <a:cxn ang="0">
                  <a:pos x="30" y="6"/>
                </a:cxn>
                <a:cxn ang="0">
                  <a:pos x="16" y="14"/>
                </a:cxn>
                <a:cxn ang="0">
                  <a:pos x="13" y="11"/>
                </a:cxn>
                <a:cxn ang="0">
                  <a:pos x="4" y="2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7" y="10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3"/>
                </a:cxn>
                <a:cxn ang="0">
                  <a:pos x="10" y="14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21" y="22"/>
                </a:cxn>
                <a:cxn ang="0">
                  <a:pos x="21" y="23"/>
                </a:cxn>
                <a:cxn ang="0">
                  <a:pos x="18" y="16"/>
                </a:cxn>
                <a:cxn ang="0">
                  <a:pos x="16" y="14"/>
                </a:cxn>
              </a:cxnLst>
              <a:rect l="0" t="0" r="r" b="b"/>
              <a:pathLst>
                <a:path w="38" h="23">
                  <a:moveTo>
                    <a:pt x="34" y="14"/>
                  </a:moveTo>
                  <a:cubicBezTo>
                    <a:pt x="33" y="13"/>
                    <a:pt x="34" y="11"/>
                    <a:pt x="36" y="13"/>
                  </a:cubicBezTo>
                  <a:cubicBezTo>
                    <a:pt x="38" y="16"/>
                    <a:pt x="34" y="16"/>
                    <a:pt x="34" y="14"/>
                  </a:cubicBezTo>
                  <a:close/>
                  <a:moveTo>
                    <a:pt x="30" y="6"/>
                  </a:moveTo>
                  <a:cubicBezTo>
                    <a:pt x="28" y="5"/>
                    <a:pt x="27" y="5"/>
                    <a:pt x="27" y="6"/>
                  </a:cubicBezTo>
                  <a:cubicBezTo>
                    <a:pt x="28" y="6"/>
                    <a:pt x="25" y="8"/>
                    <a:pt x="28" y="10"/>
                  </a:cubicBezTo>
                  <a:cubicBezTo>
                    <a:pt x="31" y="11"/>
                    <a:pt x="31" y="8"/>
                    <a:pt x="30" y="6"/>
                  </a:cubicBezTo>
                  <a:close/>
                  <a:moveTo>
                    <a:pt x="16" y="14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8"/>
                    <a:pt x="5" y="3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6"/>
                    <a:pt x="14" y="17"/>
                    <a:pt x="16" y="1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7" y="20"/>
                    <a:pt x="27" y="23"/>
                    <a:pt x="18" y="16"/>
                  </a:cubicBezTo>
                  <a:cubicBezTo>
                    <a:pt x="18" y="14"/>
                    <a:pt x="16" y="13"/>
                    <a:pt x="16" y="14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6" name="Freeform 220"/>
            <p:cNvSpPr>
              <a:spLocks/>
            </p:cNvSpPr>
            <p:nvPr/>
          </p:nvSpPr>
          <p:spPr bwMode="auto">
            <a:xfrm>
              <a:off x="7427327" y="4925412"/>
              <a:ext cx="102834" cy="178350"/>
            </a:xfrm>
            <a:custGeom>
              <a:avLst/>
              <a:gdLst/>
              <a:ahLst/>
              <a:cxnLst>
                <a:cxn ang="0">
                  <a:pos x="15" y="7"/>
                </a:cxn>
                <a:cxn ang="0">
                  <a:pos x="18" y="8"/>
                </a:cxn>
                <a:cxn ang="0">
                  <a:pos x="26" y="19"/>
                </a:cxn>
                <a:cxn ang="0">
                  <a:pos x="26" y="27"/>
                </a:cxn>
                <a:cxn ang="0">
                  <a:pos x="26" y="32"/>
                </a:cxn>
                <a:cxn ang="0">
                  <a:pos x="27" y="41"/>
                </a:cxn>
                <a:cxn ang="0">
                  <a:pos x="32" y="49"/>
                </a:cxn>
                <a:cxn ang="0">
                  <a:pos x="32" y="54"/>
                </a:cxn>
                <a:cxn ang="0">
                  <a:pos x="30" y="52"/>
                </a:cxn>
                <a:cxn ang="0">
                  <a:pos x="29" y="54"/>
                </a:cxn>
                <a:cxn ang="0">
                  <a:pos x="26" y="54"/>
                </a:cxn>
                <a:cxn ang="0">
                  <a:pos x="17" y="47"/>
                </a:cxn>
                <a:cxn ang="0">
                  <a:pos x="9" y="38"/>
                </a:cxn>
                <a:cxn ang="0">
                  <a:pos x="5" y="28"/>
                </a:cxn>
                <a:cxn ang="0">
                  <a:pos x="3" y="24"/>
                </a:cxn>
                <a:cxn ang="0">
                  <a:pos x="2" y="16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5" y="5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12" y="10"/>
                </a:cxn>
                <a:cxn ang="0">
                  <a:pos x="15" y="7"/>
                </a:cxn>
              </a:cxnLst>
              <a:rect l="0" t="0" r="r" b="b"/>
              <a:pathLst>
                <a:path w="33" h="57">
                  <a:moveTo>
                    <a:pt x="15" y="7"/>
                  </a:moveTo>
                  <a:cubicBezTo>
                    <a:pt x="17" y="7"/>
                    <a:pt x="17" y="5"/>
                    <a:pt x="18" y="8"/>
                  </a:cubicBezTo>
                  <a:cubicBezTo>
                    <a:pt x="18" y="11"/>
                    <a:pt x="24" y="14"/>
                    <a:pt x="26" y="19"/>
                  </a:cubicBezTo>
                  <a:cubicBezTo>
                    <a:pt x="27" y="24"/>
                    <a:pt x="26" y="27"/>
                    <a:pt x="26" y="27"/>
                  </a:cubicBezTo>
                  <a:cubicBezTo>
                    <a:pt x="26" y="28"/>
                    <a:pt x="24" y="30"/>
                    <a:pt x="26" y="32"/>
                  </a:cubicBezTo>
                  <a:cubicBezTo>
                    <a:pt x="27" y="33"/>
                    <a:pt x="23" y="38"/>
                    <a:pt x="27" y="41"/>
                  </a:cubicBezTo>
                  <a:cubicBezTo>
                    <a:pt x="30" y="44"/>
                    <a:pt x="29" y="47"/>
                    <a:pt x="32" y="49"/>
                  </a:cubicBezTo>
                  <a:cubicBezTo>
                    <a:pt x="32" y="50"/>
                    <a:pt x="33" y="55"/>
                    <a:pt x="32" y="54"/>
                  </a:cubicBezTo>
                  <a:cubicBezTo>
                    <a:pt x="30" y="54"/>
                    <a:pt x="32" y="54"/>
                    <a:pt x="30" y="52"/>
                  </a:cubicBezTo>
                  <a:cubicBezTo>
                    <a:pt x="29" y="52"/>
                    <a:pt x="30" y="54"/>
                    <a:pt x="29" y="54"/>
                  </a:cubicBezTo>
                  <a:cubicBezTo>
                    <a:pt x="26" y="52"/>
                    <a:pt x="27" y="57"/>
                    <a:pt x="26" y="54"/>
                  </a:cubicBezTo>
                  <a:cubicBezTo>
                    <a:pt x="24" y="50"/>
                    <a:pt x="23" y="54"/>
                    <a:pt x="17" y="47"/>
                  </a:cubicBezTo>
                  <a:cubicBezTo>
                    <a:pt x="9" y="39"/>
                    <a:pt x="8" y="41"/>
                    <a:pt x="9" y="38"/>
                  </a:cubicBezTo>
                  <a:cubicBezTo>
                    <a:pt x="11" y="35"/>
                    <a:pt x="3" y="30"/>
                    <a:pt x="5" y="28"/>
                  </a:cubicBezTo>
                  <a:cubicBezTo>
                    <a:pt x="5" y="27"/>
                    <a:pt x="3" y="28"/>
                    <a:pt x="3" y="24"/>
                  </a:cubicBezTo>
                  <a:cubicBezTo>
                    <a:pt x="3" y="17"/>
                    <a:pt x="0" y="19"/>
                    <a:pt x="2" y="16"/>
                  </a:cubicBezTo>
                  <a:cubicBezTo>
                    <a:pt x="2" y="14"/>
                    <a:pt x="3" y="8"/>
                    <a:pt x="0" y="3"/>
                  </a:cubicBezTo>
                  <a:cubicBezTo>
                    <a:pt x="0" y="0"/>
                    <a:pt x="0" y="0"/>
                    <a:pt x="2" y="2"/>
                  </a:cubicBezTo>
                  <a:cubicBezTo>
                    <a:pt x="3" y="3"/>
                    <a:pt x="5" y="2"/>
                    <a:pt x="5" y="5"/>
                  </a:cubicBezTo>
                  <a:cubicBezTo>
                    <a:pt x="6" y="7"/>
                    <a:pt x="8" y="3"/>
                    <a:pt x="8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3"/>
                    <a:pt x="9" y="7"/>
                    <a:pt x="12" y="10"/>
                  </a:cubicBezTo>
                  <a:cubicBezTo>
                    <a:pt x="14" y="11"/>
                    <a:pt x="14" y="11"/>
                    <a:pt x="15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7" name="Freeform 221"/>
            <p:cNvSpPr>
              <a:spLocks/>
            </p:cNvSpPr>
            <p:nvPr/>
          </p:nvSpPr>
          <p:spPr bwMode="auto">
            <a:xfrm>
              <a:off x="7510880" y="5090908"/>
              <a:ext cx="9641" cy="1285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2"/>
                    <a:pt x="2" y="4"/>
                    <a:pt x="0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8" name="Freeform 222"/>
            <p:cNvSpPr>
              <a:spLocks noEditPoints="1"/>
            </p:cNvSpPr>
            <p:nvPr/>
          </p:nvSpPr>
          <p:spPr bwMode="auto">
            <a:xfrm>
              <a:off x="7298784" y="4957547"/>
              <a:ext cx="1115107" cy="510947"/>
            </a:xfrm>
            <a:custGeom>
              <a:avLst/>
              <a:gdLst/>
              <a:ahLst/>
              <a:cxnLst>
                <a:cxn ang="0">
                  <a:pos x="306" y="91"/>
                </a:cxn>
                <a:cxn ang="0">
                  <a:pos x="288" y="67"/>
                </a:cxn>
                <a:cxn ang="0">
                  <a:pos x="341" y="73"/>
                </a:cxn>
                <a:cxn ang="0">
                  <a:pos x="157" y="37"/>
                </a:cxn>
                <a:cxn ang="0">
                  <a:pos x="115" y="40"/>
                </a:cxn>
                <a:cxn ang="0">
                  <a:pos x="121" y="87"/>
                </a:cxn>
                <a:cxn ang="0">
                  <a:pos x="167" y="87"/>
                </a:cxn>
                <a:cxn ang="0">
                  <a:pos x="179" y="29"/>
                </a:cxn>
                <a:cxn ang="0">
                  <a:pos x="24" y="35"/>
                </a:cxn>
                <a:cxn ang="0">
                  <a:pos x="71" y="112"/>
                </a:cxn>
                <a:cxn ang="0">
                  <a:pos x="77" y="80"/>
                </a:cxn>
                <a:cxn ang="0">
                  <a:pos x="45" y="37"/>
                </a:cxn>
                <a:cxn ang="0">
                  <a:pos x="4" y="1"/>
                </a:cxn>
                <a:cxn ang="0">
                  <a:pos x="138" y="140"/>
                </a:cxn>
                <a:cxn ang="0">
                  <a:pos x="128" y="122"/>
                </a:cxn>
                <a:cxn ang="0">
                  <a:pos x="85" y="121"/>
                </a:cxn>
                <a:cxn ang="0">
                  <a:pos x="347" y="129"/>
                </a:cxn>
                <a:cxn ang="0">
                  <a:pos x="161" y="124"/>
                </a:cxn>
                <a:cxn ang="0">
                  <a:pos x="166" y="143"/>
                </a:cxn>
                <a:cxn ang="0">
                  <a:pos x="189" y="144"/>
                </a:cxn>
                <a:cxn ang="0">
                  <a:pos x="181" y="141"/>
                </a:cxn>
                <a:cxn ang="0">
                  <a:pos x="195" y="140"/>
                </a:cxn>
                <a:cxn ang="0">
                  <a:pos x="208" y="144"/>
                </a:cxn>
                <a:cxn ang="0">
                  <a:pos x="210" y="141"/>
                </a:cxn>
                <a:cxn ang="0">
                  <a:pos x="222" y="141"/>
                </a:cxn>
                <a:cxn ang="0">
                  <a:pos x="228" y="138"/>
                </a:cxn>
                <a:cxn ang="0">
                  <a:pos x="236" y="136"/>
                </a:cxn>
                <a:cxn ang="0">
                  <a:pos x="195" y="149"/>
                </a:cxn>
                <a:cxn ang="0">
                  <a:pos x="240" y="149"/>
                </a:cxn>
                <a:cxn ang="0">
                  <a:pos x="230" y="149"/>
                </a:cxn>
                <a:cxn ang="0">
                  <a:pos x="205" y="88"/>
                </a:cxn>
                <a:cxn ang="0">
                  <a:pos x="221" y="63"/>
                </a:cxn>
                <a:cxn ang="0">
                  <a:pos x="231" y="48"/>
                </a:cxn>
                <a:cxn ang="0">
                  <a:pos x="193" y="73"/>
                </a:cxn>
                <a:cxn ang="0">
                  <a:pos x="246" y="88"/>
                </a:cxn>
                <a:cxn ang="0">
                  <a:pos x="260" y="90"/>
                </a:cxn>
                <a:cxn ang="0">
                  <a:pos x="262" y="71"/>
                </a:cxn>
                <a:cxn ang="0">
                  <a:pos x="285" y="70"/>
                </a:cxn>
                <a:cxn ang="0">
                  <a:pos x="260" y="54"/>
                </a:cxn>
                <a:cxn ang="0">
                  <a:pos x="257" y="48"/>
                </a:cxn>
                <a:cxn ang="0">
                  <a:pos x="213" y="107"/>
                </a:cxn>
                <a:cxn ang="0">
                  <a:pos x="224" y="101"/>
                </a:cxn>
                <a:cxn ang="0">
                  <a:pos x="225" y="70"/>
                </a:cxn>
                <a:cxn ang="0">
                  <a:pos x="312" y="119"/>
                </a:cxn>
                <a:cxn ang="0">
                  <a:pos x="100" y="88"/>
                </a:cxn>
                <a:cxn ang="0">
                  <a:pos x="90" y="82"/>
                </a:cxn>
                <a:cxn ang="0">
                  <a:pos x="12" y="34"/>
                </a:cxn>
                <a:cxn ang="0">
                  <a:pos x="29" y="67"/>
                </a:cxn>
                <a:cxn ang="0">
                  <a:pos x="74" y="60"/>
                </a:cxn>
                <a:cxn ang="0">
                  <a:pos x="67" y="48"/>
                </a:cxn>
                <a:cxn ang="0">
                  <a:pos x="58" y="43"/>
                </a:cxn>
                <a:cxn ang="0">
                  <a:pos x="62" y="48"/>
                </a:cxn>
                <a:cxn ang="0">
                  <a:pos x="326" y="74"/>
                </a:cxn>
                <a:cxn ang="0">
                  <a:pos x="275" y="135"/>
                </a:cxn>
                <a:cxn ang="0">
                  <a:pos x="260" y="138"/>
                </a:cxn>
                <a:cxn ang="0">
                  <a:pos x="312" y="115"/>
                </a:cxn>
                <a:cxn ang="0">
                  <a:pos x="245" y="76"/>
                </a:cxn>
                <a:cxn ang="0">
                  <a:pos x="265" y="91"/>
                </a:cxn>
                <a:cxn ang="0">
                  <a:pos x="74" y="45"/>
                </a:cxn>
              </a:cxnLst>
              <a:rect l="0" t="0" r="r" b="b"/>
              <a:pathLst>
                <a:path w="358" h="164">
                  <a:moveTo>
                    <a:pt x="358" y="138"/>
                  </a:moveTo>
                  <a:cubicBezTo>
                    <a:pt x="353" y="136"/>
                    <a:pt x="352" y="138"/>
                    <a:pt x="350" y="136"/>
                  </a:cubicBezTo>
                  <a:cubicBezTo>
                    <a:pt x="350" y="135"/>
                    <a:pt x="345" y="140"/>
                    <a:pt x="349" y="133"/>
                  </a:cubicBezTo>
                  <a:cubicBezTo>
                    <a:pt x="352" y="129"/>
                    <a:pt x="345" y="130"/>
                    <a:pt x="345" y="125"/>
                  </a:cubicBezTo>
                  <a:cubicBezTo>
                    <a:pt x="344" y="122"/>
                    <a:pt x="349" y="125"/>
                    <a:pt x="345" y="121"/>
                  </a:cubicBezTo>
                  <a:cubicBezTo>
                    <a:pt x="342" y="118"/>
                    <a:pt x="341" y="110"/>
                    <a:pt x="338" y="107"/>
                  </a:cubicBezTo>
                  <a:cubicBezTo>
                    <a:pt x="333" y="104"/>
                    <a:pt x="330" y="105"/>
                    <a:pt x="327" y="102"/>
                  </a:cubicBezTo>
                  <a:cubicBezTo>
                    <a:pt x="321" y="99"/>
                    <a:pt x="320" y="102"/>
                    <a:pt x="313" y="97"/>
                  </a:cubicBezTo>
                  <a:cubicBezTo>
                    <a:pt x="309" y="93"/>
                    <a:pt x="306" y="94"/>
                    <a:pt x="306" y="91"/>
                  </a:cubicBezTo>
                  <a:cubicBezTo>
                    <a:pt x="307" y="85"/>
                    <a:pt x="306" y="85"/>
                    <a:pt x="304" y="93"/>
                  </a:cubicBezTo>
                  <a:cubicBezTo>
                    <a:pt x="304" y="97"/>
                    <a:pt x="300" y="97"/>
                    <a:pt x="298" y="94"/>
                  </a:cubicBezTo>
                  <a:cubicBezTo>
                    <a:pt x="297" y="91"/>
                    <a:pt x="303" y="93"/>
                    <a:pt x="298" y="88"/>
                  </a:cubicBezTo>
                  <a:cubicBezTo>
                    <a:pt x="294" y="85"/>
                    <a:pt x="294" y="87"/>
                    <a:pt x="292" y="85"/>
                  </a:cubicBezTo>
                  <a:cubicBezTo>
                    <a:pt x="292" y="80"/>
                    <a:pt x="300" y="87"/>
                    <a:pt x="301" y="82"/>
                  </a:cubicBezTo>
                  <a:cubicBezTo>
                    <a:pt x="301" y="79"/>
                    <a:pt x="307" y="84"/>
                    <a:pt x="307" y="80"/>
                  </a:cubicBezTo>
                  <a:cubicBezTo>
                    <a:pt x="307" y="76"/>
                    <a:pt x="295" y="82"/>
                    <a:pt x="294" y="77"/>
                  </a:cubicBezTo>
                  <a:cubicBezTo>
                    <a:pt x="291" y="73"/>
                    <a:pt x="291" y="71"/>
                    <a:pt x="288" y="71"/>
                  </a:cubicBezTo>
                  <a:cubicBezTo>
                    <a:pt x="281" y="71"/>
                    <a:pt x="288" y="68"/>
                    <a:pt x="288" y="67"/>
                  </a:cubicBezTo>
                  <a:cubicBezTo>
                    <a:pt x="286" y="63"/>
                    <a:pt x="289" y="65"/>
                    <a:pt x="292" y="63"/>
                  </a:cubicBezTo>
                  <a:cubicBezTo>
                    <a:pt x="294" y="63"/>
                    <a:pt x="294" y="57"/>
                    <a:pt x="301" y="62"/>
                  </a:cubicBezTo>
                  <a:cubicBezTo>
                    <a:pt x="309" y="67"/>
                    <a:pt x="309" y="62"/>
                    <a:pt x="310" y="67"/>
                  </a:cubicBezTo>
                  <a:cubicBezTo>
                    <a:pt x="312" y="73"/>
                    <a:pt x="309" y="73"/>
                    <a:pt x="310" y="80"/>
                  </a:cubicBezTo>
                  <a:cubicBezTo>
                    <a:pt x="313" y="87"/>
                    <a:pt x="312" y="79"/>
                    <a:pt x="313" y="80"/>
                  </a:cubicBezTo>
                  <a:cubicBezTo>
                    <a:pt x="315" y="84"/>
                    <a:pt x="313" y="88"/>
                    <a:pt x="318" y="90"/>
                  </a:cubicBezTo>
                  <a:cubicBezTo>
                    <a:pt x="321" y="91"/>
                    <a:pt x="327" y="77"/>
                    <a:pt x="329" y="79"/>
                  </a:cubicBezTo>
                  <a:cubicBezTo>
                    <a:pt x="330" y="80"/>
                    <a:pt x="335" y="77"/>
                    <a:pt x="335" y="76"/>
                  </a:cubicBezTo>
                  <a:cubicBezTo>
                    <a:pt x="333" y="74"/>
                    <a:pt x="338" y="71"/>
                    <a:pt x="341" y="73"/>
                  </a:cubicBezTo>
                  <a:cubicBezTo>
                    <a:pt x="344" y="74"/>
                    <a:pt x="353" y="80"/>
                    <a:pt x="358" y="80"/>
                  </a:cubicBezTo>
                  <a:cubicBezTo>
                    <a:pt x="358" y="138"/>
                    <a:pt x="358" y="138"/>
                    <a:pt x="358" y="138"/>
                  </a:cubicBezTo>
                  <a:close/>
                  <a:moveTo>
                    <a:pt x="178" y="17"/>
                  </a:moveTo>
                  <a:cubicBezTo>
                    <a:pt x="175" y="14"/>
                    <a:pt x="176" y="15"/>
                    <a:pt x="173" y="15"/>
                  </a:cubicBezTo>
                  <a:cubicBezTo>
                    <a:pt x="169" y="15"/>
                    <a:pt x="166" y="14"/>
                    <a:pt x="164" y="17"/>
                  </a:cubicBezTo>
                  <a:cubicBezTo>
                    <a:pt x="163" y="20"/>
                    <a:pt x="163" y="23"/>
                    <a:pt x="163" y="26"/>
                  </a:cubicBezTo>
                  <a:cubicBezTo>
                    <a:pt x="163" y="29"/>
                    <a:pt x="160" y="26"/>
                    <a:pt x="160" y="29"/>
                  </a:cubicBezTo>
                  <a:cubicBezTo>
                    <a:pt x="158" y="32"/>
                    <a:pt x="158" y="32"/>
                    <a:pt x="160" y="32"/>
                  </a:cubicBezTo>
                  <a:cubicBezTo>
                    <a:pt x="161" y="34"/>
                    <a:pt x="157" y="34"/>
                    <a:pt x="157" y="37"/>
                  </a:cubicBezTo>
                  <a:cubicBezTo>
                    <a:pt x="157" y="39"/>
                    <a:pt x="157" y="40"/>
                    <a:pt x="155" y="42"/>
                  </a:cubicBezTo>
                  <a:cubicBezTo>
                    <a:pt x="155" y="45"/>
                    <a:pt x="150" y="42"/>
                    <a:pt x="149" y="45"/>
                  </a:cubicBezTo>
                  <a:cubicBezTo>
                    <a:pt x="147" y="46"/>
                    <a:pt x="144" y="45"/>
                    <a:pt x="143" y="43"/>
                  </a:cubicBezTo>
                  <a:cubicBezTo>
                    <a:pt x="141" y="43"/>
                    <a:pt x="144" y="42"/>
                    <a:pt x="140" y="42"/>
                  </a:cubicBezTo>
                  <a:cubicBezTo>
                    <a:pt x="134" y="42"/>
                    <a:pt x="137" y="46"/>
                    <a:pt x="135" y="46"/>
                  </a:cubicBezTo>
                  <a:cubicBezTo>
                    <a:pt x="132" y="46"/>
                    <a:pt x="134" y="49"/>
                    <a:pt x="129" y="48"/>
                  </a:cubicBezTo>
                  <a:cubicBezTo>
                    <a:pt x="125" y="46"/>
                    <a:pt x="125" y="51"/>
                    <a:pt x="121" y="48"/>
                  </a:cubicBezTo>
                  <a:cubicBezTo>
                    <a:pt x="120" y="46"/>
                    <a:pt x="118" y="43"/>
                    <a:pt x="117" y="43"/>
                  </a:cubicBezTo>
                  <a:cubicBezTo>
                    <a:pt x="115" y="43"/>
                    <a:pt x="117" y="42"/>
                    <a:pt x="115" y="40"/>
                  </a:cubicBezTo>
                  <a:cubicBezTo>
                    <a:pt x="114" y="40"/>
                    <a:pt x="115" y="37"/>
                    <a:pt x="115" y="37"/>
                  </a:cubicBezTo>
                  <a:cubicBezTo>
                    <a:pt x="112" y="37"/>
                    <a:pt x="112" y="40"/>
                    <a:pt x="112" y="42"/>
                  </a:cubicBezTo>
                  <a:cubicBezTo>
                    <a:pt x="109" y="45"/>
                    <a:pt x="108" y="54"/>
                    <a:pt x="111" y="56"/>
                  </a:cubicBezTo>
                  <a:cubicBezTo>
                    <a:pt x="114" y="57"/>
                    <a:pt x="109" y="59"/>
                    <a:pt x="112" y="62"/>
                  </a:cubicBezTo>
                  <a:cubicBezTo>
                    <a:pt x="115" y="65"/>
                    <a:pt x="111" y="65"/>
                    <a:pt x="114" y="65"/>
                  </a:cubicBezTo>
                  <a:cubicBezTo>
                    <a:pt x="117" y="67"/>
                    <a:pt x="112" y="68"/>
                    <a:pt x="114" y="70"/>
                  </a:cubicBezTo>
                  <a:cubicBezTo>
                    <a:pt x="115" y="71"/>
                    <a:pt x="117" y="67"/>
                    <a:pt x="118" y="70"/>
                  </a:cubicBezTo>
                  <a:cubicBezTo>
                    <a:pt x="120" y="73"/>
                    <a:pt x="117" y="73"/>
                    <a:pt x="118" y="77"/>
                  </a:cubicBezTo>
                  <a:cubicBezTo>
                    <a:pt x="123" y="88"/>
                    <a:pt x="118" y="87"/>
                    <a:pt x="121" y="87"/>
                  </a:cubicBezTo>
                  <a:cubicBezTo>
                    <a:pt x="125" y="87"/>
                    <a:pt x="126" y="88"/>
                    <a:pt x="128" y="87"/>
                  </a:cubicBezTo>
                  <a:cubicBezTo>
                    <a:pt x="129" y="84"/>
                    <a:pt x="134" y="87"/>
                    <a:pt x="132" y="90"/>
                  </a:cubicBezTo>
                  <a:cubicBezTo>
                    <a:pt x="132" y="93"/>
                    <a:pt x="134" y="91"/>
                    <a:pt x="135" y="90"/>
                  </a:cubicBezTo>
                  <a:cubicBezTo>
                    <a:pt x="137" y="88"/>
                    <a:pt x="140" y="91"/>
                    <a:pt x="141" y="88"/>
                  </a:cubicBezTo>
                  <a:cubicBezTo>
                    <a:pt x="143" y="85"/>
                    <a:pt x="144" y="90"/>
                    <a:pt x="146" y="88"/>
                  </a:cubicBezTo>
                  <a:cubicBezTo>
                    <a:pt x="147" y="88"/>
                    <a:pt x="146" y="91"/>
                    <a:pt x="149" y="90"/>
                  </a:cubicBezTo>
                  <a:cubicBezTo>
                    <a:pt x="153" y="88"/>
                    <a:pt x="155" y="93"/>
                    <a:pt x="155" y="96"/>
                  </a:cubicBezTo>
                  <a:cubicBezTo>
                    <a:pt x="153" y="101"/>
                    <a:pt x="161" y="94"/>
                    <a:pt x="164" y="93"/>
                  </a:cubicBezTo>
                  <a:cubicBezTo>
                    <a:pt x="166" y="93"/>
                    <a:pt x="167" y="88"/>
                    <a:pt x="167" y="87"/>
                  </a:cubicBezTo>
                  <a:cubicBezTo>
                    <a:pt x="167" y="85"/>
                    <a:pt x="169" y="87"/>
                    <a:pt x="169" y="84"/>
                  </a:cubicBezTo>
                  <a:cubicBezTo>
                    <a:pt x="169" y="80"/>
                    <a:pt x="172" y="84"/>
                    <a:pt x="170" y="77"/>
                  </a:cubicBezTo>
                  <a:cubicBezTo>
                    <a:pt x="169" y="71"/>
                    <a:pt x="173" y="71"/>
                    <a:pt x="175" y="68"/>
                  </a:cubicBezTo>
                  <a:cubicBezTo>
                    <a:pt x="176" y="65"/>
                    <a:pt x="179" y="68"/>
                    <a:pt x="179" y="62"/>
                  </a:cubicBezTo>
                  <a:cubicBezTo>
                    <a:pt x="178" y="56"/>
                    <a:pt x="179" y="51"/>
                    <a:pt x="181" y="49"/>
                  </a:cubicBezTo>
                  <a:cubicBezTo>
                    <a:pt x="182" y="48"/>
                    <a:pt x="181" y="46"/>
                    <a:pt x="184" y="48"/>
                  </a:cubicBezTo>
                  <a:cubicBezTo>
                    <a:pt x="185" y="51"/>
                    <a:pt x="190" y="49"/>
                    <a:pt x="190" y="48"/>
                  </a:cubicBezTo>
                  <a:cubicBezTo>
                    <a:pt x="190" y="46"/>
                    <a:pt x="179" y="40"/>
                    <a:pt x="181" y="37"/>
                  </a:cubicBezTo>
                  <a:cubicBezTo>
                    <a:pt x="184" y="34"/>
                    <a:pt x="181" y="34"/>
                    <a:pt x="179" y="29"/>
                  </a:cubicBezTo>
                  <a:cubicBezTo>
                    <a:pt x="179" y="26"/>
                    <a:pt x="176" y="28"/>
                    <a:pt x="176" y="25"/>
                  </a:cubicBezTo>
                  <a:cubicBezTo>
                    <a:pt x="178" y="20"/>
                    <a:pt x="181" y="23"/>
                    <a:pt x="181" y="21"/>
                  </a:cubicBezTo>
                  <a:cubicBezTo>
                    <a:pt x="181" y="21"/>
                    <a:pt x="179" y="20"/>
                    <a:pt x="178" y="18"/>
                  </a:cubicBezTo>
                  <a:cubicBezTo>
                    <a:pt x="178" y="17"/>
                    <a:pt x="178" y="18"/>
                    <a:pt x="178" y="17"/>
                  </a:cubicBezTo>
                  <a:close/>
                  <a:moveTo>
                    <a:pt x="4" y="12"/>
                  </a:moveTo>
                  <a:cubicBezTo>
                    <a:pt x="7" y="17"/>
                    <a:pt x="7" y="15"/>
                    <a:pt x="10" y="18"/>
                  </a:cubicBezTo>
                  <a:cubicBezTo>
                    <a:pt x="12" y="23"/>
                    <a:pt x="12" y="18"/>
                    <a:pt x="16" y="23"/>
                  </a:cubicBezTo>
                  <a:cubicBezTo>
                    <a:pt x="19" y="29"/>
                    <a:pt x="15" y="26"/>
                    <a:pt x="19" y="29"/>
                  </a:cubicBezTo>
                  <a:cubicBezTo>
                    <a:pt x="22" y="31"/>
                    <a:pt x="18" y="32"/>
                    <a:pt x="24" y="35"/>
                  </a:cubicBezTo>
                  <a:cubicBezTo>
                    <a:pt x="27" y="37"/>
                    <a:pt x="30" y="40"/>
                    <a:pt x="30" y="42"/>
                  </a:cubicBezTo>
                  <a:cubicBezTo>
                    <a:pt x="29" y="43"/>
                    <a:pt x="29" y="42"/>
                    <a:pt x="32" y="48"/>
                  </a:cubicBezTo>
                  <a:cubicBezTo>
                    <a:pt x="33" y="54"/>
                    <a:pt x="32" y="54"/>
                    <a:pt x="35" y="56"/>
                  </a:cubicBezTo>
                  <a:cubicBezTo>
                    <a:pt x="38" y="57"/>
                    <a:pt x="35" y="57"/>
                    <a:pt x="41" y="63"/>
                  </a:cubicBezTo>
                  <a:cubicBezTo>
                    <a:pt x="44" y="67"/>
                    <a:pt x="41" y="68"/>
                    <a:pt x="42" y="70"/>
                  </a:cubicBezTo>
                  <a:cubicBezTo>
                    <a:pt x="45" y="71"/>
                    <a:pt x="45" y="74"/>
                    <a:pt x="47" y="79"/>
                  </a:cubicBezTo>
                  <a:cubicBezTo>
                    <a:pt x="47" y="82"/>
                    <a:pt x="50" y="87"/>
                    <a:pt x="54" y="91"/>
                  </a:cubicBezTo>
                  <a:cubicBezTo>
                    <a:pt x="58" y="94"/>
                    <a:pt x="56" y="94"/>
                    <a:pt x="62" y="101"/>
                  </a:cubicBezTo>
                  <a:cubicBezTo>
                    <a:pt x="67" y="105"/>
                    <a:pt x="70" y="107"/>
                    <a:pt x="71" y="112"/>
                  </a:cubicBezTo>
                  <a:cubicBezTo>
                    <a:pt x="74" y="115"/>
                    <a:pt x="77" y="119"/>
                    <a:pt x="76" y="113"/>
                  </a:cubicBezTo>
                  <a:cubicBezTo>
                    <a:pt x="74" y="107"/>
                    <a:pt x="80" y="116"/>
                    <a:pt x="80" y="112"/>
                  </a:cubicBezTo>
                  <a:cubicBezTo>
                    <a:pt x="82" y="108"/>
                    <a:pt x="83" y="116"/>
                    <a:pt x="85" y="115"/>
                  </a:cubicBezTo>
                  <a:cubicBezTo>
                    <a:pt x="86" y="113"/>
                    <a:pt x="86" y="110"/>
                    <a:pt x="86" y="104"/>
                  </a:cubicBezTo>
                  <a:cubicBezTo>
                    <a:pt x="86" y="99"/>
                    <a:pt x="85" y="101"/>
                    <a:pt x="86" y="97"/>
                  </a:cubicBezTo>
                  <a:cubicBezTo>
                    <a:pt x="88" y="93"/>
                    <a:pt x="85" y="94"/>
                    <a:pt x="86" y="90"/>
                  </a:cubicBezTo>
                  <a:cubicBezTo>
                    <a:pt x="90" y="87"/>
                    <a:pt x="86" y="87"/>
                    <a:pt x="85" y="84"/>
                  </a:cubicBezTo>
                  <a:cubicBezTo>
                    <a:pt x="83" y="80"/>
                    <a:pt x="83" y="79"/>
                    <a:pt x="80" y="80"/>
                  </a:cubicBezTo>
                  <a:cubicBezTo>
                    <a:pt x="79" y="82"/>
                    <a:pt x="80" y="79"/>
                    <a:pt x="77" y="80"/>
                  </a:cubicBezTo>
                  <a:cubicBezTo>
                    <a:pt x="74" y="84"/>
                    <a:pt x="80" y="77"/>
                    <a:pt x="77" y="77"/>
                  </a:cubicBezTo>
                  <a:cubicBezTo>
                    <a:pt x="74" y="77"/>
                    <a:pt x="76" y="67"/>
                    <a:pt x="73" y="67"/>
                  </a:cubicBezTo>
                  <a:cubicBezTo>
                    <a:pt x="68" y="68"/>
                    <a:pt x="65" y="65"/>
                    <a:pt x="67" y="62"/>
                  </a:cubicBezTo>
                  <a:cubicBezTo>
                    <a:pt x="68" y="60"/>
                    <a:pt x="65" y="59"/>
                    <a:pt x="68" y="59"/>
                  </a:cubicBezTo>
                  <a:cubicBezTo>
                    <a:pt x="71" y="57"/>
                    <a:pt x="68" y="51"/>
                    <a:pt x="65" y="52"/>
                  </a:cubicBezTo>
                  <a:cubicBezTo>
                    <a:pt x="62" y="54"/>
                    <a:pt x="65" y="51"/>
                    <a:pt x="61" y="49"/>
                  </a:cubicBezTo>
                  <a:cubicBezTo>
                    <a:pt x="54" y="49"/>
                    <a:pt x="59" y="42"/>
                    <a:pt x="51" y="40"/>
                  </a:cubicBezTo>
                  <a:cubicBezTo>
                    <a:pt x="48" y="40"/>
                    <a:pt x="50" y="37"/>
                    <a:pt x="48" y="35"/>
                  </a:cubicBezTo>
                  <a:cubicBezTo>
                    <a:pt x="44" y="32"/>
                    <a:pt x="47" y="39"/>
                    <a:pt x="45" y="37"/>
                  </a:cubicBezTo>
                  <a:cubicBezTo>
                    <a:pt x="44" y="35"/>
                    <a:pt x="42" y="37"/>
                    <a:pt x="42" y="32"/>
                  </a:cubicBezTo>
                  <a:cubicBezTo>
                    <a:pt x="41" y="29"/>
                    <a:pt x="41" y="32"/>
                    <a:pt x="39" y="29"/>
                  </a:cubicBezTo>
                  <a:cubicBezTo>
                    <a:pt x="38" y="28"/>
                    <a:pt x="35" y="23"/>
                    <a:pt x="32" y="21"/>
                  </a:cubicBezTo>
                  <a:cubicBezTo>
                    <a:pt x="29" y="21"/>
                    <a:pt x="29" y="18"/>
                    <a:pt x="27" y="17"/>
                  </a:cubicBezTo>
                  <a:cubicBezTo>
                    <a:pt x="24" y="17"/>
                    <a:pt x="27" y="14"/>
                    <a:pt x="24" y="14"/>
                  </a:cubicBezTo>
                  <a:cubicBezTo>
                    <a:pt x="22" y="12"/>
                    <a:pt x="24" y="11"/>
                    <a:pt x="21" y="7"/>
                  </a:cubicBezTo>
                  <a:cubicBezTo>
                    <a:pt x="18" y="3"/>
                    <a:pt x="19" y="7"/>
                    <a:pt x="16" y="6"/>
                  </a:cubicBezTo>
                  <a:cubicBezTo>
                    <a:pt x="15" y="4"/>
                    <a:pt x="15" y="6"/>
                    <a:pt x="10" y="6"/>
                  </a:cubicBezTo>
                  <a:cubicBezTo>
                    <a:pt x="4" y="4"/>
                    <a:pt x="9" y="4"/>
                    <a:pt x="4" y="1"/>
                  </a:cubicBezTo>
                  <a:cubicBezTo>
                    <a:pt x="0" y="0"/>
                    <a:pt x="1" y="6"/>
                    <a:pt x="4" y="12"/>
                  </a:cubicBezTo>
                  <a:close/>
                  <a:moveTo>
                    <a:pt x="82" y="124"/>
                  </a:moveTo>
                  <a:cubicBezTo>
                    <a:pt x="83" y="124"/>
                    <a:pt x="86" y="122"/>
                    <a:pt x="88" y="125"/>
                  </a:cubicBezTo>
                  <a:cubicBezTo>
                    <a:pt x="90" y="127"/>
                    <a:pt x="93" y="124"/>
                    <a:pt x="91" y="127"/>
                  </a:cubicBezTo>
                  <a:cubicBezTo>
                    <a:pt x="90" y="130"/>
                    <a:pt x="91" y="127"/>
                    <a:pt x="102" y="133"/>
                  </a:cubicBezTo>
                  <a:cubicBezTo>
                    <a:pt x="106" y="135"/>
                    <a:pt x="108" y="130"/>
                    <a:pt x="109" y="132"/>
                  </a:cubicBezTo>
                  <a:cubicBezTo>
                    <a:pt x="111" y="133"/>
                    <a:pt x="112" y="132"/>
                    <a:pt x="117" y="133"/>
                  </a:cubicBezTo>
                  <a:cubicBezTo>
                    <a:pt x="121" y="135"/>
                    <a:pt x="118" y="136"/>
                    <a:pt x="129" y="138"/>
                  </a:cubicBezTo>
                  <a:cubicBezTo>
                    <a:pt x="137" y="140"/>
                    <a:pt x="129" y="136"/>
                    <a:pt x="138" y="140"/>
                  </a:cubicBezTo>
                  <a:cubicBezTo>
                    <a:pt x="146" y="141"/>
                    <a:pt x="138" y="135"/>
                    <a:pt x="146" y="140"/>
                  </a:cubicBezTo>
                  <a:cubicBezTo>
                    <a:pt x="150" y="141"/>
                    <a:pt x="150" y="141"/>
                    <a:pt x="153" y="143"/>
                  </a:cubicBezTo>
                  <a:cubicBezTo>
                    <a:pt x="155" y="144"/>
                    <a:pt x="155" y="141"/>
                    <a:pt x="153" y="141"/>
                  </a:cubicBezTo>
                  <a:cubicBezTo>
                    <a:pt x="150" y="140"/>
                    <a:pt x="158" y="132"/>
                    <a:pt x="152" y="132"/>
                  </a:cubicBezTo>
                  <a:cubicBezTo>
                    <a:pt x="147" y="132"/>
                    <a:pt x="147" y="133"/>
                    <a:pt x="143" y="132"/>
                  </a:cubicBezTo>
                  <a:cubicBezTo>
                    <a:pt x="138" y="130"/>
                    <a:pt x="141" y="130"/>
                    <a:pt x="140" y="125"/>
                  </a:cubicBezTo>
                  <a:cubicBezTo>
                    <a:pt x="137" y="121"/>
                    <a:pt x="137" y="127"/>
                    <a:pt x="135" y="124"/>
                  </a:cubicBezTo>
                  <a:cubicBezTo>
                    <a:pt x="134" y="121"/>
                    <a:pt x="134" y="125"/>
                    <a:pt x="132" y="122"/>
                  </a:cubicBezTo>
                  <a:cubicBezTo>
                    <a:pt x="131" y="121"/>
                    <a:pt x="129" y="124"/>
                    <a:pt x="128" y="122"/>
                  </a:cubicBezTo>
                  <a:cubicBezTo>
                    <a:pt x="126" y="119"/>
                    <a:pt x="125" y="118"/>
                    <a:pt x="123" y="122"/>
                  </a:cubicBezTo>
                  <a:cubicBezTo>
                    <a:pt x="121" y="129"/>
                    <a:pt x="121" y="124"/>
                    <a:pt x="117" y="124"/>
                  </a:cubicBezTo>
                  <a:cubicBezTo>
                    <a:pt x="114" y="124"/>
                    <a:pt x="114" y="125"/>
                    <a:pt x="112" y="124"/>
                  </a:cubicBezTo>
                  <a:cubicBezTo>
                    <a:pt x="109" y="122"/>
                    <a:pt x="108" y="125"/>
                    <a:pt x="106" y="119"/>
                  </a:cubicBezTo>
                  <a:cubicBezTo>
                    <a:pt x="105" y="116"/>
                    <a:pt x="105" y="119"/>
                    <a:pt x="102" y="118"/>
                  </a:cubicBezTo>
                  <a:cubicBezTo>
                    <a:pt x="100" y="116"/>
                    <a:pt x="100" y="119"/>
                    <a:pt x="99" y="116"/>
                  </a:cubicBezTo>
                  <a:cubicBezTo>
                    <a:pt x="97" y="115"/>
                    <a:pt x="94" y="113"/>
                    <a:pt x="94" y="116"/>
                  </a:cubicBezTo>
                  <a:cubicBezTo>
                    <a:pt x="94" y="118"/>
                    <a:pt x="93" y="116"/>
                    <a:pt x="88" y="115"/>
                  </a:cubicBezTo>
                  <a:cubicBezTo>
                    <a:pt x="85" y="115"/>
                    <a:pt x="86" y="119"/>
                    <a:pt x="85" y="121"/>
                  </a:cubicBezTo>
                  <a:cubicBezTo>
                    <a:pt x="82" y="121"/>
                    <a:pt x="85" y="122"/>
                    <a:pt x="82" y="122"/>
                  </a:cubicBezTo>
                  <a:cubicBezTo>
                    <a:pt x="80" y="122"/>
                    <a:pt x="80" y="124"/>
                    <a:pt x="82" y="124"/>
                  </a:cubicBezTo>
                  <a:close/>
                  <a:moveTo>
                    <a:pt x="339" y="133"/>
                  </a:moveTo>
                  <a:cubicBezTo>
                    <a:pt x="339" y="135"/>
                    <a:pt x="338" y="138"/>
                    <a:pt x="338" y="140"/>
                  </a:cubicBezTo>
                  <a:cubicBezTo>
                    <a:pt x="338" y="141"/>
                    <a:pt x="339" y="138"/>
                    <a:pt x="342" y="140"/>
                  </a:cubicBezTo>
                  <a:cubicBezTo>
                    <a:pt x="345" y="141"/>
                    <a:pt x="345" y="136"/>
                    <a:pt x="347" y="136"/>
                  </a:cubicBezTo>
                  <a:cubicBezTo>
                    <a:pt x="349" y="136"/>
                    <a:pt x="347" y="135"/>
                    <a:pt x="349" y="133"/>
                  </a:cubicBezTo>
                  <a:cubicBezTo>
                    <a:pt x="349" y="132"/>
                    <a:pt x="350" y="132"/>
                    <a:pt x="349" y="132"/>
                  </a:cubicBezTo>
                  <a:cubicBezTo>
                    <a:pt x="347" y="130"/>
                    <a:pt x="347" y="130"/>
                    <a:pt x="347" y="129"/>
                  </a:cubicBezTo>
                  <a:cubicBezTo>
                    <a:pt x="344" y="129"/>
                    <a:pt x="339" y="132"/>
                    <a:pt x="339" y="133"/>
                  </a:cubicBezTo>
                  <a:close/>
                  <a:moveTo>
                    <a:pt x="147" y="127"/>
                  </a:moveTo>
                  <a:cubicBezTo>
                    <a:pt x="149" y="125"/>
                    <a:pt x="152" y="125"/>
                    <a:pt x="150" y="124"/>
                  </a:cubicBezTo>
                  <a:cubicBezTo>
                    <a:pt x="150" y="124"/>
                    <a:pt x="150" y="124"/>
                    <a:pt x="146" y="124"/>
                  </a:cubicBezTo>
                  <a:cubicBezTo>
                    <a:pt x="143" y="124"/>
                    <a:pt x="140" y="124"/>
                    <a:pt x="140" y="127"/>
                  </a:cubicBezTo>
                  <a:cubicBezTo>
                    <a:pt x="141" y="127"/>
                    <a:pt x="146" y="129"/>
                    <a:pt x="147" y="127"/>
                  </a:cubicBezTo>
                  <a:close/>
                  <a:moveTo>
                    <a:pt x="161" y="125"/>
                  </a:moveTo>
                  <a:cubicBezTo>
                    <a:pt x="161" y="124"/>
                    <a:pt x="163" y="125"/>
                    <a:pt x="163" y="125"/>
                  </a:cubicBezTo>
                  <a:cubicBezTo>
                    <a:pt x="163" y="124"/>
                    <a:pt x="163" y="124"/>
                    <a:pt x="161" y="124"/>
                  </a:cubicBezTo>
                  <a:cubicBezTo>
                    <a:pt x="160" y="124"/>
                    <a:pt x="161" y="125"/>
                    <a:pt x="161" y="125"/>
                  </a:cubicBezTo>
                  <a:close/>
                  <a:moveTo>
                    <a:pt x="158" y="141"/>
                  </a:moveTo>
                  <a:cubicBezTo>
                    <a:pt x="161" y="143"/>
                    <a:pt x="158" y="143"/>
                    <a:pt x="160" y="144"/>
                  </a:cubicBezTo>
                  <a:cubicBezTo>
                    <a:pt x="161" y="144"/>
                    <a:pt x="161" y="141"/>
                    <a:pt x="163" y="140"/>
                  </a:cubicBezTo>
                  <a:cubicBezTo>
                    <a:pt x="166" y="140"/>
                    <a:pt x="163" y="138"/>
                    <a:pt x="161" y="136"/>
                  </a:cubicBezTo>
                  <a:cubicBezTo>
                    <a:pt x="160" y="135"/>
                    <a:pt x="160" y="138"/>
                    <a:pt x="157" y="136"/>
                  </a:cubicBezTo>
                  <a:cubicBezTo>
                    <a:pt x="153" y="135"/>
                    <a:pt x="153" y="136"/>
                    <a:pt x="155" y="138"/>
                  </a:cubicBezTo>
                  <a:cubicBezTo>
                    <a:pt x="155" y="140"/>
                    <a:pt x="157" y="140"/>
                    <a:pt x="158" y="141"/>
                  </a:cubicBezTo>
                  <a:close/>
                  <a:moveTo>
                    <a:pt x="166" y="143"/>
                  </a:moveTo>
                  <a:cubicBezTo>
                    <a:pt x="164" y="143"/>
                    <a:pt x="164" y="144"/>
                    <a:pt x="169" y="144"/>
                  </a:cubicBezTo>
                  <a:cubicBezTo>
                    <a:pt x="172" y="144"/>
                    <a:pt x="170" y="144"/>
                    <a:pt x="172" y="141"/>
                  </a:cubicBezTo>
                  <a:cubicBezTo>
                    <a:pt x="173" y="138"/>
                    <a:pt x="173" y="138"/>
                    <a:pt x="170" y="138"/>
                  </a:cubicBezTo>
                  <a:cubicBezTo>
                    <a:pt x="169" y="136"/>
                    <a:pt x="167" y="140"/>
                    <a:pt x="167" y="140"/>
                  </a:cubicBezTo>
                  <a:cubicBezTo>
                    <a:pt x="167" y="141"/>
                    <a:pt x="167" y="143"/>
                    <a:pt x="166" y="143"/>
                  </a:cubicBezTo>
                  <a:close/>
                  <a:moveTo>
                    <a:pt x="175" y="146"/>
                  </a:moveTo>
                  <a:cubicBezTo>
                    <a:pt x="176" y="146"/>
                    <a:pt x="181" y="144"/>
                    <a:pt x="182" y="144"/>
                  </a:cubicBezTo>
                  <a:cubicBezTo>
                    <a:pt x="184" y="144"/>
                    <a:pt x="185" y="143"/>
                    <a:pt x="185" y="143"/>
                  </a:cubicBezTo>
                  <a:cubicBezTo>
                    <a:pt x="185" y="144"/>
                    <a:pt x="187" y="143"/>
                    <a:pt x="189" y="144"/>
                  </a:cubicBezTo>
                  <a:cubicBezTo>
                    <a:pt x="189" y="144"/>
                    <a:pt x="192" y="144"/>
                    <a:pt x="190" y="143"/>
                  </a:cubicBezTo>
                  <a:cubicBezTo>
                    <a:pt x="189" y="143"/>
                    <a:pt x="187" y="141"/>
                    <a:pt x="189" y="143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2" y="141"/>
                    <a:pt x="190" y="136"/>
                    <a:pt x="189" y="138"/>
                  </a:cubicBezTo>
                  <a:cubicBezTo>
                    <a:pt x="187" y="140"/>
                    <a:pt x="187" y="136"/>
                    <a:pt x="185" y="138"/>
                  </a:cubicBezTo>
                  <a:cubicBezTo>
                    <a:pt x="184" y="140"/>
                    <a:pt x="184" y="136"/>
                    <a:pt x="181" y="136"/>
                  </a:cubicBezTo>
                  <a:cubicBezTo>
                    <a:pt x="178" y="136"/>
                    <a:pt x="181" y="140"/>
                    <a:pt x="182" y="140"/>
                  </a:cubicBezTo>
                  <a:cubicBezTo>
                    <a:pt x="182" y="140"/>
                    <a:pt x="185" y="141"/>
                    <a:pt x="184" y="141"/>
                  </a:cubicBezTo>
                  <a:cubicBezTo>
                    <a:pt x="181" y="141"/>
                    <a:pt x="182" y="143"/>
                    <a:pt x="181" y="141"/>
                  </a:cubicBezTo>
                  <a:cubicBezTo>
                    <a:pt x="179" y="141"/>
                    <a:pt x="179" y="140"/>
                    <a:pt x="178" y="140"/>
                  </a:cubicBezTo>
                  <a:cubicBezTo>
                    <a:pt x="176" y="140"/>
                    <a:pt x="175" y="138"/>
                    <a:pt x="175" y="140"/>
                  </a:cubicBezTo>
                  <a:cubicBezTo>
                    <a:pt x="173" y="141"/>
                    <a:pt x="172" y="140"/>
                    <a:pt x="173" y="143"/>
                  </a:cubicBezTo>
                  <a:cubicBezTo>
                    <a:pt x="173" y="144"/>
                    <a:pt x="172" y="146"/>
                    <a:pt x="175" y="146"/>
                  </a:cubicBezTo>
                  <a:close/>
                  <a:moveTo>
                    <a:pt x="178" y="138"/>
                  </a:moveTo>
                  <a:cubicBezTo>
                    <a:pt x="178" y="136"/>
                    <a:pt x="179" y="136"/>
                    <a:pt x="179" y="138"/>
                  </a:cubicBezTo>
                  <a:cubicBezTo>
                    <a:pt x="179" y="138"/>
                    <a:pt x="178" y="140"/>
                    <a:pt x="178" y="138"/>
                  </a:cubicBezTo>
                  <a:close/>
                  <a:moveTo>
                    <a:pt x="195" y="141"/>
                  </a:moveTo>
                  <a:cubicBezTo>
                    <a:pt x="195" y="140"/>
                    <a:pt x="195" y="140"/>
                    <a:pt x="195" y="140"/>
                  </a:cubicBezTo>
                  <a:cubicBezTo>
                    <a:pt x="193" y="140"/>
                    <a:pt x="193" y="140"/>
                    <a:pt x="193" y="140"/>
                  </a:cubicBezTo>
                  <a:cubicBezTo>
                    <a:pt x="193" y="141"/>
                    <a:pt x="193" y="141"/>
                    <a:pt x="193" y="143"/>
                  </a:cubicBezTo>
                  <a:cubicBezTo>
                    <a:pt x="193" y="144"/>
                    <a:pt x="193" y="141"/>
                    <a:pt x="195" y="141"/>
                  </a:cubicBezTo>
                  <a:close/>
                  <a:moveTo>
                    <a:pt x="195" y="143"/>
                  </a:moveTo>
                  <a:cubicBezTo>
                    <a:pt x="195" y="144"/>
                    <a:pt x="195" y="141"/>
                    <a:pt x="196" y="141"/>
                  </a:cubicBezTo>
                  <a:cubicBezTo>
                    <a:pt x="196" y="141"/>
                    <a:pt x="196" y="143"/>
                    <a:pt x="195" y="143"/>
                  </a:cubicBezTo>
                  <a:close/>
                  <a:moveTo>
                    <a:pt x="199" y="143"/>
                  </a:moveTo>
                  <a:cubicBezTo>
                    <a:pt x="201" y="144"/>
                    <a:pt x="204" y="143"/>
                    <a:pt x="205" y="144"/>
                  </a:cubicBezTo>
                  <a:cubicBezTo>
                    <a:pt x="207" y="146"/>
                    <a:pt x="207" y="144"/>
                    <a:pt x="208" y="144"/>
                  </a:cubicBezTo>
                  <a:cubicBezTo>
                    <a:pt x="208" y="144"/>
                    <a:pt x="208" y="143"/>
                    <a:pt x="210" y="144"/>
                  </a:cubicBezTo>
                  <a:cubicBezTo>
                    <a:pt x="213" y="144"/>
                    <a:pt x="214" y="143"/>
                    <a:pt x="214" y="143"/>
                  </a:cubicBezTo>
                  <a:cubicBezTo>
                    <a:pt x="216" y="143"/>
                    <a:pt x="221" y="141"/>
                    <a:pt x="221" y="141"/>
                  </a:cubicBezTo>
                  <a:cubicBezTo>
                    <a:pt x="221" y="140"/>
                    <a:pt x="222" y="140"/>
                    <a:pt x="222" y="136"/>
                  </a:cubicBezTo>
                  <a:cubicBezTo>
                    <a:pt x="221" y="135"/>
                    <a:pt x="219" y="138"/>
                    <a:pt x="221" y="138"/>
                  </a:cubicBezTo>
                  <a:cubicBezTo>
                    <a:pt x="221" y="138"/>
                    <a:pt x="221" y="138"/>
                    <a:pt x="219" y="140"/>
                  </a:cubicBezTo>
                  <a:cubicBezTo>
                    <a:pt x="216" y="140"/>
                    <a:pt x="219" y="141"/>
                    <a:pt x="217" y="141"/>
                  </a:cubicBezTo>
                  <a:cubicBezTo>
                    <a:pt x="214" y="143"/>
                    <a:pt x="214" y="138"/>
                    <a:pt x="213" y="140"/>
                  </a:cubicBezTo>
                  <a:cubicBezTo>
                    <a:pt x="211" y="141"/>
                    <a:pt x="211" y="140"/>
                    <a:pt x="210" y="141"/>
                  </a:cubicBezTo>
                  <a:cubicBezTo>
                    <a:pt x="208" y="141"/>
                    <a:pt x="207" y="140"/>
                    <a:pt x="205" y="138"/>
                  </a:cubicBezTo>
                  <a:cubicBezTo>
                    <a:pt x="204" y="138"/>
                    <a:pt x="201" y="136"/>
                    <a:pt x="199" y="138"/>
                  </a:cubicBezTo>
                  <a:cubicBezTo>
                    <a:pt x="198" y="140"/>
                    <a:pt x="196" y="140"/>
                    <a:pt x="196" y="143"/>
                  </a:cubicBezTo>
                  <a:cubicBezTo>
                    <a:pt x="196" y="146"/>
                    <a:pt x="198" y="143"/>
                    <a:pt x="199" y="143"/>
                  </a:cubicBezTo>
                  <a:close/>
                  <a:moveTo>
                    <a:pt x="202" y="113"/>
                  </a:moveTo>
                  <a:cubicBezTo>
                    <a:pt x="202" y="115"/>
                    <a:pt x="202" y="122"/>
                    <a:pt x="202" y="119"/>
                  </a:cubicBezTo>
                  <a:cubicBezTo>
                    <a:pt x="201" y="118"/>
                    <a:pt x="202" y="113"/>
                    <a:pt x="202" y="113"/>
                  </a:cubicBezTo>
                  <a:close/>
                  <a:moveTo>
                    <a:pt x="222" y="140"/>
                  </a:moveTo>
                  <a:cubicBezTo>
                    <a:pt x="222" y="140"/>
                    <a:pt x="224" y="140"/>
                    <a:pt x="222" y="141"/>
                  </a:cubicBezTo>
                  <a:cubicBezTo>
                    <a:pt x="221" y="141"/>
                    <a:pt x="221" y="141"/>
                    <a:pt x="222" y="140"/>
                  </a:cubicBezTo>
                  <a:close/>
                  <a:moveTo>
                    <a:pt x="224" y="140"/>
                  </a:moveTo>
                  <a:cubicBezTo>
                    <a:pt x="224" y="140"/>
                    <a:pt x="224" y="140"/>
                    <a:pt x="225" y="138"/>
                  </a:cubicBezTo>
                  <a:cubicBezTo>
                    <a:pt x="225" y="138"/>
                    <a:pt x="224" y="138"/>
                    <a:pt x="222" y="138"/>
                  </a:cubicBezTo>
                  <a:cubicBezTo>
                    <a:pt x="222" y="140"/>
                    <a:pt x="222" y="140"/>
                    <a:pt x="224" y="140"/>
                  </a:cubicBezTo>
                  <a:close/>
                  <a:moveTo>
                    <a:pt x="225" y="141"/>
                  </a:moveTo>
                  <a:cubicBezTo>
                    <a:pt x="228" y="141"/>
                    <a:pt x="225" y="140"/>
                    <a:pt x="227" y="140"/>
                  </a:cubicBezTo>
                  <a:cubicBezTo>
                    <a:pt x="228" y="140"/>
                    <a:pt x="227" y="140"/>
                    <a:pt x="228" y="138"/>
                  </a:cubicBezTo>
                  <a:cubicBezTo>
                    <a:pt x="230" y="138"/>
                    <a:pt x="230" y="138"/>
                    <a:pt x="228" y="138"/>
                  </a:cubicBezTo>
                  <a:cubicBezTo>
                    <a:pt x="227" y="138"/>
                    <a:pt x="225" y="138"/>
                    <a:pt x="225" y="138"/>
                  </a:cubicBezTo>
                  <a:cubicBezTo>
                    <a:pt x="225" y="140"/>
                    <a:pt x="225" y="140"/>
                    <a:pt x="224" y="140"/>
                  </a:cubicBezTo>
                  <a:cubicBezTo>
                    <a:pt x="222" y="141"/>
                    <a:pt x="224" y="141"/>
                    <a:pt x="225" y="141"/>
                  </a:cubicBezTo>
                  <a:close/>
                  <a:moveTo>
                    <a:pt x="231" y="140"/>
                  </a:moveTo>
                  <a:cubicBezTo>
                    <a:pt x="233" y="138"/>
                    <a:pt x="233" y="136"/>
                    <a:pt x="231" y="138"/>
                  </a:cubicBezTo>
                  <a:cubicBezTo>
                    <a:pt x="230" y="140"/>
                    <a:pt x="230" y="136"/>
                    <a:pt x="230" y="140"/>
                  </a:cubicBezTo>
                  <a:cubicBezTo>
                    <a:pt x="230" y="140"/>
                    <a:pt x="230" y="141"/>
                    <a:pt x="231" y="140"/>
                  </a:cubicBezTo>
                  <a:close/>
                  <a:moveTo>
                    <a:pt x="237" y="140"/>
                  </a:moveTo>
                  <a:cubicBezTo>
                    <a:pt x="240" y="140"/>
                    <a:pt x="239" y="136"/>
                    <a:pt x="236" y="136"/>
                  </a:cubicBezTo>
                  <a:cubicBezTo>
                    <a:pt x="233" y="138"/>
                    <a:pt x="234" y="135"/>
                    <a:pt x="233" y="138"/>
                  </a:cubicBezTo>
                  <a:cubicBezTo>
                    <a:pt x="231" y="141"/>
                    <a:pt x="234" y="140"/>
                    <a:pt x="237" y="140"/>
                  </a:cubicBezTo>
                  <a:close/>
                  <a:moveTo>
                    <a:pt x="196" y="153"/>
                  </a:moveTo>
                  <a:cubicBezTo>
                    <a:pt x="199" y="155"/>
                    <a:pt x="199" y="158"/>
                    <a:pt x="199" y="157"/>
                  </a:cubicBezTo>
                  <a:cubicBezTo>
                    <a:pt x="201" y="157"/>
                    <a:pt x="201" y="158"/>
                    <a:pt x="202" y="158"/>
                  </a:cubicBezTo>
                  <a:cubicBezTo>
                    <a:pt x="202" y="157"/>
                    <a:pt x="204" y="157"/>
                    <a:pt x="204" y="157"/>
                  </a:cubicBezTo>
                  <a:cubicBezTo>
                    <a:pt x="205" y="155"/>
                    <a:pt x="202" y="152"/>
                    <a:pt x="201" y="152"/>
                  </a:cubicBezTo>
                  <a:cubicBezTo>
                    <a:pt x="199" y="150"/>
                    <a:pt x="201" y="150"/>
                    <a:pt x="199" y="149"/>
                  </a:cubicBezTo>
                  <a:cubicBezTo>
                    <a:pt x="198" y="147"/>
                    <a:pt x="196" y="149"/>
                    <a:pt x="195" y="149"/>
                  </a:cubicBezTo>
                  <a:cubicBezTo>
                    <a:pt x="195" y="149"/>
                    <a:pt x="190" y="147"/>
                    <a:pt x="190" y="150"/>
                  </a:cubicBezTo>
                  <a:cubicBezTo>
                    <a:pt x="190" y="153"/>
                    <a:pt x="193" y="152"/>
                    <a:pt x="196" y="153"/>
                  </a:cubicBezTo>
                  <a:close/>
                  <a:moveTo>
                    <a:pt x="225" y="161"/>
                  </a:moveTo>
                  <a:cubicBezTo>
                    <a:pt x="225" y="161"/>
                    <a:pt x="225" y="158"/>
                    <a:pt x="224" y="161"/>
                  </a:cubicBezTo>
                  <a:cubicBezTo>
                    <a:pt x="222" y="163"/>
                    <a:pt x="221" y="161"/>
                    <a:pt x="221" y="163"/>
                  </a:cubicBezTo>
                  <a:cubicBezTo>
                    <a:pt x="221" y="164"/>
                    <a:pt x="224" y="163"/>
                    <a:pt x="225" y="161"/>
                  </a:cubicBezTo>
                  <a:close/>
                  <a:moveTo>
                    <a:pt x="231" y="157"/>
                  </a:moveTo>
                  <a:cubicBezTo>
                    <a:pt x="233" y="157"/>
                    <a:pt x="233" y="157"/>
                    <a:pt x="236" y="153"/>
                  </a:cubicBezTo>
                  <a:cubicBezTo>
                    <a:pt x="237" y="150"/>
                    <a:pt x="237" y="150"/>
                    <a:pt x="240" y="149"/>
                  </a:cubicBezTo>
                  <a:cubicBezTo>
                    <a:pt x="243" y="146"/>
                    <a:pt x="245" y="147"/>
                    <a:pt x="246" y="146"/>
                  </a:cubicBezTo>
                  <a:cubicBezTo>
                    <a:pt x="246" y="144"/>
                    <a:pt x="248" y="146"/>
                    <a:pt x="249" y="144"/>
                  </a:cubicBezTo>
                  <a:cubicBezTo>
                    <a:pt x="251" y="141"/>
                    <a:pt x="253" y="143"/>
                    <a:pt x="254" y="141"/>
                  </a:cubicBezTo>
                  <a:cubicBezTo>
                    <a:pt x="256" y="140"/>
                    <a:pt x="257" y="140"/>
                    <a:pt x="256" y="138"/>
                  </a:cubicBezTo>
                  <a:cubicBezTo>
                    <a:pt x="253" y="138"/>
                    <a:pt x="251" y="140"/>
                    <a:pt x="249" y="140"/>
                  </a:cubicBezTo>
                  <a:cubicBezTo>
                    <a:pt x="248" y="140"/>
                    <a:pt x="246" y="141"/>
                    <a:pt x="245" y="140"/>
                  </a:cubicBezTo>
                  <a:cubicBezTo>
                    <a:pt x="245" y="140"/>
                    <a:pt x="243" y="140"/>
                    <a:pt x="240" y="141"/>
                  </a:cubicBezTo>
                  <a:cubicBezTo>
                    <a:pt x="237" y="143"/>
                    <a:pt x="239" y="143"/>
                    <a:pt x="236" y="146"/>
                  </a:cubicBezTo>
                  <a:cubicBezTo>
                    <a:pt x="233" y="147"/>
                    <a:pt x="233" y="146"/>
                    <a:pt x="230" y="149"/>
                  </a:cubicBezTo>
                  <a:cubicBezTo>
                    <a:pt x="227" y="150"/>
                    <a:pt x="227" y="152"/>
                    <a:pt x="227" y="153"/>
                  </a:cubicBezTo>
                  <a:cubicBezTo>
                    <a:pt x="225" y="155"/>
                    <a:pt x="228" y="155"/>
                    <a:pt x="227" y="157"/>
                  </a:cubicBezTo>
                  <a:cubicBezTo>
                    <a:pt x="225" y="157"/>
                    <a:pt x="224" y="158"/>
                    <a:pt x="227" y="158"/>
                  </a:cubicBezTo>
                  <a:cubicBezTo>
                    <a:pt x="230" y="160"/>
                    <a:pt x="230" y="157"/>
                    <a:pt x="231" y="157"/>
                  </a:cubicBezTo>
                  <a:close/>
                  <a:moveTo>
                    <a:pt x="201" y="112"/>
                  </a:moveTo>
                  <a:cubicBezTo>
                    <a:pt x="204" y="112"/>
                    <a:pt x="199" y="107"/>
                    <a:pt x="201" y="104"/>
                  </a:cubicBezTo>
                  <a:cubicBezTo>
                    <a:pt x="202" y="102"/>
                    <a:pt x="201" y="97"/>
                    <a:pt x="201" y="91"/>
                  </a:cubicBezTo>
                  <a:cubicBezTo>
                    <a:pt x="202" y="85"/>
                    <a:pt x="198" y="88"/>
                    <a:pt x="202" y="84"/>
                  </a:cubicBezTo>
                  <a:cubicBezTo>
                    <a:pt x="207" y="80"/>
                    <a:pt x="208" y="85"/>
                    <a:pt x="205" y="88"/>
                  </a:cubicBezTo>
                  <a:cubicBezTo>
                    <a:pt x="204" y="93"/>
                    <a:pt x="207" y="93"/>
                    <a:pt x="208" y="96"/>
                  </a:cubicBezTo>
                  <a:cubicBezTo>
                    <a:pt x="211" y="99"/>
                    <a:pt x="207" y="105"/>
                    <a:pt x="213" y="105"/>
                  </a:cubicBezTo>
                  <a:cubicBezTo>
                    <a:pt x="216" y="105"/>
                    <a:pt x="213" y="102"/>
                    <a:pt x="216" y="101"/>
                  </a:cubicBezTo>
                  <a:cubicBezTo>
                    <a:pt x="219" y="99"/>
                    <a:pt x="219" y="102"/>
                    <a:pt x="221" y="99"/>
                  </a:cubicBezTo>
                  <a:cubicBezTo>
                    <a:pt x="222" y="94"/>
                    <a:pt x="214" y="94"/>
                    <a:pt x="216" y="91"/>
                  </a:cubicBezTo>
                  <a:cubicBezTo>
                    <a:pt x="219" y="88"/>
                    <a:pt x="214" y="82"/>
                    <a:pt x="211" y="79"/>
                  </a:cubicBezTo>
                  <a:cubicBezTo>
                    <a:pt x="207" y="74"/>
                    <a:pt x="216" y="74"/>
                    <a:pt x="219" y="68"/>
                  </a:cubicBezTo>
                  <a:cubicBezTo>
                    <a:pt x="222" y="62"/>
                    <a:pt x="224" y="70"/>
                    <a:pt x="225" y="67"/>
                  </a:cubicBezTo>
                  <a:cubicBezTo>
                    <a:pt x="227" y="65"/>
                    <a:pt x="227" y="63"/>
                    <a:pt x="221" y="63"/>
                  </a:cubicBezTo>
                  <a:cubicBezTo>
                    <a:pt x="214" y="63"/>
                    <a:pt x="216" y="67"/>
                    <a:pt x="211" y="67"/>
                  </a:cubicBezTo>
                  <a:cubicBezTo>
                    <a:pt x="207" y="65"/>
                    <a:pt x="208" y="71"/>
                    <a:pt x="204" y="71"/>
                  </a:cubicBezTo>
                  <a:cubicBezTo>
                    <a:pt x="201" y="70"/>
                    <a:pt x="204" y="68"/>
                    <a:pt x="201" y="65"/>
                  </a:cubicBezTo>
                  <a:cubicBezTo>
                    <a:pt x="196" y="63"/>
                    <a:pt x="199" y="49"/>
                    <a:pt x="204" y="52"/>
                  </a:cubicBezTo>
                  <a:cubicBezTo>
                    <a:pt x="207" y="54"/>
                    <a:pt x="210" y="52"/>
                    <a:pt x="211" y="52"/>
                  </a:cubicBezTo>
                  <a:cubicBezTo>
                    <a:pt x="214" y="54"/>
                    <a:pt x="222" y="51"/>
                    <a:pt x="224" y="52"/>
                  </a:cubicBezTo>
                  <a:cubicBezTo>
                    <a:pt x="224" y="54"/>
                    <a:pt x="231" y="56"/>
                    <a:pt x="234" y="51"/>
                  </a:cubicBezTo>
                  <a:cubicBezTo>
                    <a:pt x="237" y="46"/>
                    <a:pt x="240" y="43"/>
                    <a:pt x="239" y="42"/>
                  </a:cubicBezTo>
                  <a:cubicBezTo>
                    <a:pt x="237" y="39"/>
                    <a:pt x="234" y="43"/>
                    <a:pt x="231" y="48"/>
                  </a:cubicBezTo>
                  <a:cubicBezTo>
                    <a:pt x="230" y="51"/>
                    <a:pt x="222" y="46"/>
                    <a:pt x="221" y="48"/>
                  </a:cubicBezTo>
                  <a:cubicBezTo>
                    <a:pt x="221" y="49"/>
                    <a:pt x="217" y="46"/>
                    <a:pt x="213" y="46"/>
                  </a:cubicBezTo>
                  <a:cubicBezTo>
                    <a:pt x="208" y="48"/>
                    <a:pt x="211" y="45"/>
                    <a:pt x="208" y="45"/>
                  </a:cubicBezTo>
                  <a:cubicBezTo>
                    <a:pt x="207" y="45"/>
                    <a:pt x="205" y="43"/>
                    <a:pt x="204" y="45"/>
                  </a:cubicBezTo>
                  <a:cubicBezTo>
                    <a:pt x="204" y="46"/>
                    <a:pt x="202" y="51"/>
                    <a:pt x="201" y="48"/>
                  </a:cubicBezTo>
                  <a:cubicBezTo>
                    <a:pt x="199" y="46"/>
                    <a:pt x="199" y="51"/>
                    <a:pt x="198" y="52"/>
                  </a:cubicBezTo>
                  <a:cubicBezTo>
                    <a:pt x="195" y="56"/>
                    <a:pt x="198" y="57"/>
                    <a:pt x="196" y="57"/>
                  </a:cubicBezTo>
                  <a:cubicBezTo>
                    <a:pt x="193" y="59"/>
                    <a:pt x="196" y="59"/>
                    <a:pt x="196" y="62"/>
                  </a:cubicBezTo>
                  <a:cubicBezTo>
                    <a:pt x="195" y="65"/>
                    <a:pt x="192" y="67"/>
                    <a:pt x="193" y="73"/>
                  </a:cubicBezTo>
                  <a:cubicBezTo>
                    <a:pt x="193" y="79"/>
                    <a:pt x="192" y="74"/>
                    <a:pt x="192" y="79"/>
                  </a:cubicBezTo>
                  <a:cubicBezTo>
                    <a:pt x="192" y="85"/>
                    <a:pt x="187" y="82"/>
                    <a:pt x="189" y="85"/>
                  </a:cubicBezTo>
                  <a:cubicBezTo>
                    <a:pt x="190" y="88"/>
                    <a:pt x="187" y="85"/>
                    <a:pt x="189" y="90"/>
                  </a:cubicBezTo>
                  <a:cubicBezTo>
                    <a:pt x="190" y="94"/>
                    <a:pt x="192" y="88"/>
                    <a:pt x="195" y="93"/>
                  </a:cubicBezTo>
                  <a:cubicBezTo>
                    <a:pt x="198" y="99"/>
                    <a:pt x="192" y="107"/>
                    <a:pt x="195" y="112"/>
                  </a:cubicBezTo>
                  <a:cubicBezTo>
                    <a:pt x="196" y="115"/>
                    <a:pt x="198" y="112"/>
                    <a:pt x="201" y="112"/>
                  </a:cubicBezTo>
                  <a:close/>
                  <a:moveTo>
                    <a:pt x="251" y="94"/>
                  </a:moveTo>
                  <a:cubicBezTo>
                    <a:pt x="253" y="96"/>
                    <a:pt x="257" y="91"/>
                    <a:pt x="254" y="88"/>
                  </a:cubicBezTo>
                  <a:cubicBezTo>
                    <a:pt x="253" y="85"/>
                    <a:pt x="246" y="85"/>
                    <a:pt x="246" y="88"/>
                  </a:cubicBezTo>
                  <a:cubicBezTo>
                    <a:pt x="245" y="90"/>
                    <a:pt x="248" y="93"/>
                    <a:pt x="251" y="94"/>
                  </a:cubicBezTo>
                  <a:close/>
                  <a:moveTo>
                    <a:pt x="263" y="88"/>
                  </a:moveTo>
                  <a:cubicBezTo>
                    <a:pt x="263" y="87"/>
                    <a:pt x="265" y="91"/>
                    <a:pt x="268" y="90"/>
                  </a:cubicBezTo>
                  <a:cubicBezTo>
                    <a:pt x="271" y="87"/>
                    <a:pt x="274" y="91"/>
                    <a:pt x="274" y="90"/>
                  </a:cubicBezTo>
                  <a:cubicBezTo>
                    <a:pt x="274" y="88"/>
                    <a:pt x="278" y="91"/>
                    <a:pt x="281" y="94"/>
                  </a:cubicBezTo>
                  <a:cubicBezTo>
                    <a:pt x="286" y="96"/>
                    <a:pt x="286" y="93"/>
                    <a:pt x="283" y="88"/>
                  </a:cubicBezTo>
                  <a:cubicBezTo>
                    <a:pt x="280" y="84"/>
                    <a:pt x="280" y="88"/>
                    <a:pt x="275" y="85"/>
                  </a:cubicBezTo>
                  <a:cubicBezTo>
                    <a:pt x="272" y="82"/>
                    <a:pt x="274" y="85"/>
                    <a:pt x="269" y="85"/>
                  </a:cubicBezTo>
                  <a:cubicBezTo>
                    <a:pt x="263" y="84"/>
                    <a:pt x="260" y="87"/>
                    <a:pt x="260" y="90"/>
                  </a:cubicBezTo>
                  <a:cubicBezTo>
                    <a:pt x="262" y="94"/>
                    <a:pt x="262" y="88"/>
                    <a:pt x="263" y="88"/>
                  </a:cubicBezTo>
                  <a:close/>
                  <a:moveTo>
                    <a:pt x="233" y="76"/>
                  </a:moveTo>
                  <a:cubicBezTo>
                    <a:pt x="233" y="71"/>
                    <a:pt x="240" y="74"/>
                    <a:pt x="240" y="74"/>
                  </a:cubicBezTo>
                  <a:cubicBezTo>
                    <a:pt x="240" y="76"/>
                    <a:pt x="233" y="77"/>
                    <a:pt x="233" y="76"/>
                  </a:cubicBezTo>
                  <a:close/>
                  <a:moveTo>
                    <a:pt x="240" y="76"/>
                  </a:moveTo>
                  <a:cubicBezTo>
                    <a:pt x="242" y="73"/>
                    <a:pt x="251" y="74"/>
                    <a:pt x="248" y="74"/>
                  </a:cubicBezTo>
                  <a:cubicBezTo>
                    <a:pt x="246" y="76"/>
                    <a:pt x="240" y="77"/>
                    <a:pt x="240" y="76"/>
                  </a:cubicBezTo>
                  <a:close/>
                  <a:moveTo>
                    <a:pt x="259" y="74"/>
                  </a:moveTo>
                  <a:cubicBezTo>
                    <a:pt x="262" y="73"/>
                    <a:pt x="265" y="74"/>
                    <a:pt x="262" y="71"/>
                  </a:cubicBezTo>
                  <a:cubicBezTo>
                    <a:pt x="259" y="70"/>
                    <a:pt x="257" y="70"/>
                    <a:pt x="257" y="73"/>
                  </a:cubicBezTo>
                  <a:cubicBezTo>
                    <a:pt x="257" y="74"/>
                    <a:pt x="257" y="74"/>
                    <a:pt x="259" y="74"/>
                  </a:cubicBezTo>
                  <a:close/>
                  <a:moveTo>
                    <a:pt x="275" y="76"/>
                  </a:moveTo>
                  <a:cubicBezTo>
                    <a:pt x="277" y="77"/>
                    <a:pt x="280" y="79"/>
                    <a:pt x="280" y="76"/>
                  </a:cubicBezTo>
                  <a:cubicBezTo>
                    <a:pt x="281" y="74"/>
                    <a:pt x="280" y="73"/>
                    <a:pt x="277" y="74"/>
                  </a:cubicBezTo>
                  <a:cubicBezTo>
                    <a:pt x="275" y="74"/>
                    <a:pt x="274" y="76"/>
                    <a:pt x="275" y="76"/>
                  </a:cubicBezTo>
                  <a:close/>
                  <a:moveTo>
                    <a:pt x="285" y="67"/>
                  </a:moveTo>
                  <a:cubicBezTo>
                    <a:pt x="285" y="65"/>
                    <a:pt x="281" y="67"/>
                    <a:pt x="281" y="67"/>
                  </a:cubicBezTo>
                  <a:cubicBezTo>
                    <a:pt x="283" y="68"/>
                    <a:pt x="283" y="68"/>
                    <a:pt x="285" y="70"/>
                  </a:cubicBezTo>
                  <a:cubicBezTo>
                    <a:pt x="285" y="71"/>
                    <a:pt x="286" y="67"/>
                    <a:pt x="285" y="67"/>
                  </a:cubicBezTo>
                  <a:close/>
                  <a:moveTo>
                    <a:pt x="285" y="59"/>
                  </a:moveTo>
                  <a:cubicBezTo>
                    <a:pt x="285" y="59"/>
                    <a:pt x="286" y="62"/>
                    <a:pt x="288" y="60"/>
                  </a:cubicBezTo>
                  <a:cubicBezTo>
                    <a:pt x="289" y="60"/>
                    <a:pt x="286" y="57"/>
                    <a:pt x="283" y="57"/>
                  </a:cubicBezTo>
                  <a:cubicBezTo>
                    <a:pt x="280" y="59"/>
                    <a:pt x="278" y="59"/>
                    <a:pt x="280" y="60"/>
                  </a:cubicBezTo>
                  <a:cubicBezTo>
                    <a:pt x="281" y="60"/>
                    <a:pt x="283" y="62"/>
                    <a:pt x="285" y="62"/>
                  </a:cubicBezTo>
                  <a:cubicBezTo>
                    <a:pt x="286" y="60"/>
                    <a:pt x="283" y="59"/>
                    <a:pt x="285" y="59"/>
                  </a:cubicBezTo>
                  <a:close/>
                  <a:moveTo>
                    <a:pt x="263" y="63"/>
                  </a:moveTo>
                  <a:cubicBezTo>
                    <a:pt x="262" y="60"/>
                    <a:pt x="260" y="57"/>
                    <a:pt x="260" y="54"/>
                  </a:cubicBezTo>
                  <a:cubicBezTo>
                    <a:pt x="262" y="52"/>
                    <a:pt x="263" y="52"/>
                    <a:pt x="266" y="54"/>
                  </a:cubicBezTo>
                  <a:cubicBezTo>
                    <a:pt x="269" y="56"/>
                    <a:pt x="268" y="52"/>
                    <a:pt x="265" y="51"/>
                  </a:cubicBezTo>
                  <a:cubicBezTo>
                    <a:pt x="262" y="49"/>
                    <a:pt x="265" y="48"/>
                    <a:pt x="266" y="48"/>
                  </a:cubicBezTo>
                  <a:cubicBezTo>
                    <a:pt x="268" y="46"/>
                    <a:pt x="268" y="42"/>
                    <a:pt x="265" y="42"/>
                  </a:cubicBezTo>
                  <a:cubicBezTo>
                    <a:pt x="262" y="43"/>
                    <a:pt x="260" y="51"/>
                    <a:pt x="260" y="49"/>
                  </a:cubicBezTo>
                  <a:cubicBezTo>
                    <a:pt x="259" y="46"/>
                    <a:pt x="260" y="48"/>
                    <a:pt x="262" y="43"/>
                  </a:cubicBezTo>
                  <a:cubicBezTo>
                    <a:pt x="263" y="40"/>
                    <a:pt x="260" y="40"/>
                    <a:pt x="260" y="39"/>
                  </a:cubicBezTo>
                  <a:cubicBezTo>
                    <a:pt x="262" y="37"/>
                    <a:pt x="263" y="34"/>
                    <a:pt x="260" y="35"/>
                  </a:cubicBezTo>
                  <a:cubicBezTo>
                    <a:pt x="257" y="39"/>
                    <a:pt x="257" y="45"/>
                    <a:pt x="257" y="48"/>
                  </a:cubicBezTo>
                  <a:cubicBezTo>
                    <a:pt x="259" y="49"/>
                    <a:pt x="257" y="51"/>
                    <a:pt x="259" y="52"/>
                  </a:cubicBezTo>
                  <a:cubicBezTo>
                    <a:pt x="260" y="56"/>
                    <a:pt x="257" y="57"/>
                    <a:pt x="260" y="60"/>
                  </a:cubicBezTo>
                  <a:cubicBezTo>
                    <a:pt x="262" y="63"/>
                    <a:pt x="263" y="67"/>
                    <a:pt x="265" y="67"/>
                  </a:cubicBezTo>
                  <a:cubicBezTo>
                    <a:pt x="265" y="65"/>
                    <a:pt x="265" y="65"/>
                    <a:pt x="263" y="63"/>
                  </a:cubicBezTo>
                  <a:close/>
                  <a:moveTo>
                    <a:pt x="263" y="37"/>
                  </a:moveTo>
                  <a:cubicBezTo>
                    <a:pt x="263" y="34"/>
                    <a:pt x="265" y="29"/>
                    <a:pt x="266" y="32"/>
                  </a:cubicBezTo>
                  <a:cubicBezTo>
                    <a:pt x="268" y="34"/>
                    <a:pt x="263" y="40"/>
                    <a:pt x="263" y="37"/>
                  </a:cubicBezTo>
                  <a:close/>
                  <a:moveTo>
                    <a:pt x="213" y="110"/>
                  </a:moveTo>
                  <a:cubicBezTo>
                    <a:pt x="213" y="108"/>
                    <a:pt x="213" y="105"/>
                    <a:pt x="213" y="107"/>
                  </a:cubicBezTo>
                  <a:cubicBezTo>
                    <a:pt x="214" y="110"/>
                    <a:pt x="214" y="112"/>
                    <a:pt x="213" y="110"/>
                  </a:cubicBezTo>
                  <a:close/>
                  <a:moveTo>
                    <a:pt x="219" y="108"/>
                  </a:moveTo>
                  <a:cubicBezTo>
                    <a:pt x="219" y="107"/>
                    <a:pt x="219" y="105"/>
                    <a:pt x="219" y="104"/>
                  </a:cubicBezTo>
                  <a:cubicBezTo>
                    <a:pt x="221" y="101"/>
                    <a:pt x="216" y="102"/>
                    <a:pt x="216" y="105"/>
                  </a:cubicBezTo>
                  <a:cubicBezTo>
                    <a:pt x="217" y="107"/>
                    <a:pt x="214" y="112"/>
                    <a:pt x="217" y="110"/>
                  </a:cubicBezTo>
                  <a:cubicBezTo>
                    <a:pt x="219" y="108"/>
                    <a:pt x="219" y="108"/>
                    <a:pt x="219" y="108"/>
                  </a:cubicBezTo>
                  <a:close/>
                  <a:moveTo>
                    <a:pt x="221" y="112"/>
                  </a:moveTo>
                  <a:cubicBezTo>
                    <a:pt x="222" y="108"/>
                    <a:pt x="225" y="112"/>
                    <a:pt x="222" y="108"/>
                  </a:cubicBezTo>
                  <a:cubicBezTo>
                    <a:pt x="219" y="104"/>
                    <a:pt x="225" y="105"/>
                    <a:pt x="224" y="101"/>
                  </a:cubicBezTo>
                  <a:cubicBezTo>
                    <a:pt x="222" y="97"/>
                    <a:pt x="221" y="102"/>
                    <a:pt x="221" y="107"/>
                  </a:cubicBezTo>
                  <a:cubicBezTo>
                    <a:pt x="221" y="112"/>
                    <a:pt x="216" y="112"/>
                    <a:pt x="219" y="113"/>
                  </a:cubicBezTo>
                  <a:cubicBezTo>
                    <a:pt x="221" y="113"/>
                    <a:pt x="221" y="113"/>
                    <a:pt x="221" y="112"/>
                  </a:cubicBezTo>
                  <a:close/>
                  <a:moveTo>
                    <a:pt x="221" y="73"/>
                  </a:moveTo>
                  <a:cubicBezTo>
                    <a:pt x="221" y="70"/>
                    <a:pt x="221" y="68"/>
                    <a:pt x="222" y="68"/>
                  </a:cubicBezTo>
                  <a:cubicBezTo>
                    <a:pt x="224" y="68"/>
                    <a:pt x="221" y="73"/>
                    <a:pt x="221" y="73"/>
                  </a:cubicBezTo>
                  <a:close/>
                  <a:moveTo>
                    <a:pt x="225" y="70"/>
                  </a:moveTo>
                  <a:cubicBezTo>
                    <a:pt x="227" y="68"/>
                    <a:pt x="227" y="71"/>
                    <a:pt x="225" y="71"/>
                  </a:cubicBezTo>
                  <a:cubicBezTo>
                    <a:pt x="225" y="73"/>
                    <a:pt x="224" y="70"/>
                    <a:pt x="225" y="70"/>
                  </a:cubicBezTo>
                  <a:close/>
                  <a:moveTo>
                    <a:pt x="257" y="63"/>
                  </a:moveTo>
                  <a:cubicBezTo>
                    <a:pt x="257" y="65"/>
                    <a:pt x="259" y="65"/>
                    <a:pt x="259" y="62"/>
                  </a:cubicBezTo>
                  <a:cubicBezTo>
                    <a:pt x="259" y="60"/>
                    <a:pt x="257" y="59"/>
                    <a:pt x="257" y="60"/>
                  </a:cubicBezTo>
                  <a:cubicBezTo>
                    <a:pt x="256" y="62"/>
                    <a:pt x="256" y="62"/>
                    <a:pt x="257" y="63"/>
                  </a:cubicBezTo>
                  <a:close/>
                  <a:moveTo>
                    <a:pt x="288" y="135"/>
                  </a:moveTo>
                  <a:cubicBezTo>
                    <a:pt x="285" y="136"/>
                    <a:pt x="289" y="125"/>
                    <a:pt x="291" y="129"/>
                  </a:cubicBezTo>
                  <a:cubicBezTo>
                    <a:pt x="291" y="130"/>
                    <a:pt x="291" y="133"/>
                    <a:pt x="288" y="135"/>
                  </a:cubicBezTo>
                  <a:close/>
                  <a:moveTo>
                    <a:pt x="310" y="124"/>
                  </a:moveTo>
                  <a:cubicBezTo>
                    <a:pt x="309" y="125"/>
                    <a:pt x="309" y="115"/>
                    <a:pt x="312" y="119"/>
                  </a:cubicBezTo>
                  <a:cubicBezTo>
                    <a:pt x="313" y="122"/>
                    <a:pt x="313" y="124"/>
                    <a:pt x="310" y="124"/>
                  </a:cubicBezTo>
                  <a:close/>
                  <a:moveTo>
                    <a:pt x="245" y="133"/>
                  </a:moveTo>
                  <a:cubicBezTo>
                    <a:pt x="246" y="132"/>
                    <a:pt x="253" y="130"/>
                    <a:pt x="253" y="132"/>
                  </a:cubicBezTo>
                  <a:cubicBezTo>
                    <a:pt x="253" y="133"/>
                    <a:pt x="242" y="135"/>
                    <a:pt x="245" y="133"/>
                  </a:cubicBezTo>
                  <a:close/>
                  <a:moveTo>
                    <a:pt x="169" y="94"/>
                  </a:moveTo>
                  <a:cubicBezTo>
                    <a:pt x="169" y="91"/>
                    <a:pt x="169" y="88"/>
                    <a:pt x="167" y="90"/>
                  </a:cubicBezTo>
                  <a:cubicBezTo>
                    <a:pt x="166" y="91"/>
                    <a:pt x="167" y="93"/>
                    <a:pt x="167" y="96"/>
                  </a:cubicBezTo>
                  <a:cubicBezTo>
                    <a:pt x="166" y="97"/>
                    <a:pt x="167" y="97"/>
                    <a:pt x="169" y="94"/>
                  </a:cubicBezTo>
                  <a:close/>
                  <a:moveTo>
                    <a:pt x="100" y="88"/>
                  </a:moveTo>
                  <a:cubicBezTo>
                    <a:pt x="102" y="87"/>
                    <a:pt x="103" y="90"/>
                    <a:pt x="105" y="87"/>
                  </a:cubicBezTo>
                  <a:cubicBezTo>
                    <a:pt x="106" y="85"/>
                    <a:pt x="105" y="84"/>
                    <a:pt x="102" y="82"/>
                  </a:cubicBezTo>
                  <a:cubicBezTo>
                    <a:pt x="99" y="80"/>
                    <a:pt x="99" y="85"/>
                    <a:pt x="99" y="88"/>
                  </a:cubicBezTo>
                  <a:cubicBezTo>
                    <a:pt x="100" y="88"/>
                    <a:pt x="100" y="90"/>
                    <a:pt x="100" y="88"/>
                  </a:cubicBezTo>
                  <a:close/>
                  <a:moveTo>
                    <a:pt x="83" y="77"/>
                  </a:moveTo>
                  <a:cubicBezTo>
                    <a:pt x="86" y="77"/>
                    <a:pt x="85" y="84"/>
                    <a:pt x="88" y="85"/>
                  </a:cubicBezTo>
                  <a:cubicBezTo>
                    <a:pt x="90" y="87"/>
                    <a:pt x="90" y="88"/>
                    <a:pt x="93" y="87"/>
                  </a:cubicBezTo>
                  <a:cubicBezTo>
                    <a:pt x="94" y="87"/>
                    <a:pt x="91" y="85"/>
                    <a:pt x="91" y="84"/>
                  </a:cubicBezTo>
                  <a:cubicBezTo>
                    <a:pt x="93" y="82"/>
                    <a:pt x="93" y="82"/>
                    <a:pt x="90" y="82"/>
                  </a:cubicBezTo>
                  <a:cubicBezTo>
                    <a:pt x="86" y="80"/>
                    <a:pt x="90" y="71"/>
                    <a:pt x="83" y="71"/>
                  </a:cubicBezTo>
                  <a:cubicBezTo>
                    <a:pt x="80" y="73"/>
                    <a:pt x="82" y="74"/>
                    <a:pt x="80" y="76"/>
                  </a:cubicBezTo>
                  <a:cubicBezTo>
                    <a:pt x="77" y="77"/>
                    <a:pt x="82" y="77"/>
                    <a:pt x="83" y="77"/>
                  </a:cubicBezTo>
                  <a:close/>
                  <a:moveTo>
                    <a:pt x="105" y="15"/>
                  </a:moveTo>
                  <a:cubicBezTo>
                    <a:pt x="105" y="15"/>
                    <a:pt x="102" y="18"/>
                    <a:pt x="103" y="20"/>
                  </a:cubicBezTo>
                  <a:cubicBezTo>
                    <a:pt x="105" y="20"/>
                    <a:pt x="102" y="21"/>
                    <a:pt x="103" y="21"/>
                  </a:cubicBezTo>
                  <a:cubicBezTo>
                    <a:pt x="106" y="23"/>
                    <a:pt x="105" y="17"/>
                    <a:pt x="105" y="15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2" y="34"/>
                  </a:cubicBezTo>
                  <a:cubicBezTo>
                    <a:pt x="10" y="32"/>
                    <a:pt x="7" y="28"/>
                    <a:pt x="6" y="29"/>
                  </a:cubicBezTo>
                  <a:cubicBezTo>
                    <a:pt x="6" y="31"/>
                    <a:pt x="6" y="32"/>
                    <a:pt x="9" y="32"/>
                  </a:cubicBezTo>
                  <a:close/>
                  <a:moveTo>
                    <a:pt x="21" y="51"/>
                  </a:moveTo>
                  <a:cubicBezTo>
                    <a:pt x="22" y="54"/>
                    <a:pt x="24" y="48"/>
                    <a:pt x="22" y="46"/>
                  </a:cubicBezTo>
                  <a:cubicBezTo>
                    <a:pt x="19" y="45"/>
                    <a:pt x="19" y="42"/>
                    <a:pt x="16" y="42"/>
                  </a:cubicBezTo>
                  <a:cubicBezTo>
                    <a:pt x="15" y="43"/>
                    <a:pt x="18" y="46"/>
                    <a:pt x="21" y="51"/>
                  </a:cubicBezTo>
                  <a:close/>
                  <a:moveTo>
                    <a:pt x="29" y="67"/>
                  </a:moveTo>
                  <a:cubicBezTo>
                    <a:pt x="30" y="65"/>
                    <a:pt x="35" y="73"/>
                    <a:pt x="33" y="74"/>
                  </a:cubicBezTo>
                  <a:cubicBezTo>
                    <a:pt x="32" y="74"/>
                    <a:pt x="26" y="68"/>
                    <a:pt x="29" y="67"/>
                  </a:cubicBezTo>
                  <a:close/>
                  <a:moveTo>
                    <a:pt x="36" y="77"/>
                  </a:moveTo>
                  <a:cubicBezTo>
                    <a:pt x="36" y="76"/>
                    <a:pt x="39" y="79"/>
                    <a:pt x="38" y="80"/>
                  </a:cubicBezTo>
                  <a:cubicBezTo>
                    <a:pt x="38" y="80"/>
                    <a:pt x="35" y="79"/>
                    <a:pt x="36" y="77"/>
                  </a:cubicBezTo>
                  <a:close/>
                  <a:moveTo>
                    <a:pt x="39" y="85"/>
                  </a:moveTo>
                  <a:cubicBezTo>
                    <a:pt x="41" y="85"/>
                    <a:pt x="42" y="90"/>
                    <a:pt x="42" y="88"/>
                  </a:cubicBezTo>
                  <a:cubicBezTo>
                    <a:pt x="44" y="87"/>
                    <a:pt x="41" y="80"/>
                    <a:pt x="39" y="82"/>
                  </a:cubicBezTo>
                  <a:cubicBezTo>
                    <a:pt x="38" y="84"/>
                    <a:pt x="39" y="85"/>
                    <a:pt x="39" y="85"/>
                  </a:cubicBezTo>
                  <a:close/>
                  <a:moveTo>
                    <a:pt x="74" y="63"/>
                  </a:moveTo>
                  <a:cubicBezTo>
                    <a:pt x="71" y="65"/>
                    <a:pt x="73" y="60"/>
                    <a:pt x="74" y="60"/>
                  </a:cubicBezTo>
                  <a:cubicBezTo>
                    <a:pt x="76" y="60"/>
                    <a:pt x="76" y="63"/>
                    <a:pt x="74" y="63"/>
                  </a:cubicBezTo>
                  <a:close/>
                  <a:moveTo>
                    <a:pt x="76" y="57"/>
                  </a:moveTo>
                  <a:cubicBezTo>
                    <a:pt x="74" y="56"/>
                    <a:pt x="74" y="57"/>
                    <a:pt x="74" y="59"/>
                  </a:cubicBezTo>
                  <a:cubicBezTo>
                    <a:pt x="74" y="60"/>
                    <a:pt x="79" y="60"/>
                    <a:pt x="79" y="60"/>
                  </a:cubicBezTo>
                  <a:cubicBezTo>
                    <a:pt x="79" y="60"/>
                    <a:pt x="77" y="59"/>
                    <a:pt x="76" y="57"/>
                  </a:cubicBezTo>
                  <a:close/>
                  <a:moveTo>
                    <a:pt x="53" y="35"/>
                  </a:moveTo>
                  <a:cubicBezTo>
                    <a:pt x="54" y="37"/>
                    <a:pt x="53" y="40"/>
                    <a:pt x="51" y="40"/>
                  </a:cubicBezTo>
                  <a:cubicBezTo>
                    <a:pt x="50" y="39"/>
                    <a:pt x="51" y="35"/>
                    <a:pt x="53" y="35"/>
                  </a:cubicBezTo>
                  <a:close/>
                  <a:moveTo>
                    <a:pt x="67" y="48"/>
                  </a:moveTo>
                  <a:cubicBezTo>
                    <a:pt x="67" y="48"/>
                    <a:pt x="68" y="51"/>
                    <a:pt x="67" y="51"/>
                  </a:cubicBezTo>
                  <a:cubicBezTo>
                    <a:pt x="65" y="51"/>
                    <a:pt x="65" y="48"/>
                    <a:pt x="67" y="48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5"/>
                    <a:pt x="59" y="43"/>
                  </a:cubicBezTo>
                  <a:cubicBezTo>
                    <a:pt x="59" y="42"/>
                    <a:pt x="56" y="40"/>
                    <a:pt x="54" y="42"/>
                  </a:cubicBezTo>
                  <a:cubicBezTo>
                    <a:pt x="54" y="42"/>
                    <a:pt x="56" y="42"/>
                    <a:pt x="58" y="43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9"/>
                    <a:pt x="58" y="48"/>
                  </a:cubicBezTo>
                  <a:cubicBezTo>
                    <a:pt x="58" y="46"/>
                    <a:pt x="56" y="42"/>
                    <a:pt x="58" y="43"/>
                  </a:cubicBezTo>
                  <a:close/>
                  <a:moveTo>
                    <a:pt x="64" y="49"/>
                  </a:moveTo>
                  <a:cubicBezTo>
                    <a:pt x="64" y="48"/>
                    <a:pt x="61" y="48"/>
                    <a:pt x="61" y="46"/>
                  </a:cubicBezTo>
                  <a:cubicBezTo>
                    <a:pt x="59" y="45"/>
                    <a:pt x="59" y="46"/>
                    <a:pt x="59" y="48"/>
                  </a:cubicBezTo>
                  <a:cubicBezTo>
                    <a:pt x="59" y="49"/>
                    <a:pt x="59" y="49"/>
                    <a:pt x="61" y="49"/>
                  </a:cubicBezTo>
                  <a:cubicBezTo>
                    <a:pt x="62" y="49"/>
                    <a:pt x="64" y="51"/>
                    <a:pt x="64" y="49"/>
                  </a:cubicBezTo>
                  <a:close/>
                  <a:moveTo>
                    <a:pt x="62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4" y="46"/>
                    <a:pt x="61" y="45"/>
                    <a:pt x="61" y="46"/>
                  </a:cubicBezTo>
                  <a:cubicBezTo>
                    <a:pt x="61" y="46"/>
                    <a:pt x="61" y="46"/>
                    <a:pt x="62" y="48"/>
                  </a:cubicBezTo>
                  <a:close/>
                  <a:moveTo>
                    <a:pt x="65" y="49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4" y="52"/>
                    <a:pt x="64" y="49"/>
                    <a:pt x="65" y="49"/>
                  </a:cubicBezTo>
                  <a:close/>
                  <a:moveTo>
                    <a:pt x="26" y="62"/>
                  </a:moveTo>
                  <a:cubicBezTo>
                    <a:pt x="24" y="60"/>
                    <a:pt x="26" y="59"/>
                    <a:pt x="27" y="59"/>
                  </a:cubicBezTo>
                  <a:cubicBezTo>
                    <a:pt x="29" y="60"/>
                    <a:pt x="27" y="63"/>
                    <a:pt x="26" y="62"/>
                  </a:cubicBezTo>
                  <a:close/>
                  <a:moveTo>
                    <a:pt x="330" y="74"/>
                  </a:moveTo>
                  <a:cubicBezTo>
                    <a:pt x="335" y="74"/>
                    <a:pt x="332" y="73"/>
                    <a:pt x="326" y="73"/>
                  </a:cubicBezTo>
                  <a:cubicBezTo>
                    <a:pt x="320" y="73"/>
                    <a:pt x="323" y="73"/>
                    <a:pt x="326" y="74"/>
                  </a:cubicBezTo>
                  <a:cubicBezTo>
                    <a:pt x="326" y="76"/>
                    <a:pt x="326" y="76"/>
                    <a:pt x="330" y="74"/>
                  </a:cubicBezTo>
                  <a:close/>
                  <a:moveTo>
                    <a:pt x="327" y="67"/>
                  </a:moveTo>
                  <a:cubicBezTo>
                    <a:pt x="326" y="65"/>
                    <a:pt x="327" y="63"/>
                    <a:pt x="323" y="63"/>
                  </a:cubicBezTo>
                  <a:cubicBezTo>
                    <a:pt x="318" y="62"/>
                    <a:pt x="321" y="65"/>
                    <a:pt x="323" y="67"/>
                  </a:cubicBezTo>
                  <a:cubicBezTo>
                    <a:pt x="326" y="67"/>
                    <a:pt x="323" y="70"/>
                    <a:pt x="327" y="68"/>
                  </a:cubicBezTo>
                  <a:cubicBezTo>
                    <a:pt x="329" y="68"/>
                    <a:pt x="329" y="68"/>
                    <a:pt x="327" y="67"/>
                  </a:cubicBezTo>
                  <a:close/>
                  <a:moveTo>
                    <a:pt x="275" y="135"/>
                  </a:moveTo>
                  <a:cubicBezTo>
                    <a:pt x="272" y="132"/>
                    <a:pt x="275" y="133"/>
                    <a:pt x="275" y="135"/>
                  </a:cubicBezTo>
                  <a:cubicBezTo>
                    <a:pt x="277" y="135"/>
                    <a:pt x="275" y="136"/>
                    <a:pt x="275" y="135"/>
                  </a:cubicBezTo>
                  <a:close/>
                  <a:moveTo>
                    <a:pt x="298" y="115"/>
                  </a:moveTo>
                  <a:cubicBezTo>
                    <a:pt x="298" y="110"/>
                    <a:pt x="300" y="113"/>
                    <a:pt x="300" y="113"/>
                  </a:cubicBezTo>
                  <a:cubicBezTo>
                    <a:pt x="300" y="115"/>
                    <a:pt x="298" y="116"/>
                    <a:pt x="298" y="115"/>
                  </a:cubicBezTo>
                  <a:close/>
                  <a:moveTo>
                    <a:pt x="300" y="116"/>
                  </a:moveTo>
                  <a:cubicBezTo>
                    <a:pt x="300" y="112"/>
                    <a:pt x="303" y="107"/>
                    <a:pt x="303" y="108"/>
                  </a:cubicBezTo>
                  <a:cubicBezTo>
                    <a:pt x="303" y="110"/>
                    <a:pt x="300" y="116"/>
                    <a:pt x="300" y="116"/>
                  </a:cubicBezTo>
                  <a:close/>
                  <a:moveTo>
                    <a:pt x="260" y="138"/>
                  </a:moveTo>
                  <a:cubicBezTo>
                    <a:pt x="259" y="136"/>
                    <a:pt x="260" y="136"/>
                    <a:pt x="262" y="136"/>
                  </a:cubicBezTo>
                  <a:cubicBezTo>
                    <a:pt x="263" y="138"/>
                    <a:pt x="262" y="138"/>
                    <a:pt x="260" y="138"/>
                  </a:cubicBezTo>
                  <a:close/>
                  <a:moveTo>
                    <a:pt x="312" y="118"/>
                  </a:moveTo>
                  <a:cubicBezTo>
                    <a:pt x="310" y="118"/>
                    <a:pt x="310" y="116"/>
                    <a:pt x="310" y="116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12" y="119"/>
                    <a:pt x="312" y="119"/>
                    <a:pt x="313" y="121"/>
                  </a:cubicBezTo>
                  <a:cubicBezTo>
                    <a:pt x="313" y="121"/>
                    <a:pt x="313" y="119"/>
                    <a:pt x="312" y="118"/>
                  </a:cubicBezTo>
                  <a:close/>
                  <a:moveTo>
                    <a:pt x="315" y="115"/>
                  </a:moveTo>
                  <a:cubicBezTo>
                    <a:pt x="315" y="110"/>
                    <a:pt x="313" y="108"/>
                    <a:pt x="312" y="112"/>
                  </a:cubicBezTo>
                  <a:cubicBezTo>
                    <a:pt x="312" y="113"/>
                    <a:pt x="310" y="112"/>
                    <a:pt x="310" y="113"/>
                  </a:cubicBezTo>
                  <a:cubicBezTo>
                    <a:pt x="310" y="113"/>
                    <a:pt x="312" y="113"/>
                    <a:pt x="312" y="115"/>
                  </a:cubicBezTo>
                  <a:cubicBezTo>
                    <a:pt x="310" y="118"/>
                    <a:pt x="312" y="118"/>
                    <a:pt x="313" y="119"/>
                  </a:cubicBezTo>
                  <a:cubicBezTo>
                    <a:pt x="315" y="119"/>
                    <a:pt x="315" y="118"/>
                    <a:pt x="315" y="115"/>
                  </a:cubicBezTo>
                  <a:close/>
                  <a:moveTo>
                    <a:pt x="347" y="140"/>
                  </a:moveTo>
                  <a:cubicBezTo>
                    <a:pt x="349" y="140"/>
                    <a:pt x="347" y="138"/>
                    <a:pt x="347" y="138"/>
                  </a:cubicBezTo>
                  <a:cubicBezTo>
                    <a:pt x="347" y="136"/>
                    <a:pt x="347" y="136"/>
                    <a:pt x="345" y="138"/>
                  </a:cubicBezTo>
                  <a:cubicBezTo>
                    <a:pt x="345" y="140"/>
                    <a:pt x="345" y="140"/>
                    <a:pt x="347" y="140"/>
                  </a:cubicBezTo>
                  <a:close/>
                  <a:moveTo>
                    <a:pt x="245" y="80"/>
                  </a:moveTo>
                  <a:cubicBezTo>
                    <a:pt x="246" y="82"/>
                    <a:pt x="246" y="80"/>
                    <a:pt x="246" y="79"/>
                  </a:cubicBezTo>
                  <a:cubicBezTo>
                    <a:pt x="245" y="77"/>
                    <a:pt x="246" y="76"/>
                    <a:pt x="245" y="76"/>
                  </a:cubicBezTo>
                  <a:cubicBezTo>
                    <a:pt x="245" y="77"/>
                    <a:pt x="245" y="79"/>
                    <a:pt x="245" y="80"/>
                  </a:cubicBezTo>
                  <a:close/>
                  <a:moveTo>
                    <a:pt x="256" y="60"/>
                  </a:moveTo>
                  <a:cubicBezTo>
                    <a:pt x="256" y="59"/>
                    <a:pt x="256" y="62"/>
                    <a:pt x="256" y="62"/>
                  </a:cubicBezTo>
                  <a:cubicBezTo>
                    <a:pt x="254" y="62"/>
                    <a:pt x="254" y="60"/>
                    <a:pt x="256" y="60"/>
                  </a:cubicBezTo>
                  <a:close/>
                  <a:moveTo>
                    <a:pt x="259" y="65"/>
                  </a:moveTo>
                  <a:cubicBezTo>
                    <a:pt x="260" y="63"/>
                    <a:pt x="262" y="63"/>
                    <a:pt x="260" y="65"/>
                  </a:cubicBezTo>
                  <a:cubicBezTo>
                    <a:pt x="260" y="67"/>
                    <a:pt x="259" y="65"/>
                    <a:pt x="259" y="65"/>
                  </a:cubicBezTo>
                  <a:close/>
                  <a:moveTo>
                    <a:pt x="260" y="94"/>
                  </a:moveTo>
                  <a:cubicBezTo>
                    <a:pt x="260" y="93"/>
                    <a:pt x="265" y="90"/>
                    <a:pt x="265" y="91"/>
                  </a:cubicBezTo>
                  <a:cubicBezTo>
                    <a:pt x="263" y="93"/>
                    <a:pt x="262" y="94"/>
                    <a:pt x="260" y="94"/>
                  </a:cubicBezTo>
                  <a:close/>
                  <a:moveTo>
                    <a:pt x="256" y="65"/>
                  </a:moveTo>
                  <a:cubicBezTo>
                    <a:pt x="254" y="65"/>
                    <a:pt x="256" y="63"/>
                    <a:pt x="256" y="63"/>
                  </a:cubicBezTo>
                  <a:cubicBezTo>
                    <a:pt x="257" y="65"/>
                    <a:pt x="257" y="65"/>
                    <a:pt x="256" y="65"/>
                  </a:cubicBezTo>
                  <a:close/>
                  <a:moveTo>
                    <a:pt x="280" y="67"/>
                  </a:moveTo>
                  <a:cubicBezTo>
                    <a:pt x="280" y="65"/>
                    <a:pt x="281" y="65"/>
                    <a:pt x="283" y="65"/>
                  </a:cubicBezTo>
                  <a:cubicBezTo>
                    <a:pt x="285" y="65"/>
                    <a:pt x="280" y="67"/>
                    <a:pt x="280" y="67"/>
                  </a:cubicBezTo>
                  <a:close/>
                  <a:moveTo>
                    <a:pt x="76" y="49"/>
                  </a:moveTo>
                  <a:cubicBezTo>
                    <a:pt x="74" y="48"/>
                    <a:pt x="71" y="46"/>
                    <a:pt x="74" y="45"/>
                  </a:cubicBezTo>
                  <a:cubicBezTo>
                    <a:pt x="77" y="43"/>
                    <a:pt x="76" y="49"/>
                    <a:pt x="76" y="49"/>
                  </a:cubicBezTo>
                  <a:close/>
                  <a:moveTo>
                    <a:pt x="71" y="46"/>
                  </a:moveTo>
                  <a:cubicBezTo>
                    <a:pt x="71" y="45"/>
                    <a:pt x="73" y="46"/>
                    <a:pt x="71" y="48"/>
                  </a:cubicBezTo>
                  <a:cubicBezTo>
                    <a:pt x="71" y="48"/>
                    <a:pt x="70" y="46"/>
                    <a:pt x="71" y="46"/>
                  </a:cubicBezTo>
                  <a:close/>
                  <a:moveTo>
                    <a:pt x="71" y="49"/>
                  </a:moveTo>
                  <a:cubicBezTo>
                    <a:pt x="71" y="48"/>
                    <a:pt x="73" y="48"/>
                    <a:pt x="73" y="49"/>
                  </a:cubicBezTo>
                  <a:cubicBezTo>
                    <a:pt x="73" y="49"/>
                    <a:pt x="73" y="51"/>
                    <a:pt x="71" y="49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9" name="Freeform 223"/>
            <p:cNvSpPr>
              <a:spLocks/>
            </p:cNvSpPr>
            <p:nvPr/>
          </p:nvSpPr>
          <p:spPr bwMode="auto">
            <a:xfrm>
              <a:off x="6201352" y="4321274"/>
              <a:ext cx="22495" cy="53023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5"/>
                </a:cxn>
                <a:cxn ang="0">
                  <a:pos x="4" y="2"/>
                </a:cxn>
                <a:cxn ang="0">
                  <a:pos x="6" y="6"/>
                </a:cxn>
                <a:cxn ang="0">
                  <a:pos x="7" y="11"/>
                </a:cxn>
                <a:cxn ang="0">
                  <a:pos x="4" y="17"/>
                </a:cxn>
                <a:cxn ang="0">
                  <a:pos x="4" y="17"/>
                </a:cxn>
              </a:cxnLst>
              <a:rect l="0" t="0" r="r" b="b"/>
              <a:pathLst>
                <a:path w="7" h="17">
                  <a:moveTo>
                    <a:pt x="4" y="17"/>
                  </a:move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1" y="17"/>
                    <a:pt x="1" y="16"/>
                  </a:cubicBezTo>
                  <a:cubicBezTo>
                    <a:pt x="1" y="8"/>
                    <a:pt x="0" y="9"/>
                    <a:pt x="1" y="5"/>
                  </a:cubicBezTo>
                  <a:cubicBezTo>
                    <a:pt x="3" y="3"/>
                    <a:pt x="3" y="0"/>
                    <a:pt x="4" y="2"/>
                  </a:cubicBezTo>
                  <a:cubicBezTo>
                    <a:pt x="6" y="3"/>
                    <a:pt x="7" y="5"/>
                    <a:pt x="6" y="6"/>
                  </a:cubicBezTo>
                  <a:cubicBezTo>
                    <a:pt x="6" y="9"/>
                    <a:pt x="7" y="9"/>
                    <a:pt x="7" y="11"/>
                  </a:cubicBezTo>
                  <a:cubicBezTo>
                    <a:pt x="7" y="14"/>
                    <a:pt x="6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0" name="Freeform 224"/>
            <p:cNvSpPr>
              <a:spLocks/>
            </p:cNvSpPr>
            <p:nvPr/>
          </p:nvSpPr>
          <p:spPr bwMode="auto">
            <a:xfrm>
              <a:off x="6336322" y="4318059"/>
              <a:ext cx="11247" cy="22494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3" y="4"/>
                </a:cxn>
                <a:cxn ang="0">
                  <a:pos x="1" y="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0" y="7"/>
                    <a:pt x="1" y="3"/>
                    <a:pt x="0" y="3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3" y="3"/>
                    <a:pt x="1" y="0"/>
                    <a:pt x="3" y="0"/>
                  </a:cubicBezTo>
                  <a:cubicBezTo>
                    <a:pt x="4" y="0"/>
                    <a:pt x="3" y="3"/>
                    <a:pt x="3" y="4"/>
                  </a:cubicBezTo>
                  <a:cubicBezTo>
                    <a:pt x="3" y="4"/>
                    <a:pt x="1" y="6"/>
                    <a:pt x="1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1" name="Freeform 225"/>
            <p:cNvSpPr>
              <a:spLocks/>
            </p:cNvSpPr>
            <p:nvPr/>
          </p:nvSpPr>
          <p:spPr bwMode="auto">
            <a:xfrm>
              <a:off x="6210993" y="4327700"/>
              <a:ext cx="133363" cy="118900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40" y="0"/>
                </a:cxn>
                <a:cxn ang="0">
                  <a:pos x="38" y="4"/>
                </a:cxn>
                <a:cxn ang="0">
                  <a:pos x="34" y="9"/>
                </a:cxn>
                <a:cxn ang="0">
                  <a:pos x="26" y="15"/>
                </a:cxn>
                <a:cxn ang="0">
                  <a:pos x="26" y="18"/>
                </a:cxn>
                <a:cxn ang="0">
                  <a:pos x="11" y="20"/>
                </a:cxn>
                <a:cxn ang="0">
                  <a:pos x="6" y="20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3" y="20"/>
                </a:cxn>
                <a:cxn ang="0">
                  <a:pos x="6" y="27"/>
                </a:cxn>
                <a:cxn ang="0">
                  <a:pos x="15" y="32"/>
                </a:cxn>
                <a:cxn ang="0">
                  <a:pos x="34" y="33"/>
                </a:cxn>
                <a:cxn ang="0">
                  <a:pos x="35" y="26"/>
                </a:cxn>
                <a:cxn ang="0">
                  <a:pos x="35" y="21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38" y="15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1" y="4"/>
                </a:cxn>
              </a:cxnLst>
              <a:rect l="0" t="0" r="r" b="b"/>
              <a:pathLst>
                <a:path w="43" h="38">
                  <a:moveTo>
                    <a:pt x="41" y="4"/>
                  </a:moveTo>
                  <a:cubicBezTo>
                    <a:pt x="40" y="4"/>
                    <a:pt x="41" y="0"/>
                    <a:pt x="40" y="0"/>
                  </a:cubicBezTo>
                  <a:cubicBezTo>
                    <a:pt x="38" y="6"/>
                    <a:pt x="40" y="0"/>
                    <a:pt x="38" y="4"/>
                  </a:cubicBezTo>
                  <a:cubicBezTo>
                    <a:pt x="37" y="6"/>
                    <a:pt x="35" y="6"/>
                    <a:pt x="34" y="9"/>
                  </a:cubicBezTo>
                  <a:cubicBezTo>
                    <a:pt x="31" y="12"/>
                    <a:pt x="28" y="15"/>
                    <a:pt x="26" y="15"/>
                  </a:cubicBezTo>
                  <a:cubicBezTo>
                    <a:pt x="26" y="16"/>
                    <a:pt x="29" y="15"/>
                    <a:pt x="26" y="18"/>
                  </a:cubicBezTo>
                  <a:cubicBezTo>
                    <a:pt x="23" y="23"/>
                    <a:pt x="17" y="18"/>
                    <a:pt x="11" y="20"/>
                  </a:cubicBezTo>
                  <a:cubicBezTo>
                    <a:pt x="6" y="21"/>
                    <a:pt x="6" y="21"/>
                    <a:pt x="6" y="20"/>
                  </a:cubicBezTo>
                  <a:cubicBezTo>
                    <a:pt x="6" y="16"/>
                    <a:pt x="5" y="18"/>
                    <a:pt x="3" y="18"/>
                  </a:cubicBezTo>
                  <a:cubicBezTo>
                    <a:pt x="0" y="18"/>
                    <a:pt x="3" y="15"/>
                    <a:pt x="3" y="15"/>
                  </a:cubicBezTo>
                  <a:cubicBezTo>
                    <a:pt x="3" y="13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8"/>
                    <a:pt x="0" y="18"/>
                    <a:pt x="3" y="20"/>
                  </a:cubicBezTo>
                  <a:cubicBezTo>
                    <a:pt x="6" y="23"/>
                    <a:pt x="6" y="23"/>
                    <a:pt x="6" y="27"/>
                  </a:cubicBezTo>
                  <a:cubicBezTo>
                    <a:pt x="8" y="30"/>
                    <a:pt x="6" y="30"/>
                    <a:pt x="15" y="32"/>
                  </a:cubicBezTo>
                  <a:cubicBezTo>
                    <a:pt x="24" y="33"/>
                    <a:pt x="32" y="38"/>
                    <a:pt x="34" y="33"/>
                  </a:cubicBezTo>
                  <a:cubicBezTo>
                    <a:pt x="34" y="32"/>
                    <a:pt x="32" y="30"/>
                    <a:pt x="35" y="26"/>
                  </a:cubicBezTo>
                  <a:cubicBezTo>
                    <a:pt x="37" y="21"/>
                    <a:pt x="37" y="23"/>
                    <a:pt x="35" y="21"/>
                  </a:cubicBezTo>
                  <a:cubicBezTo>
                    <a:pt x="35" y="21"/>
                    <a:pt x="37" y="21"/>
                    <a:pt x="38" y="20"/>
                  </a:cubicBezTo>
                  <a:cubicBezTo>
                    <a:pt x="41" y="20"/>
                    <a:pt x="40" y="18"/>
                    <a:pt x="38" y="18"/>
                  </a:cubicBezTo>
                  <a:cubicBezTo>
                    <a:pt x="37" y="18"/>
                    <a:pt x="38" y="18"/>
                    <a:pt x="38" y="15"/>
                  </a:cubicBezTo>
                  <a:cubicBezTo>
                    <a:pt x="38" y="12"/>
                    <a:pt x="38" y="9"/>
                    <a:pt x="40" y="12"/>
                  </a:cubicBezTo>
                  <a:cubicBezTo>
                    <a:pt x="41" y="15"/>
                    <a:pt x="40" y="12"/>
                    <a:pt x="43" y="10"/>
                  </a:cubicBezTo>
                  <a:cubicBezTo>
                    <a:pt x="43" y="7"/>
                    <a:pt x="43" y="6"/>
                    <a:pt x="41" y="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Freeform 226"/>
            <p:cNvSpPr>
              <a:spLocks/>
            </p:cNvSpPr>
            <p:nvPr/>
          </p:nvSpPr>
          <p:spPr bwMode="auto">
            <a:xfrm>
              <a:off x="6313828" y="4293959"/>
              <a:ext cx="30529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5" y="3"/>
                </a:cxn>
                <a:cxn ang="0">
                  <a:pos x="8" y="1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cubicBezTo>
                    <a:pt x="0" y="4"/>
                    <a:pt x="5" y="4"/>
                    <a:pt x="5" y="3"/>
                  </a:cubicBezTo>
                  <a:cubicBezTo>
                    <a:pt x="5" y="1"/>
                    <a:pt x="10" y="0"/>
                    <a:pt x="8" y="1"/>
                  </a:cubicBezTo>
                  <a:cubicBezTo>
                    <a:pt x="7" y="4"/>
                    <a:pt x="2" y="6"/>
                    <a:pt x="2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3" name="Freeform 227"/>
            <p:cNvSpPr>
              <a:spLocks/>
            </p:cNvSpPr>
            <p:nvPr/>
          </p:nvSpPr>
          <p:spPr bwMode="auto">
            <a:xfrm>
              <a:off x="6138688" y="4199160"/>
              <a:ext cx="6427" cy="1606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0" y="5"/>
                    <a:pt x="0" y="2"/>
                    <a:pt x="0" y="2"/>
                  </a:cubicBezTo>
                  <a:cubicBezTo>
                    <a:pt x="0" y="0"/>
                    <a:pt x="2" y="3"/>
                    <a:pt x="2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4" name="Freeform 228"/>
            <p:cNvSpPr>
              <a:spLocks/>
            </p:cNvSpPr>
            <p:nvPr/>
          </p:nvSpPr>
          <p:spPr bwMode="auto">
            <a:xfrm>
              <a:off x="5812512" y="4112396"/>
              <a:ext cx="17675" cy="46596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11"/>
                </a:cxn>
                <a:cxn ang="0">
                  <a:pos x="0" y="15"/>
                </a:cxn>
                <a:cxn ang="0">
                  <a:pos x="0" y="13"/>
                </a:cxn>
                <a:cxn ang="0">
                  <a:pos x="1" y="8"/>
                </a:cxn>
                <a:cxn ang="0">
                  <a:pos x="0" y="8"/>
                </a:cxn>
                <a:cxn ang="0">
                  <a:pos x="1" y="8"/>
                </a:cxn>
                <a:cxn ang="0">
                  <a:pos x="1" y="2"/>
                </a:cxn>
                <a:cxn ang="0">
                  <a:pos x="4" y="3"/>
                </a:cxn>
              </a:cxnLst>
              <a:rect l="0" t="0" r="r" b="b"/>
              <a:pathLst>
                <a:path w="6" h="15">
                  <a:moveTo>
                    <a:pt x="4" y="3"/>
                  </a:moveTo>
                  <a:cubicBezTo>
                    <a:pt x="4" y="5"/>
                    <a:pt x="6" y="10"/>
                    <a:pt x="4" y="11"/>
                  </a:cubicBezTo>
                  <a:cubicBezTo>
                    <a:pt x="3" y="13"/>
                    <a:pt x="3" y="15"/>
                    <a:pt x="0" y="1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3" y="10"/>
                    <a:pt x="1" y="8"/>
                  </a:cubicBezTo>
                  <a:cubicBezTo>
                    <a:pt x="1" y="8"/>
                    <a:pt x="0" y="10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0" y="3"/>
                    <a:pt x="1" y="2"/>
                  </a:cubicBezTo>
                  <a:cubicBezTo>
                    <a:pt x="3" y="0"/>
                    <a:pt x="4" y="3"/>
                    <a:pt x="4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5" name="Freeform 229"/>
            <p:cNvSpPr>
              <a:spLocks/>
            </p:cNvSpPr>
            <p:nvPr/>
          </p:nvSpPr>
          <p:spPr bwMode="auto">
            <a:xfrm>
              <a:off x="5799657" y="4088294"/>
              <a:ext cx="30529" cy="126933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0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6" y="34"/>
                </a:cxn>
                <a:cxn ang="0">
                  <a:pos x="9" y="24"/>
                </a:cxn>
                <a:cxn ang="0">
                  <a:pos x="9" y="19"/>
                </a:cxn>
                <a:cxn ang="0">
                  <a:pos x="4" y="22"/>
                </a:cxn>
                <a:cxn ang="0">
                  <a:pos x="4" y="21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9" y="11"/>
                </a:cxn>
              </a:cxnLst>
              <a:rect l="0" t="0" r="r" b="b"/>
              <a:pathLst>
                <a:path w="10" h="41">
                  <a:moveTo>
                    <a:pt x="9" y="11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8"/>
                    <a:pt x="9" y="7"/>
                    <a:pt x="10" y="7"/>
                  </a:cubicBezTo>
                  <a:cubicBezTo>
                    <a:pt x="10" y="7"/>
                    <a:pt x="10" y="7"/>
                    <a:pt x="10" y="5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4"/>
                    <a:pt x="6" y="4"/>
                  </a:cubicBezTo>
                  <a:cubicBezTo>
                    <a:pt x="4" y="7"/>
                    <a:pt x="3" y="17"/>
                    <a:pt x="1" y="19"/>
                  </a:cubicBezTo>
                  <a:cubicBezTo>
                    <a:pt x="3" y="19"/>
                    <a:pt x="0" y="22"/>
                    <a:pt x="0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8"/>
                    <a:pt x="3" y="34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6" y="36"/>
                    <a:pt x="6" y="34"/>
                  </a:cubicBezTo>
                  <a:cubicBezTo>
                    <a:pt x="6" y="30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7" y="21"/>
                    <a:pt x="7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9"/>
                    <a:pt x="7" y="17"/>
                    <a:pt x="6" y="16"/>
                  </a:cubicBezTo>
                  <a:cubicBezTo>
                    <a:pt x="6" y="16"/>
                    <a:pt x="4" y="17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4"/>
                    <a:pt x="4" y="11"/>
                    <a:pt x="6" y="10"/>
                  </a:cubicBezTo>
                  <a:cubicBezTo>
                    <a:pt x="7" y="8"/>
                    <a:pt x="9" y="11"/>
                    <a:pt x="9" y="1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6" name="Freeform 230"/>
            <p:cNvSpPr>
              <a:spLocks/>
            </p:cNvSpPr>
            <p:nvPr/>
          </p:nvSpPr>
          <p:spPr bwMode="auto">
            <a:xfrm>
              <a:off x="5793230" y="4147744"/>
              <a:ext cx="12854" cy="1446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1" y="3"/>
                </a:cxn>
                <a:cxn ang="0">
                  <a:pos x="3" y="0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4" y="0"/>
                    <a:pt x="3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7" name="Freeform 231"/>
            <p:cNvSpPr>
              <a:spLocks noEditPoints="1"/>
            </p:cNvSpPr>
            <p:nvPr/>
          </p:nvSpPr>
          <p:spPr bwMode="auto">
            <a:xfrm>
              <a:off x="5434918" y="3797473"/>
              <a:ext cx="212095" cy="244227"/>
            </a:xfrm>
            <a:custGeom>
              <a:avLst/>
              <a:gdLst/>
              <a:ahLst/>
              <a:cxnLst>
                <a:cxn ang="0">
                  <a:pos x="32" y="6"/>
                </a:cxn>
                <a:cxn ang="0">
                  <a:pos x="44" y="6"/>
                </a:cxn>
                <a:cxn ang="0">
                  <a:pos x="54" y="8"/>
                </a:cxn>
                <a:cxn ang="0">
                  <a:pos x="41" y="11"/>
                </a:cxn>
                <a:cxn ang="0">
                  <a:pos x="36" y="19"/>
                </a:cxn>
                <a:cxn ang="0">
                  <a:pos x="32" y="20"/>
                </a:cxn>
                <a:cxn ang="0">
                  <a:pos x="25" y="15"/>
                </a:cxn>
                <a:cxn ang="0">
                  <a:pos x="27" y="28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30" y="50"/>
                </a:cxn>
                <a:cxn ang="0">
                  <a:pos x="29" y="60"/>
                </a:cxn>
                <a:cxn ang="0">
                  <a:pos x="19" y="56"/>
                </a:cxn>
                <a:cxn ang="0">
                  <a:pos x="12" y="45"/>
                </a:cxn>
                <a:cxn ang="0">
                  <a:pos x="21" y="40"/>
                </a:cxn>
                <a:cxn ang="0">
                  <a:pos x="22" y="39"/>
                </a:cxn>
                <a:cxn ang="0">
                  <a:pos x="9" y="36"/>
                </a:cxn>
                <a:cxn ang="0">
                  <a:pos x="4" y="25"/>
                </a:cxn>
                <a:cxn ang="0">
                  <a:pos x="9" y="19"/>
                </a:cxn>
                <a:cxn ang="0">
                  <a:pos x="21" y="8"/>
                </a:cxn>
                <a:cxn ang="0">
                  <a:pos x="7" y="43"/>
                </a:cxn>
                <a:cxn ang="0">
                  <a:pos x="7" y="39"/>
                </a:cxn>
                <a:cxn ang="0">
                  <a:pos x="27" y="60"/>
                </a:cxn>
                <a:cxn ang="0">
                  <a:pos x="41" y="74"/>
                </a:cxn>
                <a:cxn ang="0">
                  <a:pos x="47" y="73"/>
                </a:cxn>
                <a:cxn ang="0">
                  <a:pos x="33" y="68"/>
                </a:cxn>
                <a:cxn ang="0">
                  <a:pos x="68" y="60"/>
                </a:cxn>
                <a:cxn ang="0">
                  <a:pos x="68" y="60"/>
                </a:cxn>
                <a:cxn ang="0">
                  <a:pos x="50" y="39"/>
                </a:cxn>
                <a:cxn ang="0">
                  <a:pos x="53" y="28"/>
                </a:cxn>
                <a:cxn ang="0">
                  <a:pos x="54" y="31"/>
                </a:cxn>
                <a:cxn ang="0">
                  <a:pos x="41" y="12"/>
                </a:cxn>
                <a:cxn ang="0">
                  <a:pos x="38" y="43"/>
                </a:cxn>
                <a:cxn ang="0">
                  <a:pos x="30" y="33"/>
                </a:cxn>
                <a:cxn ang="0">
                  <a:pos x="47" y="53"/>
                </a:cxn>
                <a:cxn ang="0">
                  <a:pos x="60" y="71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45" y="22"/>
                </a:cxn>
                <a:cxn ang="0">
                  <a:pos x="48" y="20"/>
                </a:cxn>
                <a:cxn ang="0">
                  <a:pos x="44" y="54"/>
                </a:cxn>
                <a:cxn ang="0">
                  <a:pos x="38" y="57"/>
                </a:cxn>
                <a:cxn ang="0">
                  <a:pos x="38" y="48"/>
                </a:cxn>
                <a:cxn ang="0">
                  <a:pos x="38" y="51"/>
                </a:cxn>
                <a:cxn ang="0">
                  <a:pos x="50" y="48"/>
                </a:cxn>
                <a:cxn ang="0">
                  <a:pos x="7" y="37"/>
                </a:cxn>
                <a:cxn ang="0">
                  <a:pos x="41" y="34"/>
                </a:cxn>
                <a:cxn ang="0">
                  <a:pos x="42" y="48"/>
                </a:cxn>
                <a:cxn ang="0">
                  <a:pos x="42" y="48"/>
                </a:cxn>
              </a:cxnLst>
              <a:rect l="0" t="0" r="r" b="b"/>
              <a:pathLst>
                <a:path w="68" h="78">
                  <a:moveTo>
                    <a:pt x="21" y="8"/>
                  </a:moveTo>
                  <a:cubicBezTo>
                    <a:pt x="25" y="11"/>
                    <a:pt x="24" y="6"/>
                    <a:pt x="27" y="6"/>
                  </a:cubicBezTo>
                  <a:cubicBezTo>
                    <a:pt x="29" y="8"/>
                    <a:pt x="27" y="5"/>
                    <a:pt x="32" y="6"/>
                  </a:cubicBezTo>
                  <a:cubicBezTo>
                    <a:pt x="35" y="6"/>
                    <a:pt x="36" y="3"/>
                    <a:pt x="38" y="5"/>
                  </a:cubicBezTo>
                  <a:cubicBezTo>
                    <a:pt x="39" y="5"/>
                    <a:pt x="38" y="2"/>
                    <a:pt x="41" y="5"/>
                  </a:cubicBezTo>
                  <a:cubicBezTo>
                    <a:pt x="42" y="8"/>
                    <a:pt x="42" y="3"/>
                    <a:pt x="44" y="6"/>
                  </a:cubicBezTo>
                  <a:cubicBezTo>
                    <a:pt x="45" y="9"/>
                    <a:pt x="47" y="6"/>
                    <a:pt x="50" y="6"/>
                  </a:cubicBezTo>
                  <a:cubicBezTo>
                    <a:pt x="54" y="6"/>
                    <a:pt x="48" y="0"/>
                    <a:pt x="53" y="2"/>
                  </a:cubicBezTo>
                  <a:cubicBezTo>
                    <a:pt x="56" y="5"/>
                    <a:pt x="56" y="6"/>
                    <a:pt x="54" y="8"/>
                  </a:cubicBezTo>
                  <a:cubicBezTo>
                    <a:pt x="53" y="8"/>
                    <a:pt x="54" y="11"/>
                    <a:pt x="51" y="12"/>
                  </a:cubicBezTo>
                  <a:cubicBezTo>
                    <a:pt x="51" y="11"/>
                    <a:pt x="48" y="12"/>
                    <a:pt x="45" y="11"/>
                  </a:cubicBezTo>
                  <a:cubicBezTo>
                    <a:pt x="42" y="9"/>
                    <a:pt x="44" y="12"/>
                    <a:pt x="41" y="11"/>
                  </a:cubicBezTo>
                  <a:cubicBezTo>
                    <a:pt x="38" y="9"/>
                    <a:pt x="38" y="12"/>
                    <a:pt x="35" y="14"/>
                  </a:cubicBezTo>
                  <a:cubicBezTo>
                    <a:pt x="32" y="14"/>
                    <a:pt x="35" y="14"/>
                    <a:pt x="33" y="15"/>
                  </a:cubicBezTo>
                  <a:cubicBezTo>
                    <a:pt x="33" y="17"/>
                    <a:pt x="35" y="15"/>
                    <a:pt x="36" y="19"/>
                  </a:cubicBezTo>
                  <a:cubicBezTo>
                    <a:pt x="39" y="20"/>
                    <a:pt x="38" y="20"/>
                    <a:pt x="36" y="19"/>
                  </a:cubicBezTo>
                  <a:cubicBezTo>
                    <a:pt x="33" y="17"/>
                    <a:pt x="32" y="17"/>
                    <a:pt x="35" y="19"/>
                  </a:cubicBezTo>
                  <a:cubicBezTo>
                    <a:pt x="36" y="22"/>
                    <a:pt x="35" y="22"/>
                    <a:pt x="32" y="20"/>
                  </a:cubicBezTo>
                  <a:cubicBezTo>
                    <a:pt x="30" y="17"/>
                    <a:pt x="30" y="19"/>
                    <a:pt x="32" y="20"/>
                  </a:cubicBezTo>
                  <a:cubicBezTo>
                    <a:pt x="33" y="23"/>
                    <a:pt x="30" y="23"/>
                    <a:pt x="29" y="20"/>
                  </a:cubicBezTo>
                  <a:cubicBezTo>
                    <a:pt x="29" y="15"/>
                    <a:pt x="25" y="19"/>
                    <a:pt x="25" y="15"/>
                  </a:cubicBezTo>
                  <a:cubicBezTo>
                    <a:pt x="27" y="12"/>
                    <a:pt x="24" y="15"/>
                    <a:pt x="24" y="17"/>
                  </a:cubicBezTo>
                  <a:cubicBezTo>
                    <a:pt x="21" y="22"/>
                    <a:pt x="32" y="28"/>
                    <a:pt x="29" y="31"/>
                  </a:cubicBezTo>
                  <a:cubicBezTo>
                    <a:pt x="27" y="33"/>
                    <a:pt x="29" y="28"/>
                    <a:pt x="27" y="28"/>
                  </a:cubicBezTo>
                  <a:cubicBezTo>
                    <a:pt x="24" y="28"/>
                    <a:pt x="30" y="33"/>
                    <a:pt x="24" y="33"/>
                  </a:cubicBezTo>
                  <a:cubicBezTo>
                    <a:pt x="21" y="34"/>
                    <a:pt x="29" y="34"/>
                    <a:pt x="29" y="36"/>
                  </a:cubicBezTo>
                  <a:cubicBezTo>
                    <a:pt x="30" y="39"/>
                    <a:pt x="30" y="37"/>
                    <a:pt x="32" y="39"/>
                  </a:cubicBezTo>
                  <a:cubicBezTo>
                    <a:pt x="32" y="40"/>
                    <a:pt x="36" y="40"/>
                    <a:pt x="35" y="42"/>
                  </a:cubicBezTo>
                  <a:cubicBezTo>
                    <a:pt x="35" y="43"/>
                    <a:pt x="36" y="46"/>
                    <a:pt x="35" y="46"/>
                  </a:cubicBezTo>
                  <a:cubicBezTo>
                    <a:pt x="35" y="46"/>
                    <a:pt x="33" y="45"/>
                    <a:pt x="32" y="43"/>
                  </a:cubicBezTo>
                  <a:cubicBezTo>
                    <a:pt x="30" y="42"/>
                    <a:pt x="27" y="43"/>
                    <a:pt x="27" y="45"/>
                  </a:cubicBezTo>
                  <a:cubicBezTo>
                    <a:pt x="29" y="46"/>
                    <a:pt x="27" y="46"/>
                    <a:pt x="29" y="46"/>
                  </a:cubicBezTo>
                  <a:cubicBezTo>
                    <a:pt x="30" y="48"/>
                    <a:pt x="32" y="50"/>
                    <a:pt x="30" y="50"/>
                  </a:cubicBezTo>
                  <a:cubicBezTo>
                    <a:pt x="29" y="50"/>
                    <a:pt x="29" y="51"/>
                    <a:pt x="27" y="50"/>
                  </a:cubicBezTo>
                  <a:cubicBezTo>
                    <a:pt x="27" y="48"/>
                    <a:pt x="27" y="48"/>
                    <a:pt x="25" y="48"/>
                  </a:cubicBezTo>
                  <a:cubicBezTo>
                    <a:pt x="22" y="48"/>
                    <a:pt x="30" y="59"/>
                    <a:pt x="29" y="60"/>
                  </a:cubicBezTo>
                  <a:cubicBezTo>
                    <a:pt x="25" y="60"/>
                    <a:pt x="24" y="53"/>
                    <a:pt x="24" y="57"/>
                  </a:cubicBezTo>
                  <a:cubicBezTo>
                    <a:pt x="22" y="60"/>
                    <a:pt x="21" y="62"/>
                    <a:pt x="21" y="59"/>
                  </a:cubicBezTo>
                  <a:cubicBezTo>
                    <a:pt x="21" y="56"/>
                    <a:pt x="19" y="51"/>
                    <a:pt x="19" y="56"/>
                  </a:cubicBezTo>
                  <a:cubicBezTo>
                    <a:pt x="18" y="59"/>
                    <a:pt x="15" y="53"/>
                    <a:pt x="15" y="51"/>
                  </a:cubicBezTo>
                  <a:cubicBezTo>
                    <a:pt x="16" y="50"/>
                    <a:pt x="16" y="48"/>
                    <a:pt x="15" y="48"/>
                  </a:cubicBezTo>
                  <a:cubicBezTo>
                    <a:pt x="12" y="48"/>
                    <a:pt x="13" y="46"/>
                    <a:pt x="12" y="45"/>
                  </a:cubicBezTo>
                  <a:cubicBezTo>
                    <a:pt x="10" y="43"/>
                    <a:pt x="13" y="45"/>
                    <a:pt x="13" y="42"/>
                  </a:cubicBezTo>
                  <a:cubicBezTo>
                    <a:pt x="13" y="40"/>
                    <a:pt x="15" y="42"/>
                    <a:pt x="16" y="40"/>
                  </a:cubicBezTo>
                  <a:cubicBezTo>
                    <a:pt x="18" y="39"/>
                    <a:pt x="18" y="39"/>
                    <a:pt x="21" y="40"/>
                  </a:cubicBezTo>
                  <a:cubicBezTo>
                    <a:pt x="24" y="42"/>
                    <a:pt x="24" y="43"/>
                    <a:pt x="27" y="42"/>
                  </a:cubicBezTo>
                  <a:cubicBezTo>
                    <a:pt x="30" y="42"/>
                    <a:pt x="29" y="40"/>
                    <a:pt x="27" y="40"/>
                  </a:cubicBezTo>
                  <a:cubicBezTo>
                    <a:pt x="25" y="40"/>
                    <a:pt x="24" y="39"/>
                    <a:pt x="22" y="39"/>
                  </a:cubicBezTo>
                  <a:cubicBezTo>
                    <a:pt x="19" y="40"/>
                    <a:pt x="21" y="39"/>
                    <a:pt x="18" y="39"/>
                  </a:cubicBezTo>
                  <a:cubicBezTo>
                    <a:pt x="13" y="40"/>
                    <a:pt x="15" y="37"/>
                    <a:pt x="13" y="39"/>
                  </a:cubicBezTo>
                  <a:cubicBezTo>
                    <a:pt x="12" y="42"/>
                    <a:pt x="12" y="37"/>
                    <a:pt x="9" y="36"/>
                  </a:cubicBezTo>
                  <a:cubicBezTo>
                    <a:pt x="7" y="33"/>
                    <a:pt x="13" y="34"/>
                    <a:pt x="12" y="33"/>
                  </a:cubicBezTo>
                  <a:cubicBezTo>
                    <a:pt x="9" y="29"/>
                    <a:pt x="10" y="34"/>
                    <a:pt x="9" y="31"/>
                  </a:cubicBezTo>
                  <a:cubicBezTo>
                    <a:pt x="7" y="29"/>
                    <a:pt x="6" y="31"/>
                    <a:pt x="4" y="25"/>
                  </a:cubicBezTo>
                  <a:cubicBezTo>
                    <a:pt x="4" y="25"/>
                    <a:pt x="6" y="25"/>
                    <a:pt x="6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0"/>
                    <a:pt x="9" y="22"/>
                    <a:pt x="9" y="19"/>
                  </a:cubicBezTo>
                  <a:cubicBezTo>
                    <a:pt x="9" y="14"/>
                    <a:pt x="10" y="17"/>
                    <a:pt x="12" y="15"/>
                  </a:cubicBezTo>
                  <a:cubicBezTo>
                    <a:pt x="12" y="12"/>
                    <a:pt x="10" y="12"/>
                    <a:pt x="10" y="12"/>
                  </a:cubicBezTo>
                  <a:cubicBezTo>
                    <a:pt x="22" y="11"/>
                    <a:pt x="16" y="6"/>
                    <a:pt x="21" y="8"/>
                  </a:cubicBezTo>
                  <a:close/>
                  <a:moveTo>
                    <a:pt x="7" y="43"/>
                  </a:moveTo>
                  <a:cubicBezTo>
                    <a:pt x="9" y="43"/>
                    <a:pt x="12" y="46"/>
                    <a:pt x="10" y="46"/>
                  </a:cubicBezTo>
                  <a:cubicBezTo>
                    <a:pt x="9" y="46"/>
                    <a:pt x="7" y="45"/>
                    <a:pt x="7" y="43"/>
                  </a:cubicBezTo>
                  <a:close/>
                  <a:moveTo>
                    <a:pt x="9" y="42"/>
                  </a:moveTo>
                  <a:cubicBezTo>
                    <a:pt x="10" y="43"/>
                    <a:pt x="10" y="42"/>
                    <a:pt x="9" y="40"/>
                  </a:cubicBezTo>
                  <a:cubicBezTo>
                    <a:pt x="7" y="40"/>
                    <a:pt x="7" y="37"/>
                    <a:pt x="7" y="39"/>
                  </a:cubicBezTo>
                  <a:cubicBezTo>
                    <a:pt x="7" y="40"/>
                    <a:pt x="6" y="39"/>
                    <a:pt x="6" y="40"/>
                  </a:cubicBezTo>
                  <a:cubicBezTo>
                    <a:pt x="6" y="42"/>
                    <a:pt x="7" y="42"/>
                    <a:pt x="9" y="42"/>
                  </a:cubicBezTo>
                  <a:close/>
                  <a:moveTo>
                    <a:pt x="27" y="60"/>
                  </a:moveTo>
                  <a:cubicBezTo>
                    <a:pt x="29" y="62"/>
                    <a:pt x="27" y="65"/>
                    <a:pt x="27" y="64"/>
                  </a:cubicBezTo>
                  <a:cubicBezTo>
                    <a:pt x="25" y="62"/>
                    <a:pt x="25" y="60"/>
                    <a:pt x="27" y="60"/>
                  </a:cubicBezTo>
                  <a:close/>
                  <a:moveTo>
                    <a:pt x="41" y="74"/>
                  </a:moveTo>
                  <a:cubicBezTo>
                    <a:pt x="42" y="78"/>
                    <a:pt x="45" y="76"/>
                    <a:pt x="50" y="76"/>
                  </a:cubicBezTo>
                  <a:cubicBezTo>
                    <a:pt x="54" y="76"/>
                    <a:pt x="54" y="71"/>
                    <a:pt x="50" y="73"/>
                  </a:cubicBezTo>
                  <a:cubicBezTo>
                    <a:pt x="47" y="76"/>
                    <a:pt x="50" y="71"/>
                    <a:pt x="47" y="73"/>
                  </a:cubicBezTo>
                  <a:cubicBezTo>
                    <a:pt x="44" y="73"/>
                    <a:pt x="44" y="70"/>
                    <a:pt x="39" y="71"/>
                  </a:cubicBezTo>
                  <a:cubicBezTo>
                    <a:pt x="36" y="73"/>
                    <a:pt x="36" y="68"/>
                    <a:pt x="35" y="70"/>
                  </a:cubicBezTo>
                  <a:cubicBezTo>
                    <a:pt x="33" y="70"/>
                    <a:pt x="33" y="68"/>
                    <a:pt x="33" y="68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4"/>
                    <a:pt x="36" y="71"/>
                    <a:pt x="41" y="74"/>
                  </a:cubicBezTo>
                  <a:close/>
                  <a:moveTo>
                    <a:pt x="68" y="60"/>
                  </a:moveTo>
                  <a:cubicBezTo>
                    <a:pt x="68" y="59"/>
                    <a:pt x="63" y="62"/>
                    <a:pt x="63" y="64"/>
                  </a:cubicBezTo>
                  <a:cubicBezTo>
                    <a:pt x="65" y="64"/>
                    <a:pt x="63" y="65"/>
                    <a:pt x="65" y="67"/>
                  </a:cubicBezTo>
                  <a:cubicBezTo>
                    <a:pt x="67" y="67"/>
                    <a:pt x="68" y="60"/>
                    <a:pt x="68" y="60"/>
                  </a:cubicBezTo>
                  <a:close/>
                  <a:moveTo>
                    <a:pt x="50" y="37"/>
                  </a:moveTo>
                  <a:cubicBezTo>
                    <a:pt x="51" y="36"/>
                    <a:pt x="53" y="40"/>
                    <a:pt x="50" y="42"/>
                  </a:cubicBezTo>
                  <a:cubicBezTo>
                    <a:pt x="48" y="42"/>
                    <a:pt x="51" y="39"/>
                    <a:pt x="50" y="39"/>
                  </a:cubicBezTo>
                  <a:cubicBezTo>
                    <a:pt x="50" y="37"/>
                    <a:pt x="48" y="37"/>
                    <a:pt x="50" y="37"/>
                  </a:cubicBezTo>
                  <a:close/>
                  <a:moveTo>
                    <a:pt x="54" y="31"/>
                  </a:moveTo>
                  <a:cubicBezTo>
                    <a:pt x="53" y="28"/>
                    <a:pt x="54" y="29"/>
                    <a:pt x="53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48" y="29"/>
                    <a:pt x="50" y="31"/>
                    <a:pt x="53" y="33"/>
                  </a:cubicBezTo>
                  <a:cubicBezTo>
                    <a:pt x="54" y="33"/>
                    <a:pt x="56" y="33"/>
                    <a:pt x="54" y="3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5"/>
                    <a:pt x="39" y="14"/>
                  </a:cubicBezTo>
                  <a:cubicBezTo>
                    <a:pt x="38" y="14"/>
                    <a:pt x="39" y="12"/>
                    <a:pt x="41" y="12"/>
                  </a:cubicBezTo>
                  <a:close/>
                  <a:moveTo>
                    <a:pt x="30" y="36"/>
                  </a:moveTo>
                  <a:cubicBezTo>
                    <a:pt x="33" y="37"/>
                    <a:pt x="32" y="39"/>
                    <a:pt x="33" y="39"/>
                  </a:cubicBezTo>
                  <a:cubicBezTo>
                    <a:pt x="36" y="39"/>
                    <a:pt x="36" y="43"/>
                    <a:pt x="38" y="43"/>
                  </a:cubicBezTo>
                  <a:cubicBezTo>
                    <a:pt x="39" y="45"/>
                    <a:pt x="39" y="42"/>
                    <a:pt x="38" y="42"/>
                  </a:cubicBezTo>
                  <a:cubicBezTo>
                    <a:pt x="36" y="40"/>
                    <a:pt x="36" y="39"/>
                    <a:pt x="36" y="37"/>
                  </a:cubicBezTo>
                  <a:cubicBezTo>
                    <a:pt x="36" y="34"/>
                    <a:pt x="35" y="37"/>
                    <a:pt x="30" y="33"/>
                  </a:cubicBezTo>
                  <a:cubicBezTo>
                    <a:pt x="29" y="31"/>
                    <a:pt x="25" y="33"/>
                    <a:pt x="25" y="34"/>
                  </a:cubicBezTo>
                  <a:cubicBezTo>
                    <a:pt x="27" y="34"/>
                    <a:pt x="29" y="34"/>
                    <a:pt x="30" y="36"/>
                  </a:cubicBezTo>
                  <a:close/>
                  <a:moveTo>
                    <a:pt x="47" y="53"/>
                  </a:moveTo>
                  <a:cubicBezTo>
                    <a:pt x="48" y="51"/>
                    <a:pt x="48" y="56"/>
                    <a:pt x="47" y="54"/>
                  </a:cubicBezTo>
                  <a:cubicBezTo>
                    <a:pt x="45" y="54"/>
                    <a:pt x="45" y="53"/>
                    <a:pt x="47" y="53"/>
                  </a:cubicBezTo>
                  <a:close/>
                  <a:moveTo>
                    <a:pt x="60" y="71"/>
                  </a:moveTo>
                  <a:cubicBezTo>
                    <a:pt x="59" y="71"/>
                    <a:pt x="59" y="67"/>
                    <a:pt x="60" y="68"/>
                  </a:cubicBezTo>
                  <a:cubicBezTo>
                    <a:pt x="60" y="70"/>
                    <a:pt x="60" y="71"/>
                    <a:pt x="60" y="71"/>
                  </a:cubicBezTo>
                  <a:close/>
                  <a:moveTo>
                    <a:pt x="4" y="28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3" y="23"/>
                    <a:pt x="1" y="23"/>
                    <a:pt x="0" y="23"/>
                  </a:cubicBezTo>
                  <a:cubicBezTo>
                    <a:pt x="0" y="25"/>
                    <a:pt x="1" y="28"/>
                    <a:pt x="4" y="28"/>
                  </a:cubicBezTo>
                  <a:close/>
                  <a:moveTo>
                    <a:pt x="44" y="23"/>
                  </a:moveTo>
                  <a:cubicBezTo>
                    <a:pt x="45" y="22"/>
                    <a:pt x="45" y="25"/>
                    <a:pt x="45" y="23"/>
                  </a:cubicBezTo>
                  <a:cubicBezTo>
                    <a:pt x="45" y="22"/>
                    <a:pt x="47" y="20"/>
                    <a:pt x="45" y="22"/>
                  </a:cubicBezTo>
                  <a:cubicBezTo>
                    <a:pt x="45" y="22"/>
                    <a:pt x="42" y="20"/>
                    <a:pt x="42" y="22"/>
                  </a:cubicBezTo>
                  <a:cubicBezTo>
                    <a:pt x="42" y="23"/>
                    <a:pt x="44" y="23"/>
                    <a:pt x="44" y="23"/>
                  </a:cubicBezTo>
                  <a:close/>
                  <a:moveTo>
                    <a:pt x="48" y="20"/>
                  </a:moveTo>
                  <a:cubicBezTo>
                    <a:pt x="48" y="17"/>
                    <a:pt x="51" y="19"/>
                    <a:pt x="50" y="20"/>
                  </a:cubicBezTo>
                  <a:cubicBezTo>
                    <a:pt x="48" y="20"/>
                    <a:pt x="48" y="20"/>
                    <a:pt x="48" y="20"/>
                  </a:cubicBezTo>
                  <a:close/>
                  <a:moveTo>
                    <a:pt x="44" y="54"/>
                  </a:moveTo>
                  <a:cubicBezTo>
                    <a:pt x="42" y="53"/>
                    <a:pt x="44" y="51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38" y="57"/>
                  </a:moveTo>
                  <a:cubicBezTo>
                    <a:pt x="36" y="57"/>
                    <a:pt x="38" y="59"/>
                    <a:pt x="39" y="57"/>
                  </a:cubicBezTo>
                  <a:cubicBezTo>
                    <a:pt x="39" y="56"/>
                    <a:pt x="39" y="56"/>
                    <a:pt x="38" y="57"/>
                  </a:cubicBezTo>
                  <a:close/>
                  <a:moveTo>
                    <a:pt x="38" y="48"/>
                  </a:moveTo>
                  <a:cubicBezTo>
                    <a:pt x="36" y="48"/>
                    <a:pt x="38" y="46"/>
                    <a:pt x="38" y="46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8" y="51"/>
                  </a:moveTo>
                  <a:cubicBezTo>
                    <a:pt x="36" y="51"/>
                    <a:pt x="38" y="48"/>
                    <a:pt x="38" y="50"/>
                  </a:cubicBezTo>
                  <a:cubicBezTo>
                    <a:pt x="39" y="50"/>
                    <a:pt x="39" y="51"/>
                    <a:pt x="38" y="51"/>
                  </a:cubicBezTo>
                  <a:close/>
                  <a:moveTo>
                    <a:pt x="50" y="48"/>
                  </a:moveTo>
                  <a:cubicBezTo>
                    <a:pt x="50" y="46"/>
                    <a:pt x="53" y="46"/>
                    <a:pt x="53" y="46"/>
                  </a:cubicBezTo>
                  <a:cubicBezTo>
                    <a:pt x="53" y="46"/>
                    <a:pt x="50" y="50"/>
                    <a:pt x="50" y="48"/>
                  </a:cubicBezTo>
                  <a:close/>
                  <a:moveTo>
                    <a:pt x="7" y="37"/>
                  </a:moveTo>
                  <a:cubicBezTo>
                    <a:pt x="6" y="37"/>
                    <a:pt x="7" y="34"/>
                    <a:pt x="9" y="34"/>
                  </a:cubicBezTo>
                  <a:cubicBezTo>
                    <a:pt x="9" y="36"/>
                    <a:pt x="9" y="37"/>
                    <a:pt x="7" y="37"/>
                  </a:cubicBezTo>
                  <a:close/>
                  <a:moveTo>
                    <a:pt x="41" y="34"/>
                  </a:moveTo>
                  <a:cubicBezTo>
                    <a:pt x="39" y="34"/>
                    <a:pt x="39" y="33"/>
                    <a:pt x="39" y="33"/>
                  </a:cubicBezTo>
                  <a:cubicBezTo>
                    <a:pt x="39" y="31"/>
                    <a:pt x="41" y="34"/>
                    <a:pt x="41" y="34"/>
                  </a:cubicBezTo>
                  <a:close/>
                  <a:moveTo>
                    <a:pt x="42" y="48"/>
                  </a:moveTo>
                  <a:cubicBezTo>
                    <a:pt x="44" y="50"/>
                    <a:pt x="45" y="48"/>
                    <a:pt x="44" y="46"/>
                  </a:cubicBezTo>
                  <a:cubicBezTo>
                    <a:pt x="42" y="46"/>
                    <a:pt x="41" y="42"/>
                    <a:pt x="41" y="43"/>
                  </a:cubicBezTo>
                  <a:cubicBezTo>
                    <a:pt x="39" y="45"/>
                    <a:pt x="42" y="45"/>
                    <a:pt x="42" y="48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8" name="Freeform 235"/>
            <p:cNvSpPr>
              <a:spLocks/>
            </p:cNvSpPr>
            <p:nvPr/>
          </p:nvSpPr>
          <p:spPr bwMode="auto">
            <a:xfrm>
              <a:off x="6648037" y="6712119"/>
              <a:ext cx="46597" cy="43383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2" y="9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6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14" y="6"/>
                </a:cxn>
                <a:cxn ang="0">
                  <a:pos x="12" y="9"/>
                </a:cxn>
                <a:cxn ang="0">
                  <a:pos x="9" y="10"/>
                </a:cxn>
                <a:cxn ang="0">
                  <a:pos x="12" y="14"/>
                </a:cxn>
                <a:cxn ang="0">
                  <a:pos x="3" y="12"/>
                </a:cxn>
                <a:cxn ang="0">
                  <a:pos x="2" y="14"/>
                </a:cxn>
              </a:cxnLst>
              <a:rect l="0" t="0" r="r" b="b"/>
              <a:pathLst>
                <a:path w="15" h="14">
                  <a:moveTo>
                    <a:pt x="2" y="14"/>
                  </a:moveTo>
                  <a:cubicBezTo>
                    <a:pt x="0" y="12"/>
                    <a:pt x="3" y="10"/>
                    <a:pt x="2" y="9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5" y="3"/>
                    <a:pt x="2" y="4"/>
                    <a:pt x="3" y="6"/>
                  </a:cubicBezTo>
                  <a:cubicBezTo>
                    <a:pt x="6" y="7"/>
                    <a:pt x="8" y="1"/>
                    <a:pt x="8" y="4"/>
                  </a:cubicBezTo>
                  <a:cubicBezTo>
                    <a:pt x="8" y="7"/>
                    <a:pt x="5" y="7"/>
                    <a:pt x="8" y="7"/>
                  </a:cubicBezTo>
                  <a:cubicBezTo>
                    <a:pt x="11" y="7"/>
                    <a:pt x="12" y="4"/>
                    <a:pt x="14" y="6"/>
                  </a:cubicBezTo>
                  <a:cubicBezTo>
                    <a:pt x="15" y="6"/>
                    <a:pt x="15" y="10"/>
                    <a:pt x="12" y="9"/>
                  </a:cubicBezTo>
                  <a:cubicBezTo>
                    <a:pt x="9" y="9"/>
                    <a:pt x="8" y="10"/>
                    <a:pt x="9" y="10"/>
                  </a:cubicBezTo>
                  <a:cubicBezTo>
                    <a:pt x="9" y="10"/>
                    <a:pt x="15" y="12"/>
                    <a:pt x="12" y="14"/>
                  </a:cubicBezTo>
                  <a:cubicBezTo>
                    <a:pt x="8" y="14"/>
                    <a:pt x="5" y="10"/>
                    <a:pt x="3" y="12"/>
                  </a:cubicBezTo>
                  <a:cubicBezTo>
                    <a:pt x="3" y="14"/>
                    <a:pt x="2" y="14"/>
                    <a:pt x="2" y="14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9" name="Freeform 236"/>
            <p:cNvSpPr>
              <a:spLocks noEditPoints="1"/>
            </p:cNvSpPr>
            <p:nvPr/>
          </p:nvSpPr>
          <p:spPr bwMode="auto">
            <a:xfrm>
              <a:off x="8008981" y="3667325"/>
              <a:ext cx="546306" cy="719825"/>
            </a:xfrm>
            <a:custGeom>
              <a:avLst/>
              <a:gdLst/>
              <a:ahLst/>
              <a:cxnLst>
                <a:cxn ang="0">
                  <a:pos x="53" y="168"/>
                </a:cxn>
                <a:cxn ang="0">
                  <a:pos x="39" y="142"/>
                </a:cxn>
                <a:cxn ang="0">
                  <a:pos x="49" y="146"/>
                </a:cxn>
                <a:cxn ang="0">
                  <a:pos x="102" y="123"/>
                </a:cxn>
                <a:cxn ang="0">
                  <a:pos x="111" y="122"/>
                </a:cxn>
                <a:cxn ang="0">
                  <a:pos x="122" y="118"/>
                </a:cxn>
                <a:cxn ang="0">
                  <a:pos x="128" y="112"/>
                </a:cxn>
                <a:cxn ang="0">
                  <a:pos x="134" y="107"/>
                </a:cxn>
                <a:cxn ang="0">
                  <a:pos x="142" y="75"/>
                </a:cxn>
                <a:cxn ang="0">
                  <a:pos x="137" y="47"/>
                </a:cxn>
                <a:cxn ang="0">
                  <a:pos x="134" y="53"/>
                </a:cxn>
                <a:cxn ang="0">
                  <a:pos x="126" y="64"/>
                </a:cxn>
                <a:cxn ang="0">
                  <a:pos x="107" y="98"/>
                </a:cxn>
                <a:cxn ang="0">
                  <a:pos x="102" y="95"/>
                </a:cxn>
                <a:cxn ang="0">
                  <a:pos x="90" y="109"/>
                </a:cxn>
                <a:cxn ang="0">
                  <a:pos x="61" y="123"/>
                </a:cxn>
                <a:cxn ang="0">
                  <a:pos x="67" y="125"/>
                </a:cxn>
                <a:cxn ang="0">
                  <a:pos x="87" y="122"/>
                </a:cxn>
                <a:cxn ang="0">
                  <a:pos x="90" y="131"/>
                </a:cxn>
                <a:cxn ang="0">
                  <a:pos x="52" y="140"/>
                </a:cxn>
                <a:cxn ang="0">
                  <a:pos x="52" y="154"/>
                </a:cxn>
                <a:cxn ang="0">
                  <a:pos x="58" y="156"/>
                </a:cxn>
                <a:cxn ang="0">
                  <a:pos x="62" y="137"/>
                </a:cxn>
                <a:cxn ang="0">
                  <a:pos x="53" y="131"/>
                </a:cxn>
                <a:cxn ang="0">
                  <a:pos x="46" y="137"/>
                </a:cxn>
                <a:cxn ang="0">
                  <a:pos x="52" y="143"/>
                </a:cxn>
                <a:cxn ang="0">
                  <a:pos x="82" y="136"/>
                </a:cxn>
                <a:cxn ang="0">
                  <a:pos x="79" y="126"/>
                </a:cxn>
                <a:cxn ang="0">
                  <a:pos x="70" y="131"/>
                </a:cxn>
                <a:cxn ang="0">
                  <a:pos x="71" y="142"/>
                </a:cxn>
                <a:cxn ang="0">
                  <a:pos x="117" y="86"/>
                </a:cxn>
                <a:cxn ang="0">
                  <a:pos x="137" y="44"/>
                </a:cxn>
                <a:cxn ang="0">
                  <a:pos x="152" y="40"/>
                </a:cxn>
                <a:cxn ang="0">
                  <a:pos x="175" y="25"/>
                </a:cxn>
                <a:cxn ang="0">
                  <a:pos x="164" y="19"/>
                </a:cxn>
                <a:cxn ang="0">
                  <a:pos x="142" y="6"/>
                </a:cxn>
                <a:cxn ang="0">
                  <a:pos x="135" y="28"/>
                </a:cxn>
                <a:cxn ang="0">
                  <a:pos x="129" y="48"/>
                </a:cxn>
                <a:cxn ang="0">
                  <a:pos x="90" y="123"/>
                </a:cxn>
                <a:cxn ang="0">
                  <a:pos x="76" y="103"/>
                </a:cxn>
                <a:cxn ang="0">
                  <a:pos x="35" y="206"/>
                </a:cxn>
                <a:cxn ang="0">
                  <a:pos x="32" y="210"/>
                </a:cxn>
                <a:cxn ang="0">
                  <a:pos x="41" y="195"/>
                </a:cxn>
                <a:cxn ang="0">
                  <a:pos x="44" y="190"/>
                </a:cxn>
                <a:cxn ang="0">
                  <a:pos x="0" y="229"/>
                </a:cxn>
                <a:cxn ang="0">
                  <a:pos x="3" y="229"/>
                </a:cxn>
                <a:cxn ang="0">
                  <a:pos x="12" y="226"/>
                </a:cxn>
              </a:cxnLst>
              <a:rect l="0" t="0" r="r" b="b"/>
              <a:pathLst>
                <a:path w="175" h="231">
                  <a:moveTo>
                    <a:pt x="53" y="168"/>
                  </a:moveTo>
                  <a:cubicBezTo>
                    <a:pt x="52" y="168"/>
                    <a:pt x="53" y="165"/>
                    <a:pt x="53" y="167"/>
                  </a:cubicBezTo>
                  <a:cubicBezTo>
                    <a:pt x="55" y="167"/>
                    <a:pt x="55" y="168"/>
                    <a:pt x="53" y="168"/>
                  </a:cubicBezTo>
                  <a:close/>
                  <a:moveTo>
                    <a:pt x="39" y="142"/>
                  </a:moveTo>
                  <a:cubicBezTo>
                    <a:pt x="41" y="142"/>
                    <a:pt x="41" y="143"/>
                    <a:pt x="39" y="143"/>
                  </a:cubicBezTo>
                  <a:cubicBezTo>
                    <a:pt x="38" y="143"/>
                    <a:pt x="39" y="142"/>
                    <a:pt x="39" y="142"/>
                  </a:cubicBezTo>
                  <a:close/>
                  <a:moveTo>
                    <a:pt x="49" y="146"/>
                  </a:moveTo>
                  <a:cubicBezTo>
                    <a:pt x="49" y="145"/>
                    <a:pt x="52" y="143"/>
                    <a:pt x="52" y="145"/>
                  </a:cubicBezTo>
                  <a:cubicBezTo>
                    <a:pt x="52" y="146"/>
                    <a:pt x="50" y="148"/>
                    <a:pt x="49" y="146"/>
                  </a:cubicBezTo>
                  <a:close/>
                  <a:moveTo>
                    <a:pt x="93" y="134"/>
                  </a:moveTo>
                  <a:cubicBezTo>
                    <a:pt x="96" y="137"/>
                    <a:pt x="97" y="131"/>
                    <a:pt x="99" y="128"/>
                  </a:cubicBezTo>
                  <a:cubicBezTo>
                    <a:pt x="102" y="125"/>
                    <a:pt x="107" y="126"/>
                    <a:pt x="102" y="123"/>
                  </a:cubicBezTo>
                  <a:cubicBezTo>
                    <a:pt x="99" y="122"/>
                    <a:pt x="103" y="115"/>
                    <a:pt x="103" y="118"/>
                  </a:cubicBezTo>
                  <a:cubicBezTo>
                    <a:pt x="103" y="123"/>
                    <a:pt x="108" y="118"/>
                    <a:pt x="105" y="122"/>
                  </a:cubicBezTo>
                  <a:cubicBezTo>
                    <a:pt x="103" y="125"/>
                    <a:pt x="108" y="122"/>
                    <a:pt x="111" y="122"/>
                  </a:cubicBezTo>
                  <a:cubicBezTo>
                    <a:pt x="114" y="123"/>
                    <a:pt x="113" y="123"/>
                    <a:pt x="116" y="120"/>
                  </a:cubicBezTo>
                  <a:cubicBezTo>
                    <a:pt x="117" y="117"/>
                    <a:pt x="119" y="115"/>
                    <a:pt x="119" y="120"/>
                  </a:cubicBezTo>
                  <a:cubicBezTo>
                    <a:pt x="117" y="125"/>
                    <a:pt x="120" y="123"/>
                    <a:pt x="122" y="118"/>
                  </a:cubicBezTo>
                  <a:cubicBezTo>
                    <a:pt x="122" y="115"/>
                    <a:pt x="122" y="114"/>
                    <a:pt x="125" y="115"/>
                  </a:cubicBezTo>
                  <a:cubicBezTo>
                    <a:pt x="126" y="118"/>
                    <a:pt x="125" y="115"/>
                    <a:pt x="126" y="112"/>
                  </a:cubicBezTo>
                  <a:cubicBezTo>
                    <a:pt x="128" y="111"/>
                    <a:pt x="129" y="111"/>
                    <a:pt x="128" y="112"/>
                  </a:cubicBezTo>
                  <a:cubicBezTo>
                    <a:pt x="128" y="115"/>
                    <a:pt x="126" y="122"/>
                    <a:pt x="128" y="118"/>
                  </a:cubicBezTo>
                  <a:cubicBezTo>
                    <a:pt x="129" y="115"/>
                    <a:pt x="131" y="118"/>
                    <a:pt x="132" y="114"/>
                  </a:cubicBezTo>
                  <a:cubicBezTo>
                    <a:pt x="132" y="107"/>
                    <a:pt x="139" y="115"/>
                    <a:pt x="134" y="107"/>
                  </a:cubicBezTo>
                  <a:cubicBezTo>
                    <a:pt x="129" y="101"/>
                    <a:pt x="139" y="97"/>
                    <a:pt x="135" y="89"/>
                  </a:cubicBezTo>
                  <a:cubicBezTo>
                    <a:pt x="135" y="84"/>
                    <a:pt x="137" y="79"/>
                    <a:pt x="140" y="83"/>
                  </a:cubicBezTo>
                  <a:cubicBezTo>
                    <a:pt x="143" y="84"/>
                    <a:pt x="139" y="79"/>
                    <a:pt x="142" y="75"/>
                  </a:cubicBezTo>
                  <a:cubicBezTo>
                    <a:pt x="145" y="70"/>
                    <a:pt x="146" y="64"/>
                    <a:pt x="142" y="61"/>
                  </a:cubicBezTo>
                  <a:cubicBezTo>
                    <a:pt x="139" y="56"/>
                    <a:pt x="139" y="51"/>
                    <a:pt x="140" y="50"/>
                  </a:cubicBezTo>
                  <a:cubicBezTo>
                    <a:pt x="140" y="47"/>
                    <a:pt x="139" y="48"/>
                    <a:pt x="137" y="47"/>
                  </a:cubicBezTo>
                  <a:cubicBezTo>
                    <a:pt x="135" y="45"/>
                    <a:pt x="134" y="51"/>
                    <a:pt x="137" y="50"/>
                  </a:cubicBezTo>
                  <a:cubicBezTo>
                    <a:pt x="140" y="48"/>
                    <a:pt x="139" y="54"/>
                    <a:pt x="137" y="53"/>
                  </a:cubicBezTo>
                  <a:cubicBezTo>
                    <a:pt x="135" y="51"/>
                    <a:pt x="134" y="56"/>
                    <a:pt x="134" y="53"/>
                  </a:cubicBezTo>
                  <a:cubicBezTo>
                    <a:pt x="134" y="48"/>
                    <a:pt x="131" y="48"/>
                    <a:pt x="131" y="53"/>
                  </a:cubicBezTo>
                  <a:cubicBezTo>
                    <a:pt x="131" y="58"/>
                    <a:pt x="126" y="53"/>
                    <a:pt x="128" y="58"/>
                  </a:cubicBezTo>
                  <a:cubicBezTo>
                    <a:pt x="129" y="64"/>
                    <a:pt x="126" y="62"/>
                    <a:pt x="126" y="64"/>
                  </a:cubicBezTo>
                  <a:cubicBezTo>
                    <a:pt x="126" y="65"/>
                    <a:pt x="131" y="62"/>
                    <a:pt x="126" y="75"/>
                  </a:cubicBezTo>
                  <a:cubicBezTo>
                    <a:pt x="125" y="84"/>
                    <a:pt x="122" y="84"/>
                    <a:pt x="119" y="90"/>
                  </a:cubicBezTo>
                  <a:cubicBezTo>
                    <a:pt x="114" y="97"/>
                    <a:pt x="111" y="95"/>
                    <a:pt x="107" y="98"/>
                  </a:cubicBezTo>
                  <a:cubicBezTo>
                    <a:pt x="103" y="101"/>
                    <a:pt x="107" y="97"/>
                    <a:pt x="105" y="95"/>
                  </a:cubicBezTo>
                  <a:cubicBezTo>
                    <a:pt x="103" y="95"/>
                    <a:pt x="110" y="94"/>
                    <a:pt x="108" y="90"/>
                  </a:cubicBezTo>
                  <a:cubicBezTo>
                    <a:pt x="107" y="89"/>
                    <a:pt x="102" y="92"/>
                    <a:pt x="102" y="95"/>
                  </a:cubicBezTo>
                  <a:cubicBezTo>
                    <a:pt x="103" y="100"/>
                    <a:pt x="96" y="106"/>
                    <a:pt x="96" y="107"/>
                  </a:cubicBezTo>
                  <a:cubicBezTo>
                    <a:pt x="97" y="109"/>
                    <a:pt x="97" y="112"/>
                    <a:pt x="93" y="112"/>
                  </a:cubicBezTo>
                  <a:cubicBezTo>
                    <a:pt x="88" y="114"/>
                    <a:pt x="93" y="111"/>
                    <a:pt x="90" y="109"/>
                  </a:cubicBezTo>
                  <a:cubicBezTo>
                    <a:pt x="88" y="109"/>
                    <a:pt x="76" y="115"/>
                    <a:pt x="75" y="112"/>
                  </a:cubicBezTo>
                  <a:cubicBezTo>
                    <a:pt x="73" y="109"/>
                    <a:pt x="71" y="112"/>
                    <a:pt x="67" y="117"/>
                  </a:cubicBezTo>
                  <a:cubicBezTo>
                    <a:pt x="62" y="123"/>
                    <a:pt x="62" y="118"/>
                    <a:pt x="61" y="123"/>
                  </a:cubicBezTo>
                  <a:cubicBezTo>
                    <a:pt x="59" y="126"/>
                    <a:pt x="56" y="123"/>
                    <a:pt x="56" y="126"/>
                  </a:cubicBezTo>
                  <a:cubicBezTo>
                    <a:pt x="56" y="131"/>
                    <a:pt x="61" y="128"/>
                    <a:pt x="64" y="129"/>
                  </a:cubicBezTo>
                  <a:cubicBezTo>
                    <a:pt x="68" y="131"/>
                    <a:pt x="65" y="126"/>
                    <a:pt x="67" y="125"/>
                  </a:cubicBezTo>
                  <a:cubicBezTo>
                    <a:pt x="70" y="125"/>
                    <a:pt x="68" y="126"/>
                    <a:pt x="71" y="126"/>
                  </a:cubicBezTo>
                  <a:cubicBezTo>
                    <a:pt x="75" y="125"/>
                    <a:pt x="78" y="125"/>
                    <a:pt x="81" y="123"/>
                  </a:cubicBezTo>
                  <a:cubicBezTo>
                    <a:pt x="85" y="122"/>
                    <a:pt x="81" y="120"/>
                    <a:pt x="87" y="122"/>
                  </a:cubicBezTo>
                  <a:cubicBezTo>
                    <a:pt x="91" y="123"/>
                    <a:pt x="91" y="120"/>
                    <a:pt x="93" y="122"/>
                  </a:cubicBezTo>
                  <a:cubicBezTo>
                    <a:pt x="93" y="125"/>
                    <a:pt x="90" y="125"/>
                    <a:pt x="90" y="126"/>
                  </a:cubicBezTo>
                  <a:cubicBezTo>
                    <a:pt x="90" y="128"/>
                    <a:pt x="88" y="129"/>
                    <a:pt x="90" y="131"/>
                  </a:cubicBezTo>
                  <a:cubicBezTo>
                    <a:pt x="93" y="132"/>
                    <a:pt x="90" y="132"/>
                    <a:pt x="94" y="134"/>
                  </a:cubicBezTo>
                  <a:cubicBezTo>
                    <a:pt x="93" y="134"/>
                    <a:pt x="93" y="134"/>
                    <a:pt x="93" y="134"/>
                  </a:cubicBezTo>
                  <a:close/>
                  <a:moveTo>
                    <a:pt x="52" y="140"/>
                  </a:moveTo>
                  <a:cubicBezTo>
                    <a:pt x="50" y="140"/>
                    <a:pt x="50" y="136"/>
                    <a:pt x="52" y="139"/>
                  </a:cubicBezTo>
                  <a:cubicBezTo>
                    <a:pt x="53" y="142"/>
                    <a:pt x="55" y="145"/>
                    <a:pt x="52" y="148"/>
                  </a:cubicBezTo>
                  <a:cubicBezTo>
                    <a:pt x="50" y="151"/>
                    <a:pt x="50" y="150"/>
                    <a:pt x="52" y="154"/>
                  </a:cubicBezTo>
                  <a:cubicBezTo>
                    <a:pt x="52" y="157"/>
                    <a:pt x="49" y="156"/>
                    <a:pt x="53" y="157"/>
                  </a:cubicBezTo>
                  <a:cubicBezTo>
                    <a:pt x="56" y="159"/>
                    <a:pt x="53" y="162"/>
                    <a:pt x="56" y="159"/>
                  </a:cubicBezTo>
                  <a:cubicBezTo>
                    <a:pt x="59" y="157"/>
                    <a:pt x="56" y="157"/>
                    <a:pt x="58" y="156"/>
                  </a:cubicBezTo>
                  <a:cubicBezTo>
                    <a:pt x="59" y="154"/>
                    <a:pt x="58" y="157"/>
                    <a:pt x="59" y="156"/>
                  </a:cubicBezTo>
                  <a:cubicBezTo>
                    <a:pt x="61" y="156"/>
                    <a:pt x="61" y="142"/>
                    <a:pt x="64" y="142"/>
                  </a:cubicBezTo>
                  <a:cubicBezTo>
                    <a:pt x="67" y="140"/>
                    <a:pt x="65" y="137"/>
                    <a:pt x="62" y="137"/>
                  </a:cubicBezTo>
                  <a:cubicBezTo>
                    <a:pt x="59" y="137"/>
                    <a:pt x="64" y="134"/>
                    <a:pt x="62" y="132"/>
                  </a:cubicBezTo>
                  <a:cubicBezTo>
                    <a:pt x="61" y="131"/>
                    <a:pt x="58" y="136"/>
                    <a:pt x="58" y="131"/>
                  </a:cubicBezTo>
                  <a:cubicBezTo>
                    <a:pt x="56" y="129"/>
                    <a:pt x="53" y="128"/>
                    <a:pt x="53" y="131"/>
                  </a:cubicBezTo>
                  <a:cubicBezTo>
                    <a:pt x="52" y="134"/>
                    <a:pt x="52" y="131"/>
                    <a:pt x="50" y="134"/>
                  </a:cubicBezTo>
                  <a:cubicBezTo>
                    <a:pt x="49" y="137"/>
                    <a:pt x="49" y="131"/>
                    <a:pt x="47" y="134"/>
                  </a:cubicBezTo>
                  <a:cubicBezTo>
                    <a:pt x="47" y="137"/>
                    <a:pt x="44" y="134"/>
                    <a:pt x="46" y="137"/>
                  </a:cubicBezTo>
                  <a:cubicBezTo>
                    <a:pt x="47" y="140"/>
                    <a:pt x="46" y="139"/>
                    <a:pt x="47" y="140"/>
                  </a:cubicBezTo>
                  <a:cubicBezTo>
                    <a:pt x="49" y="143"/>
                    <a:pt x="46" y="145"/>
                    <a:pt x="49" y="143"/>
                  </a:cubicBezTo>
                  <a:cubicBezTo>
                    <a:pt x="52" y="140"/>
                    <a:pt x="49" y="145"/>
                    <a:pt x="52" y="143"/>
                  </a:cubicBezTo>
                  <a:cubicBezTo>
                    <a:pt x="53" y="142"/>
                    <a:pt x="53" y="142"/>
                    <a:pt x="52" y="140"/>
                  </a:cubicBezTo>
                  <a:close/>
                  <a:moveTo>
                    <a:pt x="78" y="134"/>
                  </a:moveTo>
                  <a:cubicBezTo>
                    <a:pt x="81" y="132"/>
                    <a:pt x="82" y="139"/>
                    <a:pt x="82" y="136"/>
                  </a:cubicBezTo>
                  <a:cubicBezTo>
                    <a:pt x="84" y="131"/>
                    <a:pt x="87" y="132"/>
                    <a:pt x="87" y="129"/>
                  </a:cubicBezTo>
                  <a:cubicBezTo>
                    <a:pt x="85" y="128"/>
                    <a:pt x="87" y="128"/>
                    <a:pt x="85" y="126"/>
                  </a:cubicBezTo>
                  <a:cubicBezTo>
                    <a:pt x="84" y="125"/>
                    <a:pt x="82" y="125"/>
                    <a:pt x="79" y="126"/>
                  </a:cubicBezTo>
                  <a:cubicBezTo>
                    <a:pt x="76" y="128"/>
                    <a:pt x="78" y="129"/>
                    <a:pt x="76" y="129"/>
                  </a:cubicBezTo>
                  <a:cubicBezTo>
                    <a:pt x="75" y="128"/>
                    <a:pt x="73" y="131"/>
                    <a:pt x="73" y="129"/>
                  </a:cubicBezTo>
                  <a:cubicBezTo>
                    <a:pt x="73" y="126"/>
                    <a:pt x="73" y="126"/>
                    <a:pt x="70" y="131"/>
                  </a:cubicBezTo>
                  <a:cubicBezTo>
                    <a:pt x="68" y="134"/>
                    <a:pt x="64" y="136"/>
                    <a:pt x="67" y="136"/>
                  </a:cubicBezTo>
                  <a:cubicBezTo>
                    <a:pt x="70" y="136"/>
                    <a:pt x="67" y="137"/>
                    <a:pt x="70" y="140"/>
                  </a:cubicBezTo>
                  <a:cubicBezTo>
                    <a:pt x="71" y="142"/>
                    <a:pt x="67" y="142"/>
                    <a:pt x="71" y="142"/>
                  </a:cubicBezTo>
                  <a:cubicBezTo>
                    <a:pt x="75" y="143"/>
                    <a:pt x="73" y="136"/>
                    <a:pt x="78" y="134"/>
                  </a:cubicBezTo>
                  <a:close/>
                  <a:moveTo>
                    <a:pt x="116" y="84"/>
                  </a:moveTo>
                  <a:cubicBezTo>
                    <a:pt x="117" y="81"/>
                    <a:pt x="117" y="84"/>
                    <a:pt x="117" y="86"/>
                  </a:cubicBezTo>
                  <a:cubicBezTo>
                    <a:pt x="116" y="87"/>
                    <a:pt x="114" y="86"/>
                    <a:pt x="116" y="84"/>
                  </a:cubicBezTo>
                  <a:close/>
                  <a:moveTo>
                    <a:pt x="132" y="45"/>
                  </a:moveTo>
                  <a:cubicBezTo>
                    <a:pt x="134" y="40"/>
                    <a:pt x="134" y="45"/>
                    <a:pt x="137" y="44"/>
                  </a:cubicBezTo>
                  <a:cubicBezTo>
                    <a:pt x="142" y="42"/>
                    <a:pt x="129" y="40"/>
                    <a:pt x="131" y="36"/>
                  </a:cubicBezTo>
                  <a:cubicBezTo>
                    <a:pt x="134" y="31"/>
                    <a:pt x="134" y="39"/>
                    <a:pt x="139" y="36"/>
                  </a:cubicBezTo>
                  <a:cubicBezTo>
                    <a:pt x="142" y="33"/>
                    <a:pt x="143" y="34"/>
                    <a:pt x="152" y="40"/>
                  </a:cubicBezTo>
                  <a:cubicBezTo>
                    <a:pt x="157" y="44"/>
                    <a:pt x="155" y="33"/>
                    <a:pt x="160" y="31"/>
                  </a:cubicBezTo>
                  <a:cubicBezTo>
                    <a:pt x="163" y="30"/>
                    <a:pt x="166" y="31"/>
                    <a:pt x="169" y="30"/>
                  </a:cubicBezTo>
                  <a:cubicBezTo>
                    <a:pt x="174" y="26"/>
                    <a:pt x="175" y="26"/>
                    <a:pt x="175" y="25"/>
                  </a:cubicBezTo>
                  <a:cubicBezTo>
                    <a:pt x="174" y="23"/>
                    <a:pt x="172" y="28"/>
                    <a:pt x="169" y="23"/>
                  </a:cubicBezTo>
                  <a:cubicBezTo>
                    <a:pt x="168" y="19"/>
                    <a:pt x="172" y="14"/>
                    <a:pt x="171" y="14"/>
                  </a:cubicBezTo>
                  <a:cubicBezTo>
                    <a:pt x="169" y="16"/>
                    <a:pt x="168" y="20"/>
                    <a:pt x="164" y="19"/>
                  </a:cubicBezTo>
                  <a:cubicBezTo>
                    <a:pt x="161" y="19"/>
                    <a:pt x="164" y="17"/>
                    <a:pt x="160" y="17"/>
                  </a:cubicBezTo>
                  <a:cubicBezTo>
                    <a:pt x="155" y="16"/>
                    <a:pt x="149" y="8"/>
                    <a:pt x="146" y="5"/>
                  </a:cubicBezTo>
                  <a:cubicBezTo>
                    <a:pt x="143" y="0"/>
                    <a:pt x="139" y="2"/>
                    <a:pt x="142" y="6"/>
                  </a:cubicBezTo>
                  <a:cubicBezTo>
                    <a:pt x="145" y="12"/>
                    <a:pt x="140" y="12"/>
                    <a:pt x="142" y="16"/>
                  </a:cubicBezTo>
                  <a:cubicBezTo>
                    <a:pt x="143" y="19"/>
                    <a:pt x="139" y="20"/>
                    <a:pt x="139" y="23"/>
                  </a:cubicBezTo>
                  <a:cubicBezTo>
                    <a:pt x="140" y="25"/>
                    <a:pt x="140" y="30"/>
                    <a:pt x="135" y="28"/>
                  </a:cubicBezTo>
                  <a:cubicBezTo>
                    <a:pt x="132" y="25"/>
                    <a:pt x="129" y="25"/>
                    <a:pt x="132" y="28"/>
                  </a:cubicBezTo>
                  <a:cubicBezTo>
                    <a:pt x="134" y="31"/>
                    <a:pt x="123" y="36"/>
                    <a:pt x="128" y="39"/>
                  </a:cubicBezTo>
                  <a:cubicBezTo>
                    <a:pt x="132" y="42"/>
                    <a:pt x="126" y="45"/>
                    <a:pt x="129" y="48"/>
                  </a:cubicBezTo>
                  <a:cubicBezTo>
                    <a:pt x="129" y="48"/>
                    <a:pt x="129" y="50"/>
                    <a:pt x="132" y="45"/>
                  </a:cubicBezTo>
                  <a:close/>
                  <a:moveTo>
                    <a:pt x="87" y="126"/>
                  </a:moveTo>
                  <a:cubicBezTo>
                    <a:pt x="87" y="125"/>
                    <a:pt x="90" y="122"/>
                    <a:pt x="90" y="123"/>
                  </a:cubicBezTo>
                  <a:cubicBezTo>
                    <a:pt x="90" y="125"/>
                    <a:pt x="88" y="128"/>
                    <a:pt x="87" y="126"/>
                  </a:cubicBezTo>
                  <a:close/>
                  <a:moveTo>
                    <a:pt x="76" y="106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5" y="104"/>
                    <a:pt x="75" y="106"/>
                    <a:pt x="76" y="106"/>
                  </a:cubicBezTo>
                  <a:close/>
                  <a:moveTo>
                    <a:pt x="32" y="210"/>
                  </a:moveTo>
                  <a:cubicBezTo>
                    <a:pt x="32" y="209"/>
                    <a:pt x="32" y="209"/>
                    <a:pt x="35" y="206"/>
                  </a:cubicBezTo>
                  <a:cubicBezTo>
                    <a:pt x="38" y="204"/>
                    <a:pt x="36" y="203"/>
                    <a:pt x="35" y="204"/>
                  </a:cubicBezTo>
                  <a:cubicBezTo>
                    <a:pt x="33" y="207"/>
                    <a:pt x="32" y="207"/>
                    <a:pt x="30" y="210"/>
                  </a:cubicBezTo>
                  <a:cubicBezTo>
                    <a:pt x="30" y="212"/>
                    <a:pt x="32" y="212"/>
                    <a:pt x="32" y="210"/>
                  </a:cubicBezTo>
                  <a:close/>
                  <a:moveTo>
                    <a:pt x="41" y="195"/>
                  </a:moveTo>
                  <a:cubicBezTo>
                    <a:pt x="39" y="193"/>
                    <a:pt x="41" y="192"/>
                    <a:pt x="41" y="193"/>
                  </a:cubicBezTo>
                  <a:cubicBezTo>
                    <a:pt x="43" y="195"/>
                    <a:pt x="41" y="196"/>
                    <a:pt x="41" y="195"/>
                  </a:cubicBezTo>
                  <a:close/>
                  <a:moveTo>
                    <a:pt x="44" y="190"/>
                  </a:moveTo>
                  <a:cubicBezTo>
                    <a:pt x="44" y="187"/>
                    <a:pt x="47" y="185"/>
                    <a:pt x="47" y="187"/>
                  </a:cubicBezTo>
                  <a:cubicBezTo>
                    <a:pt x="47" y="187"/>
                    <a:pt x="44" y="192"/>
                    <a:pt x="44" y="190"/>
                  </a:cubicBezTo>
                  <a:close/>
                  <a:moveTo>
                    <a:pt x="0" y="229"/>
                  </a:moveTo>
                  <a:cubicBezTo>
                    <a:pt x="0" y="228"/>
                    <a:pt x="1" y="229"/>
                    <a:pt x="1" y="231"/>
                  </a:cubicBezTo>
                  <a:cubicBezTo>
                    <a:pt x="1" y="231"/>
                    <a:pt x="0" y="231"/>
                    <a:pt x="0" y="229"/>
                  </a:cubicBezTo>
                  <a:close/>
                  <a:moveTo>
                    <a:pt x="3" y="229"/>
                  </a:moveTo>
                  <a:cubicBezTo>
                    <a:pt x="1" y="229"/>
                    <a:pt x="4" y="226"/>
                    <a:pt x="4" y="228"/>
                  </a:cubicBezTo>
                  <a:cubicBezTo>
                    <a:pt x="4" y="229"/>
                    <a:pt x="4" y="231"/>
                    <a:pt x="3" y="229"/>
                  </a:cubicBezTo>
                  <a:close/>
                  <a:moveTo>
                    <a:pt x="12" y="226"/>
                  </a:moveTo>
                  <a:cubicBezTo>
                    <a:pt x="11" y="224"/>
                    <a:pt x="12" y="224"/>
                    <a:pt x="14" y="224"/>
                  </a:cubicBezTo>
                  <a:cubicBezTo>
                    <a:pt x="14" y="226"/>
                    <a:pt x="12" y="226"/>
                    <a:pt x="12" y="226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Freeform 237"/>
            <p:cNvSpPr>
              <a:spLocks noEditPoints="1"/>
            </p:cNvSpPr>
            <p:nvPr/>
          </p:nvSpPr>
          <p:spPr bwMode="auto">
            <a:xfrm>
              <a:off x="5431704" y="2102349"/>
              <a:ext cx="4235476" cy="1724045"/>
            </a:xfrm>
            <a:custGeom>
              <a:avLst/>
              <a:gdLst/>
              <a:ahLst/>
              <a:cxnLst>
                <a:cxn ang="0">
                  <a:pos x="404" y="136"/>
                </a:cxn>
                <a:cxn ang="0">
                  <a:pos x="273" y="177"/>
                </a:cxn>
                <a:cxn ang="0">
                  <a:pos x="361" y="90"/>
                </a:cxn>
                <a:cxn ang="0">
                  <a:pos x="278" y="138"/>
                </a:cxn>
                <a:cxn ang="0">
                  <a:pos x="227" y="31"/>
                </a:cxn>
                <a:cxn ang="0">
                  <a:pos x="217" y="29"/>
                </a:cxn>
                <a:cxn ang="0">
                  <a:pos x="343" y="18"/>
                </a:cxn>
                <a:cxn ang="0">
                  <a:pos x="328" y="25"/>
                </a:cxn>
                <a:cxn ang="0">
                  <a:pos x="297" y="32"/>
                </a:cxn>
                <a:cxn ang="0">
                  <a:pos x="314" y="31"/>
                </a:cxn>
                <a:cxn ang="0">
                  <a:pos x="285" y="12"/>
                </a:cxn>
                <a:cxn ang="0">
                  <a:pos x="291" y="14"/>
                </a:cxn>
                <a:cxn ang="0">
                  <a:pos x="288" y="20"/>
                </a:cxn>
                <a:cxn ang="0">
                  <a:pos x="276" y="23"/>
                </a:cxn>
                <a:cxn ang="0">
                  <a:pos x="1351" y="247"/>
                </a:cxn>
                <a:cxn ang="0">
                  <a:pos x="1184" y="200"/>
                </a:cxn>
                <a:cxn ang="0">
                  <a:pos x="902" y="164"/>
                </a:cxn>
                <a:cxn ang="0">
                  <a:pos x="734" y="116"/>
                </a:cxn>
                <a:cxn ang="0">
                  <a:pos x="570" y="104"/>
                </a:cxn>
                <a:cxn ang="0">
                  <a:pos x="474" y="154"/>
                </a:cxn>
                <a:cxn ang="0">
                  <a:pos x="457" y="217"/>
                </a:cxn>
                <a:cxn ang="0">
                  <a:pos x="381" y="169"/>
                </a:cxn>
                <a:cxn ang="0">
                  <a:pos x="214" y="233"/>
                </a:cxn>
                <a:cxn ang="0">
                  <a:pos x="144" y="275"/>
                </a:cxn>
                <a:cxn ang="0">
                  <a:pos x="90" y="191"/>
                </a:cxn>
                <a:cxn ang="0">
                  <a:pos x="84" y="250"/>
                </a:cxn>
                <a:cxn ang="0">
                  <a:pos x="80" y="306"/>
                </a:cxn>
                <a:cxn ang="0">
                  <a:pos x="67" y="332"/>
                </a:cxn>
                <a:cxn ang="0">
                  <a:pos x="87" y="380"/>
                </a:cxn>
                <a:cxn ang="0">
                  <a:pos x="109" y="422"/>
                </a:cxn>
                <a:cxn ang="0">
                  <a:pos x="163" y="455"/>
                </a:cxn>
                <a:cxn ang="0">
                  <a:pos x="148" y="492"/>
                </a:cxn>
                <a:cxn ang="0">
                  <a:pos x="172" y="528"/>
                </a:cxn>
                <a:cxn ang="0">
                  <a:pos x="220" y="548"/>
                </a:cxn>
                <a:cxn ang="0">
                  <a:pos x="217" y="469"/>
                </a:cxn>
                <a:cxn ang="0">
                  <a:pos x="329" y="432"/>
                </a:cxn>
                <a:cxn ang="0">
                  <a:pos x="472" y="425"/>
                </a:cxn>
                <a:cxn ang="0">
                  <a:pos x="623" y="433"/>
                </a:cxn>
                <a:cxn ang="0">
                  <a:pos x="798" y="419"/>
                </a:cxn>
                <a:cxn ang="0">
                  <a:pos x="899" y="508"/>
                </a:cxn>
                <a:cxn ang="0">
                  <a:pos x="900" y="534"/>
                </a:cxn>
                <a:cxn ang="0">
                  <a:pos x="957" y="401"/>
                </a:cxn>
                <a:cxn ang="0">
                  <a:pos x="1013" y="334"/>
                </a:cxn>
                <a:cxn ang="0">
                  <a:pos x="1121" y="329"/>
                </a:cxn>
                <a:cxn ang="0">
                  <a:pos x="1146" y="326"/>
                </a:cxn>
                <a:cxn ang="0">
                  <a:pos x="1273" y="256"/>
                </a:cxn>
                <a:cxn ang="0">
                  <a:pos x="978" y="489"/>
                </a:cxn>
                <a:cxn ang="0">
                  <a:pos x="984" y="441"/>
                </a:cxn>
                <a:cxn ang="0">
                  <a:pos x="975" y="407"/>
                </a:cxn>
                <a:cxn ang="0">
                  <a:pos x="1025" y="503"/>
                </a:cxn>
                <a:cxn ang="0">
                  <a:pos x="1066" y="464"/>
                </a:cxn>
                <a:cxn ang="0">
                  <a:pos x="1080" y="446"/>
                </a:cxn>
                <a:cxn ang="0">
                  <a:pos x="25" y="390"/>
                </a:cxn>
                <a:cxn ang="0">
                  <a:pos x="937" y="393"/>
                </a:cxn>
                <a:cxn ang="0">
                  <a:pos x="1274" y="175"/>
                </a:cxn>
                <a:cxn ang="0">
                  <a:pos x="1018" y="107"/>
                </a:cxn>
                <a:cxn ang="0">
                  <a:pos x="946" y="118"/>
                </a:cxn>
                <a:cxn ang="0">
                  <a:pos x="870" y="149"/>
                </a:cxn>
                <a:cxn ang="0">
                  <a:pos x="739" y="121"/>
                </a:cxn>
                <a:cxn ang="0">
                  <a:pos x="638" y="35"/>
                </a:cxn>
                <a:cxn ang="0">
                  <a:pos x="600" y="29"/>
                </a:cxn>
                <a:cxn ang="0">
                  <a:pos x="571" y="14"/>
                </a:cxn>
              </a:cxnLst>
              <a:rect l="0" t="0" r="r" b="b"/>
              <a:pathLst>
                <a:path w="1359" h="553">
                  <a:moveTo>
                    <a:pt x="314" y="189"/>
                  </a:moveTo>
                  <a:cubicBezTo>
                    <a:pt x="314" y="189"/>
                    <a:pt x="319" y="189"/>
                    <a:pt x="317" y="192"/>
                  </a:cubicBezTo>
                  <a:cubicBezTo>
                    <a:pt x="317" y="194"/>
                    <a:pt x="325" y="192"/>
                    <a:pt x="325" y="191"/>
                  </a:cubicBezTo>
                  <a:cubicBezTo>
                    <a:pt x="326" y="189"/>
                    <a:pt x="320" y="188"/>
                    <a:pt x="316" y="183"/>
                  </a:cubicBezTo>
                  <a:cubicBezTo>
                    <a:pt x="313" y="180"/>
                    <a:pt x="313" y="182"/>
                    <a:pt x="311" y="183"/>
                  </a:cubicBezTo>
                  <a:cubicBezTo>
                    <a:pt x="308" y="183"/>
                    <a:pt x="313" y="186"/>
                    <a:pt x="309" y="185"/>
                  </a:cubicBezTo>
                  <a:cubicBezTo>
                    <a:pt x="308" y="185"/>
                    <a:pt x="308" y="186"/>
                    <a:pt x="311" y="189"/>
                  </a:cubicBezTo>
                  <a:cubicBezTo>
                    <a:pt x="313" y="191"/>
                    <a:pt x="314" y="191"/>
                    <a:pt x="314" y="189"/>
                  </a:cubicBezTo>
                  <a:close/>
                  <a:moveTo>
                    <a:pt x="404" y="136"/>
                  </a:moveTo>
                  <a:cubicBezTo>
                    <a:pt x="398" y="138"/>
                    <a:pt x="396" y="144"/>
                    <a:pt x="409" y="143"/>
                  </a:cubicBezTo>
                  <a:cubicBezTo>
                    <a:pt x="419" y="141"/>
                    <a:pt x="410" y="133"/>
                    <a:pt x="404" y="136"/>
                  </a:cubicBezTo>
                  <a:close/>
                  <a:moveTo>
                    <a:pt x="290" y="168"/>
                  </a:moveTo>
                  <a:cubicBezTo>
                    <a:pt x="287" y="163"/>
                    <a:pt x="282" y="164"/>
                    <a:pt x="285" y="154"/>
                  </a:cubicBezTo>
                  <a:cubicBezTo>
                    <a:pt x="287" y="144"/>
                    <a:pt x="297" y="144"/>
                    <a:pt x="290" y="139"/>
                  </a:cubicBezTo>
                  <a:cubicBezTo>
                    <a:pt x="282" y="136"/>
                    <a:pt x="288" y="138"/>
                    <a:pt x="274" y="139"/>
                  </a:cubicBezTo>
                  <a:cubicBezTo>
                    <a:pt x="261" y="141"/>
                    <a:pt x="271" y="143"/>
                    <a:pt x="264" y="146"/>
                  </a:cubicBezTo>
                  <a:cubicBezTo>
                    <a:pt x="258" y="149"/>
                    <a:pt x="265" y="147"/>
                    <a:pt x="262" y="154"/>
                  </a:cubicBezTo>
                  <a:cubicBezTo>
                    <a:pt x="259" y="160"/>
                    <a:pt x="256" y="152"/>
                    <a:pt x="255" y="158"/>
                  </a:cubicBezTo>
                  <a:cubicBezTo>
                    <a:pt x="252" y="164"/>
                    <a:pt x="252" y="166"/>
                    <a:pt x="259" y="166"/>
                  </a:cubicBezTo>
                  <a:cubicBezTo>
                    <a:pt x="268" y="166"/>
                    <a:pt x="255" y="168"/>
                    <a:pt x="264" y="172"/>
                  </a:cubicBezTo>
                  <a:cubicBezTo>
                    <a:pt x="271" y="177"/>
                    <a:pt x="265" y="163"/>
                    <a:pt x="270" y="169"/>
                  </a:cubicBezTo>
                  <a:cubicBezTo>
                    <a:pt x="274" y="175"/>
                    <a:pt x="262" y="175"/>
                    <a:pt x="273" y="177"/>
                  </a:cubicBezTo>
                  <a:cubicBezTo>
                    <a:pt x="282" y="178"/>
                    <a:pt x="276" y="180"/>
                    <a:pt x="285" y="180"/>
                  </a:cubicBezTo>
                  <a:cubicBezTo>
                    <a:pt x="293" y="180"/>
                    <a:pt x="294" y="183"/>
                    <a:pt x="302" y="178"/>
                  </a:cubicBezTo>
                  <a:cubicBezTo>
                    <a:pt x="305" y="177"/>
                    <a:pt x="291" y="174"/>
                    <a:pt x="290" y="168"/>
                  </a:cubicBezTo>
                  <a:close/>
                  <a:moveTo>
                    <a:pt x="299" y="136"/>
                  </a:moveTo>
                  <a:cubicBezTo>
                    <a:pt x="299" y="133"/>
                    <a:pt x="303" y="136"/>
                    <a:pt x="305" y="130"/>
                  </a:cubicBezTo>
                  <a:cubicBezTo>
                    <a:pt x="306" y="126"/>
                    <a:pt x="311" y="127"/>
                    <a:pt x="311" y="124"/>
                  </a:cubicBezTo>
                  <a:cubicBezTo>
                    <a:pt x="311" y="121"/>
                    <a:pt x="311" y="121"/>
                    <a:pt x="322" y="118"/>
                  </a:cubicBezTo>
                  <a:cubicBezTo>
                    <a:pt x="331" y="115"/>
                    <a:pt x="320" y="115"/>
                    <a:pt x="335" y="107"/>
                  </a:cubicBezTo>
                  <a:cubicBezTo>
                    <a:pt x="351" y="101"/>
                    <a:pt x="376" y="98"/>
                    <a:pt x="389" y="91"/>
                  </a:cubicBezTo>
                  <a:cubicBezTo>
                    <a:pt x="401" y="85"/>
                    <a:pt x="387" y="79"/>
                    <a:pt x="375" y="84"/>
                  </a:cubicBezTo>
                  <a:cubicBezTo>
                    <a:pt x="363" y="87"/>
                    <a:pt x="370" y="87"/>
                    <a:pt x="361" y="90"/>
                  </a:cubicBezTo>
                  <a:cubicBezTo>
                    <a:pt x="352" y="93"/>
                    <a:pt x="358" y="88"/>
                    <a:pt x="348" y="93"/>
                  </a:cubicBezTo>
                  <a:cubicBezTo>
                    <a:pt x="337" y="98"/>
                    <a:pt x="343" y="91"/>
                    <a:pt x="332" y="93"/>
                  </a:cubicBezTo>
                  <a:cubicBezTo>
                    <a:pt x="323" y="93"/>
                    <a:pt x="332" y="96"/>
                    <a:pt x="326" y="96"/>
                  </a:cubicBezTo>
                  <a:cubicBezTo>
                    <a:pt x="320" y="96"/>
                    <a:pt x="306" y="101"/>
                    <a:pt x="303" y="107"/>
                  </a:cubicBezTo>
                  <a:cubicBezTo>
                    <a:pt x="299" y="112"/>
                    <a:pt x="300" y="105"/>
                    <a:pt x="296" y="109"/>
                  </a:cubicBezTo>
                  <a:cubicBezTo>
                    <a:pt x="291" y="113"/>
                    <a:pt x="293" y="107"/>
                    <a:pt x="290" y="110"/>
                  </a:cubicBezTo>
                  <a:cubicBezTo>
                    <a:pt x="285" y="113"/>
                    <a:pt x="293" y="113"/>
                    <a:pt x="290" y="115"/>
                  </a:cubicBezTo>
                  <a:cubicBezTo>
                    <a:pt x="285" y="116"/>
                    <a:pt x="294" y="118"/>
                    <a:pt x="288" y="118"/>
                  </a:cubicBezTo>
                  <a:cubicBezTo>
                    <a:pt x="282" y="119"/>
                    <a:pt x="285" y="126"/>
                    <a:pt x="278" y="129"/>
                  </a:cubicBezTo>
                  <a:cubicBezTo>
                    <a:pt x="270" y="132"/>
                    <a:pt x="268" y="135"/>
                    <a:pt x="274" y="135"/>
                  </a:cubicBezTo>
                  <a:cubicBezTo>
                    <a:pt x="281" y="133"/>
                    <a:pt x="270" y="139"/>
                    <a:pt x="278" y="138"/>
                  </a:cubicBezTo>
                  <a:cubicBezTo>
                    <a:pt x="285" y="135"/>
                    <a:pt x="285" y="135"/>
                    <a:pt x="291" y="139"/>
                  </a:cubicBezTo>
                  <a:cubicBezTo>
                    <a:pt x="293" y="141"/>
                    <a:pt x="299" y="141"/>
                    <a:pt x="299" y="136"/>
                  </a:cubicBezTo>
                  <a:close/>
                  <a:moveTo>
                    <a:pt x="207" y="23"/>
                  </a:moveTo>
                  <a:cubicBezTo>
                    <a:pt x="211" y="23"/>
                    <a:pt x="211" y="26"/>
                    <a:pt x="215" y="25"/>
                  </a:cubicBezTo>
                  <a:cubicBezTo>
                    <a:pt x="221" y="21"/>
                    <a:pt x="221" y="20"/>
                    <a:pt x="227" y="21"/>
                  </a:cubicBezTo>
                  <a:cubicBezTo>
                    <a:pt x="232" y="23"/>
                    <a:pt x="235" y="21"/>
                    <a:pt x="226" y="18"/>
                  </a:cubicBezTo>
                  <a:cubicBezTo>
                    <a:pt x="215" y="17"/>
                    <a:pt x="223" y="20"/>
                    <a:pt x="215" y="20"/>
                  </a:cubicBezTo>
                  <a:cubicBezTo>
                    <a:pt x="206" y="21"/>
                    <a:pt x="198" y="23"/>
                    <a:pt x="204" y="25"/>
                  </a:cubicBezTo>
                  <a:cubicBezTo>
                    <a:pt x="207" y="25"/>
                    <a:pt x="206" y="25"/>
                    <a:pt x="207" y="23"/>
                  </a:cubicBezTo>
                  <a:close/>
                  <a:moveTo>
                    <a:pt x="223" y="29"/>
                  </a:moveTo>
                  <a:cubicBezTo>
                    <a:pt x="227" y="28"/>
                    <a:pt x="221" y="32"/>
                    <a:pt x="227" y="31"/>
                  </a:cubicBezTo>
                  <a:cubicBezTo>
                    <a:pt x="233" y="29"/>
                    <a:pt x="232" y="32"/>
                    <a:pt x="235" y="29"/>
                  </a:cubicBezTo>
                  <a:cubicBezTo>
                    <a:pt x="236" y="28"/>
                    <a:pt x="230" y="29"/>
                    <a:pt x="232" y="28"/>
                  </a:cubicBezTo>
                  <a:cubicBezTo>
                    <a:pt x="235" y="26"/>
                    <a:pt x="238" y="28"/>
                    <a:pt x="239" y="25"/>
                  </a:cubicBezTo>
                  <a:cubicBezTo>
                    <a:pt x="242" y="23"/>
                    <a:pt x="244" y="25"/>
                    <a:pt x="252" y="23"/>
                  </a:cubicBezTo>
                  <a:cubicBezTo>
                    <a:pt x="259" y="21"/>
                    <a:pt x="255" y="18"/>
                    <a:pt x="249" y="20"/>
                  </a:cubicBezTo>
                  <a:cubicBezTo>
                    <a:pt x="242" y="21"/>
                    <a:pt x="252" y="18"/>
                    <a:pt x="246" y="18"/>
                  </a:cubicBezTo>
                  <a:cubicBezTo>
                    <a:pt x="239" y="17"/>
                    <a:pt x="233" y="20"/>
                    <a:pt x="235" y="20"/>
                  </a:cubicBezTo>
                  <a:cubicBezTo>
                    <a:pt x="238" y="21"/>
                    <a:pt x="239" y="25"/>
                    <a:pt x="230" y="25"/>
                  </a:cubicBezTo>
                  <a:cubicBezTo>
                    <a:pt x="223" y="25"/>
                    <a:pt x="220" y="25"/>
                    <a:pt x="223" y="26"/>
                  </a:cubicBezTo>
                  <a:cubicBezTo>
                    <a:pt x="227" y="28"/>
                    <a:pt x="223" y="28"/>
                    <a:pt x="220" y="28"/>
                  </a:cubicBezTo>
                  <a:cubicBezTo>
                    <a:pt x="217" y="26"/>
                    <a:pt x="212" y="26"/>
                    <a:pt x="217" y="29"/>
                  </a:cubicBezTo>
                  <a:cubicBezTo>
                    <a:pt x="220" y="31"/>
                    <a:pt x="220" y="29"/>
                    <a:pt x="223" y="29"/>
                  </a:cubicBezTo>
                  <a:close/>
                  <a:moveTo>
                    <a:pt x="271" y="28"/>
                  </a:moveTo>
                  <a:cubicBezTo>
                    <a:pt x="268" y="25"/>
                    <a:pt x="267" y="25"/>
                    <a:pt x="261" y="28"/>
                  </a:cubicBezTo>
                  <a:cubicBezTo>
                    <a:pt x="256" y="29"/>
                    <a:pt x="276" y="32"/>
                    <a:pt x="271" y="28"/>
                  </a:cubicBezTo>
                  <a:close/>
                  <a:moveTo>
                    <a:pt x="246" y="14"/>
                  </a:moveTo>
                  <a:cubicBezTo>
                    <a:pt x="249" y="11"/>
                    <a:pt x="253" y="12"/>
                    <a:pt x="249" y="14"/>
                  </a:cubicBezTo>
                  <a:cubicBezTo>
                    <a:pt x="246" y="15"/>
                    <a:pt x="241" y="17"/>
                    <a:pt x="246" y="14"/>
                  </a:cubicBezTo>
                  <a:close/>
                  <a:moveTo>
                    <a:pt x="352" y="20"/>
                  </a:moveTo>
                  <a:cubicBezTo>
                    <a:pt x="360" y="18"/>
                    <a:pt x="364" y="20"/>
                    <a:pt x="364" y="15"/>
                  </a:cubicBezTo>
                  <a:cubicBezTo>
                    <a:pt x="364" y="12"/>
                    <a:pt x="357" y="11"/>
                    <a:pt x="354" y="14"/>
                  </a:cubicBezTo>
                  <a:cubicBezTo>
                    <a:pt x="352" y="17"/>
                    <a:pt x="349" y="14"/>
                    <a:pt x="343" y="18"/>
                  </a:cubicBezTo>
                  <a:cubicBezTo>
                    <a:pt x="338" y="20"/>
                    <a:pt x="344" y="21"/>
                    <a:pt x="352" y="20"/>
                  </a:cubicBezTo>
                  <a:close/>
                  <a:moveTo>
                    <a:pt x="338" y="4"/>
                  </a:moveTo>
                  <a:cubicBezTo>
                    <a:pt x="343" y="3"/>
                    <a:pt x="354" y="3"/>
                    <a:pt x="352" y="4"/>
                  </a:cubicBezTo>
                  <a:cubicBezTo>
                    <a:pt x="349" y="7"/>
                    <a:pt x="337" y="4"/>
                    <a:pt x="338" y="4"/>
                  </a:cubicBezTo>
                  <a:close/>
                  <a:moveTo>
                    <a:pt x="305" y="3"/>
                  </a:moveTo>
                  <a:cubicBezTo>
                    <a:pt x="306" y="0"/>
                    <a:pt x="317" y="0"/>
                    <a:pt x="317" y="3"/>
                  </a:cubicBezTo>
                  <a:cubicBezTo>
                    <a:pt x="316" y="4"/>
                    <a:pt x="303" y="6"/>
                    <a:pt x="305" y="3"/>
                  </a:cubicBezTo>
                  <a:close/>
                  <a:moveTo>
                    <a:pt x="329" y="17"/>
                  </a:moveTo>
                  <a:cubicBezTo>
                    <a:pt x="334" y="17"/>
                    <a:pt x="341" y="11"/>
                    <a:pt x="328" y="14"/>
                  </a:cubicBezTo>
                  <a:cubicBezTo>
                    <a:pt x="317" y="17"/>
                    <a:pt x="325" y="18"/>
                    <a:pt x="329" y="17"/>
                  </a:cubicBezTo>
                  <a:close/>
                  <a:moveTo>
                    <a:pt x="328" y="25"/>
                  </a:moveTo>
                  <a:cubicBezTo>
                    <a:pt x="334" y="26"/>
                    <a:pt x="332" y="23"/>
                    <a:pt x="337" y="23"/>
                  </a:cubicBezTo>
                  <a:cubicBezTo>
                    <a:pt x="341" y="23"/>
                    <a:pt x="340" y="14"/>
                    <a:pt x="331" y="18"/>
                  </a:cubicBezTo>
                  <a:cubicBezTo>
                    <a:pt x="322" y="21"/>
                    <a:pt x="319" y="14"/>
                    <a:pt x="316" y="21"/>
                  </a:cubicBezTo>
                  <a:cubicBezTo>
                    <a:pt x="313" y="29"/>
                    <a:pt x="322" y="23"/>
                    <a:pt x="328" y="25"/>
                  </a:cubicBezTo>
                  <a:close/>
                  <a:moveTo>
                    <a:pt x="241" y="29"/>
                  </a:moveTo>
                  <a:cubicBezTo>
                    <a:pt x="246" y="28"/>
                    <a:pt x="246" y="29"/>
                    <a:pt x="242" y="31"/>
                  </a:cubicBezTo>
                  <a:cubicBezTo>
                    <a:pt x="239" y="34"/>
                    <a:pt x="236" y="29"/>
                    <a:pt x="241" y="29"/>
                  </a:cubicBezTo>
                  <a:close/>
                  <a:moveTo>
                    <a:pt x="246" y="32"/>
                  </a:moveTo>
                  <a:cubicBezTo>
                    <a:pt x="250" y="29"/>
                    <a:pt x="258" y="34"/>
                    <a:pt x="252" y="34"/>
                  </a:cubicBezTo>
                  <a:cubicBezTo>
                    <a:pt x="246" y="34"/>
                    <a:pt x="239" y="34"/>
                    <a:pt x="246" y="32"/>
                  </a:cubicBezTo>
                  <a:close/>
                  <a:moveTo>
                    <a:pt x="297" y="32"/>
                  </a:moveTo>
                  <a:cubicBezTo>
                    <a:pt x="302" y="32"/>
                    <a:pt x="299" y="26"/>
                    <a:pt x="296" y="28"/>
                  </a:cubicBezTo>
                  <a:cubicBezTo>
                    <a:pt x="293" y="28"/>
                    <a:pt x="288" y="26"/>
                    <a:pt x="288" y="29"/>
                  </a:cubicBezTo>
                  <a:cubicBezTo>
                    <a:pt x="287" y="34"/>
                    <a:pt x="291" y="31"/>
                    <a:pt x="297" y="32"/>
                  </a:cubicBezTo>
                  <a:close/>
                  <a:moveTo>
                    <a:pt x="305" y="31"/>
                  </a:moveTo>
                  <a:cubicBezTo>
                    <a:pt x="309" y="32"/>
                    <a:pt x="303" y="28"/>
                    <a:pt x="311" y="28"/>
                  </a:cubicBezTo>
                  <a:cubicBezTo>
                    <a:pt x="317" y="28"/>
                    <a:pt x="317" y="26"/>
                    <a:pt x="309" y="25"/>
                  </a:cubicBezTo>
                  <a:cubicBezTo>
                    <a:pt x="303" y="25"/>
                    <a:pt x="296" y="25"/>
                    <a:pt x="299" y="28"/>
                  </a:cubicBezTo>
                  <a:cubicBezTo>
                    <a:pt x="300" y="29"/>
                    <a:pt x="300" y="29"/>
                    <a:pt x="305" y="31"/>
                  </a:cubicBezTo>
                  <a:close/>
                  <a:moveTo>
                    <a:pt x="313" y="31"/>
                  </a:moveTo>
                  <a:cubicBezTo>
                    <a:pt x="308" y="34"/>
                    <a:pt x="314" y="34"/>
                    <a:pt x="319" y="34"/>
                  </a:cubicBezTo>
                  <a:cubicBezTo>
                    <a:pt x="325" y="32"/>
                    <a:pt x="319" y="31"/>
                    <a:pt x="314" y="31"/>
                  </a:cubicBezTo>
                  <a:cubicBezTo>
                    <a:pt x="313" y="31"/>
                    <a:pt x="313" y="31"/>
                    <a:pt x="313" y="31"/>
                  </a:cubicBezTo>
                  <a:close/>
                  <a:moveTo>
                    <a:pt x="299" y="9"/>
                  </a:moveTo>
                  <a:cubicBezTo>
                    <a:pt x="302" y="9"/>
                    <a:pt x="303" y="9"/>
                    <a:pt x="308" y="9"/>
                  </a:cubicBezTo>
                  <a:cubicBezTo>
                    <a:pt x="313" y="9"/>
                    <a:pt x="309" y="9"/>
                    <a:pt x="305" y="7"/>
                  </a:cubicBezTo>
                  <a:cubicBezTo>
                    <a:pt x="300" y="6"/>
                    <a:pt x="302" y="6"/>
                    <a:pt x="297" y="7"/>
                  </a:cubicBezTo>
                  <a:cubicBezTo>
                    <a:pt x="294" y="9"/>
                    <a:pt x="294" y="9"/>
                    <a:pt x="299" y="9"/>
                  </a:cubicBezTo>
                  <a:close/>
                  <a:moveTo>
                    <a:pt x="293" y="12"/>
                  </a:moveTo>
                  <a:cubicBezTo>
                    <a:pt x="294" y="14"/>
                    <a:pt x="296" y="12"/>
                    <a:pt x="303" y="11"/>
                  </a:cubicBezTo>
                  <a:cubicBezTo>
                    <a:pt x="306" y="11"/>
                    <a:pt x="299" y="9"/>
                    <a:pt x="294" y="9"/>
                  </a:cubicBezTo>
                  <a:cubicBezTo>
                    <a:pt x="288" y="9"/>
                    <a:pt x="296" y="12"/>
                    <a:pt x="291" y="11"/>
                  </a:cubicBezTo>
                  <a:cubicBezTo>
                    <a:pt x="288" y="11"/>
                    <a:pt x="284" y="11"/>
                    <a:pt x="285" y="12"/>
                  </a:cubicBezTo>
                  <a:cubicBezTo>
                    <a:pt x="288" y="14"/>
                    <a:pt x="288" y="11"/>
                    <a:pt x="293" y="12"/>
                  </a:cubicBezTo>
                  <a:close/>
                  <a:moveTo>
                    <a:pt x="305" y="14"/>
                  </a:moveTo>
                  <a:cubicBezTo>
                    <a:pt x="306" y="14"/>
                    <a:pt x="313" y="15"/>
                    <a:pt x="311" y="17"/>
                  </a:cubicBezTo>
                  <a:cubicBezTo>
                    <a:pt x="308" y="17"/>
                    <a:pt x="303" y="15"/>
                    <a:pt x="305" y="14"/>
                  </a:cubicBezTo>
                  <a:close/>
                  <a:moveTo>
                    <a:pt x="313" y="20"/>
                  </a:moveTo>
                  <a:cubicBezTo>
                    <a:pt x="314" y="20"/>
                    <a:pt x="316" y="17"/>
                    <a:pt x="308" y="18"/>
                  </a:cubicBezTo>
                  <a:cubicBezTo>
                    <a:pt x="300" y="20"/>
                    <a:pt x="309" y="20"/>
                    <a:pt x="313" y="20"/>
                  </a:cubicBezTo>
                  <a:close/>
                  <a:moveTo>
                    <a:pt x="296" y="17"/>
                  </a:moveTo>
                  <a:cubicBezTo>
                    <a:pt x="299" y="17"/>
                    <a:pt x="299" y="18"/>
                    <a:pt x="305" y="18"/>
                  </a:cubicBezTo>
                  <a:cubicBezTo>
                    <a:pt x="311" y="17"/>
                    <a:pt x="306" y="17"/>
                    <a:pt x="303" y="15"/>
                  </a:cubicBezTo>
                  <a:cubicBezTo>
                    <a:pt x="299" y="15"/>
                    <a:pt x="293" y="14"/>
                    <a:pt x="291" y="14"/>
                  </a:cubicBezTo>
                  <a:cubicBezTo>
                    <a:pt x="290" y="15"/>
                    <a:pt x="294" y="15"/>
                    <a:pt x="296" y="17"/>
                  </a:cubicBezTo>
                  <a:close/>
                  <a:moveTo>
                    <a:pt x="284" y="17"/>
                  </a:moveTo>
                  <a:cubicBezTo>
                    <a:pt x="287" y="17"/>
                    <a:pt x="282" y="17"/>
                    <a:pt x="290" y="18"/>
                  </a:cubicBezTo>
                  <a:cubicBezTo>
                    <a:pt x="299" y="20"/>
                    <a:pt x="297" y="21"/>
                    <a:pt x="302" y="20"/>
                  </a:cubicBezTo>
                  <a:cubicBezTo>
                    <a:pt x="305" y="18"/>
                    <a:pt x="302" y="20"/>
                    <a:pt x="299" y="18"/>
                  </a:cubicBezTo>
                  <a:cubicBezTo>
                    <a:pt x="294" y="17"/>
                    <a:pt x="291" y="15"/>
                    <a:pt x="287" y="15"/>
                  </a:cubicBezTo>
                  <a:cubicBezTo>
                    <a:pt x="284" y="17"/>
                    <a:pt x="281" y="12"/>
                    <a:pt x="278" y="15"/>
                  </a:cubicBezTo>
                  <a:cubicBezTo>
                    <a:pt x="276" y="17"/>
                    <a:pt x="281" y="15"/>
                    <a:pt x="284" y="17"/>
                  </a:cubicBezTo>
                  <a:close/>
                  <a:moveTo>
                    <a:pt x="278" y="20"/>
                  </a:moveTo>
                  <a:cubicBezTo>
                    <a:pt x="281" y="20"/>
                    <a:pt x="279" y="21"/>
                    <a:pt x="282" y="20"/>
                  </a:cubicBezTo>
                  <a:cubicBezTo>
                    <a:pt x="285" y="20"/>
                    <a:pt x="290" y="20"/>
                    <a:pt x="288" y="20"/>
                  </a:cubicBezTo>
                  <a:cubicBezTo>
                    <a:pt x="287" y="20"/>
                    <a:pt x="282" y="17"/>
                    <a:pt x="281" y="18"/>
                  </a:cubicBezTo>
                  <a:cubicBezTo>
                    <a:pt x="279" y="20"/>
                    <a:pt x="276" y="17"/>
                    <a:pt x="273" y="18"/>
                  </a:cubicBezTo>
                  <a:cubicBezTo>
                    <a:pt x="273" y="20"/>
                    <a:pt x="274" y="20"/>
                    <a:pt x="278" y="20"/>
                  </a:cubicBezTo>
                  <a:close/>
                  <a:moveTo>
                    <a:pt x="296" y="21"/>
                  </a:moveTo>
                  <a:cubicBezTo>
                    <a:pt x="299" y="21"/>
                    <a:pt x="294" y="20"/>
                    <a:pt x="291" y="20"/>
                  </a:cubicBezTo>
                  <a:cubicBezTo>
                    <a:pt x="287" y="20"/>
                    <a:pt x="285" y="21"/>
                    <a:pt x="287" y="21"/>
                  </a:cubicBezTo>
                  <a:cubicBezTo>
                    <a:pt x="288" y="23"/>
                    <a:pt x="293" y="21"/>
                    <a:pt x="296" y="21"/>
                  </a:cubicBezTo>
                  <a:close/>
                  <a:moveTo>
                    <a:pt x="302" y="23"/>
                  </a:moveTo>
                  <a:cubicBezTo>
                    <a:pt x="297" y="23"/>
                    <a:pt x="302" y="21"/>
                    <a:pt x="305" y="21"/>
                  </a:cubicBezTo>
                  <a:cubicBezTo>
                    <a:pt x="306" y="21"/>
                    <a:pt x="306" y="25"/>
                    <a:pt x="302" y="23"/>
                  </a:cubicBezTo>
                  <a:close/>
                  <a:moveTo>
                    <a:pt x="276" y="23"/>
                  </a:moveTo>
                  <a:cubicBezTo>
                    <a:pt x="274" y="21"/>
                    <a:pt x="271" y="23"/>
                    <a:pt x="273" y="23"/>
                  </a:cubicBezTo>
                  <a:cubicBezTo>
                    <a:pt x="274" y="25"/>
                    <a:pt x="270" y="26"/>
                    <a:pt x="276" y="25"/>
                  </a:cubicBezTo>
                  <a:cubicBezTo>
                    <a:pt x="279" y="25"/>
                    <a:pt x="278" y="25"/>
                    <a:pt x="276" y="23"/>
                  </a:cubicBezTo>
                  <a:close/>
                  <a:moveTo>
                    <a:pt x="1273" y="256"/>
                  </a:moveTo>
                  <a:cubicBezTo>
                    <a:pt x="1273" y="256"/>
                    <a:pt x="1273" y="256"/>
                    <a:pt x="1273" y="256"/>
                  </a:cubicBezTo>
                  <a:cubicBezTo>
                    <a:pt x="1278" y="252"/>
                    <a:pt x="1278" y="252"/>
                    <a:pt x="1275" y="247"/>
                  </a:cubicBezTo>
                  <a:cubicBezTo>
                    <a:pt x="1270" y="242"/>
                    <a:pt x="1280" y="241"/>
                    <a:pt x="1283" y="250"/>
                  </a:cubicBezTo>
                  <a:cubicBezTo>
                    <a:pt x="1287" y="259"/>
                    <a:pt x="1301" y="244"/>
                    <a:pt x="1305" y="256"/>
                  </a:cubicBezTo>
                  <a:cubicBezTo>
                    <a:pt x="1311" y="269"/>
                    <a:pt x="1316" y="261"/>
                    <a:pt x="1321" y="267"/>
                  </a:cubicBezTo>
                  <a:cubicBezTo>
                    <a:pt x="1324" y="273"/>
                    <a:pt x="1334" y="267"/>
                    <a:pt x="1334" y="258"/>
                  </a:cubicBezTo>
                  <a:cubicBezTo>
                    <a:pt x="1334" y="247"/>
                    <a:pt x="1343" y="255"/>
                    <a:pt x="1351" y="247"/>
                  </a:cubicBezTo>
                  <a:cubicBezTo>
                    <a:pt x="1359" y="237"/>
                    <a:pt x="1348" y="245"/>
                    <a:pt x="1342" y="236"/>
                  </a:cubicBezTo>
                  <a:cubicBezTo>
                    <a:pt x="1337" y="230"/>
                    <a:pt x="1330" y="230"/>
                    <a:pt x="1321" y="230"/>
                  </a:cubicBezTo>
                  <a:cubicBezTo>
                    <a:pt x="1310" y="230"/>
                    <a:pt x="1330" y="247"/>
                    <a:pt x="1318" y="239"/>
                  </a:cubicBezTo>
                  <a:cubicBezTo>
                    <a:pt x="1305" y="233"/>
                    <a:pt x="1324" y="228"/>
                    <a:pt x="1304" y="219"/>
                  </a:cubicBezTo>
                  <a:cubicBezTo>
                    <a:pt x="1293" y="213"/>
                    <a:pt x="1283" y="208"/>
                    <a:pt x="1273" y="203"/>
                  </a:cubicBezTo>
                  <a:cubicBezTo>
                    <a:pt x="1273" y="203"/>
                    <a:pt x="1273" y="203"/>
                    <a:pt x="1273" y="203"/>
                  </a:cubicBezTo>
                  <a:cubicBezTo>
                    <a:pt x="1266" y="199"/>
                    <a:pt x="1258" y="196"/>
                    <a:pt x="1249" y="194"/>
                  </a:cubicBezTo>
                  <a:cubicBezTo>
                    <a:pt x="1232" y="189"/>
                    <a:pt x="1244" y="191"/>
                    <a:pt x="1222" y="189"/>
                  </a:cubicBezTo>
                  <a:cubicBezTo>
                    <a:pt x="1197" y="188"/>
                    <a:pt x="1203" y="178"/>
                    <a:pt x="1197" y="189"/>
                  </a:cubicBezTo>
                  <a:cubicBezTo>
                    <a:pt x="1190" y="200"/>
                    <a:pt x="1209" y="194"/>
                    <a:pt x="1199" y="203"/>
                  </a:cubicBezTo>
                  <a:cubicBezTo>
                    <a:pt x="1188" y="213"/>
                    <a:pt x="1193" y="200"/>
                    <a:pt x="1184" y="200"/>
                  </a:cubicBezTo>
                  <a:cubicBezTo>
                    <a:pt x="1174" y="200"/>
                    <a:pt x="1187" y="189"/>
                    <a:pt x="1171" y="194"/>
                  </a:cubicBezTo>
                  <a:cubicBezTo>
                    <a:pt x="1156" y="200"/>
                    <a:pt x="1153" y="188"/>
                    <a:pt x="1133" y="192"/>
                  </a:cubicBezTo>
                  <a:cubicBezTo>
                    <a:pt x="1114" y="197"/>
                    <a:pt x="1112" y="191"/>
                    <a:pt x="1115" y="186"/>
                  </a:cubicBezTo>
                  <a:cubicBezTo>
                    <a:pt x="1118" y="180"/>
                    <a:pt x="1103" y="168"/>
                    <a:pt x="1071" y="174"/>
                  </a:cubicBezTo>
                  <a:cubicBezTo>
                    <a:pt x="1040" y="180"/>
                    <a:pt x="1042" y="161"/>
                    <a:pt x="1031" y="157"/>
                  </a:cubicBezTo>
                  <a:cubicBezTo>
                    <a:pt x="1021" y="152"/>
                    <a:pt x="1021" y="157"/>
                    <a:pt x="1002" y="152"/>
                  </a:cubicBezTo>
                  <a:cubicBezTo>
                    <a:pt x="984" y="147"/>
                    <a:pt x="981" y="150"/>
                    <a:pt x="967" y="147"/>
                  </a:cubicBezTo>
                  <a:cubicBezTo>
                    <a:pt x="954" y="143"/>
                    <a:pt x="969" y="152"/>
                    <a:pt x="954" y="152"/>
                  </a:cubicBezTo>
                  <a:cubicBezTo>
                    <a:pt x="938" y="152"/>
                    <a:pt x="966" y="171"/>
                    <a:pt x="951" y="166"/>
                  </a:cubicBezTo>
                  <a:cubicBezTo>
                    <a:pt x="934" y="161"/>
                    <a:pt x="940" y="169"/>
                    <a:pt x="928" y="164"/>
                  </a:cubicBezTo>
                  <a:cubicBezTo>
                    <a:pt x="914" y="161"/>
                    <a:pt x="914" y="174"/>
                    <a:pt x="902" y="164"/>
                  </a:cubicBezTo>
                  <a:cubicBezTo>
                    <a:pt x="890" y="155"/>
                    <a:pt x="893" y="186"/>
                    <a:pt x="879" y="174"/>
                  </a:cubicBezTo>
                  <a:cubicBezTo>
                    <a:pt x="865" y="161"/>
                    <a:pt x="864" y="157"/>
                    <a:pt x="856" y="154"/>
                  </a:cubicBezTo>
                  <a:cubicBezTo>
                    <a:pt x="847" y="150"/>
                    <a:pt x="861" y="166"/>
                    <a:pt x="852" y="158"/>
                  </a:cubicBezTo>
                  <a:cubicBezTo>
                    <a:pt x="844" y="152"/>
                    <a:pt x="827" y="146"/>
                    <a:pt x="803" y="144"/>
                  </a:cubicBezTo>
                  <a:cubicBezTo>
                    <a:pt x="766" y="141"/>
                    <a:pt x="797" y="136"/>
                    <a:pt x="785" y="135"/>
                  </a:cubicBezTo>
                  <a:cubicBezTo>
                    <a:pt x="772" y="133"/>
                    <a:pt x="762" y="133"/>
                    <a:pt x="751" y="135"/>
                  </a:cubicBezTo>
                  <a:cubicBezTo>
                    <a:pt x="740" y="136"/>
                    <a:pt x="747" y="126"/>
                    <a:pt x="739" y="130"/>
                  </a:cubicBezTo>
                  <a:cubicBezTo>
                    <a:pt x="731" y="135"/>
                    <a:pt x="733" y="127"/>
                    <a:pt x="722" y="129"/>
                  </a:cubicBezTo>
                  <a:cubicBezTo>
                    <a:pt x="712" y="132"/>
                    <a:pt x="724" y="136"/>
                    <a:pt x="704" y="139"/>
                  </a:cubicBezTo>
                  <a:cubicBezTo>
                    <a:pt x="686" y="143"/>
                    <a:pt x="686" y="139"/>
                    <a:pt x="704" y="132"/>
                  </a:cubicBezTo>
                  <a:cubicBezTo>
                    <a:pt x="722" y="124"/>
                    <a:pt x="718" y="121"/>
                    <a:pt x="734" y="116"/>
                  </a:cubicBezTo>
                  <a:cubicBezTo>
                    <a:pt x="750" y="112"/>
                    <a:pt x="750" y="102"/>
                    <a:pt x="747" y="96"/>
                  </a:cubicBezTo>
                  <a:cubicBezTo>
                    <a:pt x="743" y="91"/>
                    <a:pt x="739" y="94"/>
                    <a:pt x="731" y="88"/>
                  </a:cubicBezTo>
                  <a:cubicBezTo>
                    <a:pt x="725" y="82"/>
                    <a:pt x="719" y="88"/>
                    <a:pt x="710" y="85"/>
                  </a:cubicBezTo>
                  <a:cubicBezTo>
                    <a:pt x="701" y="84"/>
                    <a:pt x="705" y="88"/>
                    <a:pt x="695" y="90"/>
                  </a:cubicBezTo>
                  <a:cubicBezTo>
                    <a:pt x="678" y="91"/>
                    <a:pt x="708" y="82"/>
                    <a:pt x="689" y="82"/>
                  </a:cubicBezTo>
                  <a:cubicBezTo>
                    <a:pt x="670" y="81"/>
                    <a:pt x="676" y="79"/>
                    <a:pt x="686" y="76"/>
                  </a:cubicBezTo>
                  <a:cubicBezTo>
                    <a:pt x="693" y="74"/>
                    <a:pt x="676" y="66"/>
                    <a:pt x="661" y="73"/>
                  </a:cubicBezTo>
                  <a:cubicBezTo>
                    <a:pt x="637" y="84"/>
                    <a:pt x="651" y="88"/>
                    <a:pt x="640" y="88"/>
                  </a:cubicBezTo>
                  <a:cubicBezTo>
                    <a:pt x="617" y="90"/>
                    <a:pt x="643" y="90"/>
                    <a:pt x="622" y="94"/>
                  </a:cubicBezTo>
                  <a:cubicBezTo>
                    <a:pt x="600" y="99"/>
                    <a:pt x="625" y="90"/>
                    <a:pt x="596" y="94"/>
                  </a:cubicBezTo>
                  <a:cubicBezTo>
                    <a:pt x="568" y="98"/>
                    <a:pt x="599" y="101"/>
                    <a:pt x="570" y="104"/>
                  </a:cubicBezTo>
                  <a:cubicBezTo>
                    <a:pt x="539" y="105"/>
                    <a:pt x="553" y="110"/>
                    <a:pt x="538" y="110"/>
                  </a:cubicBezTo>
                  <a:cubicBezTo>
                    <a:pt x="524" y="112"/>
                    <a:pt x="523" y="124"/>
                    <a:pt x="532" y="126"/>
                  </a:cubicBezTo>
                  <a:cubicBezTo>
                    <a:pt x="539" y="126"/>
                    <a:pt x="535" y="129"/>
                    <a:pt x="524" y="132"/>
                  </a:cubicBezTo>
                  <a:cubicBezTo>
                    <a:pt x="508" y="135"/>
                    <a:pt x="488" y="130"/>
                    <a:pt x="483" y="138"/>
                  </a:cubicBezTo>
                  <a:cubicBezTo>
                    <a:pt x="477" y="144"/>
                    <a:pt x="491" y="138"/>
                    <a:pt x="486" y="147"/>
                  </a:cubicBezTo>
                  <a:cubicBezTo>
                    <a:pt x="480" y="155"/>
                    <a:pt x="497" y="150"/>
                    <a:pt x="497" y="157"/>
                  </a:cubicBezTo>
                  <a:cubicBezTo>
                    <a:pt x="498" y="164"/>
                    <a:pt x="512" y="157"/>
                    <a:pt x="508" y="166"/>
                  </a:cubicBezTo>
                  <a:cubicBezTo>
                    <a:pt x="501" y="177"/>
                    <a:pt x="517" y="175"/>
                    <a:pt x="508" y="183"/>
                  </a:cubicBezTo>
                  <a:cubicBezTo>
                    <a:pt x="497" y="192"/>
                    <a:pt x="512" y="171"/>
                    <a:pt x="501" y="174"/>
                  </a:cubicBezTo>
                  <a:cubicBezTo>
                    <a:pt x="491" y="178"/>
                    <a:pt x="512" y="163"/>
                    <a:pt x="498" y="163"/>
                  </a:cubicBezTo>
                  <a:cubicBezTo>
                    <a:pt x="486" y="163"/>
                    <a:pt x="491" y="155"/>
                    <a:pt x="474" y="154"/>
                  </a:cubicBezTo>
                  <a:cubicBezTo>
                    <a:pt x="456" y="150"/>
                    <a:pt x="462" y="161"/>
                    <a:pt x="457" y="160"/>
                  </a:cubicBezTo>
                  <a:cubicBezTo>
                    <a:pt x="450" y="157"/>
                    <a:pt x="442" y="163"/>
                    <a:pt x="454" y="166"/>
                  </a:cubicBezTo>
                  <a:cubicBezTo>
                    <a:pt x="466" y="171"/>
                    <a:pt x="459" y="172"/>
                    <a:pt x="448" y="171"/>
                  </a:cubicBezTo>
                  <a:cubicBezTo>
                    <a:pt x="436" y="169"/>
                    <a:pt x="448" y="157"/>
                    <a:pt x="445" y="150"/>
                  </a:cubicBezTo>
                  <a:cubicBezTo>
                    <a:pt x="441" y="144"/>
                    <a:pt x="437" y="143"/>
                    <a:pt x="439" y="152"/>
                  </a:cubicBezTo>
                  <a:cubicBezTo>
                    <a:pt x="444" y="164"/>
                    <a:pt x="419" y="158"/>
                    <a:pt x="428" y="169"/>
                  </a:cubicBezTo>
                  <a:cubicBezTo>
                    <a:pt x="434" y="178"/>
                    <a:pt x="437" y="178"/>
                    <a:pt x="431" y="186"/>
                  </a:cubicBezTo>
                  <a:cubicBezTo>
                    <a:pt x="424" y="194"/>
                    <a:pt x="431" y="194"/>
                    <a:pt x="431" y="200"/>
                  </a:cubicBezTo>
                  <a:cubicBezTo>
                    <a:pt x="430" y="206"/>
                    <a:pt x="445" y="196"/>
                    <a:pt x="456" y="202"/>
                  </a:cubicBezTo>
                  <a:cubicBezTo>
                    <a:pt x="468" y="209"/>
                    <a:pt x="463" y="211"/>
                    <a:pt x="462" y="214"/>
                  </a:cubicBezTo>
                  <a:cubicBezTo>
                    <a:pt x="460" y="217"/>
                    <a:pt x="456" y="225"/>
                    <a:pt x="457" y="217"/>
                  </a:cubicBezTo>
                  <a:cubicBezTo>
                    <a:pt x="460" y="209"/>
                    <a:pt x="457" y="200"/>
                    <a:pt x="442" y="205"/>
                  </a:cubicBezTo>
                  <a:cubicBezTo>
                    <a:pt x="428" y="209"/>
                    <a:pt x="444" y="219"/>
                    <a:pt x="436" y="222"/>
                  </a:cubicBezTo>
                  <a:cubicBezTo>
                    <a:pt x="428" y="227"/>
                    <a:pt x="434" y="231"/>
                    <a:pt x="425" y="234"/>
                  </a:cubicBezTo>
                  <a:cubicBezTo>
                    <a:pt x="416" y="239"/>
                    <a:pt x="425" y="244"/>
                    <a:pt x="407" y="241"/>
                  </a:cubicBezTo>
                  <a:cubicBezTo>
                    <a:pt x="387" y="237"/>
                    <a:pt x="413" y="241"/>
                    <a:pt x="418" y="230"/>
                  </a:cubicBezTo>
                  <a:cubicBezTo>
                    <a:pt x="424" y="219"/>
                    <a:pt x="427" y="225"/>
                    <a:pt x="427" y="216"/>
                  </a:cubicBezTo>
                  <a:cubicBezTo>
                    <a:pt x="428" y="206"/>
                    <a:pt x="419" y="206"/>
                    <a:pt x="421" y="196"/>
                  </a:cubicBezTo>
                  <a:cubicBezTo>
                    <a:pt x="422" y="183"/>
                    <a:pt x="425" y="177"/>
                    <a:pt x="418" y="169"/>
                  </a:cubicBezTo>
                  <a:cubicBezTo>
                    <a:pt x="409" y="163"/>
                    <a:pt x="424" y="164"/>
                    <a:pt x="424" y="154"/>
                  </a:cubicBezTo>
                  <a:cubicBezTo>
                    <a:pt x="424" y="141"/>
                    <a:pt x="406" y="147"/>
                    <a:pt x="398" y="146"/>
                  </a:cubicBezTo>
                  <a:cubicBezTo>
                    <a:pt x="389" y="143"/>
                    <a:pt x="392" y="164"/>
                    <a:pt x="381" y="169"/>
                  </a:cubicBezTo>
                  <a:cubicBezTo>
                    <a:pt x="364" y="175"/>
                    <a:pt x="384" y="175"/>
                    <a:pt x="376" y="186"/>
                  </a:cubicBezTo>
                  <a:cubicBezTo>
                    <a:pt x="369" y="199"/>
                    <a:pt x="398" y="199"/>
                    <a:pt x="392" y="209"/>
                  </a:cubicBezTo>
                  <a:cubicBezTo>
                    <a:pt x="384" y="219"/>
                    <a:pt x="389" y="209"/>
                    <a:pt x="361" y="199"/>
                  </a:cubicBezTo>
                  <a:cubicBezTo>
                    <a:pt x="332" y="186"/>
                    <a:pt x="319" y="192"/>
                    <a:pt x="326" y="200"/>
                  </a:cubicBezTo>
                  <a:cubicBezTo>
                    <a:pt x="331" y="205"/>
                    <a:pt x="316" y="216"/>
                    <a:pt x="316" y="208"/>
                  </a:cubicBezTo>
                  <a:cubicBezTo>
                    <a:pt x="316" y="199"/>
                    <a:pt x="311" y="202"/>
                    <a:pt x="302" y="208"/>
                  </a:cubicBezTo>
                  <a:cubicBezTo>
                    <a:pt x="293" y="214"/>
                    <a:pt x="294" y="202"/>
                    <a:pt x="282" y="211"/>
                  </a:cubicBezTo>
                  <a:cubicBezTo>
                    <a:pt x="270" y="219"/>
                    <a:pt x="270" y="208"/>
                    <a:pt x="276" y="203"/>
                  </a:cubicBezTo>
                  <a:cubicBezTo>
                    <a:pt x="281" y="200"/>
                    <a:pt x="270" y="202"/>
                    <a:pt x="250" y="213"/>
                  </a:cubicBezTo>
                  <a:cubicBezTo>
                    <a:pt x="230" y="222"/>
                    <a:pt x="227" y="214"/>
                    <a:pt x="224" y="227"/>
                  </a:cubicBezTo>
                  <a:cubicBezTo>
                    <a:pt x="221" y="239"/>
                    <a:pt x="220" y="230"/>
                    <a:pt x="214" y="233"/>
                  </a:cubicBezTo>
                  <a:cubicBezTo>
                    <a:pt x="206" y="237"/>
                    <a:pt x="211" y="231"/>
                    <a:pt x="204" y="228"/>
                  </a:cubicBezTo>
                  <a:cubicBezTo>
                    <a:pt x="197" y="225"/>
                    <a:pt x="206" y="220"/>
                    <a:pt x="212" y="220"/>
                  </a:cubicBezTo>
                  <a:cubicBezTo>
                    <a:pt x="218" y="220"/>
                    <a:pt x="212" y="208"/>
                    <a:pt x="203" y="209"/>
                  </a:cubicBezTo>
                  <a:cubicBezTo>
                    <a:pt x="194" y="209"/>
                    <a:pt x="185" y="203"/>
                    <a:pt x="192" y="211"/>
                  </a:cubicBezTo>
                  <a:cubicBezTo>
                    <a:pt x="200" y="217"/>
                    <a:pt x="186" y="224"/>
                    <a:pt x="195" y="230"/>
                  </a:cubicBezTo>
                  <a:cubicBezTo>
                    <a:pt x="203" y="234"/>
                    <a:pt x="194" y="236"/>
                    <a:pt x="195" y="245"/>
                  </a:cubicBezTo>
                  <a:cubicBezTo>
                    <a:pt x="197" y="253"/>
                    <a:pt x="189" y="231"/>
                    <a:pt x="176" y="241"/>
                  </a:cubicBezTo>
                  <a:cubicBezTo>
                    <a:pt x="162" y="250"/>
                    <a:pt x="156" y="248"/>
                    <a:pt x="163" y="258"/>
                  </a:cubicBezTo>
                  <a:cubicBezTo>
                    <a:pt x="172" y="267"/>
                    <a:pt x="162" y="269"/>
                    <a:pt x="148" y="261"/>
                  </a:cubicBezTo>
                  <a:cubicBezTo>
                    <a:pt x="133" y="255"/>
                    <a:pt x="130" y="259"/>
                    <a:pt x="136" y="264"/>
                  </a:cubicBezTo>
                  <a:cubicBezTo>
                    <a:pt x="142" y="270"/>
                    <a:pt x="153" y="269"/>
                    <a:pt x="144" y="275"/>
                  </a:cubicBezTo>
                  <a:cubicBezTo>
                    <a:pt x="136" y="279"/>
                    <a:pt x="137" y="269"/>
                    <a:pt x="128" y="267"/>
                  </a:cubicBezTo>
                  <a:cubicBezTo>
                    <a:pt x="118" y="265"/>
                    <a:pt x="125" y="261"/>
                    <a:pt x="121" y="256"/>
                  </a:cubicBezTo>
                  <a:cubicBezTo>
                    <a:pt x="115" y="252"/>
                    <a:pt x="127" y="250"/>
                    <a:pt x="119" y="244"/>
                  </a:cubicBezTo>
                  <a:cubicBezTo>
                    <a:pt x="112" y="237"/>
                    <a:pt x="104" y="236"/>
                    <a:pt x="102" y="230"/>
                  </a:cubicBezTo>
                  <a:cubicBezTo>
                    <a:pt x="101" y="224"/>
                    <a:pt x="102" y="234"/>
                    <a:pt x="118" y="237"/>
                  </a:cubicBezTo>
                  <a:cubicBezTo>
                    <a:pt x="133" y="239"/>
                    <a:pt x="148" y="250"/>
                    <a:pt x="162" y="242"/>
                  </a:cubicBezTo>
                  <a:cubicBezTo>
                    <a:pt x="176" y="234"/>
                    <a:pt x="180" y="228"/>
                    <a:pt x="165" y="219"/>
                  </a:cubicBezTo>
                  <a:cubicBezTo>
                    <a:pt x="151" y="209"/>
                    <a:pt x="153" y="214"/>
                    <a:pt x="137" y="203"/>
                  </a:cubicBezTo>
                  <a:cubicBezTo>
                    <a:pt x="122" y="194"/>
                    <a:pt x="127" y="202"/>
                    <a:pt x="113" y="199"/>
                  </a:cubicBezTo>
                  <a:cubicBezTo>
                    <a:pt x="101" y="194"/>
                    <a:pt x="113" y="194"/>
                    <a:pt x="104" y="191"/>
                  </a:cubicBezTo>
                  <a:cubicBezTo>
                    <a:pt x="95" y="186"/>
                    <a:pt x="102" y="196"/>
                    <a:pt x="90" y="191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2" y="196"/>
                    <a:pt x="89" y="196"/>
                    <a:pt x="87" y="194"/>
                  </a:cubicBezTo>
                  <a:cubicBezTo>
                    <a:pt x="84" y="194"/>
                    <a:pt x="86" y="194"/>
                    <a:pt x="84" y="196"/>
                  </a:cubicBezTo>
                  <a:cubicBezTo>
                    <a:pt x="83" y="197"/>
                    <a:pt x="78" y="197"/>
                    <a:pt x="78" y="199"/>
                  </a:cubicBezTo>
                  <a:cubicBezTo>
                    <a:pt x="77" y="202"/>
                    <a:pt x="77" y="203"/>
                    <a:pt x="75" y="202"/>
                  </a:cubicBezTo>
                  <a:cubicBezTo>
                    <a:pt x="67" y="206"/>
                    <a:pt x="74" y="203"/>
                    <a:pt x="74" y="205"/>
                  </a:cubicBezTo>
                  <a:cubicBezTo>
                    <a:pt x="75" y="208"/>
                    <a:pt x="70" y="206"/>
                    <a:pt x="72" y="211"/>
                  </a:cubicBezTo>
                  <a:cubicBezTo>
                    <a:pt x="74" y="219"/>
                    <a:pt x="77" y="213"/>
                    <a:pt x="80" y="217"/>
                  </a:cubicBezTo>
                  <a:cubicBezTo>
                    <a:pt x="83" y="222"/>
                    <a:pt x="86" y="220"/>
                    <a:pt x="83" y="224"/>
                  </a:cubicBezTo>
                  <a:cubicBezTo>
                    <a:pt x="80" y="227"/>
                    <a:pt x="74" y="231"/>
                    <a:pt x="77" y="234"/>
                  </a:cubicBezTo>
                  <a:cubicBezTo>
                    <a:pt x="80" y="236"/>
                    <a:pt x="86" y="250"/>
                    <a:pt x="84" y="250"/>
                  </a:cubicBezTo>
                  <a:cubicBezTo>
                    <a:pt x="81" y="250"/>
                    <a:pt x="81" y="250"/>
                    <a:pt x="81" y="252"/>
                  </a:cubicBezTo>
                  <a:cubicBezTo>
                    <a:pt x="83" y="252"/>
                    <a:pt x="81" y="252"/>
                    <a:pt x="81" y="253"/>
                  </a:cubicBezTo>
                  <a:cubicBezTo>
                    <a:pt x="81" y="256"/>
                    <a:pt x="80" y="255"/>
                    <a:pt x="81" y="256"/>
                  </a:cubicBezTo>
                  <a:cubicBezTo>
                    <a:pt x="84" y="258"/>
                    <a:pt x="80" y="258"/>
                    <a:pt x="80" y="259"/>
                  </a:cubicBezTo>
                  <a:cubicBezTo>
                    <a:pt x="81" y="262"/>
                    <a:pt x="87" y="262"/>
                    <a:pt x="84" y="264"/>
                  </a:cubicBezTo>
                  <a:cubicBezTo>
                    <a:pt x="83" y="265"/>
                    <a:pt x="84" y="265"/>
                    <a:pt x="84" y="267"/>
                  </a:cubicBezTo>
                  <a:cubicBezTo>
                    <a:pt x="83" y="269"/>
                    <a:pt x="89" y="269"/>
                    <a:pt x="89" y="272"/>
                  </a:cubicBezTo>
                  <a:cubicBezTo>
                    <a:pt x="87" y="275"/>
                    <a:pt x="81" y="275"/>
                    <a:pt x="84" y="278"/>
                  </a:cubicBezTo>
                  <a:cubicBezTo>
                    <a:pt x="87" y="279"/>
                    <a:pt x="92" y="281"/>
                    <a:pt x="93" y="284"/>
                  </a:cubicBezTo>
                  <a:cubicBezTo>
                    <a:pt x="95" y="287"/>
                    <a:pt x="96" y="286"/>
                    <a:pt x="95" y="289"/>
                  </a:cubicBezTo>
                  <a:cubicBezTo>
                    <a:pt x="93" y="292"/>
                    <a:pt x="89" y="298"/>
                    <a:pt x="80" y="306"/>
                  </a:cubicBezTo>
                  <a:cubicBezTo>
                    <a:pt x="72" y="314"/>
                    <a:pt x="69" y="315"/>
                    <a:pt x="66" y="318"/>
                  </a:cubicBezTo>
                  <a:cubicBezTo>
                    <a:pt x="69" y="320"/>
                    <a:pt x="72" y="315"/>
                    <a:pt x="74" y="317"/>
                  </a:cubicBezTo>
                  <a:cubicBezTo>
                    <a:pt x="74" y="317"/>
                    <a:pt x="72" y="317"/>
                    <a:pt x="72" y="318"/>
                  </a:cubicBezTo>
                  <a:cubicBezTo>
                    <a:pt x="74" y="321"/>
                    <a:pt x="69" y="317"/>
                    <a:pt x="72" y="320"/>
                  </a:cubicBezTo>
                  <a:cubicBezTo>
                    <a:pt x="74" y="323"/>
                    <a:pt x="74" y="320"/>
                    <a:pt x="75" y="323"/>
                  </a:cubicBezTo>
                  <a:cubicBezTo>
                    <a:pt x="77" y="325"/>
                    <a:pt x="81" y="321"/>
                    <a:pt x="83" y="325"/>
                  </a:cubicBezTo>
                  <a:cubicBezTo>
                    <a:pt x="83" y="326"/>
                    <a:pt x="86" y="325"/>
                    <a:pt x="86" y="326"/>
                  </a:cubicBezTo>
                  <a:cubicBezTo>
                    <a:pt x="84" y="328"/>
                    <a:pt x="84" y="328"/>
                    <a:pt x="80" y="326"/>
                  </a:cubicBezTo>
                  <a:cubicBezTo>
                    <a:pt x="74" y="325"/>
                    <a:pt x="77" y="331"/>
                    <a:pt x="74" y="328"/>
                  </a:cubicBezTo>
                  <a:cubicBezTo>
                    <a:pt x="69" y="326"/>
                    <a:pt x="72" y="332"/>
                    <a:pt x="69" y="329"/>
                  </a:cubicBezTo>
                  <a:cubicBezTo>
                    <a:pt x="66" y="328"/>
                    <a:pt x="69" y="331"/>
                    <a:pt x="67" y="332"/>
                  </a:cubicBezTo>
                  <a:cubicBezTo>
                    <a:pt x="70" y="335"/>
                    <a:pt x="66" y="334"/>
                    <a:pt x="66" y="337"/>
                  </a:cubicBezTo>
                  <a:cubicBezTo>
                    <a:pt x="66" y="342"/>
                    <a:pt x="61" y="338"/>
                    <a:pt x="63" y="345"/>
                  </a:cubicBezTo>
                  <a:cubicBezTo>
                    <a:pt x="66" y="349"/>
                    <a:pt x="61" y="346"/>
                    <a:pt x="64" y="351"/>
                  </a:cubicBezTo>
                  <a:cubicBezTo>
                    <a:pt x="67" y="356"/>
                    <a:pt x="64" y="352"/>
                    <a:pt x="63" y="357"/>
                  </a:cubicBezTo>
                  <a:cubicBezTo>
                    <a:pt x="64" y="360"/>
                    <a:pt x="67" y="360"/>
                    <a:pt x="66" y="362"/>
                  </a:cubicBezTo>
                  <a:cubicBezTo>
                    <a:pt x="66" y="363"/>
                    <a:pt x="64" y="366"/>
                    <a:pt x="66" y="366"/>
                  </a:cubicBezTo>
                  <a:cubicBezTo>
                    <a:pt x="67" y="366"/>
                    <a:pt x="66" y="366"/>
                    <a:pt x="67" y="370"/>
                  </a:cubicBezTo>
                  <a:cubicBezTo>
                    <a:pt x="70" y="373"/>
                    <a:pt x="69" y="376"/>
                    <a:pt x="69" y="376"/>
                  </a:cubicBezTo>
                  <a:cubicBezTo>
                    <a:pt x="74" y="374"/>
                    <a:pt x="70" y="377"/>
                    <a:pt x="75" y="377"/>
                  </a:cubicBezTo>
                  <a:cubicBezTo>
                    <a:pt x="81" y="376"/>
                    <a:pt x="77" y="382"/>
                    <a:pt x="81" y="380"/>
                  </a:cubicBezTo>
                  <a:cubicBezTo>
                    <a:pt x="84" y="377"/>
                    <a:pt x="87" y="379"/>
                    <a:pt x="87" y="380"/>
                  </a:cubicBezTo>
                  <a:cubicBezTo>
                    <a:pt x="89" y="382"/>
                    <a:pt x="92" y="380"/>
                    <a:pt x="90" y="384"/>
                  </a:cubicBezTo>
                  <a:cubicBezTo>
                    <a:pt x="89" y="388"/>
                    <a:pt x="93" y="388"/>
                    <a:pt x="90" y="390"/>
                  </a:cubicBezTo>
                  <a:cubicBezTo>
                    <a:pt x="87" y="393"/>
                    <a:pt x="92" y="391"/>
                    <a:pt x="92" y="396"/>
                  </a:cubicBezTo>
                  <a:cubicBezTo>
                    <a:pt x="93" y="402"/>
                    <a:pt x="99" y="401"/>
                    <a:pt x="98" y="402"/>
                  </a:cubicBezTo>
                  <a:cubicBezTo>
                    <a:pt x="95" y="407"/>
                    <a:pt x="102" y="402"/>
                    <a:pt x="102" y="407"/>
                  </a:cubicBezTo>
                  <a:cubicBezTo>
                    <a:pt x="102" y="408"/>
                    <a:pt x="107" y="408"/>
                    <a:pt x="104" y="410"/>
                  </a:cubicBezTo>
                  <a:cubicBezTo>
                    <a:pt x="101" y="412"/>
                    <a:pt x="101" y="415"/>
                    <a:pt x="96" y="412"/>
                  </a:cubicBezTo>
                  <a:cubicBezTo>
                    <a:pt x="95" y="410"/>
                    <a:pt x="93" y="413"/>
                    <a:pt x="95" y="415"/>
                  </a:cubicBezTo>
                  <a:cubicBezTo>
                    <a:pt x="98" y="419"/>
                    <a:pt x="93" y="419"/>
                    <a:pt x="96" y="424"/>
                  </a:cubicBezTo>
                  <a:cubicBezTo>
                    <a:pt x="98" y="425"/>
                    <a:pt x="101" y="427"/>
                    <a:pt x="102" y="424"/>
                  </a:cubicBezTo>
                  <a:cubicBezTo>
                    <a:pt x="102" y="421"/>
                    <a:pt x="105" y="424"/>
                    <a:pt x="109" y="422"/>
                  </a:cubicBezTo>
                  <a:cubicBezTo>
                    <a:pt x="112" y="419"/>
                    <a:pt x="110" y="424"/>
                    <a:pt x="113" y="422"/>
                  </a:cubicBezTo>
                  <a:cubicBezTo>
                    <a:pt x="116" y="419"/>
                    <a:pt x="113" y="425"/>
                    <a:pt x="118" y="427"/>
                  </a:cubicBezTo>
                  <a:cubicBezTo>
                    <a:pt x="121" y="429"/>
                    <a:pt x="115" y="430"/>
                    <a:pt x="116" y="432"/>
                  </a:cubicBezTo>
                  <a:cubicBezTo>
                    <a:pt x="119" y="435"/>
                    <a:pt x="116" y="435"/>
                    <a:pt x="119" y="435"/>
                  </a:cubicBezTo>
                  <a:cubicBezTo>
                    <a:pt x="122" y="436"/>
                    <a:pt x="122" y="433"/>
                    <a:pt x="125" y="438"/>
                  </a:cubicBezTo>
                  <a:cubicBezTo>
                    <a:pt x="128" y="441"/>
                    <a:pt x="125" y="447"/>
                    <a:pt x="128" y="446"/>
                  </a:cubicBezTo>
                  <a:cubicBezTo>
                    <a:pt x="133" y="444"/>
                    <a:pt x="133" y="449"/>
                    <a:pt x="139" y="446"/>
                  </a:cubicBezTo>
                  <a:cubicBezTo>
                    <a:pt x="144" y="443"/>
                    <a:pt x="142" y="447"/>
                    <a:pt x="145" y="449"/>
                  </a:cubicBezTo>
                  <a:cubicBezTo>
                    <a:pt x="148" y="452"/>
                    <a:pt x="150" y="447"/>
                    <a:pt x="153" y="452"/>
                  </a:cubicBezTo>
                  <a:cubicBezTo>
                    <a:pt x="154" y="453"/>
                    <a:pt x="157" y="450"/>
                    <a:pt x="159" y="453"/>
                  </a:cubicBezTo>
                  <a:cubicBezTo>
                    <a:pt x="160" y="457"/>
                    <a:pt x="163" y="453"/>
                    <a:pt x="163" y="455"/>
                  </a:cubicBezTo>
                  <a:cubicBezTo>
                    <a:pt x="163" y="458"/>
                    <a:pt x="165" y="458"/>
                    <a:pt x="163" y="460"/>
                  </a:cubicBezTo>
                  <a:cubicBezTo>
                    <a:pt x="160" y="461"/>
                    <a:pt x="160" y="463"/>
                    <a:pt x="162" y="463"/>
                  </a:cubicBezTo>
                  <a:cubicBezTo>
                    <a:pt x="163" y="463"/>
                    <a:pt x="165" y="464"/>
                    <a:pt x="162" y="464"/>
                  </a:cubicBezTo>
                  <a:cubicBezTo>
                    <a:pt x="160" y="464"/>
                    <a:pt x="159" y="466"/>
                    <a:pt x="160" y="468"/>
                  </a:cubicBezTo>
                  <a:cubicBezTo>
                    <a:pt x="162" y="469"/>
                    <a:pt x="163" y="472"/>
                    <a:pt x="162" y="474"/>
                  </a:cubicBezTo>
                  <a:cubicBezTo>
                    <a:pt x="160" y="477"/>
                    <a:pt x="154" y="474"/>
                    <a:pt x="153" y="477"/>
                  </a:cubicBezTo>
                  <a:cubicBezTo>
                    <a:pt x="153" y="480"/>
                    <a:pt x="147" y="475"/>
                    <a:pt x="148" y="485"/>
                  </a:cubicBezTo>
                  <a:cubicBezTo>
                    <a:pt x="153" y="481"/>
                    <a:pt x="150" y="486"/>
                    <a:pt x="154" y="483"/>
                  </a:cubicBezTo>
                  <a:cubicBezTo>
                    <a:pt x="157" y="481"/>
                    <a:pt x="157" y="485"/>
                    <a:pt x="154" y="486"/>
                  </a:cubicBezTo>
                  <a:cubicBezTo>
                    <a:pt x="148" y="488"/>
                    <a:pt x="151" y="489"/>
                    <a:pt x="145" y="489"/>
                  </a:cubicBezTo>
                  <a:cubicBezTo>
                    <a:pt x="144" y="489"/>
                    <a:pt x="145" y="494"/>
                    <a:pt x="148" y="492"/>
                  </a:cubicBezTo>
                  <a:cubicBezTo>
                    <a:pt x="150" y="492"/>
                    <a:pt x="153" y="497"/>
                    <a:pt x="150" y="497"/>
                  </a:cubicBezTo>
                  <a:cubicBezTo>
                    <a:pt x="148" y="496"/>
                    <a:pt x="147" y="496"/>
                    <a:pt x="145" y="499"/>
                  </a:cubicBezTo>
                  <a:cubicBezTo>
                    <a:pt x="145" y="502"/>
                    <a:pt x="144" y="502"/>
                    <a:pt x="144" y="503"/>
                  </a:cubicBezTo>
                  <a:cubicBezTo>
                    <a:pt x="145" y="508"/>
                    <a:pt x="144" y="505"/>
                    <a:pt x="140" y="505"/>
                  </a:cubicBezTo>
                  <a:cubicBezTo>
                    <a:pt x="139" y="505"/>
                    <a:pt x="136" y="502"/>
                    <a:pt x="137" y="505"/>
                  </a:cubicBezTo>
                  <a:cubicBezTo>
                    <a:pt x="137" y="506"/>
                    <a:pt x="133" y="506"/>
                    <a:pt x="139" y="508"/>
                  </a:cubicBezTo>
                  <a:cubicBezTo>
                    <a:pt x="144" y="511"/>
                    <a:pt x="140" y="513"/>
                    <a:pt x="145" y="513"/>
                  </a:cubicBezTo>
                  <a:cubicBezTo>
                    <a:pt x="150" y="514"/>
                    <a:pt x="145" y="514"/>
                    <a:pt x="151" y="517"/>
                  </a:cubicBezTo>
                  <a:cubicBezTo>
                    <a:pt x="157" y="519"/>
                    <a:pt x="151" y="516"/>
                    <a:pt x="162" y="527"/>
                  </a:cubicBezTo>
                  <a:cubicBezTo>
                    <a:pt x="163" y="525"/>
                    <a:pt x="166" y="525"/>
                    <a:pt x="168" y="525"/>
                  </a:cubicBezTo>
                  <a:cubicBezTo>
                    <a:pt x="169" y="525"/>
                    <a:pt x="169" y="528"/>
                    <a:pt x="172" y="528"/>
                  </a:cubicBezTo>
                  <a:cubicBezTo>
                    <a:pt x="176" y="528"/>
                    <a:pt x="174" y="531"/>
                    <a:pt x="179" y="528"/>
                  </a:cubicBezTo>
                  <a:cubicBezTo>
                    <a:pt x="182" y="527"/>
                    <a:pt x="183" y="530"/>
                    <a:pt x="185" y="530"/>
                  </a:cubicBezTo>
                  <a:cubicBezTo>
                    <a:pt x="186" y="530"/>
                    <a:pt x="186" y="531"/>
                    <a:pt x="191" y="533"/>
                  </a:cubicBezTo>
                  <a:cubicBezTo>
                    <a:pt x="195" y="534"/>
                    <a:pt x="191" y="534"/>
                    <a:pt x="192" y="536"/>
                  </a:cubicBezTo>
                  <a:cubicBezTo>
                    <a:pt x="195" y="537"/>
                    <a:pt x="197" y="533"/>
                    <a:pt x="198" y="534"/>
                  </a:cubicBezTo>
                  <a:cubicBezTo>
                    <a:pt x="201" y="536"/>
                    <a:pt x="201" y="533"/>
                    <a:pt x="203" y="534"/>
                  </a:cubicBezTo>
                  <a:cubicBezTo>
                    <a:pt x="204" y="534"/>
                    <a:pt x="204" y="536"/>
                    <a:pt x="207" y="536"/>
                  </a:cubicBezTo>
                  <a:cubicBezTo>
                    <a:pt x="211" y="536"/>
                    <a:pt x="206" y="539"/>
                    <a:pt x="207" y="541"/>
                  </a:cubicBezTo>
                  <a:cubicBezTo>
                    <a:pt x="209" y="542"/>
                    <a:pt x="209" y="542"/>
                    <a:pt x="214" y="544"/>
                  </a:cubicBezTo>
                  <a:cubicBezTo>
                    <a:pt x="215" y="547"/>
                    <a:pt x="217" y="542"/>
                    <a:pt x="217" y="545"/>
                  </a:cubicBezTo>
                  <a:cubicBezTo>
                    <a:pt x="218" y="548"/>
                    <a:pt x="220" y="545"/>
                    <a:pt x="220" y="548"/>
                  </a:cubicBezTo>
                  <a:cubicBezTo>
                    <a:pt x="221" y="553"/>
                    <a:pt x="226" y="551"/>
                    <a:pt x="226" y="550"/>
                  </a:cubicBezTo>
                  <a:cubicBezTo>
                    <a:pt x="227" y="548"/>
                    <a:pt x="229" y="547"/>
                    <a:pt x="230" y="545"/>
                  </a:cubicBezTo>
                  <a:cubicBezTo>
                    <a:pt x="226" y="534"/>
                    <a:pt x="221" y="536"/>
                    <a:pt x="223" y="527"/>
                  </a:cubicBezTo>
                  <a:cubicBezTo>
                    <a:pt x="224" y="516"/>
                    <a:pt x="221" y="527"/>
                    <a:pt x="221" y="520"/>
                  </a:cubicBezTo>
                  <a:cubicBezTo>
                    <a:pt x="221" y="514"/>
                    <a:pt x="212" y="516"/>
                    <a:pt x="217" y="513"/>
                  </a:cubicBezTo>
                  <a:cubicBezTo>
                    <a:pt x="220" y="509"/>
                    <a:pt x="221" y="505"/>
                    <a:pt x="226" y="500"/>
                  </a:cubicBezTo>
                  <a:cubicBezTo>
                    <a:pt x="230" y="496"/>
                    <a:pt x="232" y="500"/>
                    <a:pt x="232" y="497"/>
                  </a:cubicBezTo>
                  <a:cubicBezTo>
                    <a:pt x="232" y="496"/>
                    <a:pt x="232" y="497"/>
                    <a:pt x="233" y="492"/>
                  </a:cubicBezTo>
                  <a:cubicBezTo>
                    <a:pt x="226" y="488"/>
                    <a:pt x="238" y="491"/>
                    <a:pt x="230" y="483"/>
                  </a:cubicBezTo>
                  <a:cubicBezTo>
                    <a:pt x="224" y="475"/>
                    <a:pt x="224" y="475"/>
                    <a:pt x="221" y="477"/>
                  </a:cubicBezTo>
                  <a:cubicBezTo>
                    <a:pt x="218" y="477"/>
                    <a:pt x="221" y="472"/>
                    <a:pt x="217" y="469"/>
                  </a:cubicBezTo>
                  <a:cubicBezTo>
                    <a:pt x="211" y="468"/>
                    <a:pt x="220" y="461"/>
                    <a:pt x="217" y="457"/>
                  </a:cubicBezTo>
                  <a:cubicBezTo>
                    <a:pt x="214" y="453"/>
                    <a:pt x="221" y="443"/>
                    <a:pt x="224" y="446"/>
                  </a:cubicBezTo>
                  <a:cubicBezTo>
                    <a:pt x="230" y="455"/>
                    <a:pt x="232" y="452"/>
                    <a:pt x="232" y="446"/>
                  </a:cubicBezTo>
                  <a:cubicBezTo>
                    <a:pt x="232" y="440"/>
                    <a:pt x="242" y="436"/>
                    <a:pt x="247" y="432"/>
                  </a:cubicBezTo>
                  <a:cubicBezTo>
                    <a:pt x="250" y="425"/>
                    <a:pt x="252" y="435"/>
                    <a:pt x="256" y="430"/>
                  </a:cubicBezTo>
                  <a:cubicBezTo>
                    <a:pt x="262" y="427"/>
                    <a:pt x="261" y="432"/>
                    <a:pt x="268" y="433"/>
                  </a:cubicBezTo>
                  <a:cubicBezTo>
                    <a:pt x="276" y="433"/>
                    <a:pt x="284" y="447"/>
                    <a:pt x="290" y="443"/>
                  </a:cubicBezTo>
                  <a:cubicBezTo>
                    <a:pt x="293" y="438"/>
                    <a:pt x="294" y="435"/>
                    <a:pt x="299" y="438"/>
                  </a:cubicBezTo>
                  <a:cubicBezTo>
                    <a:pt x="303" y="441"/>
                    <a:pt x="303" y="433"/>
                    <a:pt x="313" y="441"/>
                  </a:cubicBezTo>
                  <a:cubicBezTo>
                    <a:pt x="322" y="447"/>
                    <a:pt x="317" y="436"/>
                    <a:pt x="323" y="441"/>
                  </a:cubicBezTo>
                  <a:cubicBezTo>
                    <a:pt x="331" y="446"/>
                    <a:pt x="338" y="435"/>
                    <a:pt x="329" y="432"/>
                  </a:cubicBezTo>
                  <a:cubicBezTo>
                    <a:pt x="313" y="424"/>
                    <a:pt x="334" y="425"/>
                    <a:pt x="328" y="419"/>
                  </a:cubicBezTo>
                  <a:cubicBezTo>
                    <a:pt x="322" y="415"/>
                    <a:pt x="343" y="415"/>
                    <a:pt x="335" y="412"/>
                  </a:cubicBezTo>
                  <a:cubicBezTo>
                    <a:pt x="328" y="408"/>
                    <a:pt x="325" y="401"/>
                    <a:pt x="334" y="401"/>
                  </a:cubicBezTo>
                  <a:cubicBezTo>
                    <a:pt x="343" y="401"/>
                    <a:pt x="373" y="394"/>
                    <a:pt x="381" y="390"/>
                  </a:cubicBezTo>
                  <a:cubicBezTo>
                    <a:pt x="390" y="387"/>
                    <a:pt x="392" y="380"/>
                    <a:pt x="398" y="385"/>
                  </a:cubicBezTo>
                  <a:cubicBezTo>
                    <a:pt x="402" y="388"/>
                    <a:pt x="406" y="380"/>
                    <a:pt x="409" y="391"/>
                  </a:cubicBezTo>
                  <a:cubicBezTo>
                    <a:pt x="411" y="404"/>
                    <a:pt x="416" y="396"/>
                    <a:pt x="422" y="399"/>
                  </a:cubicBezTo>
                  <a:cubicBezTo>
                    <a:pt x="428" y="402"/>
                    <a:pt x="433" y="399"/>
                    <a:pt x="428" y="404"/>
                  </a:cubicBezTo>
                  <a:cubicBezTo>
                    <a:pt x="424" y="408"/>
                    <a:pt x="433" y="408"/>
                    <a:pt x="445" y="401"/>
                  </a:cubicBezTo>
                  <a:cubicBezTo>
                    <a:pt x="457" y="391"/>
                    <a:pt x="456" y="398"/>
                    <a:pt x="453" y="401"/>
                  </a:cubicBezTo>
                  <a:cubicBezTo>
                    <a:pt x="450" y="404"/>
                    <a:pt x="462" y="405"/>
                    <a:pt x="472" y="425"/>
                  </a:cubicBezTo>
                  <a:cubicBezTo>
                    <a:pt x="486" y="455"/>
                    <a:pt x="480" y="429"/>
                    <a:pt x="489" y="436"/>
                  </a:cubicBezTo>
                  <a:cubicBezTo>
                    <a:pt x="500" y="446"/>
                    <a:pt x="504" y="433"/>
                    <a:pt x="514" y="443"/>
                  </a:cubicBezTo>
                  <a:cubicBezTo>
                    <a:pt x="521" y="453"/>
                    <a:pt x="524" y="460"/>
                    <a:pt x="530" y="453"/>
                  </a:cubicBezTo>
                  <a:cubicBezTo>
                    <a:pt x="538" y="449"/>
                    <a:pt x="530" y="455"/>
                    <a:pt x="538" y="461"/>
                  </a:cubicBezTo>
                  <a:cubicBezTo>
                    <a:pt x="538" y="461"/>
                    <a:pt x="538" y="461"/>
                    <a:pt x="543" y="460"/>
                  </a:cubicBezTo>
                  <a:cubicBezTo>
                    <a:pt x="547" y="453"/>
                    <a:pt x="546" y="458"/>
                    <a:pt x="553" y="455"/>
                  </a:cubicBezTo>
                  <a:cubicBezTo>
                    <a:pt x="559" y="453"/>
                    <a:pt x="553" y="452"/>
                    <a:pt x="562" y="447"/>
                  </a:cubicBezTo>
                  <a:cubicBezTo>
                    <a:pt x="571" y="443"/>
                    <a:pt x="578" y="440"/>
                    <a:pt x="582" y="443"/>
                  </a:cubicBezTo>
                  <a:cubicBezTo>
                    <a:pt x="587" y="446"/>
                    <a:pt x="593" y="440"/>
                    <a:pt x="594" y="446"/>
                  </a:cubicBezTo>
                  <a:cubicBezTo>
                    <a:pt x="596" y="450"/>
                    <a:pt x="622" y="455"/>
                    <a:pt x="625" y="447"/>
                  </a:cubicBezTo>
                  <a:cubicBezTo>
                    <a:pt x="626" y="441"/>
                    <a:pt x="617" y="441"/>
                    <a:pt x="623" y="433"/>
                  </a:cubicBezTo>
                  <a:cubicBezTo>
                    <a:pt x="629" y="424"/>
                    <a:pt x="626" y="424"/>
                    <a:pt x="640" y="429"/>
                  </a:cubicBezTo>
                  <a:cubicBezTo>
                    <a:pt x="652" y="435"/>
                    <a:pt x="657" y="429"/>
                    <a:pt x="657" y="436"/>
                  </a:cubicBezTo>
                  <a:cubicBezTo>
                    <a:pt x="657" y="444"/>
                    <a:pt x="664" y="450"/>
                    <a:pt x="672" y="447"/>
                  </a:cubicBezTo>
                  <a:cubicBezTo>
                    <a:pt x="681" y="444"/>
                    <a:pt x="683" y="444"/>
                    <a:pt x="693" y="449"/>
                  </a:cubicBezTo>
                  <a:cubicBezTo>
                    <a:pt x="704" y="452"/>
                    <a:pt x="698" y="455"/>
                    <a:pt x="712" y="458"/>
                  </a:cubicBezTo>
                  <a:cubicBezTo>
                    <a:pt x="731" y="463"/>
                    <a:pt x="724" y="455"/>
                    <a:pt x="736" y="457"/>
                  </a:cubicBezTo>
                  <a:cubicBezTo>
                    <a:pt x="748" y="457"/>
                    <a:pt x="745" y="441"/>
                    <a:pt x="756" y="447"/>
                  </a:cubicBezTo>
                  <a:cubicBezTo>
                    <a:pt x="765" y="453"/>
                    <a:pt x="765" y="447"/>
                    <a:pt x="771" y="452"/>
                  </a:cubicBezTo>
                  <a:cubicBezTo>
                    <a:pt x="779" y="457"/>
                    <a:pt x="782" y="457"/>
                    <a:pt x="788" y="450"/>
                  </a:cubicBezTo>
                  <a:cubicBezTo>
                    <a:pt x="794" y="444"/>
                    <a:pt x="792" y="440"/>
                    <a:pt x="800" y="430"/>
                  </a:cubicBezTo>
                  <a:cubicBezTo>
                    <a:pt x="806" y="422"/>
                    <a:pt x="803" y="419"/>
                    <a:pt x="798" y="419"/>
                  </a:cubicBezTo>
                  <a:cubicBezTo>
                    <a:pt x="794" y="419"/>
                    <a:pt x="800" y="410"/>
                    <a:pt x="815" y="408"/>
                  </a:cubicBezTo>
                  <a:cubicBezTo>
                    <a:pt x="829" y="407"/>
                    <a:pt x="833" y="412"/>
                    <a:pt x="838" y="412"/>
                  </a:cubicBezTo>
                  <a:cubicBezTo>
                    <a:pt x="842" y="412"/>
                    <a:pt x="852" y="424"/>
                    <a:pt x="855" y="440"/>
                  </a:cubicBezTo>
                  <a:cubicBezTo>
                    <a:pt x="856" y="457"/>
                    <a:pt x="859" y="455"/>
                    <a:pt x="868" y="457"/>
                  </a:cubicBezTo>
                  <a:cubicBezTo>
                    <a:pt x="877" y="458"/>
                    <a:pt x="874" y="463"/>
                    <a:pt x="879" y="463"/>
                  </a:cubicBezTo>
                  <a:cubicBezTo>
                    <a:pt x="884" y="464"/>
                    <a:pt x="879" y="468"/>
                    <a:pt x="882" y="469"/>
                  </a:cubicBezTo>
                  <a:cubicBezTo>
                    <a:pt x="885" y="471"/>
                    <a:pt x="879" y="472"/>
                    <a:pt x="884" y="475"/>
                  </a:cubicBezTo>
                  <a:cubicBezTo>
                    <a:pt x="888" y="480"/>
                    <a:pt x="894" y="478"/>
                    <a:pt x="899" y="474"/>
                  </a:cubicBezTo>
                  <a:cubicBezTo>
                    <a:pt x="903" y="471"/>
                    <a:pt x="903" y="475"/>
                    <a:pt x="908" y="471"/>
                  </a:cubicBezTo>
                  <a:cubicBezTo>
                    <a:pt x="912" y="466"/>
                    <a:pt x="917" y="474"/>
                    <a:pt x="912" y="480"/>
                  </a:cubicBezTo>
                  <a:cubicBezTo>
                    <a:pt x="908" y="488"/>
                    <a:pt x="905" y="511"/>
                    <a:pt x="899" y="508"/>
                  </a:cubicBezTo>
                  <a:cubicBezTo>
                    <a:pt x="893" y="505"/>
                    <a:pt x="891" y="503"/>
                    <a:pt x="890" y="506"/>
                  </a:cubicBezTo>
                  <a:cubicBezTo>
                    <a:pt x="888" y="511"/>
                    <a:pt x="882" y="506"/>
                    <a:pt x="885" y="513"/>
                  </a:cubicBezTo>
                  <a:cubicBezTo>
                    <a:pt x="887" y="519"/>
                    <a:pt x="888" y="525"/>
                    <a:pt x="885" y="530"/>
                  </a:cubicBezTo>
                  <a:cubicBezTo>
                    <a:pt x="884" y="536"/>
                    <a:pt x="882" y="530"/>
                    <a:pt x="881" y="536"/>
                  </a:cubicBezTo>
                  <a:cubicBezTo>
                    <a:pt x="881" y="536"/>
                    <a:pt x="881" y="536"/>
                    <a:pt x="882" y="539"/>
                  </a:cubicBezTo>
                  <a:cubicBezTo>
                    <a:pt x="885" y="536"/>
                    <a:pt x="882" y="534"/>
                    <a:pt x="884" y="536"/>
                  </a:cubicBezTo>
                  <a:cubicBezTo>
                    <a:pt x="887" y="536"/>
                    <a:pt x="887" y="536"/>
                    <a:pt x="888" y="533"/>
                  </a:cubicBezTo>
                  <a:cubicBezTo>
                    <a:pt x="890" y="530"/>
                    <a:pt x="888" y="528"/>
                    <a:pt x="891" y="528"/>
                  </a:cubicBezTo>
                  <a:cubicBezTo>
                    <a:pt x="893" y="528"/>
                    <a:pt x="890" y="533"/>
                    <a:pt x="893" y="530"/>
                  </a:cubicBezTo>
                  <a:cubicBezTo>
                    <a:pt x="896" y="528"/>
                    <a:pt x="893" y="533"/>
                    <a:pt x="896" y="533"/>
                  </a:cubicBezTo>
                  <a:cubicBezTo>
                    <a:pt x="897" y="533"/>
                    <a:pt x="899" y="534"/>
                    <a:pt x="900" y="534"/>
                  </a:cubicBezTo>
                  <a:cubicBezTo>
                    <a:pt x="902" y="536"/>
                    <a:pt x="902" y="534"/>
                    <a:pt x="906" y="533"/>
                  </a:cubicBezTo>
                  <a:cubicBezTo>
                    <a:pt x="909" y="533"/>
                    <a:pt x="908" y="531"/>
                    <a:pt x="914" y="528"/>
                  </a:cubicBezTo>
                  <a:cubicBezTo>
                    <a:pt x="919" y="525"/>
                    <a:pt x="922" y="516"/>
                    <a:pt x="934" y="505"/>
                  </a:cubicBezTo>
                  <a:cubicBezTo>
                    <a:pt x="944" y="492"/>
                    <a:pt x="941" y="486"/>
                    <a:pt x="946" y="483"/>
                  </a:cubicBezTo>
                  <a:cubicBezTo>
                    <a:pt x="952" y="478"/>
                    <a:pt x="947" y="478"/>
                    <a:pt x="954" y="472"/>
                  </a:cubicBezTo>
                  <a:cubicBezTo>
                    <a:pt x="961" y="466"/>
                    <a:pt x="961" y="449"/>
                    <a:pt x="960" y="444"/>
                  </a:cubicBezTo>
                  <a:cubicBezTo>
                    <a:pt x="958" y="440"/>
                    <a:pt x="961" y="440"/>
                    <a:pt x="963" y="435"/>
                  </a:cubicBezTo>
                  <a:cubicBezTo>
                    <a:pt x="964" y="429"/>
                    <a:pt x="970" y="427"/>
                    <a:pt x="966" y="422"/>
                  </a:cubicBezTo>
                  <a:cubicBezTo>
                    <a:pt x="963" y="419"/>
                    <a:pt x="967" y="419"/>
                    <a:pt x="964" y="416"/>
                  </a:cubicBezTo>
                  <a:cubicBezTo>
                    <a:pt x="963" y="412"/>
                    <a:pt x="970" y="413"/>
                    <a:pt x="966" y="408"/>
                  </a:cubicBezTo>
                  <a:cubicBezTo>
                    <a:pt x="960" y="405"/>
                    <a:pt x="958" y="402"/>
                    <a:pt x="957" y="401"/>
                  </a:cubicBezTo>
                  <a:cubicBezTo>
                    <a:pt x="954" y="398"/>
                    <a:pt x="951" y="401"/>
                    <a:pt x="947" y="399"/>
                  </a:cubicBezTo>
                  <a:cubicBezTo>
                    <a:pt x="944" y="398"/>
                    <a:pt x="947" y="405"/>
                    <a:pt x="940" y="407"/>
                  </a:cubicBezTo>
                  <a:cubicBezTo>
                    <a:pt x="929" y="410"/>
                    <a:pt x="943" y="396"/>
                    <a:pt x="935" y="399"/>
                  </a:cubicBezTo>
                  <a:cubicBezTo>
                    <a:pt x="929" y="401"/>
                    <a:pt x="937" y="404"/>
                    <a:pt x="931" y="404"/>
                  </a:cubicBezTo>
                  <a:cubicBezTo>
                    <a:pt x="925" y="404"/>
                    <a:pt x="937" y="394"/>
                    <a:pt x="926" y="394"/>
                  </a:cubicBezTo>
                  <a:cubicBezTo>
                    <a:pt x="917" y="394"/>
                    <a:pt x="912" y="393"/>
                    <a:pt x="925" y="385"/>
                  </a:cubicBezTo>
                  <a:cubicBezTo>
                    <a:pt x="938" y="376"/>
                    <a:pt x="940" y="376"/>
                    <a:pt x="943" y="368"/>
                  </a:cubicBezTo>
                  <a:cubicBezTo>
                    <a:pt x="946" y="360"/>
                    <a:pt x="957" y="360"/>
                    <a:pt x="960" y="351"/>
                  </a:cubicBezTo>
                  <a:cubicBezTo>
                    <a:pt x="964" y="342"/>
                    <a:pt x="979" y="332"/>
                    <a:pt x="987" y="334"/>
                  </a:cubicBezTo>
                  <a:cubicBezTo>
                    <a:pt x="995" y="337"/>
                    <a:pt x="998" y="332"/>
                    <a:pt x="1002" y="335"/>
                  </a:cubicBezTo>
                  <a:cubicBezTo>
                    <a:pt x="1007" y="338"/>
                    <a:pt x="1002" y="332"/>
                    <a:pt x="1013" y="334"/>
                  </a:cubicBezTo>
                  <a:cubicBezTo>
                    <a:pt x="1025" y="335"/>
                    <a:pt x="1025" y="338"/>
                    <a:pt x="1028" y="331"/>
                  </a:cubicBezTo>
                  <a:cubicBezTo>
                    <a:pt x="1028" y="329"/>
                    <a:pt x="1056" y="329"/>
                    <a:pt x="1047" y="337"/>
                  </a:cubicBezTo>
                  <a:cubicBezTo>
                    <a:pt x="1039" y="343"/>
                    <a:pt x="1059" y="338"/>
                    <a:pt x="1060" y="337"/>
                  </a:cubicBezTo>
                  <a:cubicBezTo>
                    <a:pt x="1063" y="332"/>
                    <a:pt x="1066" y="343"/>
                    <a:pt x="1074" y="337"/>
                  </a:cubicBezTo>
                  <a:cubicBezTo>
                    <a:pt x="1082" y="332"/>
                    <a:pt x="1059" y="332"/>
                    <a:pt x="1075" y="320"/>
                  </a:cubicBezTo>
                  <a:cubicBezTo>
                    <a:pt x="1092" y="309"/>
                    <a:pt x="1085" y="304"/>
                    <a:pt x="1104" y="303"/>
                  </a:cubicBezTo>
                  <a:cubicBezTo>
                    <a:pt x="1121" y="300"/>
                    <a:pt x="1107" y="323"/>
                    <a:pt x="1120" y="317"/>
                  </a:cubicBezTo>
                  <a:cubicBezTo>
                    <a:pt x="1132" y="310"/>
                    <a:pt x="1129" y="303"/>
                    <a:pt x="1136" y="306"/>
                  </a:cubicBezTo>
                  <a:cubicBezTo>
                    <a:pt x="1144" y="307"/>
                    <a:pt x="1132" y="290"/>
                    <a:pt x="1146" y="290"/>
                  </a:cubicBezTo>
                  <a:cubicBezTo>
                    <a:pt x="1159" y="292"/>
                    <a:pt x="1147" y="290"/>
                    <a:pt x="1146" y="304"/>
                  </a:cubicBezTo>
                  <a:cubicBezTo>
                    <a:pt x="1142" y="318"/>
                    <a:pt x="1133" y="314"/>
                    <a:pt x="1121" y="329"/>
                  </a:cubicBezTo>
                  <a:cubicBezTo>
                    <a:pt x="1109" y="345"/>
                    <a:pt x="1103" y="351"/>
                    <a:pt x="1095" y="352"/>
                  </a:cubicBezTo>
                  <a:cubicBezTo>
                    <a:pt x="1086" y="356"/>
                    <a:pt x="1094" y="359"/>
                    <a:pt x="1086" y="365"/>
                  </a:cubicBezTo>
                  <a:cubicBezTo>
                    <a:pt x="1077" y="371"/>
                    <a:pt x="1080" y="398"/>
                    <a:pt x="1085" y="421"/>
                  </a:cubicBezTo>
                  <a:cubicBezTo>
                    <a:pt x="1086" y="430"/>
                    <a:pt x="1085" y="449"/>
                    <a:pt x="1098" y="429"/>
                  </a:cubicBezTo>
                  <a:cubicBezTo>
                    <a:pt x="1107" y="416"/>
                    <a:pt x="1098" y="412"/>
                    <a:pt x="1111" y="412"/>
                  </a:cubicBezTo>
                  <a:cubicBezTo>
                    <a:pt x="1120" y="412"/>
                    <a:pt x="1109" y="396"/>
                    <a:pt x="1121" y="396"/>
                  </a:cubicBezTo>
                  <a:cubicBezTo>
                    <a:pt x="1139" y="394"/>
                    <a:pt x="1124" y="387"/>
                    <a:pt x="1129" y="379"/>
                  </a:cubicBezTo>
                  <a:cubicBezTo>
                    <a:pt x="1133" y="370"/>
                    <a:pt x="1139" y="382"/>
                    <a:pt x="1141" y="374"/>
                  </a:cubicBezTo>
                  <a:cubicBezTo>
                    <a:pt x="1142" y="365"/>
                    <a:pt x="1130" y="368"/>
                    <a:pt x="1136" y="360"/>
                  </a:cubicBezTo>
                  <a:cubicBezTo>
                    <a:pt x="1147" y="348"/>
                    <a:pt x="1121" y="354"/>
                    <a:pt x="1133" y="345"/>
                  </a:cubicBezTo>
                  <a:cubicBezTo>
                    <a:pt x="1146" y="334"/>
                    <a:pt x="1138" y="329"/>
                    <a:pt x="1146" y="326"/>
                  </a:cubicBezTo>
                  <a:cubicBezTo>
                    <a:pt x="1155" y="323"/>
                    <a:pt x="1147" y="331"/>
                    <a:pt x="1158" y="323"/>
                  </a:cubicBezTo>
                  <a:cubicBezTo>
                    <a:pt x="1171" y="312"/>
                    <a:pt x="1155" y="337"/>
                    <a:pt x="1167" y="326"/>
                  </a:cubicBezTo>
                  <a:cubicBezTo>
                    <a:pt x="1181" y="314"/>
                    <a:pt x="1188" y="318"/>
                    <a:pt x="1194" y="326"/>
                  </a:cubicBezTo>
                  <a:cubicBezTo>
                    <a:pt x="1200" y="332"/>
                    <a:pt x="1190" y="325"/>
                    <a:pt x="1213" y="312"/>
                  </a:cubicBezTo>
                  <a:cubicBezTo>
                    <a:pt x="1222" y="307"/>
                    <a:pt x="1229" y="298"/>
                    <a:pt x="1241" y="295"/>
                  </a:cubicBezTo>
                  <a:cubicBezTo>
                    <a:pt x="1263" y="287"/>
                    <a:pt x="1263" y="298"/>
                    <a:pt x="1267" y="293"/>
                  </a:cubicBezTo>
                  <a:cubicBezTo>
                    <a:pt x="1273" y="287"/>
                    <a:pt x="1266" y="286"/>
                    <a:pt x="1263" y="275"/>
                  </a:cubicBezTo>
                  <a:cubicBezTo>
                    <a:pt x="1258" y="262"/>
                    <a:pt x="1255" y="275"/>
                    <a:pt x="1252" y="265"/>
                  </a:cubicBezTo>
                  <a:cubicBezTo>
                    <a:pt x="1251" y="259"/>
                    <a:pt x="1264" y="269"/>
                    <a:pt x="1270" y="259"/>
                  </a:cubicBezTo>
                  <a:cubicBezTo>
                    <a:pt x="1272" y="258"/>
                    <a:pt x="1273" y="258"/>
                    <a:pt x="1273" y="256"/>
                  </a:cubicBezTo>
                  <a:cubicBezTo>
                    <a:pt x="1273" y="256"/>
                    <a:pt x="1273" y="256"/>
                    <a:pt x="1273" y="256"/>
                  </a:cubicBezTo>
                  <a:close/>
                  <a:moveTo>
                    <a:pt x="969" y="421"/>
                  </a:moveTo>
                  <a:cubicBezTo>
                    <a:pt x="967" y="424"/>
                    <a:pt x="970" y="422"/>
                    <a:pt x="969" y="425"/>
                  </a:cubicBezTo>
                  <a:cubicBezTo>
                    <a:pt x="967" y="429"/>
                    <a:pt x="970" y="429"/>
                    <a:pt x="970" y="430"/>
                  </a:cubicBezTo>
                  <a:cubicBezTo>
                    <a:pt x="969" y="430"/>
                    <a:pt x="972" y="430"/>
                    <a:pt x="973" y="435"/>
                  </a:cubicBezTo>
                  <a:cubicBezTo>
                    <a:pt x="975" y="438"/>
                    <a:pt x="970" y="441"/>
                    <a:pt x="972" y="444"/>
                  </a:cubicBezTo>
                  <a:cubicBezTo>
                    <a:pt x="973" y="449"/>
                    <a:pt x="972" y="461"/>
                    <a:pt x="970" y="464"/>
                  </a:cubicBezTo>
                  <a:cubicBezTo>
                    <a:pt x="969" y="468"/>
                    <a:pt x="975" y="468"/>
                    <a:pt x="972" y="477"/>
                  </a:cubicBezTo>
                  <a:cubicBezTo>
                    <a:pt x="969" y="481"/>
                    <a:pt x="973" y="485"/>
                    <a:pt x="972" y="488"/>
                  </a:cubicBezTo>
                  <a:cubicBezTo>
                    <a:pt x="969" y="491"/>
                    <a:pt x="970" y="492"/>
                    <a:pt x="970" y="496"/>
                  </a:cubicBezTo>
                  <a:cubicBezTo>
                    <a:pt x="972" y="500"/>
                    <a:pt x="973" y="499"/>
                    <a:pt x="973" y="494"/>
                  </a:cubicBezTo>
                  <a:cubicBezTo>
                    <a:pt x="975" y="489"/>
                    <a:pt x="977" y="488"/>
                    <a:pt x="978" y="489"/>
                  </a:cubicBezTo>
                  <a:cubicBezTo>
                    <a:pt x="978" y="491"/>
                    <a:pt x="979" y="489"/>
                    <a:pt x="981" y="491"/>
                  </a:cubicBezTo>
                  <a:cubicBezTo>
                    <a:pt x="983" y="491"/>
                    <a:pt x="983" y="497"/>
                    <a:pt x="983" y="496"/>
                  </a:cubicBezTo>
                  <a:cubicBezTo>
                    <a:pt x="986" y="491"/>
                    <a:pt x="984" y="492"/>
                    <a:pt x="984" y="489"/>
                  </a:cubicBezTo>
                  <a:cubicBezTo>
                    <a:pt x="984" y="486"/>
                    <a:pt x="984" y="488"/>
                    <a:pt x="981" y="488"/>
                  </a:cubicBezTo>
                  <a:cubicBezTo>
                    <a:pt x="979" y="486"/>
                    <a:pt x="979" y="483"/>
                    <a:pt x="978" y="480"/>
                  </a:cubicBezTo>
                  <a:cubicBezTo>
                    <a:pt x="973" y="477"/>
                    <a:pt x="977" y="468"/>
                    <a:pt x="978" y="464"/>
                  </a:cubicBezTo>
                  <a:cubicBezTo>
                    <a:pt x="981" y="463"/>
                    <a:pt x="978" y="460"/>
                    <a:pt x="981" y="458"/>
                  </a:cubicBezTo>
                  <a:cubicBezTo>
                    <a:pt x="984" y="458"/>
                    <a:pt x="987" y="458"/>
                    <a:pt x="990" y="461"/>
                  </a:cubicBezTo>
                  <a:cubicBezTo>
                    <a:pt x="992" y="464"/>
                    <a:pt x="993" y="468"/>
                    <a:pt x="993" y="464"/>
                  </a:cubicBezTo>
                  <a:cubicBezTo>
                    <a:pt x="993" y="463"/>
                    <a:pt x="990" y="460"/>
                    <a:pt x="989" y="457"/>
                  </a:cubicBezTo>
                  <a:cubicBezTo>
                    <a:pt x="989" y="452"/>
                    <a:pt x="986" y="446"/>
                    <a:pt x="984" y="441"/>
                  </a:cubicBezTo>
                  <a:cubicBezTo>
                    <a:pt x="984" y="436"/>
                    <a:pt x="983" y="435"/>
                    <a:pt x="983" y="432"/>
                  </a:cubicBezTo>
                  <a:cubicBezTo>
                    <a:pt x="983" y="429"/>
                    <a:pt x="981" y="433"/>
                    <a:pt x="981" y="430"/>
                  </a:cubicBezTo>
                  <a:cubicBezTo>
                    <a:pt x="983" y="425"/>
                    <a:pt x="981" y="430"/>
                    <a:pt x="981" y="427"/>
                  </a:cubicBezTo>
                  <a:cubicBezTo>
                    <a:pt x="979" y="422"/>
                    <a:pt x="984" y="422"/>
                    <a:pt x="983" y="413"/>
                  </a:cubicBezTo>
                  <a:cubicBezTo>
                    <a:pt x="981" y="407"/>
                    <a:pt x="979" y="410"/>
                    <a:pt x="981" y="408"/>
                  </a:cubicBezTo>
                  <a:cubicBezTo>
                    <a:pt x="981" y="407"/>
                    <a:pt x="979" y="408"/>
                    <a:pt x="979" y="407"/>
                  </a:cubicBezTo>
                  <a:cubicBezTo>
                    <a:pt x="979" y="404"/>
                    <a:pt x="978" y="404"/>
                    <a:pt x="979" y="402"/>
                  </a:cubicBezTo>
                  <a:cubicBezTo>
                    <a:pt x="981" y="401"/>
                    <a:pt x="979" y="399"/>
                    <a:pt x="978" y="398"/>
                  </a:cubicBezTo>
                  <a:cubicBezTo>
                    <a:pt x="977" y="394"/>
                    <a:pt x="978" y="398"/>
                    <a:pt x="975" y="398"/>
                  </a:cubicBezTo>
                  <a:cubicBezTo>
                    <a:pt x="972" y="399"/>
                    <a:pt x="978" y="401"/>
                    <a:pt x="977" y="404"/>
                  </a:cubicBezTo>
                  <a:cubicBezTo>
                    <a:pt x="977" y="407"/>
                    <a:pt x="975" y="405"/>
                    <a:pt x="975" y="407"/>
                  </a:cubicBezTo>
                  <a:cubicBezTo>
                    <a:pt x="975" y="408"/>
                    <a:pt x="978" y="407"/>
                    <a:pt x="975" y="408"/>
                  </a:cubicBezTo>
                  <a:cubicBezTo>
                    <a:pt x="973" y="412"/>
                    <a:pt x="975" y="407"/>
                    <a:pt x="972" y="408"/>
                  </a:cubicBezTo>
                  <a:cubicBezTo>
                    <a:pt x="970" y="408"/>
                    <a:pt x="969" y="408"/>
                    <a:pt x="970" y="412"/>
                  </a:cubicBezTo>
                  <a:cubicBezTo>
                    <a:pt x="970" y="413"/>
                    <a:pt x="970" y="416"/>
                    <a:pt x="969" y="421"/>
                  </a:cubicBezTo>
                  <a:close/>
                  <a:moveTo>
                    <a:pt x="1007" y="517"/>
                  </a:moveTo>
                  <a:cubicBezTo>
                    <a:pt x="1010" y="516"/>
                    <a:pt x="1004" y="514"/>
                    <a:pt x="1004" y="516"/>
                  </a:cubicBezTo>
                  <a:cubicBezTo>
                    <a:pt x="1002" y="519"/>
                    <a:pt x="998" y="520"/>
                    <a:pt x="999" y="523"/>
                  </a:cubicBezTo>
                  <a:cubicBezTo>
                    <a:pt x="1001" y="525"/>
                    <a:pt x="1001" y="519"/>
                    <a:pt x="1007" y="517"/>
                  </a:cubicBezTo>
                  <a:close/>
                  <a:moveTo>
                    <a:pt x="1015" y="511"/>
                  </a:moveTo>
                  <a:cubicBezTo>
                    <a:pt x="1018" y="508"/>
                    <a:pt x="1018" y="509"/>
                    <a:pt x="1021" y="506"/>
                  </a:cubicBezTo>
                  <a:cubicBezTo>
                    <a:pt x="1024" y="505"/>
                    <a:pt x="1028" y="506"/>
                    <a:pt x="1025" y="503"/>
                  </a:cubicBezTo>
                  <a:cubicBezTo>
                    <a:pt x="1024" y="502"/>
                    <a:pt x="1022" y="506"/>
                    <a:pt x="1019" y="505"/>
                  </a:cubicBezTo>
                  <a:cubicBezTo>
                    <a:pt x="1018" y="503"/>
                    <a:pt x="1021" y="506"/>
                    <a:pt x="1018" y="506"/>
                  </a:cubicBezTo>
                  <a:cubicBezTo>
                    <a:pt x="1015" y="508"/>
                    <a:pt x="1012" y="509"/>
                    <a:pt x="1010" y="514"/>
                  </a:cubicBezTo>
                  <a:cubicBezTo>
                    <a:pt x="1010" y="516"/>
                    <a:pt x="1013" y="516"/>
                    <a:pt x="1015" y="511"/>
                  </a:cubicBezTo>
                  <a:close/>
                  <a:moveTo>
                    <a:pt x="1031" y="500"/>
                  </a:moveTo>
                  <a:cubicBezTo>
                    <a:pt x="1033" y="497"/>
                    <a:pt x="1037" y="494"/>
                    <a:pt x="1039" y="494"/>
                  </a:cubicBezTo>
                  <a:cubicBezTo>
                    <a:pt x="1040" y="496"/>
                    <a:pt x="1030" y="505"/>
                    <a:pt x="1031" y="500"/>
                  </a:cubicBezTo>
                  <a:close/>
                  <a:moveTo>
                    <a:pt x="1071" y="461"/>
                  </a:moveTo>
                  <a:cubicBezTo>
                    <a:pt x="1071" y="460"/>
                    <a:pt x="1072" y="453"/>
                    <a:pt x="1074" y="455"/>
                  </a:cubicBezTo>
                  <a:cubicBezTo>
                    <a:pt x="1075" y="457"/>
                    <a:pt x="1071" y="461"/>
                    <a:pt x="1071" y="461"/>
                  </a:cubicBezTo>
                  <a:close/>
                  <a:moveTo>
                    <a:pt x="1066" y="464"/>
                  </a:moveTo>
                  <a:cubicBezTo>
                    <a:pt x="1068" y="464"/>
                    <a:pt x="1069" y="463"/>
                    <a:pt x="1069" y="463"/>
                  </a:cubicBezTo>
                  <a:cubicBezTo>
                    <a:pt x="1069" y="464"/>
                    <a:pt x="1066" y="466"/>
                    <a:pt x="1066" y="464"/>
                  </a:cubicBezTo>
                  <a:close/>
                  <a:moveTo>
                    <a:pt x="1060" y="477"/>
                  </a:moveTo>
                  <a:cubicBezTo>
                    <a:pt x="1059" y="477"/>
                    <a:pt x="1059" y="475"/>
                    <a:pt x="1060" y="475"/>
                  </a:cubicBezTo>
                  <a:cubicBezTo>
                    <a:pt x="1060" y="477"/>
                    <a:pt x="1060" y="478"/>
                    <a:pt x="1060" y="477"/>
                  </a:cubicBezTo>
                  <a:close/>
                  <a:moveTo>
                    <a:pt x="1054" y="481"/>
                  </a:moveTo>
                  <a:cubicBezTo>
                    <a:pt x="1054" y="481"/>
                    <a:pt x="1056" y="480"/>
                    <a:pt x="1056" y="481"/>
                  </a:cubicBezTo>
                  <a:cubicBezTo>
                    <a:pt x="1056" y="481"/>
                    <a:pt x="1056" y="483"/>
                    <a:pt x="1054" y="481"/>
                  </a:cubicBezTo>
                  <a:close/>
                  <a:moveTo>
                    <a:pt x="1082" y="447"/>
                  </a:moveTo>
                  <a:cubicBezTo>
                    <a:pt x="1085" y="447"/>
                    <a:pt x="1085" y="441"/>
                    <a:pt x="1083" y="441"/>
                  </a:cubicBezTo>
                  <a:cubicBezTo>
                    <a:pt x="1082" y="441"/>
                    <a:pt x="1082" y="444"/>
                    <a:pt x="1080" y="446"/>
                  </a:cubicBezTo>
                  <a:cubicBezTo>
                    <a:pt x="1077" y="446"/>
                    <a:pt x="1075" y="447"/>
                    <a:pt x="1077" y="449"/>
                  </a:cubicBezTo>
                  <a:cubicBezTo>
                    <a:pt x="1079" y="452"/>
                    <a:pt x="1079" y="449"/>
                    <a:pt x="1082" y="447"/>
                  </a:cubicBezTo>
                  <a:close/>
                  <a:moveTo>
                    <a:pt x="1085" y="443"/>
                  </a:moveTo>
                  <a:cubicBezTo>
                    <a:pt x="1083" y="441"/>
                    <a:pt x="1086" y="440"/>
                    <a:pt x="1088" y="440"/>
                  </a:cubicBezTo>
                  <a:cubicBezTo>
                    <a:pt x="1088" y="441"/>
                    <a:pt x="1086" y="443"/>
                    <a:pt x="1085" y="443"/>
                  </a:cubicBezTo>
                  <a:close/>
                  <a:moveTo>
                    <a:pt x="1162" y="385"/>
                  </a:moveTo>
                  <a:cubicBezTo>
                    <a:pt x="1165" y="384"/>
                    <a:pt x="1170" y="396"/>
                    <a:pt x="1167" y="393"/>
                  </a:cubicBezTo>
                  <a:cubicBezTo>
                    <a:pt x="1164" y="390"/>
                    <a:pt x="1161" y="387"/>
                    <a:pt x="1162" y="385"/>
                  </a:cubicBezTo>
                  <a:close/>
                  <a:moveTo>
                    <a:pt x="0" y="396"/>
                  </a:moveTo>
                  <a:cubicBezTo>
                    <a:pt x="11" y="398"/>
                    <a:pt x="20" y="399"/>
                    <a:pt x="26" y="398"/>
                  </a:cubicBezTo>
                  <a:cubicBezTo>
                    <a:pt x="25" y="393"/>
                    <a:pt x="28" y="391"/>
                    <a:pt x="25" y="390"/>
                  </a:cubicBezTo>
                  <a:cubicBezTo>
                    <a:pt x="22" y="387"/>
                    <a:pt x="25" y="391"/>
                    <a:pt x="14" y="387"/>
                  </a:cubicBezTo>
                  <a:cubicBezTo>
                    <a:pt x="14" y="388"/>
                    <a:pt x="13" y="387"/>
                    <a:pt x="14" y="388"/>
                  </a:cubicBezTo>
                  <a:cubicBezTo>
                    <a:pt x="14" y="391"/>
                    <a:pt x="11" y="391"/>
                    <a:pt x="10" y="391"/>
                  </a:cubicBezTo>
                  <a:cubicBezTo>
                    <a:pt x="8" y="390"/>
                    <a:pt x="11" y="388"/>
                    <a:pt x="11" y="387"/>
                  </a:cubicBezTo>
                  <a:cubicBezTo>
                    <a:pt x="13" y="385"/>
                    <a:pt x="11" y="385"/>
                    <a:pt x="10" y="388"/>
                  </a:cubicBezTo>
                  <a:cubicBezTo>
                    <a:pt x="7" y="391"/>
                    <a:pt x="8" y="390"/>
                    <a:pt x="5" y="390"/>
                  </a:cubicBezTo>
                  <a:cubicBezTo>
                    <a:pt x="2" y="390"/>
                    <a:pt x="5" y="393"/>
                    <a:pt x="0" y="396"/>
                  </a:cubicBezTo>
                  <a:close/>
                  <a:moveTo>
                    <a:pt x="1142" y="342"/>
                  </a:moveTo>
                  <a:cubicBezTo>
                    <a:pt x="1147" y="337"/>
                    <a:pt x="1152" y="334"/>
                    <a:pt x="1152" y="337"/>
                  </a:cubicBezTo>
                  <a:cubicBezTo>
                    <a:pt x="1152" y="340"/>
                    <a:pt x="1141" y="345"/>
                    <a:pt x="1142" y="342"/>
                  </a:cubicBezTo>
                  <a:close/>
                  <a:moveTo>
                    <a:pt x="937" y="393"/>
                  </a:moveTo>
                  <a:cubicBezTo>
                    <a:pt x="934" y="390"/>
                    <a:pt x="935" y="387"/>
                    <a:pt x="938" y="388"/>
                  </a:cubicBezTo>
                  <a:cubicBezTo>
                    <a:pt x="943" y="388"/>
                    <a:pt x="940" y="394"/>
                    <a:pt x="937" y="393"/>
                  </a:cubicBezTo>
                  <a:close/>
                  <a:moveTo>
                    <a:pt x="1274" y="175"/>
                  </a:moveTo>
                  <a:cubicBezTo>
                    <a:pt x="1274" y="175"/>
                    <a:pt x="1274" y="175"/>
                    <a:pt x="1274" y="175"/>
                  </a:cubicBezTo>
                  <a:cubicBezTo>
                    <a:pt x="1278" y="175"/>
                    <a:pt x="1284" y="174"/>
                    <a:pt x="1289" y="172"/>
                  </a:cubicBezTo>
                  <a:cubicBezTo>
                    <a:pt x="1301" y="171"/>
                    <a:pt x="1287" y="163"/>
                    <a:pt x="1278" y="164"/>
                  </a:cubicBezTo>
                  <a:cubicBezTo>
                    <a:pt x="1277" y="164"/>
                    <a:pt x="1275" y="164"/>
                    <a:pt x="1274" y="164"/>
                  </a:cubicBezTo>
                  <a:cubicBezTo>
                    <a:pt x="1273" y="164"/>
                    <a:pt x="1273" y="164"/>
                    <a:pt x="1273" y="164"/>
                  </a:cubicBezTo>
                  <a:cubicBezTo>
                    <a:pt x="1267" y="166"/>
                    <a:pt x="1263" y="171"/>
                    <a:pt x="1261" y="174"/>
                  </a:cubicBezTo>
                  <a:cubicBezTo>
                    <a:pt x="1261" y="177"/>
                    <a:pt x="1267" y="177"/>
                    <a:pt x="1273" y="175"/>
                  </a:cubicBezTo>
                  <a:lnTo>
                    <a:pt x="1274" y="175"/>
                  </a:lnTo>
                  <a:close/>
                  <a:moveTo>
                    <a:pt x="1188" y="192"/>
                  </a:moveTo>
                  <a:cubicBezTo>
                    <a:pt x="1185" y="196"/>
                    <a:pt x="1174" y="191"/>
                    <a:pt x="1176" y="189"/>
                  </a:cubicBezTo>
                  <a:cubicBezTo>
                    <a:pt x="1179" y="188"/>
                    <a:pt x="1191" y="189"/>
                    <a:pt x="1188" y="192"/>
                  </a:cubicBezTo>
                  <a:close/>
                  <a:moveTo>
                    <a:pt x="978" y="132"/>
                  </a:moveTo>
                  <a:cubicBezTo>
                    <a:pt x="969" y="127"/>
                    <a:pt x="964" y="132"/>
                    <a:pt x="957" y="136"/>
                  </a:cubicBezTo>
                  <a:cubicBezTo>
                    <a:pt x="951" y="141"/>
                    <a:pt x="958" y="136"/>
                    <a:pt x="970" y="139"/>
                  </a:cubicBezTo>
                  <a:cubicBezTo>
                    <a:pt x="990" y="143"/>
                    <a:pt x="987" y="136"/>
                    <a:pt x="978" y="132"/>
                  </a:cubicBezTo>
                  <a:close/>
                  <a:moveTo>
                    <a:pt x="1034" y="116"/>
                  </a:moveTo>
                  <a:cubicBezTo>
                    <a:pt x="1042" y="116"/>
                    <a:pt x="1044" y="110"/>
                    <a:pt x="1039" y="112"/>
                  </a:cubicBezTo>
                  <a:cubicBezTo>
                    <a:pt x="1036" y="112"/>
                    <a:pt x="1036" y="105"/>
                    <a:pt x="1028" y="109"/>
                  </a:cubicBezTo>
                  <a:cubicBezTo>
                    <a:pt x="1021" y="112"/>
                    <a:pt x="1030" y="105"/>
                    <a:pt x="1018" y="107"/>
                  </a:cubicBezTo>
                  <a:cubicBezTo>
                    <a:pt x="1005" y="109"/>
                    <a:pt x="1009" y="102"/>
                    <a:pt x="1007" y="105"/>
                  </a:cubicBezTo>
                  <a:cubicBezTo>
                    <a:pt x="1004" y="107"/>
                    <a:pt x="999" y="112"/>
                    <a:pt x="1016" y="115"/>
                  </a:cubicBezTo>
                  <a:cubicBezTo>
                    <a:pt x="1025" y="118"/>
                    <a:pt x="1027" y="116"/>
                    <a:pt x="1034" y="116"/>
                  </a:cubicBezTo>
                  <a:close/>
                  <a:moveTo>
                    <a:pt x="996" y="105"/>
                  </a:moveTo>
                  <a:cubicBezTo>
                    <a:pt x="1002" y="105"/>
                    <a:pt x="989" y="99"/>
                    <a:pt x="981" y="101"/>
                  </a:cubicBezTo>
                  <a:cubicBezTo>
                    <a:pt x="975" y="102"/>
                    <a:pt x="970" y="93"/>
                    <a:pt x="964" y="96"/>
                  </a:cubicBezTo>
                  <a:cubicBezTo>
                    <a:pt x="958" y="99"/>
                    <a:pt x="966" y="102"/>
                    <a:pt x="963" y="104"/>
                  </a:cubicBezTo>
                  <a:cubicBezTo>
                    <a:pt x="960" y="104"/>
                    <a:pt x="952" y="98"/>
                    <a:pt x="947" y="94"/>
                  </a:cubicBezTo>
                  <a:cubicBezTo>
                    <a:pt x="943" y="93"/>
                    <a:pt x="941" y="94"/>
                    <a:pt x="935" y="99"/>
                  </a:cubicBezTo>
                  <a:cubicBezTo>
                    <a:pt x="929" y="102"/>
                    <a:pt x="937" y="105"/>
                    <a:pt x="934" y="107"/>
                  </a:cubicBezTo>
                  <a:cubicBezTo>
                    <a:pt x="929" y="109"/>
                    <a:pt x="935" y="113"/>
                    <a:pt x="946" y="118"/>
                  </a:cubicBezTo>
                  <a:cubicBezTo>
                    <a:pt x="955" y="121"/>
                    <a:pt x="949" y="113"/>
                    <a:pt x="957" y="115"/>
                  </a:cubicBezTo>
                  <a:cubicBezTo>
                    <a:pt x="964" y="118"/>
                    <a:pt x="967" y="110"/>
                    <a:pt x="972" y="115"/>
                  </a:cubicBezTo>
                  <a:cubicBezTo>
                    <a:pt x="977" y="118"/>
                    <a:pt x="983" y="113"/>
                    <a:pt x="992" y="112"/>
                  </a:cubicBezTo>
                  <a:cubicBezTo>
                    <a:pt x="999" y="109"/>
                    <a:pt x="989" y="105"/>
                    <a:pt x="996" y="105"/>
                  </a:cubicBezTo>
                  <a:close/>
                  <a:moveTo>
                    <a:pt x="923" y="107"/>
                  </a:moveTo>
                  <a:cubicBezTo>
                    <a:pt x="917" y="110"/>
                    <a:pt x="920" y="98"/>
                    <a:pt x="923" y="101"/>
                  </a:cubicBezTo>
                  <a:cubicBezTo>
                    <a:pt x="926" y="104"/>
                    <a:pt x="926" y="105"/>
                    <a:pt x="923" y="107"/>
                  </a:cubicBezTo>
                  <a:close/>
                  <a:moveTo>
                    <a:pt x="850" y="150"/>
                  </a:moveTo>
                  <a:cubicBezTo>
                    <a:pt x="853" y="150"/>
                    <a:pt x="852" y="150"/>
                    <a:pt x="858" y="152"/>
                  </a:cubicBezTo>
                  <a:cubicBezTo>
                    <a:pt x="865" y="155"/>
                    <a:pt x="870" y="160"/>
                    <a:pt x="873" y="155"/>
                  </a:cubicBezTo>
                  <a:cubicBezTo>
                    <a:pt x="874" y="150"/>
                    <a:pt x="862" y="150"/>
                    <a:pt x="870" y="149"/>
                  </a:cubicBezTo>
                  <a:cubicBezTo>
                    <a:pt x="876" y="147"/>
                    <a:pt x="861" y="146"/>
                    <a:pt x="868" y="144"/>
                  </a:cubicBezTo>
                  <a:cubicBezTo>
                    <a:pt x="876" y="143"/>
                    <a:pt x="864" y="138"/>
                    <a:pt x="858" y="136"/>
                  </a:cubicBezTo>
                  <a:cubicBezTo>
                    <a:pt x="852" y="133"/>
                    <a:pt x="850" y="143"/>
                    <a:pt x="849" y="138"/>
                  </a:cubicBezTo>
                  <a:cubicBezTo>
                    <a:pt x="847" y="133"/>
                    <a:pt x="842" y="136"/>
                    <a:pt x="836" y="133"/>
                  </a:cubicBezTo>
                  <a:cubicBezTo>
                    <a:pt x="830" y="130"/>
                    <a:pt x="820" y="135"/>
                    <a:pt x="824" y="138"/>
                  </a:cubicBezTo>
                  <a:cubicBezTo>
                    <a:pt x="829" y="143"/>
                    <a:pt x="815" y="144"/>
                    <a:pt x="824" y="146"/>
                  </a:cubicBezTo>
                  <a:cubicBezTo>
                    <a:pt x="832" y="147"/>
                    <a:pt x="835" y="147"/>
                    <a:pt x="845" y="154"/>
                  </a:cubicBezTo>
                  <a:cubicBezTo>
                    <a:pt x="852" y="155"/>
                    <a:pt x="845" y="150"/>
                    <a:pt x="850" y="150"/>
                  </a:cubicBezTo>
                  <a:close/>
                  <a:moveTo>
                    <a:pt x="739" y="121"/>
                  </a:moveTo>
                  <a:cubicBezTo>
                    <a:pt x="731" y="119"/>
                    <a:pt x="727" y="122"/>
                    <a:pt x="734" y="126"/>
                  </a:cubicBezTo>
                  <a:cubicBezTo>
                    <a:pt x="743" y="130"/>
                    <a:pt x="748" y="121"/>
                    <a:pt x="739" y="121"/>
                  </a:cubicBezTo>
                  <a:close/>
                  <a:moveTo>
                    <a:pt x="640" y="65"/>
                  </a:moveTo>
                  <a:cubicBezTo>
                    <a:pt x="648" y="63"/>
                    <a:pt x="654" y="62"/>
                    <a:pt x="667" y="62"/>
                  </a:cubicBezTo>
                  <a:cubicBezTo>
                    <a:pt x="683" y="60"/>
                    <a:pt x="684" y="57"/>
                    <a:pt x="676" y="53"/>
                  </a:cubicBezTo>
                  <a:cubicBezTo>
                    <a:pt x="669" y="46"/>
                    <a:pt x="670" y="45"/>
                    <a:pt x="660" y="51"/>
                  </a:cubicBezTo>
                  <a:cubicBezTo>
                    <a:pt x="651" y="59"/>
                    <a:pt x="667" y="45"/>
                    <a:pt x="663" y="43"/>
                  </a:cubicBezTo>
                  <a:cubicBezTo>
                    <a:pt x="658" y="42"/>
                    <a:pt x="652" y="39"/>
                    <a:pt x="648" y="48"/>
                  </a:cubicBezTo>
                  <a:cubicBezTo>
                    <a:pt x="641" y="57"/>
                    <a:pt x="641" y="49"/>
                    <a:pt x="635" y="63"/>
                  </a:cubicBezTo>
                  <a:cubicBezTo>
                    <a:pt x="632" y="66"/>
                    <a:pt x="634" y="68"/>
                    <a:pt x="640" y="65"/>
                  </a:cubicBezTo>
                  <a:close/>
                  <a:moveTo>
                    <a:pt x="617" y="51"/>
                  </a:moveTo>
                  <a:cubicBezTo>
                    <a:pt x="628" y="56"/>
                    <a:pt x="641" y="51"/>
                    <a:pt x="637" y="48"/>
                  </a:cubicBezTo>
                  <a:cubicBezTo>
                    <a:pt x="632" y="45"/>
                    <a:pt x="643" y="37"/>
                    <a:pt x="638" y="35"/>
                  </a:cubicBezTo>
                  <a:cubicBezTo>
                    <a:pt x="632" y="32"/>
                    <a:pt x="635" y="29"/>
                    <a:pt x="626" y="34"/>
                  </a:cubicBezTo>
                  <a:cubicBezTo>
                    <a:pt x="616" y="37"/>
                    <a:pt x="625" y="31"/>
                    <a:pt x="620" y="31"/>
                  </a:cubicBezTo>
                  <a:cubicBezTo>
                    <a:pt x="616" y="31"/>
                    <a:pt x="603" y="29"/>
                    <a:pt x="597" y="32"/>
                  </a:cubicBezTo>
                  <a:cubicBezTo>
                    <a:pt x="591" y="37"/>
                    <a:pt x="579" y="42"/>
                    <a:pt x="588" y="42"/>
                  </a:cubicBezTo>
                  <a:cubicBezTo>
                    <a:pt x="599" y="42"/>
                    <a:pt x="591" y="45"/>
                    <a:pt x="597" y="48"/>
                  </a:cubicBezTo>
                  <a:cubicBezTo>
                    <a:pt x="600" y="49"/>
                    <a:pt x="605" y="48"/>
                    <a:pt x="617" y="51"/>
                  </a:cubicBezTo>
                  <a:close/>
                  <a:moveTo>
                    <a:pt x="576" y="31"/>
                  </a:moveTo>
                  <a:cubicBezTo>
                    <a:pt x="567" y="31"/>
                    <a:pt x="565" y="34"/>
                    <a:pt x="571" y="35"/>
                  </a:cubicBezTo>
                  <a:cubicBezTo>
                    <a:pt x="578" y="37"/>
                    <a:pt x="574" y="40"/>
                    <a:pt x="581" y="39"/>
                  </a:cubicBezTo>
                  <a:cubicBezTo>
                    <a:pt x="599" y="34"/>
                    <a:pt x="584" y="32"/>
                    <a:pt x="576" y="31"/>
                  </a:cubicBezTo>
                  <a:close/>
                  <a:moveTo>
                    <a:pt x="600" y="29"/>
                  </a:moveTo>
                  <a:cubicBezTo>
                    <a:pt x="614" y="28"/>
                    <a:pt x="620" y="31"/>
                    <a:pt x="616" y="25"/>
                  </a:cubicBezTo>
                  <a:cubicBezTo>
                    <a:pt x="613" y="20"/>
                    <a:pt x="623" y="23"/>
                    <a:pt x="622" y="20"/>
                  </a:cubicBezTo>
                  <a:cubicBezTo>
                    <a:pt x="620" y="17"/>
                    <a:pt x="616" y="20"/>
                    <a:pt x="611" y="15"/>
                  </a:cubicBezTo>
                  <a:cubicBezTo>
                    <a:pt x="605" y="11"/>
                    <a:pt x="603" y="9"/>
                    <a:pt x="597" y="12"/>
                  </a:cubicBezTo>
                  <a:cubicBezTo>
                    <a:pt x="593" y="15"/>
                    <a:pt x="590" y="12"/>
                    <a:pt x="582" y="17"/>
                  </a:cubicBezTo>
                  <a:cubicBezTo>
                    <a:pt x="574" y="21"/>
                    <a:pt x="587" y="18"/>
                    <a:pt x="582" y="21"/>
                  </a:cubicBezTo>
                  <a:cubicBezTo>
                    <a:pt x="576" y="26"/>
                    <a:pt x="567" y="28"/>
                    <a:pt x="573" y="28"/>
                  </a:cubicBezTo>
                  <a:cubicBezTo>
                    <a:pt x="581" y="29"/>
                    <a:pt x="579" y="31"/>
                    <a:pt x="588" y="32"/>
                  </a:cubicBezTo>
                  <a:cubicBezTo>
                    <a:pt x="599" y="32"/>
                    <a:pt x="588" y="29"/>
                    <a:pt x="600" y="29"/>
                  </a:cubicBezTo>
                  <a:close/>
                  <a:moveTo>
                    <a:pt x="561" y="12"/>
                  </a:moveTo>
                  <a:cubicBezTo>
                    <a:pt x="561" y="11"/>
                    <a:pt x="571" y="12"/>
                    <a:pt x="571" y="14"/>
                  </a:cubicBezTo>
                  <a:cubicBezTo>
                    <a:pt x="571" y="15"/>
                    <a:pt x="559" y="15"/>
                    <a:pt x="561" y="12"/>
                  </a:cubicBezTo>
                  <a:close/>
                  <a:moveTo>
                    <a:pt x="600" y="82"/>
                  </a:moveTo>
                  <a:cubicBezTo>
                    <a:pt x="599" y="81"/>
                    <a:pt x="610" y="77"/>
                    <a:pt x="611" y="79"/>
                  </a:cubicBezTo>
                  <a:cubicBezTo>
                    <a:pt x="613" y="81"/>
                    <a:pt x="605" y="84"/>
                    <a:pt x="600" y="8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1" name="Freeform 238"/>
            <p:cNvSpPr>
              <a:spLocks noEditPoints="1"/>
            </p:cNvSpPr>
            <p:nvPr/>
          </p:nvSpPr>
          <p:spPr bwMode="auto">
            <a:xfrm>
              <a:off x="7739042" y="5455640"/>
              <a:ext cx="1015486" cy="1078131"/>
            </a:xfrm>
            <a:custGeom>
              <a:avLst/>
              <a:gdLst/>
              <a:ahLst/>
              <a:cxnLst>
                <a:cxn ang="0">
                  <a:pos x="86" y="62"/>
                </a:cxn>
                <a:cxn ang="0">
                  <a:pos x="105" y="36"/>
                </a:cxn>
                <a:cxn ang="0">
                  <a:pos x="133" y="43"/>
                </a:cxn>
                <a:cxn ang="0">
                  <a:pos x="151" y="17"/>
                </a:cxn>
                <a:cxn ang="0">
                  <a:pos x="154" y="6"/>
                </a:cxn>
                <a:cxn ang="0">
                  <a:pos x="172" y="14"/>
                </a:cxn>
                <a:cxn ang="0">
                  <a:pos x="185" y="18"/>
                </a:cxn>
                <a:cxn ang="0">
                  <a:pos x="188" y="25"/>
                </a:cxn>
                <a:cxn ang="0">
                  <a:pos x="188" y="51"/>
                </a:cxn>
                <a:cxn ang="0">
                  <a:pos x="220" y="70"/>
                </a:cxn>
                <a:cxn ang="0">
                  <a:pos x="227" y="29"/>
                </a:cxn>
                <a:cxn ang="0">
                  <a:pos x="232" y="6"/>
                </a:cxn>
                <a:cxn ang="0">
                  <a:pos x="241" y="18"/>
                </a:cxn>
                <a:cxn ang="0">
                  <a:pos x="256" y="42"/>
                </a:cxn>
                <a:cxn ang="0">
                  <a:pos x="271" y="87"/>
                </a:cxn>
                <a:cxn ang="0">
                  <a:pos x="291" y="109"/>
                </a:cxn>
                <a:cxn ang="0">
                  <a:pos x="300" y="118"/>
                </a:cxn>
                <a:cxn ang="0">
                  <a:pos x="317" y="149"/>
                </a:cxn>
                <a:cxn ang="0">
                  <a:pos x="323" y="186"/>
                </a:cxn>
                <a:cxn ang="0">
                  <a:pos x="311" y="228"/>
                </a:cxn>
                <a:cxn ang="0">
                  <a:pos x="294" y="273"/>
                </a:cxn>
                <a:cxn ang="0">
                  <a:pos x="265" y="295"/>
                </a:cxn>
                <a:cxn ang="0">
                  <a:pos x="256" y="283"/>
                </a:cxn>
                <a:cxn ang="0">
                  <a:pos x="229" y="287"/>
                </a:cxn>
                <a:cxn ang="0">
                  <a:pos x="207" y="258"/>
                </a:cxn>
                <a:cxn ang="0">
                  <a:pos x="195" y="253"/>
                </a:cxn>
                <a:cxn ang="0">
                  <a:pos x="200" y="228"/>
                </a:cxn>
                <a:cxn ang="0">
                  <a:pos x="186" y="242"/>
                </a:cxn>
                <a:cxn ang="0">
                  <a:pos x="168" y="222"/>
                </a:cxn>
                <a:cxn ang="0">
                  <a:pos x="107" y="222"/>
                </a:cxn>
                <a:cxn ang="0">
                  <a:pos x="70" y="238"/>
                </a:cxn>
                <a:cxn ang="0">
                  <a:pos x="34" y="252"/>
                </a:cxn>
                <a:cxn ang="0">
                  <a:pos x="22" y="228"/>
                </a:cxn>
                <a:cxn ang="0">
                  <a:pos x="10" y="174"/>
                </a:cxn>
                <a:cxn ang="0">
                  <a:pos x="5" y="151"/>
                </a:cxn>
                <a:cxn ang="0">
                  <a:pos x="8" y="116"/>
                </a:cxn>
                <a:cxn ang="0">
                  <a:pos x="38" y="101"/>
                </a:cxn>
                <a:cxn ang="0">
                  <a:pos x="72" y="78"/>
                </a:cxn>
                <a:cxn ang="0">
                  <a:pos x="259" y="339"/>
                </a:cxn>
                <a:cxn ang="0">
                  <a:pos x="273" y="342"/>
                </a:cxn>
                <a:cxn ang="0">
                  <a:pos x="277" y="339"/>
                </a:cxn>
                <a:cxn ang="0">
                  <a:pos x="279" y="328"/>
                </a:cxn>
                <a:cxn ang="0">
                  <a:pos x="279" y="314"/>
                </a:cxn>
                <a:cxn ang="0">
                  <a:pos x="258" y="314"/>
                </a:cxn>
                <a:cxn ang="0">
                  <a:pos x="247" y="300"/>
                </a:cxn>
                <a:cxn ang="0">
                  <a:pos x="277" y="305"/>
                </a:cxn>
                <a:cxn ang="0">
                  <a:pos x="280" y="305"/>
                </a:cxn>
                <a:cxn ang="0">
                  <a:pos x="279" y="309"/>
                </a:cxn>
                <a:cxn ang="0">
                  <a:pos x="197" y="261"/>
                </a:cxn>
                <a:cxn ang="0">
                  <a:pos x="188" y="261"/>
                </a:cxn>
                <a:cxn ang="0">
                  <a:pos x="140" y="8"/>
                </a:cxn>
                <a:cxn ang="0">
                  <a:pos x="139" y="11"/>
                </a:cxn>
                <a:cxn ang="0">
                  <a:pos x="139" y="11"/>
                </a:cxn>
                <a:cxn ang="0">
                  <a:pos x="188" y="36"/>
                </a:cxn>
                <a:cxn ang="0">
                  <a:pos x="321" y="143"/>
                </a:cxn>
                <a:cxn ang="0">
                  <a:pos x="319" y="154"/>
                </a:cxn>
                <a:cxn ang="0">
                  <a:pos x="213" y="59"/>
                </a:cxn>
              </a:cxnLst>
              <a:rect l="0" t="0" r="r" b="b"/>
              <a:pathLst>
                <a:path w="326" h="346">
                  <a:moveTo>
                    <a:pt x="72" y="78"/>
                  </a:moveTo>
                  <a:cubicBezTo>
                    <a:pt x="78" y="73"/>
                    <a:pt x="70" y="73"/>
                    <a:pt x="77" y="62"/>
                  </a:cubicBezTo>
                  <a:cubicBezTo>
                    <a:pt x="84" y="53"/>
                    <a:pt x="84" y="74"/>
                    <a:pt x="86" y="62"/>
                  </a:cubicBezTo>
                  <a:cubicBezTo>
                    <a:pt x="86" y="48"/>
                    <a:pt x="92" y="65"/>
                    <a:pt x="92" y="54"/>
                  </a:cubicBezTo>
                  <a:cubicBezTo>
                    <a:pt x="92" y="46"/>
                    <a:pt x="93" y="51"/>
                    <a:pt x="98" y="42"/>
                  </a:cubicBezTo>
                  <a:cubicBezTo>
                    <a:pt x="102" y="32"/>
                    <a:pt x="104" y="42"/>
                    <a:pt x="105" y="36"/>
                  </a:cubicBezTo>
                  <a:cubicBezTo>
                    <a:pt x="105" y="29"/>
                    <a:pt x="110" y="39"/>
                    <a:pt x="110" y="32"/>
                  </a:cubicBezTo>
                  <a:cubicBezTo>
                    <a:pt x="110" y="26"/>
                    <a:pt x="121" y="43"/>
                    <a:pt x="125" y="42"/>
                  </a:cubicBezTo>
                  <a:cubicBezTo>
                    <a:pt x="130" y="42"/>
                    <a:pt x="130" y="46"/>
                    <a:pt x="133" y="43"/>
                  </a:cubicBezTo>
                  <a:cubicBezTo>
                    <a:pt x="136" y="40"/>
                    <a:pt x="127" y="42"/>
                    <a:pt x="133" y="32"/>
                  </a:cubicBezTo>
                  <a:cubicBezTo>
                    <a:pt x="139" y="25"/>
                    <a:pt x="133" y="26"/>
                    <a:pt x="140" y="20"/>
                  </a:cubicBezTo>
                  <a:cubicBezTo>
                    <a:pt x="150" y="12"/>
                    <a:pt x="145" y="18"/>
                    <a:pt x="151" y="17"/>
                  </a:cubicBezTo>
                  <a:cubicBezTo>
                    <a:pt x="157" y="15"/>
                    <a:pt x="156" y="20"/>
                    <a:pt x="157" y="14"/>
                  </a:cubicBezTo>
                  <a:cubicBezTo>
                    <a:pt x="159" y="8"/>
                    <a:pt x="153" y="11"/>
                    <a:pt x="151" y="9"/>
                  </a:cubicBezTo>
                  <a:cubicBezTo>
                    <a:pt x="150" y="6"/>
                    <a:pt x="151" y="6"/>
                    <a:pt x="154" y="6"/>
                  </a:cubicBezTo>
                  <a:cubicBezTo>
                    <a:pt x="157" y="6"/>
                    <a:pt x="156" y="9"/>
                    <a:pt x="159" y="8"/>
                  </a:cubicBezTo>
                  <a:cubicBezTo>
                    <a:pt x="162" y="8"/>
                    <a:pt x="159" y="12"/>
                    <a:pt x="165" y="12"/>
                  </a:cubicBezTo>
                  <a:cubicBezTo>
                    <a:pt x="169" y="11"/>
                    <a:pt x="168" y="17"/>
                    <a:pt x="172" y="14"/>
                  </a:cubicBezTo>
                  <a:cubicBezTo>
                    <a:pt x="175" y="14"/>
                    <a:pt x="174" y="20"/>
                    <a:pt x="180" y="14"/>
                  </a:cubicBezTo>
                  <a:cubicBezTo>
                    <a:pt x="186" y="9"/>
                    <a:pt x="181" y="15"/>
                    <a:pt x="183" y="15"/>
                  </a:cubicBezTo>
                  <a:cubicBezTo>
                    <a:pt x="185" y="15"/>
                    <a:pt x="183" y="20"/>
                    <a:pt x="185" y="18"/>
                  </a:cubicBezTo>
                  <a:cubicBezTo>
                    <a:pt x="188" y="17"/>
                    <a:pt x="185" y="17"/>
                    <a:pt x="186" y="14"/>
                  </a:cubicBezTo>
                  <a:cubicBezTo>
                    <a:pt x="189" y="12"/>
                    <a:pt x="188" y="14"/>
                    <a:pt x="191" y="17"/>
                  </a:cubicBezTo>
                  <a:cubicBezTo>
                    <a:pt x="195" y="18"/>
                    <a:pt x="189" y="18"/>
                    <a:pt x="188" y="25"/>
                  </a:cubicBezTo>
                  <a:cubicBezTo>
                    <a:pt x="188" y="32"/>
                    <a:pt x="188" y="22"/>
                    <a:pt x="183" y="28"/>
                  </a:cubicBezTo>
                  <a:cubicBezTo>
                    <a:pt x="180" y="36"/>
                    <a:pt x="188" y="28"/>
                    <a:pt x="181" y="37"/>
                  </a:cubicBezTo>
                  <a:cubicBezTo>
                    <a:pt x="177" y="46"/>
                    <a:pt x="180" y="43"/>
                    <a:pt x="188" y="51"/>
                  </a:cubicBezTo>
                  <a:cubicBezTo>
                    <a:pt x="191" y="56"/>
                    <a:pt x="191" y="51"/>
                    <a:pt x="198" y="57"/>
                  </a:cubicBezTo>
                  <a:cubicBezTo>
                    <a:pt x="206" y="65"/>
                    <a:pt x="207" y="60"/>
                    <a:pt x="209" y="65"/>
                  </a:cubicBezTo>
                  <a:cubicBezTo>
                    <a:pt x="209" y="68"/>
                    <a:pt x="216" y="73"/>
                    <a:pt x="220" y="70"/>
                  </a:cubicBezTo>
                  <a:cubicBezTo>
                    <a:pt x="224" y="67"/>
                    <a:pt x="221" y="65"/>
                    <a:pt x="226" y="59"/>
                  </a:cubicBezTo>
                  <a:cubicBezTo>
                    <a:pt x="229" y="54"/>
                    <a:pt x="226" y="54"/>
                    <a:pt x="227" y="48"/>
                  </a:cubicBezTo>
                  <a:cubicBezTo>
                    <a:pt x="230" y="40"/>
                    <a:pt x="226" y="34"/>
                    <a:pt x="227" y="29"/>
                  </a:cubicBezTo>
                  <a:cubicBezTo>
                    <a:pt x="229" y="25"/>
                    <a:pt x="227" y="25"/>
                    <a:pt x="229" y="22"/>
                  </a:cubicBezTo>
                  <a:cubicBezTo>
                    <a:pt x="232" y="20"/>
                    <a:pt x="227" y="22"/>
                    <a:pt x="229" y="17"/>
                  </a:cubicBezTo>
                  <a:cubicBezTo>
                    <a:pt x="232" y="11"/>
                    <a:pt x="232" y="9"/>
                    <a:pt x="232" y="6"/>
                  </a:cubicBezTo>
                  <a:cubicBezTo>
                    <a:pt x="233" y="1"/>
                    <a:pt x="236" y="0"/>
                    <a:pt x="238" y="5"/>
                  </a:cubicBezTo>
                  <a:cubicBezTo>
                    <a:pt x="238" y="9"/>
                    <a:pt x="238" y="12"/>
                    <a:pt x="239" y="14"/>
                  </a:cubicBezTo>
                  <a:cubicBezTo>
                    <a:pt x="242" y="15"/>
                    <a:pt x="239" y="15"/>
                    <a:pt x="241" y="18"/>
                  </a:cubicBezTo>
                  <a:cubicBezTo>
                    <a:pt x="244" y="23"/>
                    <a:pt x="244" y="26"/>
                    <a:pt x="244" y="31"/>
                  </a:cubicBezTo>
                  <a:cubicBezTo>
                    <a:pt x="244" y="36"/>
                    <a:pt x="247" y="42"/>
                    <a:pt x="248" y="37"/>
                  </a:cubicBezTo>
                  <a:cubicBezTo>
                    <a:pt x="251" y="32"/>
                    <a:pt x="250" y="39"/>
                    <a:pt x="256" y="42"/>
                  </a:cubicBezTo>
                  <a:cubicBezTo>
                    <a:pt x="261" y="45"/>
                    <a:pt x="256" y="56"/>
                    <a:pt x="261" y="62"/>
                  </a:cubicBezTo>
                  <a:cubicBezTo>
                    <a:pt x="265" y="67"/>
                    <a:pt x="262" y="74"/>
                    <a:pt x="264" y="79"/>
                  </a:cubicBezTo>
                  <a:cubicBezTo>
                    <a:pt x="267" y="82"/>
                    <a:pt x="265" y="85"/>
                    <a:pt x="271" y="87"/>
                  </a:cubicBezTo>
                  <a:cubicBezTo>
                    <a:pt x="277" y="88"/>
                    <a:pt x="273" y="92"/>
                    <a:pt x="280" y="93"/>
                  </a:cubicBezTo>
                  <a:cubicBezTo>
                    <a:pt x="288" y="96"/>
                    <a:pt x="288" y="99"/>
                    <a:pt x="285" y="99"/>
                  </a:cubicBezTo>
                  <a:cubicBezTo>
                    <a:pt x="282" y="99"/>
                    <a:pt x="290" y="105"/>
                    <a:pt x="291" y="109"/>
                  </a:cubicBezTo>
                  <a:cubicBezTo>
                    <a:pt x="293" y="112"/>
                    <a:pt x="290" y="113"/>
                    <a:pt x="293" y="118"/>
                  </a:cubicBezTo>
                  <a:cubicBezTo>
                    <a:pt x="296" y="123"/>
                    <a:pt x="293" y="113"/>
                    <a:pt x="296" y="118"/>
                  </a:cubicBezTo>
                  <a:cubicBezTo>
                    <a:pt x="300" y="121"/>
                    <a:pt x="299" y="115"/>
                    <a:pt x="300" y="118"/>
                  </a:cubicBezTo>
                  <a:cubicBezTo>
                    <a:pt x="303" y="121"/>
                    <a:pt x="299" y="126"/>
                    <a:pt x="303" y="132"/>
                  </a:cubicBezTo>
                  <a:cubicBezTo>
                    <a:pt x="308" y="137"/>
                    <a:pt x="306" y="132"/>
                    <a:pt x="309" y="138"/>
                  </a:cubicBezTo>
                  <a:cubicBezTo>
                    <a:pt x="312" y="143"/>
                    <a:pt x="316" y="143"/>
                    <a:pt x="317" y="149"/>
                  </a:cubicBezTo>
                  <a:cubicBezTo>
                    <a:pt x="319" y="155"/>
                    <a:pt x="320" y="151"/>
                    <a:pt x="320" y="157"/>
                  </a:cubicBezTo>
                  <a:cubicBezTo>
                    <a:pt x="319" y="163"/>
                    <a:pt x="321" y="163"/>
                    <a:pt x="320" y="168"/>
                  </a:cubicBezTo>
                  <a:cubicBezTo>
                    <a:pt x="319" y="169"/>
                    <a:pt x="326" y="180"/>
                    <a:pt x="323" y="186"/>
                  </a:cubicBezTo>
                  <a:cubicBezTo>
                    <a:pt x="320" y="191"/>
                    <a:pt x="323" y="196"/>
                    <a:pt x="319" y="202"/>
                  </a:cubicBezTo>
                  <a:cubicBezTo>
                    <a:pt x="317" y="207"/>
                    <a:pt x="320" y="210"/>
                    <a:pt x="317" y="216"/>
                  </a:cubicBezTo>
                  <a:cubicBezTo>
                    <a:pt x="314" y="222"/>
                    <a:pt x="319" y="221"/>
                    <a:pt x="311" y="228"/>
                  </a:cubicBezTo>
                  <a:cubicBezTo>
                    <a:pt x="302" y="236"/>
                    <a:pt x="303" y="250"/>
                    <a:pt x="300" y="252"/>
                  </a:cubicBezTo>
                  <a:cubicBezTo>
                    <a:pt x="297" y="253"/>
                    <a:pt x="296" y="261"/>
                    <a:pt x="296" y="264"/>
                  </a:cubicBezTo>
                  <a:cubicBezTo>
                    <a:pt x="296" y="269"/>
                    <a:pt x="293" y="272"/>
                    <a:pt x="294" y="273"/>
                  </a:cubicBezTo>
                  <a:cubicBezTo>
                    <a:pt x="296" y="275"/>
                    <a:pt x="294" y="281"/>
                    <a:pt x="286" y="281"/>
                  </a:cubicBezTo>
                  <a:cubicBezTo>
                    <a:pt x="279" y="280"/>
                    <a:pt x="271" y="291"/>
                    <a:pt x="268" y="291"/>
                  </a:cubicBezTo>
                  <a:cubicBezTo>
                    <a:pt x="265" y="292"/>
                    <a:pt x="268" y="300"/>
                    <a:pt x="265" y="295"/>
                  </a:cubicBezTo>
                  <a:cubicBezTo>
                    <a:pt x="261" y="289"/>
                    <a:pt x="259" y="291"/>
                    <a:pt x="258" y="287"/>
                  </a:cubicBezTo>
                  <a:cubicBezTo>
                    <a:pt x="258" y="284"/>
                    <a:pt x="258" y="291"/>
                    <a:pt x="255" y="289"/>
                  </a:cubicBezTo>
                  <a:cubicBezTo>
                    <a:pt x="251" y="286"/>
                    <a:pt x="259" y="286"/>
                    <a:pt x="256" y="283"/>
                  </a:cubicBezTo>
                  <a:cubicBezTo>
                    <a:pt x="251" y="280"/>
                    <a:pt x="255" y="284"/>
                    <a:pt x="250" y="287"/>
                  </a:cubicBezTo>
                  <a:cubicBezTo>
                    <a:pt x="244" y="289"/>
                    <a:pt x="247" y="294"/>
                    <a:pt x="239" y="291"/>
                  </a:cubicBezTo>
                  <a:cubicBezTo>
                    <a:pt x="232" y="286"/>
                    <a:pt x="230" y="286"/>
                    <a:pt x="229" y="287"/>
                  </a:cubicBezTo>
                  <a:cubicBezTo>
                    <a:pt x="227" y="289"/>
                    <a:pt x="226" y="284"/>
                    <a:pt x="223" y="283"/>
                  </a:cubicBezTo>
                  <a:cubicBezTo>
                    <a:pt x="218" y="283"/>
                    <a:pt x="212" y="273"/>
                    <a:pt x="213" y="270"/>
                  </a:cubicBezTo>
                  <a:cubicBezTo>
                    <a:pt x="215" y="267"/>
                    <a:pt x="212" y="259"/>
                    <a:pt x="207" y="258"/>
                  </a:cubicBezTo>
                  <a:cubicBezTo>
                    <a:pt x="204" y="256"/>
                    <a:pt x="203" y="259"/>
                    <a:pt x="201" y="258"/>
                  </a:cubicBezTo>
                  <a:cubicBezTo>
                    <a:pt x="200" y="255"/>
                    <a:pt x="206" y="252"/>
                    <a:pt x="203" y="245"/>
                  </a:cubicBezTo>
                  <a:cubicBezTo>
                    <a:pt x="198" y="239"/>
                    <a:pt x="201" y="252"/>
                    <a:pt x="195" y="253"/>
                  </a:cubicBezTo>
                  <a:cubicBezTo>
                    <a:pt x="189" y="253"/>
                    <a:pt x="191" y="249"/>
                    <a:pt x="194" y="249"/>
                  </a:cubicBezTo>
                  <a:cubicBezTo>
                    <a:pt x="197" y="250"/>
                    <a:pt x="197" y="247"/>
                    <a:pt x="195" y="244"/>
                  </a:cubicBezTo>
                  <a:cubicBezTo>
                    <a:pt x="195" y="241"/>
                    <a:pt x="201" y="231"/>
                    <a:pt x="200" y="228"/>
                  </a:cubicBezTo>
                  <a:cubicBezTo>
                    <a:pt x="198" y="225"/>
                    <a:pt x="198" y="224"/>
                    <a:pt x="198" y="227"/>
                  </a:cubicBezTo>
                  <a:cubicBezTo>
                    <a:pt x="198" y="230"/>
                    <a:pt x="194" y="230"/>
                    <a:pt x="194" y="235"/>
                  </a:cubicBezTo>
                  <a:cubicBezTo>
                    <a:pt x="192" y="239"/>
                    <a:pt x="194" y="233"/>
                    <a:pt x="186" y="242"/>
                  </a:cubicBezTo>
                  <a:cubicBezTo>
                    <a:pt x="178" y="252"/>
                    <a:pt x="188" y="252"/>
                    <a:pt x="180" y="249"/>
                  </a:cubicBezTo>
                  <a:cubicBezTo>
                    <a:pt x="175" y="245"/>
                    <a:pt x="178" y="235"/>
                    <a:pt x="172" y="231"/>
                  </a:cubicBezTo>
                  <a:cubicBezTo>
                    <a:pt x="165" y="227"/>
                    <a:pt x="174" y="227"/>
                    <a:pt x="168" y="222"/>
                  </a:cubicBezTo>
                  <a:cubicBezTo>
                    <a:pt x="163" y="218"/>
                    <a:pt x="163" y="222"/>
                    <a:pt x="151" y="216"/>
                  </a:cubicBezTo>
                  <a:cubicBezTo>
                    <a:pt x="139" y="210"/>
                    <a:pt x="150" y="216"/>
                    <a:pt x="136" y="213"/>
                  </a:cubicBezTo>
                  <a:cubicBezTo>
                    <a:pt x="128" y="213"/>
                    <a:pt x="122" y="222"/>
                    <a:pt x="107" y="222"/>
                  </a:cubicBezTo>
                  <a:cubicBezTo>
                    <a:pt x="98" y="221"/>
                    <a:pt x="99" y="228"/>
                    <a:pt x="93" y="228"/>
                  </a:cubicBezTo>
                  <a:cubicBezTo>
                    <a:pt x="87" y="228"/>
                    <a:pt x="90" y="242"/>
                    <a:pt x="81" y="239"/>
                  </a:cubicBezTo>
                  <a:cubicBezTo>
                    <a:pt x="73" y="236"/>
                    <a:pt x="78" y="242"/>
                    <a:pt x="70" y="238"/>
                  </a:cubicBezTo>
                  <a:cubicBezTo>
                    <a:pt x="66" y="236"/>
                    <a:pt x="66" y="239"/>
                    <a:pt x="58" y="239"/>
                  </a:cubicBezTo>
                  <a:cubicBezTo>
                    <a:pt x="52" y="239"/>
                    <a:pt x="55" y="244"/>
                    <a:pt x="51" y="245"/>
                  </a:cubicBezTo>
                  <a:cubicBezTo>
                    <a:pt x="45" y="245"/>
                    <a:pt x="45" y="253"/>
                    <a:pt x="34" y="252"/>
                  </a:cubicBezTo>
                  <a:cubicBezTo>
                    <a:pt x="23" y="250"/>
                    <a:pt x="23" y="242"/>
                    <a:pt x="19" y="244"/>
                  </a:cubicBezTo>
                  <a:cubicBezTo>
                    <a:pt x="16" y="244"/>
                    <a:pt x="16" y="235"/>
                    <a:pt x="17" y="235"/>
                  </a:cubicBezTo>
                  <a:cubicBezTo>
                    <a:pt x="20" y="236"/>
                    <a:pt x="23" y="233"/>
                    <a:pt x="22" y="228"/>
                  </a:cubicBezTo>
                  <a:cubicBezTo>
                    <a:pt x="22" y="222"/>
                    <a:pt x="26" y="225"/>
                    <a:pt x="20" y="210"/>
                  </a:cubicBezTo>
                  <a:cubicBezTo>
                    <a:pt x="14" y="194"/>
                    <a:pt x="19" y="194"/>
                    <a:pt x="16" y="186"/>
                  </a:cubicBezTo>
                  <a:cubicBezTo>
                    <a:pt x="11" y="179"/>
                    <a:pt x="10" y="179"/>
                    <a:pt x="10" y="174"/>
                  </a:cubicBezTo>
                  <a:cubicBezTo>
                    <a:pt x="11" y="168"/>
                    <a:pt x="3" y="163"/>
                    <a:pt x="3" y="158"/>
                  </a:cubicBezTo>
                  <a:cubicBezTo>
                    <a:pt x="3" y="152"/>
                    <a:pt x="7" y="163"/>
                    <a:pt x="8" y="162"/>
                  </a:cubicBezTo>
                  <a:cubicBezTo>
                    <a:pt x="8" y="158"/>
                    <a:pt x="3" y="154"/>
                    <a:pt x="5" y="151"/>
                  </a:cubicBezTo>
                  <a:cubicBezTo>
                    <a:pt x="7" y="149"/>
                    <a:pt x="11" y="165"/>
                    <a:pt x="11" y="157"/>
                  </a:cubicBezTo>
                  <a:cubicBezTo>
                    <a:pt x="11" y="149"/>
                    <a:pt x="0" y="141"/>
                    <a:pt x="5" y="132"/>
                  </a:cubicBezTo>
                  <a:cubicBezTo>
                    <a:pt x="11" y="123"/>
                    <a:pt x="3" y="124"/>
                    <a:pt x="8" y="116"/>
                  </a:cubicBezTo>
                  <a:cubicBezTo>
                    <a:pt x="13" y="109"/>
                    <a:pt x="10" y="126"/>
                    <a:pt x="13" y="116"/>
                  </a:cubicBezTo>
                  <a:cubicBezTo>
                    <a:pt x="16" y="109"/>
                    <a:pt x="17" y="115"/>
                    <a:pt x="25" y="105"/>
                  </a:cubicBezTo>
                  <a:cubicBezTo>
                    <a:pt x="32" y="96"/>
                    <a:pt x="32" y="104"/>
                    <a:pt x="38" y="101"/>
                  </a:cubicBezTo>
                  <a:cubicBezTo>
                    <a:pt x="45" y="98"/>
                    <a:pt x="48" y="98"/>
                    <a:pt x="49" y="95"/>
                  </a:cubicBezTo>
                  <a:cubicBezTo>
                    <a:pt x="51" y="92"/>
                    <a:pt x="55" y="98"/>
                    <a:pt x="63" y="92"/>
                  </a:cubicBezTo>
                  <a:cubicBezTo>
                    <a:pt x="70" y="87"/>
                    <a:pt x="67" y="82"/>
                    <a:pt x="72" y="78"/>
                  </a:cubicBezTo>
                  <a:close/>
                  <a:moveTo>
                    <a:pt x="255" y="323"/>
                  </a:moveTo>
                  <a:cubicBezTo>
                    <a:pt x="256" y="326"/>
                    <a:pt x="256" y="325"/>
                    <a:pt x="256" y="328"/>
                  </a:cubicBezTo>
                  <a:cubicBezTo>
                    <a:pt x="256" y="331"/>
                    <a:pt x="258" y="337"/>
                    <a:pt x="259" y="339"/>
                  </a:cubicBezTo>
                  <a:cubicBezTo>
                    <a:pt x="262" y="340"/>
                    <a:pt x="262" y="345"/>
                    <a:pt x="264" y="345"/>
                  </a:cubicBezTo>
                  <a:cubicBezTo>
                    <a:pt x="265" y="343"/>
                    <a:pt x="267" y="345"/>
                    <a:pt x="270" y="345"/>
                  </a:cubicBezTo>
                  <a:cubicBezTo>
                    <a:pt x="271" y="346"/>
                    <a:pt x="270" y="343"/>
                    <a:pt x="273" y="342"/>
                  </a:cubicBezTo>
                  <a:cubicBezTo>
                    <a:pt x="274" y="340"/>
                    <a:pt x="274" y="337"/>
                    <a:pt x="274" y="339"/>
                  </a:cubicBezTo>
                  <a:cubicBezTo>
                    <a:pt x="276" y="340"/>
                    <a:pt x="274" y="336"/>
                    <a:pt x="276" y="337"/>
                  </a:cubicBezTo>
                  <a:cubicBezTo>
                    <a:pt x="277" y="337"/>
                    <a:pt x="277" y="339"/>
                    <a:pt x="277" y="339"/>
                  </a:cubicBezTo>
                  <a:cubicBezTo>
                    <a:pt x="276" y="339"/>
                    <a:pt x="276" y="340"/>
                    <a:pt x="279" y="340"/>
                  </a:cubicBezTo>
                  <a:cubicBezTo>
                    <a:pt x="280" y="342"/>
                    <a:pt x="277" y="334"/>
                    <a:pt x="279" y="333"/>
                  </a:cubicBezTo>
                  <a:cubicBezTo>
                    <a:pt x="280" y="333"/>
                    <a:pt x="277" y="329"/>
                    <a:pt x="279" y="328"/>
                  </a:cubicBezTo>
                  <a:cubicBezTo>
                    <a:pt x="282" y="326"/>
                    <a:pt x="280" y="331"/>
                    <a:pt x="282" y="329"/>
                  </a:cubicBezTo>
                  <a:cubicBezTo>
                    <a:pt x="283" y="328"/>
                    <a:pt x="280" y="328"/>
                    <a:pt x="282" y="322"/>
                  </a:cubicBezTo>
                  <a:cubicBezTo>
                    <a:pt x="282" y="317"/>
                    <a:pt x="280" y="312"/>
                    <a:pt x="279" y="314"/>
                  </a:cubicBezTo>
                  <a:cubicBezTo>
                    <a:pt x="277" y="315"/>
                    <a:pt x="277" y="312"/>
                    <a:pt x="276" y="315"/>
                  </a:cubicBezTo>
                  <a:cubicBezTo>
                    <a:pt x="274" y="317"/>
                    <a:pt x="276" y="314"/>
                    <a:pt x="270" y="317"/>
                  </a:cubicBezTo>
                  <a:cubicBezTo>
                    <a:pt x="262" y="320"/>
                    <a:pt x="264" y="314"/>
                    <a:pt x="258" y="314"/>
                  </a:cubicBezTo>
                  <a:cubicBezTo>
                    <a:pt x="253" y="314"/>
                    <a:pt x="253" y="309"/>
                    <a:pt x="251" y="315"/>
                  </a:cubicBezTo>
                  <a:cubicBezTo>
                    <a:pt x="251" y="317"/>
                    <a:pt x="253" y="318"/>
                    <a:pt x="255" y="323"/>
                  </a:cubicBezTo>
                  <a:close/>
                  <a:moveTo>
                    <a:pt x="247" y="300"/>
                  </a:moveTo>
                  <a:cubicBezTo>
                    <a:pt x="248" y="298"/>
                    <a:pt x="250" y="305"/>
                    <a:pt x="247" y="306"/>
                  </a:cubicBezTo>
                  <a:cubicBezTo>
                    <a:pt x="245" y="306"/>
                    <a:pt x="245" y="301"/>
                    <a:pt x="247" y="300"/>
                  </a:cubicBezTo>
                  <a:close/>
                  <a:moveTo>
                    <a:pt x="277" y="305"/>
                  </a:moveTo>
                  <a:cubicBezTo>
                    <a:pt x="279" y="305"/>
                    <a:pt x="279" y="305"/>
                    <a:pt x="279" y="306"/>
                  </a:cubicBezTo>
                  <a:cubicBezTo>
                    <a:pt x="279" y="308"/>
                    <a:pt x="282" y="308"/>
                    <a:pt x="282" y="306"/>
                  </a:cubicBezTo>
                  <a:cubicBezTo>
                    <a:pt x="280" y="305"/>
                    <a:pt x="283" y="305"/>
                    <a:pt x="280" y="305"/>
                  </a:cubicBezTo>
                  <a:cubicBezTo>
                    <a:pt x="279" y="303"/>
                    <a:pt x="279" y="300"/>
                    <a:pt x="277" y="303"/>
                  </a:cubicBezTo>
                  <a:cubicBezTo>
                    <a:pt x="277" y="303"/>
                    <a:pt x="276" y="303"/>
                    <a:pt x="277" y="305"/>
                  </a:cubicBezTo>
                  <a:close/>
                  <a:moveTo>
                    <a:pt x="279" y="309"/>
                  </a:moveTo>
                  <a:cubicBezTo>
                    <a:pt x="279" y="308"/>
                    <a:pt x="283" y="308"/>
                    <a:pt x="282" y="309"/>
                  </a:cubicBezTo>
                  <a:cubicBezTo>
                    <a:pt x="282" y="311"/>
                    <a:pt x="279" y="309"/>
                    <a:pt x="279" y="309"/>
                  </a:cubicBezTo>
                  <a:close/>
                  <a:moveTo>
                    <a:pt x="197" y="261"/>
                  </a:moveTo>
                  <a:cubicBezTo>
                    <a:pt x="198" y="259"/>
                    <a:pt x="201" y="261"/>
                    <a:pt x="200" y="259"/>
                  </a:cubicBezTo>
                  <a:cubicBezTo>
                    <a:pt x="200" y="258"/>
                    <a:pt x="198" y="259"/>
                    <a:pt x="197" y="256"/>
                  </a:cubicBezTo>
                  <a:cubicBezTo>
                    <a:pt x="195" y="255"/>
                    <a:pt x="188" y="258"/>
                    <a:pt x="188" y="261"/>
                  </a:cubicBezTo>
                  <a:cubicBezTo>
                    <a:pt x="189" y="263"/>
                    <a:pt x="195" y="261"/>
                    <a:pt x="197" y="261"/>
                  </a:cubicBezTo>
                  <a:close/>
                  <a:moveTo>
                    <a:pt x="148" y="8"/>
                  </a:moveTo>
                  <a:cubicBezTo>
                    <a:pt x="145" y="3"/>
                    <a:pt x="145" y="11"/>
                    <a:pt x="140" y="8"/>
                  </a:cubicBezTo>
                  <a:cubicBezTo>
                    <a:pt x="137" y="6"/>
                    <a:pt x="140" y="11"/>
                    <a:pt x="143" y="14"/>
                  </a:cubicBezTo>
                  <a:cubicBezTo>
                    <a:pt x="145" y="14"/>
                    <a:pt x="150" y="11"/>
                    <a:pt x="148" y="8"/>
                  </a:cubicBezTo>
                  <a:close/>
                  <a:moveTo>
                    <a:pt x="139" y="11"/>
                  </a:moveTo>
                  <a:cubicBezTo>
                    <a:pt x="137" y="8"/>
                    <a:pt x="137" y="8"/>
                    <a:pt x="137" y="11"/>
                  </a:cubicBezTo>
                  <a:cubicBezTo>
                    <a:pt x="137" y="12"/>
                    <a:pt x="136" y="12"/>
                    <a:pt x="139" y="14"/>
                  </a:cubicBezTo>
                  <a:cubicBezTo>
                    <a:pt x="140" y="14"/>
                    <a:pt x="140" y="12"/>
                    <a:pt x="139" y="11"/>
                  </a:cubicBezTo>
                  <a:close/>
                  <a:moveTo>
                    <a:pt x="188" y="36"/>
                  </a:moveTo>
                  <a:cubicBezTo>
                    <a:pt x="186" y="32"/>
                    <a:pt x="191" y="32"/>
                    <a:pt x="191" y="34"/>
                  </a:cubicBezTo>
                  <a:cubicBezTo>
                    <a:pt x="189" y="37"/>
                    <a:pt x="188" y="39"/>
                    <a:pt x="188" y="36"/>
                  </a:cubicBezTo>
                  <a:close/>
                  <a:moveTo>
                    <a:pt x="320" y="151"/>
                  </a:moveTo>
                  <a:cubicBezTo>
                    <a:pt x="320" y="149"/>
                    <a:pt x="321" y="148"/>
                    <a:pt x="321" y="146"/>
                  </a:cubicBezTo>
                  <a:cubicBezTo>
                    <a:pt x="321" y="144"/>
                    <a:pt x="321" y="144"/>
                    <a:pt x="321" y="143"/>
                  </a:cubicBezTo>
                  <a:cubicBezTo>
                    <a:pt x="321" y="141"/>
                    <a:pt x="320" y="143"/>
                    <a:pt x="320" y="144"/>
                  </a:cubicBezTo>
                  <a:cubicBezTo>
                    <a:pt x="321" y="146"/>
                    <a:pt x="319" y="148"/>
                    <a:pt x="319" y="148"/>
                  </a:cubicBezTo>
                  <a:cubicBezTo>
                    <a:pt x="320" y="149"/>
                    <a:pt x="317" y="152"/>
                    <a:pt x="319" y="154"/>
                  </a:cubicBezTo>
                  <a:cubicBezTo>
                    <a:pt x="320" y="154"/>
                    <a:pt x="320" y="152"/>
                    <a:pt x="320" y="151"/>
                  </a:cubicBezTo>
                  <a:close/>
                  <a:moveTo>
                    <a:pt x="210" y="60"/>
                  </a:moveTo>
                  <a:cubicBezTo>
                    <a:pt x="212" y="60"/>
                    <a:pt x="215" y="60"/>
                    <a:pt x="213" y="59"/>
                  </a:cubicBezTo>
                  <a:cubicBezTo>
                    <a:pt x="212" y="57"/>
                    <a:pt x="207" y="60"/>
                    <a:pt x="209" y="62"/>
                  </a:cubicBezTo>
                  <a:cubicBezTo>
                    <a:pt x="209" y="62"/>
                    <a:pt x="210" y="62"/>
                    <a:pt x="210" y="60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2" name="Freeform 273"/>
            <p:cNvSpPr>
              <a:spLocks/>
            </p:cNvSpPr>
            <p:nvPr/>
          </p:nvSpPr>
          <p:spPr bwMode="auto">
            <a:xfrm>
              <a:off x="4522266" y="4102755"/>
              <a:ext cx="17675" cy="964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0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3" y="3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1"/>
                    <a:pt x="3" y="1"/>
                  </a:cubicBezTo>
                  <a:cubicBezTo>
                    <a:pt x="3" y="1"/>
                    <a:pt x="6" y="1"/>
                    <a:pt x="4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Freeform 274"/>
            <p:cNvSpPr>
              <a:spLocks/>
            </p:cNvSpPr>
            <p:nvPr/>
          </p:nvSpPr>
          <p:spPr bwMode="auto">
            <a:xfrm>
              <a:off x="6014965" y="5478134"/>
              <a:ext cx="12854" cy="2088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7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cubicBezTo>
                    <a:pt x="2" y="0"/>
                    <a:pt x="4" y="7"/>
                    <a:pt x="2" y="7"/>
                  </a:cubicBezTo>
                  <a:cubicBezTo>
                    <a:pt x="0" y="7"/>
                    <a:pt x="0" y="2"/>
                    <a:pt x="2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4" name="Freeform 275"/>
            <p:cNvSpPr>
              <a:spLocks/>
            </p:cNvSpPr>
            <p:nvPr/>
          </p:nvSpPr>
          <p:spPr bwMode="auto">
            <a:xfrm>
              <a:off x="6058349" y="5518304"/>
              <a:ext cx="9641" cy="16068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3" y="2"/>
                    <a:pt x="3" y="5"/>
                    <a:pt x="2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5" name="Freeform 276"/>
            <p:cNvSpPr>
              <a:spLocks/>
            </p:cNvSpPr>
            <p:nvPr/>
          </p:nvSpPr>
          <p:spPr bwMode="auto">
            <a:xfrm>
              <a:off x="6039068" y="5502236"/>
              <a:ext cx="9641" cy="964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0" y="2"/>
                    <a:pt x="3" y="3"/>
                    <a:pt x="3" y="3"/>
                  </a:cubicBezTo>
                  <a:cubicBezTo>
                    <a:pt x="3" y="2"/>
                    <a:pt x="3" y="0"/>
                    <a:pt x="2" y="0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6" name="Freeform 277"/>
            <p:cNvSpPr>
              <a:spLocks/>
            </p:cNvSpPr>
            <p:nvPr/>
          </p:nvSpPr>
          <p:spPr bwMode="auto">
            <a:xfrm>
              <a:off x="5674328" y="5163211"/>
              <a:ext cx="274759" cy="335811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11" y="24"/>
                </a:cxn>
                <a:cxn ang="0">
                  <a:pos x="9" y="17"/>
                </a:cxn>
                <a:cxn ang="0">
                  <a:pos x="11" y="14"/>
                </a:cxn>
                <a:cxn ang="0">
                  <a:pos x="12" y="8"/>
                </a:cxn>
                <a:cxn ang="0">
                  <a:pos x="9" y="0"/>
                </a:cxn>
                <a:cxn ang="0">
                  <a:pos x="37" y="0"/>
                </a:cxn>
                <a:cxn ang="0">
                  <a:pos x="64" y="19"/>
                </a:cxn>
                <a:cxn ang="0">
                  <a:pos x="67" y="27"/>
                </a:cxn>
                <a:cxn ang="0">
                  <a:pos x="79" y="36"/>
                </a:cxn>
                <a:cxn ang="0">
                  <a:pos x="76" y="44"/>
                </a:cxn>
                <a:cxn ang="0">
                  <a:pos x="81" y="58"/>
                </a:cxn>
                <a:cxn ang="0">
                  <a:pos x="81" y="66"/>
                </a:cxn>
                <a:cxn ang="0">
                  <a:pos x="81" y="77"/>
                </a:cxn>
                <a:cxn ang="0">
                  <a:pos x="82" y="89"/>
                </a:cxn>
                <a:cxn ang="0">
                  <a:pos x="88" y="94"/>
                </a:cxn>
                <a:cxn ang="0">
                  <a:pos x="76" y="102"/>
                </a:cxn>
                <a:cxn ang="0">
                  <a:pos x="69" y="102"/>
                </a:cxn>
                <a:cxn ang="0">
                  <a:pos x="61" y="105"/>
                </a:cxn>
                <a:cxn ang="0">
                  <a:pos x="53" y="105"/>
                </a:cxn>
                <a:cxn ang="0">
                  <a:pos x="43" y="103"/>
                </a:cxn>
                <a:cxn ang="0">
                  <a:pos x="41" y="94"/>
                </a:cxn>
                <a:cxn ang="0">
                  <a:pos x="37" y="84"/>
                </a:cxn>
                <a:cxn ang="0">
                  <a:pos x="29" y="83"/>
                </a:cxn>
                <a:cxn ang="0">
                  <a:pos x="21" y="78"/>
                </a:cxn>
                <a:cxn ang="0">
                  <a:pos x="18" y="77"/>
                </a:cxn>
                <a:cxn ang="0">
                  <a:pos x="12" y="70"/>
                </a:cxn>
                <a:cxn ang="0">
                  <a:pos x="9" y="63"/>
                </a:cxn>
                <a:cxn ang="0">
                  <a:pos x="2" y="49"/>
                </a:cxn>
                <a:cxn ang="0">
                  <a:pos x="2" y="35"/>
                </a:cxn>
              </a:cxnLst>
              <a:rect l="0" t="0" r="r" b="b"/>
              <a:pathLst>
                <a:path w="88" h="108">
                  <a:moveTo>
                    <a:pt x="2" y="35"/>
                  </a:moveTo>
                  <a:cubicBezTo>
                    <a:pt x="8" y="33"/>
                    <a:pt x="6" y="28"/>
                    <a:pt x="11" y="24"/>
                  </a:cubicBezTo>
                  <a:cubicBezTo>
                    <a:pt x="15" y="19"/>
                    <a:pt x="9" y="19"/>
                    <a:pt x="9" y="17"/>
                  </a:cubicBezTo>
                  <a:cubicBezTo>
                    <a:pt x="9" y="16"/>
                    <a:pt x="11" y="16"/>
                    <a:pt x="11" y="14"/>
                  </a:cubicBezTo>
                  <a:cubicBezTo>
                    <a:pt x="12" y="14"/>
                    <a:pt x="12" y="13"/>
                    <a:pt x="12" y="8"/>
                  </a:cubicBezTo>
                  <a:cubicBezTo>
                    <a:pt x="11" y="2"/>
                    <a:pt x="9" y="3"/>
                    <a:pt x="9" y="0"/>
                  </a:cubicBezTo>
                  <a:cubicBezTo>
                    <a:pt x="12" y="0"/>
                    <a:pt x="32" y="0"/>
                    <a:pt x="37" y="0"/>
                  </a:cubicBezTo>
                  <a:cubicBezTo>
                    <a:pt x="53" y="11"/>
                    <a:pt x="60" y="16"/>
                    <a:pt x="64" y="19"/>
                  </a:cubicBezTo>
                  <a:cubicBezTo>
                    <a:pt x="70" y="22"/>
                    <a:pt x="64" y="22"/>
                    <a:pt x="67" y="27"/>
                  </a:cubicBezTo>
                  <a:cubicBezTo>
                    <a:pt x="72" y="30"/>
                    <a:pt x="78" y="36"/>
                    <a:pt x="79" y="36"/>
                  </a:cubicBezTo>
                  <a:cubicBezTo>
                    <a:pt x="76" y="41"/>
                    <a:pt x="78" y="41"/>
                    <a:pt x="76" y="44"/>
                  </a:cubicBezTo>
                  <a:cubicBezTo>
                    <a:pt x="73" y="52"/>
                    <a:pt x="78" y="55"/>
                    <a:pt x="81" y="58"/>
                  </a:cubicBezTo>
                  <a:cubicBezTo>
                    <a:pt x="82" y="63"/>
                    <a:pt x="78" y="59"/>
                    <a:pt x="81" y="66"/>
                  </a:cubicBezTo>
                  <a:cubicBezTo>
                    <a:pt x="82" y="72"/>
                    <a:pt x="78" y="69"/>
                    <a:pt x="81" y="77"/>
                  </a:cubicBezTo>
                  <a:cubicBezTo>
                    <a:pt x="84" y="84"/>
                    <a:pt x="81" y="84"/>
                    <a:pt x="82" y="89"/>
                  </a:cubicBezTo>
                  <a:cubicBezTo>
                    <a:pt x="85" y="92"/>
                    <a:pt x="85" y="89"/>
                    <a:pt x="88" y="94"/>
                  </a:cubicBezTo>
                  <a:cubicBezTo>
                    <a:pt x="85" y="97"/>
                    <a:pt x="82" y="98"/>
                    <a:pt x="76" y="102"/>
                  </a:cubicBezTo>
                  <a:cubicBezTo>
                    <a:pt x="70" y="105"/>
                    <a:pt x="69" y="97"/>
                    <a:pt x="69" y="102"/>
                  </a:cubicBezTo>
                  <a:cubicBezTo>
                    <a:pt x="67" y="106"/>
                    <a:pt x="63" y="106"/>
                    <a:pt x="61" y="105"/>
                  </a:cubicBezTo>
                  <a:cubicBezTo>
                    <a:pt x="60" y="103"/>
                    <a:pt x="56" y="108"/>
                    <a:pt x="53" y="105"/>
                  </a:cubicBezTo>
                  <a:cubicBezTo>
                    <a:pt x="50" y="100"/>
                    <a:pt x="50" y="106"/>
                    <a:pt x="43" y="103"/>
                  </a:cubicBezTo>
                  <a:cubicBezTo>
                    <a:pt x="40" y="98"/>
                    <a:pt x="43" y="98"/>
                    <a:pt x="41" y="94"/>
                  </a:cubicBezTo>
                  <a:cubicBezTo>
                    <a:pt x="40" y="89"/>
                    <a:pt x="38" y="86"/>
                    <a:pt x="37" y="84"/>
                  </a:cubicBezTo>
                  <a:cubicBezTo>
                    <a:pt x="34" y="84"/>
                    <a:pt x="31" y="84"/>
                    <a:pt x="29" y="83"/>
                  </a:cubicBezTo>
                  <a:cubicBezTo>
                    <a:pt x="21" y="78"/>
                    <a:pt x="23" y="81"/>
                    <a:pt x="21" y="78"/>
                  </a:cubicBezTo>
                  <a:cubicBezTo>
                    <a:pt x="20" y="75"/>
                    <a:pt x="20" y="80"/>
                    <a:pt x="18" y="77"/>
                  </a:cubicBezTo>
                  <a:cubicBezTo>
                    <a:pt x="17" y="74"/>
                    <a:pt x="14" y="75"/>
                    <a:pt x="12" y="70"/>
                  </a:cubicBezTo>
                  <a:cubicBezTo>
                    <a:pt x="11" y="69"/>
                    <a:pt x="9" y="67"/>
                    <a:pt x="9" y="63"/>
                  </a:cubicBezTo>
                  <a:cubicBezTo>
                    <a:pt x="8" y="59"/>
                    <a:pt x="0" y="53"/>
                    <a:pt x="2" y="49"/>
                  </a:cubicBezTo>
                  <a:cubicBezTo>
                    <a:pt x="3" y="44"/>
                    <a:pt x="0" y="41"/>
                    <a:pt x="2" y="3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7" name="Freeform 278"/>
            <p:cNvSpPr>
              <a:spLocks/>
            </p:cNvSpPr>
            <p:nvPr/>
          </p:nvSpPr>
          <p:spPr bwMode="auto">
            <a:xfrm>
              <a:off x="5915346" y="5302998"/>
              <a:ext cx="14460" cy="3052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7"/>
                </a:cxn>
                <a:cxn ang="0">
                  <a:pos x="2" y="9"/>
                </a:cxn>
              </a:cxnLst>
              <a:rect l="0" t="0" r="r" b="b"/>
              <a:pathLst>
                <a:path w="5" h="10">
                  <a:moveTo>
                    <a:pt x="2" y="9"/>
                  </a:moveTo>
                  <a:cubicBezTo>
                    <a:pt x="2" y="7"/>
                    <a:pt x="0" y="4"/>
                    <a:pt x="2" y="4"/>
                  </a:cubicBezTo>
                  <a:cubicBezTo>
                    <a:pt x="2" y="2"/>
                    <a:pt x="2" y="0"/>
                    <a:pt x="3" y="4"/>
                  </a:cubicBezTo>
                  <a:cubicBezTo>
                    <a:pt x="3" y="7"/>
                    <a:pt x="3" y="5"/>
                    <a:pt x="3" y="7"/>
                  </a:cubicBezTo>
                  <a:cubicBezTo>
                    <a:pt x="5" y="9"/>
                    <a:pt x="5" y="10"/>
                    <a:pt x="2" y="9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8" name="Freeform 279"/>
            <p:cNvSpPr>
              <a:spLocks/>
            </p:cNvSpPr>
            <p:nvPr/>
          </p:nvSpPr>
          <p:spPr bwMode="auto">
            <a:xfrm>
              <a:off x="5924986" y="5282111"/>
              <a:ext cx="8034" cy="1767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4"/>
                </a:cxn>
                <a:cxn ang="0">
                  <a:pos x="2" y="6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0" y="4"/>
                    <a:pt x="2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1"/>
                    <a:pt x="3" y="4"/>
                  </a:cubicBezTo>
                  <a:cubicBezTo>
                    <a:pt x="3" y="6"/>
                    <a:pt x="3" y="6"/>
                    <a:pt x="2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9" name="Freeform 280"/>
            <p:cNvSpPr>
              <a:spLocks/>
            </p:cNvSpPr>
            <p:nvPr/>
          </p:nvSpPr>
          <p:spPr bwMode="auto">
            <a:xfrm>
              <a:off x="5924986" y="5362448"/>
              <a:ext cx="14460" cy="1606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0" y="5"/>
                    <a:pt x="5" y="0"/>
                    <a:pt x="3" y="2"/>
                  </a:cubicBezTo>
                  <a:cubicBezTo>
                    <a:pt x="3" y="3"/>
                    <a:pt x="3" y="5"/>
                    <a:pt x="2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0" name="Freeform 281"/>
            <p:cNvSpPr>
              <a:spLocks/>
            </p:cNvSpPr>
            <p:nvPr/>
          </p:nvSpPr>
          <p:spPr bwMode="auto">
            <a:xfrm>
              <a:off x="6310614" y="5773777"/>
              <a:ext cx="25709" cy="24102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5"/>
                </a:cxn>
                <a:cxn ang="0">
                  <a:pos x="1" y="2"/>
                </a:cxn>
              </a:cxnLst>
              <a:rect l="0" t="0" r="r" b="b"/>
              <a:pathLst>
                <a:path w="8" h="8">
                  <a:moveTo>
                    <a:pt x="1" y="2"/>
                  </a:moveTo>
                  <a:cubicBezTo>
                    <a:pt x="3" y="0"/>
                    <a:pt x="8" y="4"/>
                    <a:pt x="6" y="5"/>
                  </a:cubicBezTo>
                  <a:cubicBezTo>
                    <a:pt x="5" y="8"/>
                    <a:pt x="0" y="5"/>
                    <a:pt x="1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1" name="Freeform 282"/>
            <p:cNvSpPr>
              <a:spLocks/>
            </p:cNvSpPr>
            <p:nvPr/>
          </p:nvSpPr>
          <p:spPr bwMode="auto">
            <a:xfrm>
              <a:off x="6357210" y="5743248"/>
              <a:ext cx="25709" cy="27315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6" y="3"/>
                </a:cxn>
                <a:cxn ang="0">
                  <a:pos x="5" y="7"/>
                </a:cxn>
              </a:cxnLst>
              <a:rect l="0" t="0" r="r" b="b"/>
              <a:pathLst>
                <a:path w="8" h="9">
                  <a:moveTo>
                    <a:pt x="5" y="7"/>
                  </a:moveTo>
                  <a:cubicBezTo>
                    <a:pt x="0" y="9"/>
                    <a:pt x="5" y="0"/>
                    <a:pt x="6" y="3"/>
                  </a:cubicBezTo>
                  <a:cubicBezTo>
                    <a:pt x="6" y="6"/>
                    <a:pt x="8" y="7"/>
                    <a:pt x="5" y="7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2" name="Freeform 283"/>
            <p:cNvSpPr>
              <a:spLocks/>
            </p:cNvSpPr>
            <p:nvPr/>
          </p:nvSpPr>
          <p:spPr bwMode="auto">
            <a:xfrm>
              <a:off x="5354579" y="3747663"/>
              <a:ext cx="20888" cy="6427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6" y="2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7" y="2"/>
                    <a:pt x="4" y="2"/>
                    <a:pt x="3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0"/>
                    <a:pt x="4" y="2"/>
                    <a:pt x="6" y="2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3" name="Freeform 284"/>
            <p:cNvSpPr>
              <a:spLocks/>
            </p:cNvSpPr>
            <p:nvPr/>
          </p:nvSpPr>
          <p:spPr bwMode="auto">
            <a:xfrm>
              <a:off x="5354579" y="3744449"/>
              <a:ext cx="17675" cy="321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1"/>
                </a:cxn>
                <a:cxn ang="0">
                  <a:pos x="1" y="1"/>
                </a:cxn>
              </a:cxnLst>
              <a:rect l="0" t="0" r="r" b="b"/>
              <a:pathLst>
                <a:path w="6" h="1">
                  <a:moveTo>
                    <a:pt x="1" y="1"/>
                  </a:moveTo>
                  <a:cubicBezTo>
                    <a:pt x="0" y="0"/>
                    <a:pt x="6" y="1"/>
                    <a:pt x="4" y="1"/>
                  </a:cubicBezTo>
                  <a:cubicBezTo>
                    <a:pt x="3" y="1"/>
                    <a:pt x="1" y="1"/>
                    <a:pt x="1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4" name="Freeform 285"/>
            <p:cNvSpPr>
              <a:spLocks/>
            </p:cNvSpPr>
            <p:nvPr/>
          </p:nvSpPr>
          <p:spPr bwMode="auto">
            <a:xfrm>
              <a:off x="5357792" y="3760517"/>
              <a:ext cx="14460" cy="3213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1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0" y="0"/>
                    <a:pt x="5" y="0"/>
                    <a:pt x="5" y="1"/>
                  </a:cubicBezTo>
                  <a:cubicBezTo>
                    <a:pt x="5" y="1"/>
                    <a:pt x="5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5" name="Freeform 286"/>
            <p:cNvSpPr>
              <a:spLocks/>
            </p:cNvSpPr>
            <p:nvPr/>
          </p:nvSpPr>
          <p:spPr bwMode="auto">
            <a:xfrm>
              <a:off x="5304768" y="3681786"/>
              <a:ext cx="8034" cy="964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3" y="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3"/>
                    <a:pt x="0" y="1"/>
                    <a:pt x="0" y="1"/>
                  </a:cubicBezTo>
                  <a:cubicBezTo>
                    <a:pt x="2" y="0"/>
                    <a:pt x="0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6" name="Freeform 287"/>
            <p:cNvSpPr>
              <a:spLocks/>
            </p:cNvSpPr>
            <p:nvPr/>
          </p:nvSpPr>
          <p:spPr bwMode="auto">
            <a:xfrm>
              <a:off x="5301555" y="3681786"/>
              <a:ext cx="8034" cy="2249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" y="6"/>
                </a:cxn>
              </a:cxnLst>
              <a:rect l="0" t="0" r="r" b="b"/>
              <a:pathLst>
                <a:path w="3" h="7">
                  <a:moveTo>
                    <a:pt x="3" y="6"/>
                  </a:move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1" y="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3" y="7"/>
                    <a:pt x="3" y="6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7" name="Freeform 288"/>
            <p:cNvSpPr>
              <a:spLocks/>
            </p:cNvSpPr>
            <p:nvPr/>
          </p:nvSpPr>
          <p:spPr bwMode="auto">
            <a:xfrm>
              <a:off x="5309589" y="3694640"/>
              <a:ext cx="12854" cy="19281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4" y="5"/>
                </a:cxn>
              </a:cxnLst>
              <a:rect l="0" t="0" r="r" b="b"/>
              <a:pathLst>
                <a:path w="4" h="6">
                  <a:moveTo>
                    <a:pt x="4" y="5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3" y="3"/>
                    <a:pt x="4" y="6"/>
                    <a:pt x="4" y="5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8" name="Freeform 301"/>
            <p:cNvSpPr>
              <a:spLocks/>
            </p:cNvSpPr>
            <p:nvPr/>
          </p:nvSpPr>
          <p:spPr bwMode="auto">
            <a:xfrm>
              <a:off x="4986626" y="3770158"/>
              <a:ext cx="6427" cy="964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1"/>
                    <a:pt x="2" y="0"/>
                    <a:pt x="0" y="1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9" name="Freeform 1313"/>
            <p:cNvSpPr/>
            <p:nvPr/>
          </p:nvSpPr>
          <p:spPr bwMode="ltGray">
            <a:xfrm>
              <a:off x="5536508" y="4766482"/>
              <a:ext cx="263119" cy="74736"/>
            </a:xfrm>
            <a:custGeom>
              <a:avLst/>
              <a:gdLst>
                <a:gd name="connsiteX0" fmla="*/ 0 w 235744"/>
                <a:gd name="connsiteY0" fmla="*/ 64294 h 66960"/>
                <a:gd name="connsiteX1" fmla="*/ 16669 w 235744"/>
                <a:gd name="connsiteY1" fmla="*/ 54769 h 66960"/>
                <a:gd name="connsiteX2" fmla="*/ 14288 w 235744"/>
                <a:gd name="connsiteY2" fmla="*/ 47625 h 66960"/>
                <a:gd name="connsiteX3" fmla="*/ 16669 w 235744"/>
                <a:gd name="connsiteY3" fmla="*/ 35719 h 66960"/>
                <a:gd name="connsiteX4" fmla="*/ 30956 w 235744"/>
                <a:gd name="connsiteY4" fmla="*/ 30956 h 66960"/>
                <a:gd name="connsiteX5" fmla="*/ 38100 w 235744"/>
                <a:gd name="connsiteY5" fmla="*/ 35719 h 66960"/>
                <a:gd name="connsiteX6" fmla="*/ 42863 w 235744"/>
                <a:gd name="connsiteY6" fmla="*/ 42863 h 66960"/>
                <a:gd name="connsiteX7" fmla="*/ 50006 w 235744"/>
                <a:gd name="connsiteY7" fmla="*/ 50006 h 66960"/>
                <a:gd name="connsiteX8" fmla="*/ 52388 w 235744"/>
                <a:gd name="connsiteY8" fmla="*/ 57150 h 66960"/>
                <a:gd name="connsiteX9" fmla="*/ 71438 w 235744"/>
                <a:gd name="connsiteY9" fmla="*/ 57150 h 66960"/>
                <a:gd name="connsiteX10" fmla="*/ 95250 w 235744"/>
                <a:gd name="connsiteY10" fmla="*/ 59531 h 66960"/>
                <a:gd name="connsiteX11" fmla="*/ 100013 w 235744"/>
                <a:gd name="connsiteY11" fmla="*/ 66675 h 66960"/>
                <a:gd name="connsiteX12" fmla="*/ 114300 w 235744"/>
                <a:gd name="connsiteY12" fmla="*/ 64294 h 66960"/>
                <a:gd name="connsiteX13" fmla="*/ 116681 w 235744"/>
                <a:gd name="connsiteY13" fmla="*/ 52388 h 66960"/>
                <a:gd name="connsiteX14" fmla="*/ 140494 w 235744"/>
                <a:gd name="connsiteY14" fmla="*/ 50006 h 66960"/>
                <a:gd name="connsiteX15" fmla="*/ 147638 w 235744"/>
                <a:gd name="connsiteY15" fmla="*/ 47625 h 66960"/>
                <a:gd name="connsiteX16" fmla="*/ 152400 w 235744"/>
                <a:gd name="connsiteY16" fmla="*/ 40481 h 66960"/>
                <a:gd name="connsiteX17" fmla="*/ 169069 w 235744"/>
                <a:gd name="connsiteY17" fmla="*/ 38100 h 66960"/>
                <a:gd name="connsiteX18" fmla="*/ 176213 w 235744"/>
                <a:gd name="connsiteY18" fmla="*/ 35719 h 66960"/>
                <a:gd name="connsiteX19" fmla="*/ 178594 w 235744"/>
                <a:gd name="connsiteY19" fmla="*/ 23813 h 66960"/>
                <a:gd name="connsiteX20" fmla="*/ 180975 w 235744"/>
                <a:gd name="connsiteY20" fmla="*/ 16669 h 66960"/>
                <a:gd name="connsiteX21" fmla="*/ 183356 w 235744"/>
                <a:gd name="connsiteY21" fmla="*/ 2381 h 66960"/>
                <a:gd name="connsiteX22" fmla="*/ 190500 w 235744"/>
                <a:gd name="connsiteY22" fmla="*/ 0 h 66960"/>
                <a:gd name="connsiteX23" fmla="*/ 195263 w 235744"/>
                <a:gd name="connsiteY23" fmla="*/ 16669 h 66960"/>
                <a:gd name="connsiteX24" fmla="*/ 200025 w 235744"/>
                <a:gd name="connsiteY24" fmla="*/ 30956 h 66960"/>
                <a:gd name="connsiteX25" fmla="*/ 216694 w 235744"/>
                <a:gd name="connsiteY25" fmla="*/ 47625 h 66960"/>
                <a:gd name="connsiteX26" fmla="*/ 228600 w 235744"/>
                <a:gd name="connsiteY26" fmla="*/ 50006 h 66960"/>
                <a:gd name="connsiteX27" fmla="*/ 235744 w 235744"/>
                <a:gd name="connsiteY27" fmla="*/ 54769 h 6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5744" h="66960">
                  <a:moveTo>
                    <a:pt x="0" y="64294"/>
                  </a:moveTo>
                  <a:cubicBezTo>
                    <a:pt x="7024" y="62889"/>
                    <a:pt x="15098" y="64193"/>
                    <a:pt x="16669" y="54769"/>
                  </a:cubicBezTo>
                  <a:cubicBezTo>
                    <a:pt x="17082" y="52293"/>
                    <a:pt x="15082" y="50006"/>
                    <a:pt x="14288" y="47625"/>
                  </a:cubicBezTo>
                  <a:cubicBezTo>
                    <a:pt x="15082" y="43656"/>
                    <a:pt x="13807" y="38581"/>
                    <a:pt x="16669" y="35719"/>
                  </a:cubicBezTo>
                  <a:cubicBezTo>
                    <a:pt x="20219" y="32169"/>
                    <a:pt x="30956" y="30956"/>
                    <a:pt x="30956" y="30956"/>
                  </a:cubicBezTo>
                  <a:cubicBezTo>
                    <a:pt x="33337" y="32544"/>
                    <a:pt x="36076" y="33695"/>
                    <a:pt x="38100" y="35719"/>
                  </a:cubicBezTo>
                  <a:cubicBezTo>
                    <a:pt x="40124" y="37743"/>
                    <a:pt x="41031" y="40664"/>
                    <a:pt x="42863" y="42863"/>
                  </a:cubicBezTo>
                  <a:cubicBezTo>
                    <a:pt x="45019" y="45450"/>
                    <a:pt x="47625" y="47625"/>
                    <a:pt x="50006" y="50006"/>
                  </a:cubicBezTo>
                  <a:cubicBezTo>
                    <a:pt x="50800" y="52387"/>
                    <a:pt x="50613" y="55375"/>
                    <a:pt x="52388" y="57150"/>
                  </a:cubicBezTo>
                  <a:cubicBezTo>
                    <a:pt x="57269" y="62031"/>
                    <a:pt x="66910" y="58055"/>
                    <a:pt x="71438" y="57150"/>
                  </a:cubicBezTo>
                  <a:cubicBezTo>
                    <a:pt x="79375" y="57944"/>
                    <a:pt x="87682" y="57008"/>
                    <a:pt x="95250" y="59531"/>
                  </a:cubicBezTo>
                  <a:cubicBezTo>
                    <a:pt x="97965" y="60436"/>
                    <a:pt x="97236" y="65981"/>
                    <a:pt x="100013" y="66675"/>
                  </a:cubicBezTo>
                  <a:cubicBezTo>
                    <a:pt x="104697" y="67846"/>
                    <a:pt x="109538" y="65088"/>
                    <a:pt x="114300" y="64294"/>
                  </a:cubicBezTo>
                  <a:cubicBezTo>
                    <a:pt x="115094" y="60325"/>
                    <a:pt x="114673" y="55902"/>
                    <a:pt x="116681" y="52388"/>
                  </a:cubicBezTo>
                  <a:cubicBezTo>
                    <a:pt x="121734" y="43546"/>
                    <a:pt x="134251" y="49114"/>
                    <a:pt x="140494" y="50006"/>
                  </a:cubicBezTo>
                  <a:cubicBezTo>
                    <a:pt x="142875" y="49212"/>
                    <a:pt x="145678" y="49193"/>
                    <a:pt x="147638" y="47625"/>
                  </a:cubicBezTo>
                  <a:cubicBezTo>
                    <a:pt x="149873" y="45837"/>
                    <a:pt x="149785" y="41643"/>
                    <a:pt x="152400" y="40481"/>
                  </a:cubicBezTo>
                  <a:cubicBezTo>
                    <a:pt x="157529" y="38201"/>
                    <a:pt x="163513" y="38894"/>
                    <a:pt x="169069" y="38100"/>
                  </a:cubicBezTo>
                  <a:cubicBezTo>
                    <a:pt x="171450" y="37306"/>
                    <a:pt x="174821" y="37808"/>
                    <a:pt x="176213" y="35719"/>
                  </a:cubicBezTo>
                  <a:cubicBezTo>
                    <a:pt x="178458" y="32352"/>
                    <a:pt x="177612" y="27739"/>
                    <a:pt x="178594" y="23813"/>
                  </a:cubicBezTo>
                  <a:cubicBezTo>
                    <a:pt x="179203" y="21378"/>
                    <a:pt x="180431" y="19119"/>
                    <a:pt x="180975" y="16669"/>
                  </a:cubicBezTo>
                  <a:cubicBezTo>
                    <a:pt x="182022" y="11956"/>
                    <a:pt x="180960" y="6573"/>
                    <a:pt x="183356" y="2381"/>
                  </a:cubicBezTo>
                  <a:cubicBezTo>
                    <a:pt x="184601" y="202"/>
                    <a:pt x="188119" y="794"/>
                    <a:pt x="190500" y="0"/>
                  </a:cubicBezTo>
                  <a:cubicBezTo>
                    <a:pt x="198505" y="24018"/>
                    <a:pt x="186289" y="-13243"/>
                    <a:pt x="195263" y="16669"/>
                  </a:cubicBezTo>
                  <a:cubicBezTo>
                    <a:pt x="196706" y="21477"/>
                    <a:pt x="198438" y="26194"/>
                    <a:pt x="200025" y="30956"/>
                  </a:cubicBezTo>
                  <a:cubicBezTo>
                    <a:pt x="203019" y="39940"/>
                    <a:pt x="203046" y="44896"/>
                    <a:pt x="216694" y="47625"/>
                  </a:cubicBezTo>
                  <a:lnTo>
                    <a:pt x="228600" y="50006"/>
                  </a:lnTo>
                  <a:lnTo>
                    <a:pt x="235744" y="54769"/>
                  </a:ln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788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0" name="Freeform 1314"/>
            <p:cNvSpPr/>
            <p:nvPr/>
          </p:nvSpPr>
          <p:spPr bwMode="ltGray">
            <a:xfrm>
              <a:off x="5533647" y="4763953"/>
              <a:ext cx="305902" cy="262440"/>
            </a:xfrm>
            <a:custGeom>
              <a:avLst/>
              <a:gdLst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29061 w 1920955"/>
                <a:gd name="connsiteY34" fmla="*/ 688763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07095 w 1920955"/>
                <a:gd name="connsiteY34" fmla="*/ 670892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68110 w 1920955"/>
                <a:gd name="connsiteY34" fmla="*/ 637701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07453 w 1920955"/>
                <a:gd name="connsiteY35" fmla="*/ 746256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24864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69926 w 1920955"/>
                <a:gd name="connsiteY51" fmla="*/ 1516260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33924 w 1920955"/>
                <a:gd name="connsiteY53" fmla="*/ 1431713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29042 w 1920955"/>
                <a:gd name="connsiteY53" fmla="*/ 1367886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57354"/>
                <a:gd name="connsiteX1" fmla="*/ 1567336 w 1920955"/>
                <a:gd name="connsiteY1" fmla="*/ 369676 h 1657354"/>
                <a:gd name="connsiteX2" fmla="*/ 1467324 w 1920955"/>
                <a:gd name="connsiteY2" fmla="*/ 345863 h 1657354"/>
                <a:gd name="connsiteX3" fmla="*/ 1419699 w 1920955"/>
                <a:gd name="connsiteY3" fmla="*/ 317288 h 1657354"/>
                <a:gd name="connsiteX4" fmla="*/ 1367311 w 1920955"/>
                <a:gd name="connsiteY4" fmla="*/ 160126 h 1657354"/>
                <a:gd name="connsiteX5" fmla="*/ 1338736 w 1920955"/>
                <a:gd name="connsiteY5" fmla="*/ 12488 h 1657354"/>
                <a:gd name="connsiteX6" fmla="*/ 1267299 w 1920955"/>
                <a:gd name="connsiteY6" fmla="*/ 12488 h 1657354"/>
                <a:gd name="connsiteX7" fmla="*/ 1214911 w 1920955"/>
                <a:gd name="connsiteY7" fmla="*/ 50588 h 1657354"/>
                <a:gd name="connsiteX8" fmla="*/ 1214911 w 1920955"/>
                <a:gd name="connsiteY8" fmla="*/ 155363 h 1657354"/>
                <a:gd name="connsiteX9" fmla="*/ 1186336 w 1920955"/>
                <a:gd name="connsiteY9" fmla="*/ 183938 h 1657354"/>
                <a:gd name="connsiteX10" fmla="*/ 1176811 w 1920955"/>
                <a:gd name="connsiteY10" fmla="*/ 255376 h 1657354"/>
                <a:gd name="connsiteX11" fmla="*/ 1114899 w 1920955"/>
                <a:gd name="connsiteY11" fmla="*/ 298238 h 1657354"/>
                <a:gd name="connsiteX12" fmla="*/ 1005361 w 1920955"/>
                <a:gd name="connsiteY12" fmla="*/ 312526 h 1657354"/>
                <a:gd name="connsiteX13" fmla="*/ 962499 w 1920955"/>
                <a:gd name="connsiteY13" fmla="*/ 355388 h 1657354"/>
                <a:gd name="connsiteX14" fmla="*/ 838674 w 1920955"/>
                <a:gd name="connsiteY14" fmla="*/ 355388 h 1657354"/>
                <a:gd name="connsiteX15" fmla="*/ 781524 w 1920955"/>
                <a:gd name="connsiteY15" fmla="*/ 426826 h 1657354"/>
                <a:gd name="connsiteX16" fmla="*/ 781524 w 1920955"/>
                <a:gd name="connsiteY16" fmla="*/ 460163 h 1657354"/>
                <a:gd name="connsiteX17" fmla="*/ 743424 w 1920955"/>
                <a:gd name="connsiteY17" fmla="*/ 483976 h 1657354"/>
                <a:gd name="connsiteX18" fmla="*/ 671986 w 1920955"/>
                <a:gd name="connsiteY18" fmla="*/ 417301 h 1657354"/>
                <a:gd name="connsiteX19" fmla="*/ 519586 w 1920955"/>
                <a:gd name="connsiteY19" fmla="*/ 412538 h 1657354"/>
                <a:gd name="connsiteX20" fmla="*/ 457674 w 1920955"/>
                <a:gd name="connsiteY20" fmla="*/ 431588 h 1657354"/>
                <a:gd name="connsiteX21" fmla="*/ 419574 w 1920955"/>
                <a:gd name="connsiteY21" fmla="*/ 417301 h 1657354"/>
                <a:gd name="connsiteX22" fmla="*/ 400524 w 1920955"/>
                <a:gd name="connsiteY22" fmla="*/ 355388 h 1657354"/>
                <a:gd name="connsiteX23" fmla="*/ 333849 w 1920955"/>
                <a:gd name="connsiteY23" fmla="*/ 303001 h 1657354"/>
                <a:gd name="connsiteX24" fmla="*/ 286224 w 1920955"/>
                <a:gd name="connsiteY24" fmla="*/ 236326 h 1657354"/>
                <a:gd name="connsiteX25" fmla="*/ 143349 w 1920955"/>
                <a:gd name="connsiteY25" fmla="*/ 255376 h 1657354"/>
                <a:gd name="connsiteX26" fmla="*/ 124299 w 1920955"/>
                <a:gd name="connsiteY26" fmla="*/ 331576 h 1657354"/>
                <a:gd name="connsiteX27" fmla="*/ 110011 w 1920955"/>
                <a:gd name="connsiteY27" fmla="*/ 364913 h 1657354"/>
                <a:gd name="connsiteX28" fmla="*/ 133824 w 1920955"/>
                <a:gd name="connsiteY28" fmla="*/ 412538 h 1657354"/>
                <a:gd name="connsiteX29" fmla="*/ 81436 w 1920955"/>
                <a:gd name="connsiteY29" fmla="*/ 450638 h 1657354"/>
                <a:gd name="connsiteX30" fmla="*/ 33811 w 1920955"/>
                <a:gd name="connsiteY30" fmla="*/ 445876 h 1657354"/>
                <a:gd name="connsiteX31" fmla="*/ 33811 w 1920955"/>
                <a:gd name="connsiteY31" fmla="*/ 517313 h 1657354"/>
                <a:gd name="connsiteX32" fmla="*/ 474 w 1920955"/>
                <a:gd name="connsiteY32" fmla="*/ 622088 h 1657354"/>
                <a:gd name="connsiteX33" fmla="*/ 62386 w 1920955"/>
                <a:gd name="connsiteY33" fmla="*/ 698288 h 1657354"/>
                <a:gd name="connsiteX34" fmla="*/ 111977 w 1920955"/>
                <a:gd name="connsiteY34" fmla="*/ 678550 h 1657354"/>
                <a:gd name="connsiteX35" fmla="*/ 112334 w 1920955"/>
                <a:gd name="connsiteY35" fmla="*/ 748809 h 1657354"/>
                <a:gd name="connsiteX36" fmla="*/ 167161 w 1920955"/>
                <a:gd name="connsiteY36" fmla="*/ 779251 h 1657354"/>
                <a:gd name="connsiteX37" fmla="*/ 236159 w 1920955"/>
                <a:gd name="connsiteY37" fmla="*/ 789463 h 1657354"/>
                <a:gd name="connsiteX38" fmla="*/ 271462 w 1920955"/>
                <a:gd name="connsiteY38" fmla="*/ 845434 h 1657354"/>
                <a:gd name="connsiteX39" fmla="*/ 270869 w 1920955"/>
                <a:gd name="connsiteY39" fmla="*/ 890506 h 1657354"/>
                <a:gd name="connsiteX40" fmla="*/ 295393 w 1920955"/>
                <a:gd name="connsiteY40" fmla="*/ 929981 h 1657354"/>
                <a:gd name="connsiteX41" fmla="*/ 341051 w 1920955"/>
                <a:gd name="connsiteY41" fmla="*/ 968573 h 1657354"/>
                <a:gd name="connsiteX42" fmla="*/ 426184 w 1920955"/>
                <a:gd name="connsiteY42" fmla="*/ 1022825 h 1657354"/>
                <a:gd name="connsiteX43" fmla="*/ 461961 w 1920955"/>
                <a:gd name="connsiteY43" fmla="*/ 1093918 h 1657354"/>
                <a:gd name="connsiteX44" fmla="*/ 441064 w 1920955"/>
                <a:gd name="connsiteY44" fmla="*/ 1163491 h 1657354"/>
                <a:gd name="connsiteX45" fmla="*/ 519111 w 1920955"/>
                <a:gd name="connsiteY45" fmla="*/ 1219954 h 1657354"/>
                <a:gd name="connsiteX46" fmla="*/ 591143 w 1920955"/>
                <a:gd name="connsiteY46" fmla="*/ 1252948 h 1657354"/>
                <a:gd name="connsiteX47" fmla="*/ 571974 w 1920955"/>
                <a:gd name="connsiteY47" fmla="*/ 1312651 h 1657354"/>
                <a:gd name="connsiteX48" fmla="*/ 662461 w 1920955"/>
                <a:gd name="connsiteY48" fmla="*/ 1465051 h 1657354"/>
                <a:gd name="connsiteX49" fmla="*/ 755271 w 1920955"/>
                <a:gd name="connsiteY49" fmla="*/ 1538205 h 1657354"/>
                <a:gd name="connsiteX50" fmla="*/ 805336 w 1920955"/>
                <a:gd name="connsiteY50" fmla="*/ 1488863 h 1657354"/>
                <a:gd name="connsiteX51" fmla="*/ 869926 w 1920955"/>
                <a:gd name="connsiteY51" fmla="*/ 1516260 h 1657354"/>
                <a:gd name="connsiteX52" fmla="*/ 924399 w 1920955"/>
                <a:gd name="connsiteY52" fmla="*/ 1484101 h 1657354"/>
                <a:gd name="connsiteX53" fmla="*/ 941246 w 1920955"/>
                <a:gd name="connsiteY53" fmla="*/ 1441925 h 1657354"/>
                <a:gd name="connsiteX54" fmla="*/ 1005123 w 1920955"/>
                <a:gd name="connsiteY54" fmla="*/ 1528337 h 1657354"/>
                <a:gd name="connsiteX55" fmla="*/ 1050190 w 1920955"/>
                <a:gd name="connsiteY55" fmla="*/ 1599431 h 1657354"/>
                <a:gd name="connsiteX56" fmla="*/ 1103052 w 1920955"/>
                <a:gd name="connsiteY56" fmla="*/ 1611805 h 1657354"/>
                <a:gd name="connsiteX57" fmla="*/ 1133949 w 1920955"/>
                <a:gd name="connsiteY57" fmla="*/ 1579351 h 1657354"/>
                <a:gd name="connsiteX58" fmla="*/ 1176811 w 1920955"/>
                <a:gd name="connsiteY58" fmla="*/ 1598401 h 1657354"/>
                <a:gd name="connsiteX59" fmla="*/ 1210149 w 1920955"/>
                <a:gd name="connsiteY59" fmla="*/ 1617451 h 1657354"/>
                <a:gd name="connsiteX60" fmla="*/ 1233961 w 1920955"/>
                <a:gd name="connsiteY60" fmla="*/ 1579351 h 1657354"/>
                <a:gd name="connsiteX61" fmla="*/ 1267299 w 1920955"/>
                <a:gd name="connsiteY61" fmla="*/ 1655551 h 1657354"/>
                <a:gd name="connsiteX62" fmla="*/ 1348261 w 1920955"/>
                <a:gd name="connsiteY62" fmla="*/ 1626976 h 1657354"/>
                <a:gd name="connsiteX63" fmla="*/ 1414936 w 1920955"/>
                <a:gd name="connsiteY63" fmla="*/ 1555538 h 1657354"/>
                <a:gd name="connsiteX64" fmla="*/ 1433986 w 1920955"/>
                <a:gd name="connsiteY64" fmla="*/ 1607926 h 1657354"/>
                <a:gd name="connsiteX65" fmla="*/ 1410174 w 1920955"/>
                <a:gd name="connsiteY65" fmla="*/ 1612688 h 1657354"/>
                <a:gd name="connsiteX66" fmla="*/ 1543524 w 1920955"/>
                <a:gd name="connsiteY66" fmla="*/ 1579351 h 1657354"/>
                <a:gd name="connsiteX67" fmla="*/ 1581624 w 1920955"/>
                <a:gd name="connsiteY67" fmla="*/ 1507913 h 1657354"/>
                <a:gd name="connsiteX68" fmla="*/ 1643536 w 1920955"/>
                <a:gd name="connsiteY68" fmla="*/ 1412663 h 1657354"/>
                <a:gd name="connsiteX69" fmla="*/ 1714974 w 1920955"/>
                <a:gd name="connsiteY69" fmla="*/ 1384088 h 1657354"/>
                <a:gd name="connsiteX70" fmla="*/ 1772124 w 1920955"/>
                <a:gd name="connsiteY70" fmla="*/ 1379326 h 1657354"/>
                <a:gd name="connsiteX71" fmla="*/ 1772124 w 1920955"/>
                <a:gd name="connsiteY71" fmla="*/ 1450763 h 1657354"/>
                <a:gd name="connsiteX72" fmla="*/ 1886424 w 1920955"/>
                <a:gd name="connsiteY72" fmla="*/ 1446001 h 1657354"/>
                <a:gd name="connsiteX73" fmla="*/ 1919761 w 1920955"/>
                <a:gd name="connsiteY73" fmla="*/ 1441238 h 1657354"/>
                <a:gd name="connsiteX74" fmla="*/ 1853086 w 1920955"/>
                <a:gd name="connsiteY74" fmla="*/ 1398376 h 1657354"/>
                <a:gd name="connsiteX75" fmla="*/ 1853086 w 1920955"/>
                <a:gd name="connsiteY75" fmla="*/ 1303126 h 1657354"/>
                <a:gd name="connsiteX76" fmla="*/ 1853086 w 1920955"/>
                <a:gd name="connsiteY76" fmla="*/ 1245976 h 1657354"/>
                <a:gd name="connsiteX77" fmla="*/ 1810224 w 1920955"/>
                <a:gd name="connsiteY77" fmla="*/ 1236451 h 1657354"/>
                <a:gd name="connsiteX78" fmla="*/ 1734024 w 1920955"/>
                <a:gd name="connsiteY78" fmla="*/ 1155488 h 1657354"/>
                <a:gd name="connsiteX79" fmla="*/ 1695924 w 1920955"/>
                <a:gd name="connsiteY79" fmla="*/ 974513 h 1657354"/>
                <a:gd name="connsiteX80" fmla="*/ 1643536 w 1920955"/>
                <a:gd name="connsiteY80" fmla="*/ 941176 h 1657354"/>
                <a:gd name="connsiteX81" fmla="*/ 1605436 w 1920955"/>
                <a:gd name="connsiteY81" fmla="*/ 884026 h 1657354"/>
                <a:gd name="connsiteX82" fmla="*/ 1557811 w 1920955"/>
                <a:gd name="connsiteY82" fmla="*/ 836401 h 1657354"/>
                <a:gd name="connsiteX83" fmla="*/ 1505424 w 1920955"/>
                <a:gd name="connsiteY83" fmla="*/ 817351 h 1657354"/>
                <a:gd name="connsiteX84" fmla="*/ 1453036 w 1920955"/>
                <a:gd name="connsiteY84" fmla="*/ 812588 h 1657354"/>
                <a:gd name="connsiteX85" fmla="*/ 1510186 w 1920955"/>
                <a:gd name="connsiteY85" fmla="*/ 779251 h 1657354"/>
                <a:gd name="connsiteX86" fmla="*/ 1476849 w 1920955"/>
                <a:gd name="connsiteY86" fmla="*/ 745913 h 1657354"/>
                <a:gd name="connsiteX87" fmla="*/ 1481611 w 1920955"/>
                <a:gd name="connsiteY87" fmla="*/ 722101 h 1657354"/>
                <a:gd name="connsiteX88" fmla="*/ 1572099 w 1920955"/>
                <a:gd name="connsiteY88" fmla="*/ 760201 h 1657354"/>
                <a:gd name="connsiteX89" fmla="*/ 1624486 w 1920955"/>
                <a:gd name="connsiteY89" fmla="*/ 693526 h 1657354"/>
                <a:gd name="connsiteX90" fmla="*/ 1614961 w 1920955"/>
                <a:gd name="connsiteY90" fmla="*/ 550651 h 1657354"/>
                <a:gd name="connsiteX91" fmla="*/ 1610199 w 1920955"/>
                <a:gd name="connsiteY91" fmla="*/ 412538 h 1657354"/>
                <a:gd name="connsiteX0" fmla="*/ 1610199 w 1920955"/>
                <a:gd name="connsiteY0" fmla="*/ 412538 h 1696167"/>
                <a:gd name="connsiteX1" fmla="*/ 1567336 w 1920955"/>
                <a:gd name="connsiteY1" fmla="*/ 369676 h 1696167"/>
                <a:gd name="connsiteX2" fmla="*/ 1467324 w 1920955"/>
                <a:gd name="connsiteY2" fmla="*/ 345863 h 1696167"/>
                <a:gd name="connsiteX3" fmla="*/ 1419699 w 1920955"/>
                <a:gd name="connsiteY3" fmla="*/ 317288 h 1696167"/>
                <a:gd name="connsiteX4" fmla="*/ 1367311 w 1920955"/>
                <a:gd name="connsiteY4" fmla="*/ 160126 h 1696167"/>
                <a:gd name="connsiteX5" fmla="*/ 1338736 w 1920955"/>
                <a:gd name="connsiteY5" fmla="*/ 12488 h 1696167"/>
                <a:gd name="connsiteX6" fmla="*/ 1267299 w 1920955"/>
                <a:gd name="connsiteY6" fmla="*/ 12488 h 1696167"/>
                <a:gd name="connsiteX7" fmla="*/ 1214911 w 1920955"/>
                <a:gd name="connsiteY7" fmla="*/ 50588 h 1696167"/>
                <a:gd name="connsiteX8" fmla="*/ 1214911 w 1920955"/>
                <a:gd name="connsiteY8" fmla="*/ 155363 h 1696167"/>
                <a:gd name="connsiteX9" fmla="*/ 1186336 w 1920955"/>
                <a:gd name="connsiteY9" fmla="*/ 183938 h 1696167"/>
                <a:gd name="connsiteX10" fmla="*/ 1176811 w 1920955"/>
                <a:gd name="connsiteY10" fmla="*/ 255376 h 1696167"/>
                <a:gd name="connsiteX11" fmla="*/ 1114899 w 1920955"/>
                <a:gd name="connsiteY11" fmla="*/ 298238 h 1696167"/>
                <a:gd name="connsiteX12" fmla="*/ 1005361 w 1920955"/>
                <a:gd name="connsiteY12" fmla="*/ 312526 h 1696167"/>
                <a:gd name="connsiteX13" fmla="*/ 962499 w 1920955"/>
                <a:gd name="connsiteY13" fmla="*/ 355388 h 1696167"/>
                <a:gd name="connsiteX14" fmla="*/ 838674 w 1920955"/>
                <a:gd name="connsiteY14" fmla="*/ 355388 h 1696167"/>
                <a:gd name="connsiteX15" fmla="*/ 781524 w 1920955"/>
                <a:gd name="connsiteY15" fmla="*/ 426826 h 1696167"/>
                <a:gd name="connsiteX16" fmla="*/ 781524 w 1920955"/>
                <a:gd name="connsiteY16" fmla="*/ 460163 h 1696167"/>
                <a:gd name="connsiteX17" fmla="*/ 743424 w 1920955"/>
                <a:gd name="connsiteY17" fmla="*/ 483976 h 1696167"/>
                <a:gd name="connsiteX18" fmla="*/ 671986 w 1920955"/>
                <a:gd name="connsiteY18" fmla="*/ 417301 h 1696167"/>
                <a:gd name="connsiteX19" fmla="*/ 519586 w 1920955"/>
                <a:gd name="connsiteY19" fmla="*/ 412538 h 1696167"/>
                <a:gd name="connsiteX20" fmla="*/ 457674 w 1920955"/>
                <a:gd name="connsiteY20" fmla="*/ 431588 h 1696167"/>
                <a:gd name="connsiteX21" fmla="*/ 419574 w 1920955"/>
                <a:gd name="connsiteY21" fmla="*/ 417301 h 1696167"/>
                <a:gd name="connsiteX22" fmla="*/ 400524 w 1920955"/>
                <a:gd name="connsiteY22" fmla="*/ 355388 h 1696167"/>
                <a:gd name="connsiteX23" fmla="*/ 333849 w 1920955"/>
                <a:gd name="connsiteY23" fmla="*/ 303001 h 1696167"/>
                <a:gd name="connsiteX24" fmla="*/ 286224 w 1920955"/>
                <a:gd name="connsiteY24" fmla="*/ 236326 h 1696167"/>
                <a:gd name="connsiteX25" fmla="*/ 143349 w 1920955"/>
                <a:gd name="connsiteY25" fmla="*/ 255376 h 1696167"/>
                <a:gd name="connsiteX26" fmla="*/ 124299 w 1920955"/>
                <a:gd name="connsiteY26" fmla="*/ 331576 h 1696167"/>
                <a:gd name="connsiteX27" fmla="*/ 110011 w 1920955"/>
                <a:gd name="connsiteY27" fmla="*/ 364913 h 1696167"/>
                <a:gd name="connsiteX28" fmla="*/ 133824 w 1920955"/>
                <a:gd name="connsiteY28" fmla="*/ 412538 h 1696167"/>
                <a:gd name="connsiteX29" fmla="*/ 81436 w 1920955"/>
                <a:gd name="connsiteY29" fmla="*/ 450638 h 1696167"/>
                <a:gd name="connsiteX30" fmla="*/ 33811 w 1920955"/>
                <a:gd name="connsiteY30" fmla="*/ 445876 h 1696167"/>
                <a:gd name="connsiteX31" fmla="*/ 33811 w 1920955"/>
                <a:gd name="connsiteY31" fmla="*/ 517313 h 1696167"/>
                <a:gd name="connsiteX32" fmla="*/ 474 w 1920955"/>
                <a:gd name="connsiteY32" fmla="*/ 622088 h 1696167"/>
                <a:gd name="connsiteX33" fmla="*/ 62386 w 1920955"/>
                <a:gd name="connsiteY33" fmla="*/ 698288 h 1696167"/>
                <a:gd name="connsiteX34" fmla="*/ 111977 w 1920955"/>
                <a:gd name="connsiteY34" fmla="*/ 678550 h 1696167"/>
                <a:gd name="connsiteX35" fmla="*/ 112334 w 1920955"/>
                <a:gd name="connsiteY35" fmla="*/ 748809 h 1696167"/>
                <a:gd name="connsiteX36" fmla="*/ 167161 w 1920955"/>
                <a:gd name="connsiteY36" fmla="*/ 779251 h 1696167"/>
                <a:gd name="connsiteX37" fmla="*/ 236159 w 1920955"/>
                <a:gd name="connsiteY37" fmla="*/ 789463 h 1696167"/>
                <a:gd name="connsiteX38" fmla="*/ 271462 w 1920955"/>
                <a:gd name="connsiteY38" fmla="*/ 845434 h 1696167"/>
                <a:gd name="connsiteX39" fmla="*/ 270869 w 1920955"/>
                <a:gd name="connsiteY39" fmla="*/ 890506 h 1696167"/>
                <a:gd name="connsiteX40" fmla="*/ 295393 w 1920955"/>
                <a:gd name="connsiteY40" fmla="*/ 929981 h 1696167"/>
                <a:gd name="connsiteX41" fmla="*/ 341051 w 1920955"/>
                <a:gd name="connsiteY41" fmla="*/ 968573 h 1696167"/>
                <a:gd name="connsiteX42" fmla="*/ 426184 w 1920955"/>
                <a:gd name="connsiteY42" fmla="*/ 1022825 h 1696167"/>
                <a:gd name="connsiteX43" fmla="*/ 461961 w 1920955"/>
                <a:gd name="connsiteY43" fmla="*/ 1093918 h 1696167"/>
                <a:gd name="connsiteX44" fmla="*/ 441064 w 1920955"/>
                <a:gd name="connsiteY44" fmla="*/ 1163491 h 1696167"/>
                <a:gd name="connsiteX45" fmla="*/ 519111 w 1920955"/>
                <a:gd name="connsiteY45" fmla="*/ 1219954 h 1696167"/>
                <a:gd name="connsiteX46" fmla="*/ 591143 w 1920955"/>
                <a:gd name="connsiteY46" fmla="*/ 1252948 h 1696167"/>
                <a:gd name="connsiteX47" fmla="*/ 571974 w 1920955"/>
                <a:gd name="connsiteY47" fmla="*/ 1312651 h 1696167"/>
                <a:gd name="connsiteX48" fmla="*/ 662461 w 1920955"/>
                <a:gd name="connsiteY48" fmla="*/ 1465051 h 1696167"/>
                <a:gd name="connsiteX49" fmla="*/ 755271 w 1920955"/>
                <a:gd name="connsiteY49" fmla="*/ 1538205 h 1696167"/>
                <a:gd name="connsiteX50" fmla="*/ 805336 w 1920955"/>
                <a:gd name="connsiteY50" fmla="*/ 1488863 h 1696167"/>
                <a:gd name="connsiteX51" fmla="*/ 869926 w 1920955"/>
                <a:gd name="connsiteY51" fmla="*/ 1516260 h 1696167"/>
                <a:gd name="connsiteX52" fmla="*/ 924399 w 1920955"/>
                <a:gd name="connsiteY52" fmla="*/ 1484101 h 1696167"/>
                <a:gd name="connsiteX53" fmla="*/ 941246 w 1920955"/>
                <a:gd name="connsiteY53" fmla="*/ 1441925 h 1696167"/>
                <a:gd name="connsiteX54" fmla="*/ 1005123 w 1920955"/>
                <a:gd name="connsiteY54" fmla="*/ 1528337 h 1696167"/>
                <a:gd name="connsiteX55" fmla="*/ 1050190 w 1920955"/>
                <a:gd name="connsiteY55" fmla="*/ 1599431 h 1696167"/>
                <a:gd name="connsiteX56" fmla="*/ 1132339 w 1920955"/>
                <a:gd name="connsiteY56" fmla="*/ 1696055 h 1696167"/>
                <a:gd name="connsiteX57" fmla="*/ 1133949 w 1920955"/>
                <a:gd name="connsiteY57" fmla="*/ 1579351 h 1696167"/>
                <a:gd name="connsiteX58" fmla="*/ 1176811 w 1920955"/>
                <a:gd name="connsiteY58" fmla="*/ 1598401 h 1696167"/>
                <a:gd name="connsiteX59" fmla="*/ 1210149 w 1920955"/>
                <a:gd name="connsiteY59" fmla="*/ 1617451 h 1696167"/>
                <a:gd name="connsiteX60" fmla="*/ 1233961 w 1920955"/>
                <a:gd name="connsiteY60" fmla="*/ 1579351 h 1696167"/>
                <a:gd name="connsiteX61" fmla="*/ 1267299 w 1920955"/>
                <a:gd name="connsiteY61" fmla="*/ 1655551 h 1696167"/>
                <a:gd name="connsiteX62" fmla="*/ 1348261 w 1920955"/>
                <a:gd name="connsiteY62" fmla="*/ 1626976 h 1696167"/>
                <a:gd name="connsiteX63" fmla="*/ 1414936 w 1920955"/>
                <a:gd name="connsiteY63" fmla="*/ 1555538 h 1696167"/>
                <a:gd name="connsiteX64" fmla="*/ 1433986 w 1920955"/>
                <a:gd name="connsiteY64" fmla="*/ 1607926 h 1696167"/>
                <a:gd name="connsiteX65" fmla="*/ 1410174 w 1920955"/>
                <a:gd name="connsiteY65" fmla="*/ 1612688 h 1696167"/>
                <a:gd name="connsiteX66" fmla="*/ 1543524 w 1920955"/>
                <a:gd name="connsiteY66" fmla="*/ 1579351 h 1696167"/>
                <a:gd name="connsiteX67" fmla="*/ 1581624 w 1920955"/>
                <a:gd name="connsiteY67" fmla="*/ 1507913 h 1696167"/>
                <a:gd name="connsiteX68" fmla="*/ 1643536 w 1920955"/>
                <a:gd name="connsiteY68" fmla="*/ 1412663 h 1696167"/>
                <a:gd name="connsiteX69" fmla="*/ 1714974 w 1920955"/>
                <a:gd name="connsiteY69" fmla="*/ 1384088 h 1696167"/>
                <a:gd name="connsiteX70" fmla="*/ 1772124 w 1920955"/>
                <a:gd name="connsiteY70" fmla="*/ 1379326 h 1696167"/>
                <a:gd name="connsiteX71" fmla="*/ 1772124 w 1920955"/>
                <a:gd name="connsiteY71" fmla="*/ 1450763 h 1696167"/>
                <a:gd name="connsiteX72" fmla="*/ 1886424 w 1920955"/>
                <a:gd name="connsiteY72" fmla="*/ 1446001 h 1696167"/>
                <a:gd name="connsiteX73" fmla="*/ 1919761 w 1920955"/>
                <a:gd name="connsiteY73" fmla="*/ 1441238 h 1696167"/>
                <a:gd name="connsiteX74" fmla="*/ 1853086 w 1920955"/>
                <a:gd name="connsiteY74" fmla="*/ 1398376 h 1696167"/>
                <a:gd name="connsiteX75" fmla="*/ 1853086 w 1920955"/>
                <a:gd name="connsiteY75" fmla="*/ 1303126 h 1696167"/>
                <a:gd name="connsiteX76" fmla="*/ 1853086 w 1920955"/>
                <a:gd name="connsiteY76" fmla="*/ 1245976 h 1696167"/>
                <a:gd name="connsiteX77" fmla="*/ 1810224 w 1920955"/>
                <a:gd name="connsiteY77" fmla="*/ 1236451 h 1696167"/>
                <a:gd name="connsiteX78" fmla="*/ 1734024 w 1920955"/>
                <a:gd name="connsiteY78" fmla="*/ 1155488 h 1696167"/>
                <a:gd name="connsiteX79" fmla="*/ 1695924 w 1920955"/>
                <a:gd name="connsiteY79" fmla="*/ 974513 h 1696167"/>
                <a:gd name="connsiteX80" fmla="*/ 1643536 w 1920955"/>
                <a:gd name="connsiteY80" fmla="*/ 941176 h 1696167"/>
                <a:gd name="connsiteX81" fmla="*/ 1605436 w 1920955"/>
                <a:gd name="connsiteY81" fmla="*/ 884026 h 1696167"/>
                <a:gd name="connsiteX82" fmla="*/ 1557811 w 1920955"/>
                <a:gd name="connsiteY82" fmla="*/ 836401 h 1696167"/>
                <a:gd name="connsiteX83" fmla="*/ 1505424 w 1920955"/>
                <a:gd name="connsiteY83" fmla="*/ 817351 h 1696167"/>
                <a:gd name="connsiteX84" fmla="*/ 1453036 w 1920955"/>
                <a:gd name="connsiteY84" fmla="*/ 812588 h 1696167"/>
                <a:gd name="connsiteX85" fmla="*/ 1510186 w 1920955"/>
                <a:gd name="connsiteY85" fmla="*/ 779251 h 1696167"/>
                <a:gd name="connsiteX86" fmla="*/ 1476849 w 1920955"/>
                <a:gd name="connsiteY86" fmla="*/ 745913 h 1696167"/>
                <a:gd name="connsiteX87" fmla="*/ 1481611 w 1920955"/>
                <a:gd name="connsiteY87" fmla="*/ 722101 h 1696167"/>
                <a:gd name="connsiteX88" fmla="*/ 1572099 w 1920955"/>
                <a:gd name="connsiteY88" fmla="*/ 760201 h 1696167"/>
                <a:gd name="connsiteX89" fmla="*/ 1624486 w 1920955"/>
                <a:gd name="connsiteY89" fmla="*/ 693526 h 1696167"/>
                <a:gd name="connsiteX90" fmla="*/ 1614961 w 1920955"/>
                <a:gd name="connsiteY90" fmla="*/ 550651 h 1696167"/>
                <a:gd name="connsiteX91" fmla="*/ 1610199 w 1920955"/>
                <a:gd name="connsiteY91" fmla="*/ 412538 h 1696167"/>
                <a:gd name="connsiteX0" fmla="*/ 1610199 w 1920955"/>
                <a:gd name="connsiteY0" fmla="*/ 412538 h 1696335"/>
                <a:gd name="connsiteX1" fmla="*/ 1567336 w 1920955"/>
                <a:gd name="connsiteY1" fmla="*/ 369676 h 1696335"/>
                <a:gd name="connsiteX2" fmla="*/ 1467324 w 1920955"/>
                <a:gd name="connsiteY2" fmla="*/ 345863 h 1696335"/>
                <a:gd name="connsiteX3" fmla="*/ 1419699 w 1920955"/>
                <a:gd name="connsiteY3" fmla="*/ 317288 h 1696335"/>
                <a:gd name="connsiteX4" fmla="*/ 1367311 w 1920955"/>
                <a:gd name="connsiteY4" fmla="*/ 160126 h 1696335"/>
                <a:gd name="connsiteX5" fmla="*/ 1338736 w 1920955"/>
                <a:gd name="connsiteY5" fmla="*/ 12488 h 1696335"/>
                <a:gd name="connsiteX6" fmla="*/ 1267299 w 1920955"/>
                <a:gd name="connsiteY6" fmla="*/ 12488 h 1696335"/>
                <a:gd name="connsiteX7" fmla="*/ 1214911 w 1920955"/>
                <a:gd name="connsiteY7" fmla="*/ 50588 h 1696335"/>
                <a:gd name="connsiteX8" fmla="*/ 1214911 w 1920955"/>
                <a:gd name="connsiteY8" fmla="*/ 155363 h 1696335"/>
                <a:gd name="connsiteX9" fmla="*/ 1186336 w 1920955"/>
                <a:gd name="connsiteY9" fmla="*/ 183938 h 1696335"/>
                <a:gd name="connsiteX10" fmla="*/ 1176811 w 1920955"/>
                <a:gd name="connsiteY10" fmla="*/ 255376 h 1696335"/>
                <a:gd name="connsiteX11" fmla="*/ 1114899 w 1920955"/>
                <a:gd name="connsiteY11" fmla="*/ 298238 h 1696335"/>
                <a:gd name="connsiteX12" fmla="*/ 1005361 w 1920955"/>
                <a:gd name="connsiteY12" fmla="*/ 312526 h 1696335"/>
                <a:gd name="connsiteX13" fmla="*/ 962499 w 1920955"/>
                <a:gd name="connsiteY13" fmla="*/ 355388 h 1696335"/>
                <a:gd name="connsiteX14" fmla="*/ 838674 w 1920955"/>
                <a:gd name="connsiteY14" fmla="*/ 355388 h 1696335"/>
                <a:gd name="connsiteX15" fmla="*/ 781524 w 1920955"/>
                <a:gd name="connsiteY15" fmla="*/ 426826 h 1696335"/>
                <a:gd name="connsiteX16" fmla="*/ 781524 w 1920955"/>
                <a:gd name="connsiteY16" fmla="*/ 460163 h 1696335"/>
                <a:gd name="connsiteX17" fmla="*/ 743424 w 1920955"/>
                <a:gd name="connsiteY17" fmla="*/ 483976 h 1696335"/>
                <a:gd name="connsiteX18" fmla="*/ 671986 w 1920955"/>
                <a:gd name="connsiteY18" fmla="*/ 417301 h 1696335"/>
                <a:gd name="connsiteX19" fmla="*/ 519586 w 1920955"/>
                <a:gd name="connsiteY19" fmla="*/ 412538 h 1696335"/>
                <a:gd name="connsiteX20" fmla="*/ 457674 w 1920955"/>
                <a:gd name="connsiteY20" fmla="*/ 431588 h 1696335"/>
                <a:gd name="connsiteX21" fmla="*/ 419574 w 1920955"/>
                <a:gd name="connsiteY21" fmla="*/ 417301 h 1696335"/>
                <a:gd name="connsiteX22" fmla="*/ 400524 w 1920955"/>
                <a:gd name="connsiteY22" fmla="*/ 355388 h 1696335"/>
                <a:gd name="connsiteX23" fmla="*/ 333849 w 1920955"/>
                <a:gd name="connsiteY23" fmla="*/ 303001 h 1696335"/>
                <a:gd name="connsiteX24" fmla="*/ 286224 w 1920955"/>
                <a:gd name="connsiteY24" fmla="*/ 236326 h 1696335"/>
                <a:gd name="connsiteX25" fmla="*/ 143349 w 1920955"/>
                <a:gd name="connsiteY25" fmla="*/ 255376 h 1696335"/>
                <a:gd name="connsiteX26" fmla="*/ 124299 w 1920955"/>
                <a:gd name="connsiteY26" fmla="*/ 331576 h 1696335"/>
                <a:gd name="connsiteX27" fmla="*/ 110011 w 1920955"/>
                <a:gd name="connsiteY27" fmla="*/ 364913 h 1696335"/>
                <a:gd name="connsiteX28" fmla="*/ 133824 w 1920955"/>
                <a:gd name="connsiteY28" fmla="*/ 412538 h 1696335"/>
                <a:gd name="connsiteX29" fmla="*/ 81436 w 1920955"/>
                <a:gd name="connsiteY29" fmla="*/ 450638 h 1696335"/>
                <a:gd name="connsiteX30" fmla="*/ 33811 w 1920955"/>
                <a:gd name="connsiteY30" fmla="*/ 445876 h 1696335"/>
                <a:gd name="connsiteX31" fmla="*/ 33811 w 1920955"/>
                <a:gd name="connsiteY31" fmla="*/ 517313 h 1696335"/>
                <a:gd name="connsiteX32" fmla="*/ 474 w 1920955"/>
                <a:gd name="connsiteY32" fmla="*/ 622088 h 1696335"/>
                <a:gd name="connsiteX33" fmla="*/ 62386 w 1920955"/>
                <a:gd name="connsiteY33" fmla="*/ 698288 h 1696335"/>
                <a:gd name="connsiteX34" fmla="*/ 111977 w 1920955"/>
                <a:gd name="connsiteY34" fmla="*/ 678550 h 1696335"/>
                <a:gd name="connsiteX35" fmla="*/ 112334 w 1920955"/>
                <a:gd name="connsiteY35" fmla="*/ 748809 h 1696335"/>
                <a:gd name="connsiteX36" fmla="*/ 167161 w 1920955"/>
                <a:gd name="connsiteY36" fmla="*/ 779251 h 1696335"/>
                <a:gd name="connsiteX37" fmla="*/ 236159 w 1920955"/>
                <a:gd name="connsiteY37" fmla="*/ 789463 h 1696335"/>
                <a:gd name="connsiteX38" fmla="*/ 271462 w 1920955"/>
                <a:gd name="connsiteY38" fmla="*/ 845434 h 1696335"/>
                <a:gd name="connsiteX39" fmla="*/ 270869 w 1920955"/>
                <a:gd name="connsiteY39" fmla="*/ 890506 h 1696335"/>
                <a:gd name="connsiteX40" fmla="*/ 295393 w 1920955"/>
                <a:gd name="connsiteY40" fmla="*/ 929981 h 1696335"/>
                <a:gd name="connsiteX41" fmla="*/ 341051 w 1920955"/>
                <a:gd name="connsiteY41" fmla="*/ 968573 h 1696335"/>
                <a:gd name="connsiteX42" fmla="*/ 426184 w 1920955"/>
                <a:gd name="connsiteY42" fmla="*/ 1022825 h 1696335"/>
                <a:gd name="connsiteX43" fmla="*/ 461961 w 1920955"/>
                <a:gd name="connsiteY43" fmla="*/ 1093918 h 1696335"/>
                <a:gd name="connsiteX44" fmla="*/ 441064 w 1920955"/>
                <a:gd name="connsiteY44" fmla="*/ 1163491 h 1696335"/>
                <a:gd name="connsiteX45" fmla="*/ 519111 w 1920955"/>
                <a:gd name="connsiteY45" fmla="*/ 1219954 h 1696335"/>
                <a:gd name="connsiteX46" fmla="*/ 591143 w 1920955"/>
                <a:gd name="connsiteY46" fmla="*/ 1252948 h 1696335"/>
                <a:gd name="connsiteX47" fmla="*/ 571974 w 1920955"/>
                <a:gd name="connsiteY47" fmla="*/ 1312651 h 1696335"/>
                <a:gd name="connsiteX48" fmla="*/ 662461 w 1920955"/>
                <a:gd name="connsiteY48" fmla="*/ 1465051 h 1696335"/>
                <a:gd name="connsiteX49" fmla="*/ 755271 w 1920955"/>
                <a:gd name="connsiteY49" fmla="*/ 1538205 h 1696335"/>
                <a:gd name="connsiteX50" fmla="*/ 805336 w 1920955"/>
                <a:gd name="connsiteY50" fmla="*/ 1488863 h 1696335"/>
                <a:gd name="connsiteX51" fmla="*/ 869926 w 1920955"/>
                <a:gd name="connsiteY51" fmla="*/ 1516260 h 1696335"/>
                <a:gd name="connsiteX52" fmla="*/ 924399 w 1920955"/>
                <a:gd name="connsiteY52" fmla="*/ 1484101 h 1696335"/>
                <a:gd name="connsiteX53" fmla="*/ 941246 w 1920955"/>
                <a:gd name="connsiteY53" fmla="*/ 1441925 h 1696335"/>
                <a:gd name="connsiteX54" fmla="*/ 1005123 w 1920955"/>
                <a:gd name="connsiteY54" fmla="*/ 1528337 h 1696335"/>
                <a:gd name="connsiteX55" fmla="*/ 1050190 w 1920955"/>
                <a:gd name="connsiteY55" fmla="*/ 1599431 h 1696335"/>
                <a:gd name="connsiteX56" fmla="*/ 1132339 w 1920955"/>
                <a:gd name="connsiteY56" fmla="*/ 1696055 h 1696335"/>
                <a:gd name="connsiteX57" fmla="*/ 1151034 w 1920955"/>
                <a:gd name="connsiteY57" fmla="*/ 1627859 h 1696335"/>
                <a:gd name="connsiteX58" fmla="*/ 1176811 w 1920955"/>
                <a:gd name="connsiteY58" fmla="*/ 1598401 h 1696335"/>
                <a:gd name="connsiteX59" fmla="*/ 1210149 w 1920955"/>
                <a:gd name="connsiteY59" fmla="*/ 1617451 h 1696335"/>
                <a:gd name="connsiteX60" fmla="*/ 1233961 w 1920955"/>
                <a:gd name="connsiteY60" fmla="*/ 1579351 h 1696335"/>
                <a:gd name="connsiteX61" fmla="*/ 1267299 w 1920955"/>
                <a:gd name="connsiteY61" fmla="*/ 1655551 h 1696335"/>
                <a:gd name="connsiteX62" fmla="*/ 1348261 w 1920955"/>
                <a:gd name="connsiteY62" fmla="*/ 1626976 h 1696335"/>
                <a:gd name="connsiteX63" fmla="*/ 1414936 w 1920955"/>
                <a:gd name="connsiteY63" fmla="*/ 1555538 h 1696335"/>
                <a:gd name="connsiteX64" fmla="*/ 1433986 w 1920955"/>
                <a:gd name="connsiteY64" fmla="*/ 1607926 h 1696335"/>
                <a:gd name="connsiteX65" fmla="*/ 1410174 w 1920955"/>
                <a:gd name="connsiteY65" fmla="*/ 1612688 h 1696335"/>
                <a:gd name="connsiteX66" fmla="*/ 1543524 w 1920955"/>
                <a:gd name="connsiteY66" fmla="*/ 1579351 h 1696335"/>
                <a:gd name="connsiteX67" fmla="*/ 1581624 w 1920955"/>
                <a:gd name="connsiteY67" fmla="*/ 1507913 h 1696335"/>
                <a:gd name="connsiteX68" fmla="*/ 1643536 w 1920955"/>
                <a:gd name="connsiteY68" fmla="*/ 1412663 h 1696335"/>
                <a:gd name="connsiteX69" fmla="*/ 1714974 w 1920955"/>
                <a:gd name="connsiteY69" fmla="*/ 1384088 h 1696335"/>
                <a:gd name="connsiteX70" fmla="*/ 1772124 w 1920955"/>
                <a:gd name="connsiteY70" fmla="*/ 1379326 h 1696335"/>
                <a:gd name="connsiteX71" fmla="*/ 1772124 w 1920955"/>
                <a:gd name="connsiteY71" fmla="*/ 1450763 h 1696335"/>
                <a:gd name="connsiteX72" fmla="*/ 1886424 w 1920955"/>
                <a:gd name="connsiteY72" fmla="*/ 1446001 h 1696335"/>
                <a:gd name="connsiteX73" fmla="*/ 1919761 w 1920955"/>
                <a:gd name="connsiteY73" fmla="*/ 1441238 h 1696335"/>
                <a:gd name="connsiteX74" fmla="*/ 1853086 w 1920955"/>
                <a:gd name="connsiteY74" fmla="*/ 1398376 h 1696335"/>
                <a:gd name="connsiteX75" fmla="*/ 1853086 w 1920955"/>
                <a:gd name="connsiteY75" fmla="*/ 1303126 h 1696335"/>
                <a:gd name="connsiteX76" fmla="*/ 1853086 w 1920955"/>
                <a:gd name="connsiteY76" fmla="*/ 1245976 h 1696335"/>
                <a:gd name="connsiteX77" fmla="*/ 1810224 w 1920955"/>
                <a:gd name="connsiteY77" fmla="*/ 1236451 h 1696335"/>
                <a:gd name="connsiteX78" fmla="*/ 1734024 w 1920955"/>
                <a:gd name="connsiteY78" fmla="*/ 1155488 h 1696335"/>
                <a:gd name="connsiteX79" fmla="*/ 1695924 w 1920955"/>
                <a:gd name="connsiteY79" fmla="*/ 974513 h 1696335"/>
                <a:gd name="connsiteX80" fmla="*/ 1643536 w 1920955"/>
                <a:gd name="connsiteY80" fmla="*/ 941176 h 1696335"/>
                <a:gd name="connsiteX81" fmla="*/ 1605436 w 1920955"/>
                <a:gd name="connsiteY81" fmla="*/ 884026 h 1696335"/>
                <a:gd name="connsiteX82" fmla="*/ 1557811 w 1920955"/>
                <a:gd name="connsiteY82" fmla="*/ 836401 h 1696335"/>
                <a:gd name="connsiteX83" fmla="*/ 1505424 w 1920955"/>
                <a:gd name="connsiteY83" fmla="*/ 817351 h 1696335"/>
                <a:gd name="connsiteX84" fmla="*/ 1453036 w 1920955"/>
                <a:gd name="connsiteY84" fmla="*/ 812588 h 1696335"/>
                <a:gd name="connsiteX85" fmla="*/ 1510186 w 1920955"/>
                <a:gd name="connsiteY85" fmla="*/ 779251 h 1696335"/>
                <a:gd name="connsiteX86" fmla="*/ 1476849 w 1920955"/>
                <a:gd name="connsiteY86" fmla="*/ 745913 h 1696335"/>
                <a:gd name="connsiteX87" fmla="*/ 1481611 w 1920955"/>
                <a:gd name="connsiteY87" fmla="*/ 722101 h 1696335"/>
                <a:gd name="connsiteX88" fmla="*/ 1572099 w 1920955"/>
                <a:gd name="connsiteY88" fmla="*/ 760201 h 1696335"/>
                <a:gd name="connsiteX89" fmla="*/ 1624486 w 1920955"/>
                <a:gd name="connsiteY89" fmla="*/ 693526 h 1696335"/>
                <a:gd name="connsiteX90" fmla="*/ 1614961 w 1920955"/>
                <a:gd name="connsiteY90" fmla="*/ 550651 h 1696335"/>
                <a:gd name="connsiteX91" fmla="*/ 1610199 w 1920955"/>
                <a:gd name="connsiteY91" fmla="*/ 412538 h 1696335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10149 w 1920955"/>
                <a:gd name="connsiteY59" fmla="*/ 1617451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08789 w 1920955"/>
                <a:gd name="connsiteY61" fmla="*/ 1594278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11230 w 1920955"/>
                <a:gd name="connsiteY61" fmla="*/ 1681082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48261 w 1920955"/>
                <a:gd name="connsiteY63" fmla="*/ 1626976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68155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8868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505358 w 1920955"/>
                <a:gd name="connsiteY66" fmla="*/ 164843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21378 w 1920955"/>
                <a:gd name="connsiteY71" fmla="*/ 1402701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03851 w 1920955"/>
                <a:gd name="connsiteY72" fmla="*/ 1369114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28257 w 1920955"/>
                <a:gd name="connsiteY72" fmla="*/ 1328265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28257 w 1920409"/>
                <a:gd name="connsiteY72" fmla="*/ 1328265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650"/>
                <a:gd name="connsiteY0" fmla="*/ 412538 h 1691232"/>
                <a:gd name="connsiteX1" fmla="*/ 1567336 w 1920650"/>
                <a:gd name="connsiteY1" fmla="*/ 369676 h 1691232"/>
                <a:gd name="connsiteX2" fmla="*/ 1467324 w 1920650"/>
                <a:gd name="connsiteY2" fmla="*/ 345863 h 1691232"/>
                <a:gd name="connsiteX3" fmla="*/ 1419699 w 1920650"/>
                <a:gd name="connsiteY3" fmla="*/ 317288 h 1691232"/>
                <a:gd name="connsiteX4" fmla="*/ 1367311 w 1920650"/>
                <a:gd name="connsiteY4" fmla="*/ 160126 h 1691232"/>
                <a:gd name="connsiteX5" fmla="*/ 1338736 w 1920650"/>
                <a:gd name="connsiteY5" fmla="*/ 12488 h 1691232"/>
                <a:gd name="connsiteX6" fmla="*/ 1267299 w 1920650"/>
                <a:gd name="connsiteY6" fmla="*/ 12488 h 1691232"/>
                <a:gd name="connsiteX7" fmla="*/ 1214911 w 1920650"/>
                <a:gd name="connsiteY7" fmla="*/ 50588 h 1691232"/>
                <a:gd name="connsiteX8" fmla="*/ 1214911 w 1920650"/>
                <a:gd name="connsiteY8" fmla="*/ 155363 h 1691232"/>
                <a:gd name="connsiteX9" fmla="*/ 1186336 w 1920650"/>
                <a:gd name="connsiteY9" fmla="*/ 183938 h 1691232"/>
                <a:gd name="connsiteX10" fmla="*/ 1176811 w 1920650"/>
                <a:gd name="connsiteY10" fmla="*/ 255376 h 1691232"/>
                <a:gd name="connsiteX11" fmla="*/ 1114899 w 1920650"/>
                <a:gd name="connsiteY11" fmla="*/ 298238 h 1691232"/>
                <a:gd name="connsiteX12" fmla="*/ 1005361 w 1920650"/>
                <a:gd name="connsiteY12" fmla="*/ 312526 h 1691232"/>
                <a:gd name="connsiteX13" fmla="*/ 962499 w 1920650"/>
                <a:gd name="connsiteY13" fmla="*/ 355388 h 1691232"/>
                <a:gd name="connsiteX14" fmla="*/ 838674 w 1920650"/>
                <a:gd name="connsiteY14" fmla="*/ 355388 h 1691232"/>
                <a:gd name="connsiteX15" fmla="*/ 781524 w 1920650"/>
                <a:gd name="connsiteY15" fmla="*/ 426826 h 1691232"/>
                <a:gd name="connsiteX16" fmla="*/ 781524 w 1920650"/>
                <a:gd name="connsiteY16" fmla="*/ 460163 h 1691232"/>
                <a:gd name="connsiteX17" fmla="*/ 743424 w 1920650"/>
                <a:gd name="connsiteY17" fmla="*/ 483976 h 1691232"/>
                <a:gd name="connsiteX18" fmla="*/ 671986 w 1920650"/>
                <a:gd name="connsiteY18" fmla="*/ 417301 h 1691232"/>
                <a:gd name="connsiteX19" fmla="*/ 519586 w 1920650"/>
                <a:gd name="connsiteY19" fmla="*/ 412538 h 1691232"/>
                <a:gd name="connsiteX20" fmla="*/ 457674 w 1920650"/>
                <a:gd name="connsiteY20" fmla="*/ 431588 h 1691232"/>
                <a:gd name="connsiteX21" fmla="*/ 419574 w 1920650"/>
                <a:gd name="connsiteY21" fmla="*/ 417301 h 1691232"/>
                <a:gd name="connsiteX22" fmla="*/ 400524 w 1920650"/>
                <a:gd name="connsiteY22" fmla="*/ 355388 h 1691232"/>
                <a:gd name="connsiteX23" fmla="*/ 333849 w 1920650"/>
                <a:gd name="connsiteY23" fmla="*/ 303001 h 1691232"/>
                <a:gd name="connsiteX24" fmla="*/ 286224 w 1920650"/>
                <a:gd name="connsiteY24" fmla="*/ 236326 h 1691232"/>
                <a:gd name="connsiteX25" fmla="*/ 143349 w 1920650"/>
                <a:gd name="connsiteY25" fmla="*/ 255376 h 1691232"/>
                <a:gd name="connsiteX26" fmla="*/ 124299 w 1920650"/>
                <a:gd name="connsiteY26" fmla="*/ 331576 h 1691232"/>
                <a:gd name="connsiteX27" fmla="*/ 110011 w 1920650"/>
                <a:gd name="connsiteY27" fmla="*/ 364913 h 1691232"/>
                <a:gd name="connsiteX28" fmla="*/ 133824 w 1920650"/>
                <a:gd name="connsiteY28" fmla="*/ 412538 h 1691232"/>
                <a:gd name="connsiteX29" fmla="*/ 81436 w 1920650"/>
                <a:gd name="connsiteY29" fmla="*/ 450638 h 1691232"/>
                <a:gd name="connsiteX30" fmla="*/ 33811 w 1920650"/>
                <a:gd name="connsiteY30" fmla="*/ 445876 h 1691232"/>
                <a:gd name="connsiteX31" fmla="*/ 33811 w 1920650"/>
                <a:gd name="connsiteY31" fmla="*/ 517313 h 1691232"/>
                <a:gd name="connsiteX32" fmla="*/ 474 w 1920650"/>
                <a:gd name="connsiteY32" fmla="*/ 622088 h 1691232"/>
                <a:gd name="connsiteX33" fmla="*/ 62386 w 1920650"/>
                <a:gd name="connsiteY33" fmla="*/ 698288 h 1691232"/>
                <a:gd name="connsiteX34" fmla="*/ 111977 w 1920650"/>
                <a:gd name="connsiteY34" fmla="*/ 678550 h 1691232"/>
                <a:gd name="connsiteX35" fmla="*/ 112334 w 1920650"/>
                <a:gd name="connsiteY35" fmla="*/ 748809 h 1691232"/>
                <a:gd name="connsiteX36" fmla="*/ 167161 w 1920650"/>
                <a:gd name="connsiteY36" fmla="*/ 779251 h 1691232"/>
                <a:gd name="connsiteX37" fmla="*/ 236159 w 1920650"/>
                <a:gd name="connsiteY37" fmla="*/ 789463 h 1691232"/>
                <a:gd name="connsiteX38" fmla="*/ 271462 w 1920650"/>
                <a:gd name="connsiteY38" fmla="*/ 845434 h 1691232"/>
                <a:gd name="connsiteX39" fmla="*/ 270869 w 1920650"/>
                <a:gd name="connsiteY39" fmla="*/ 890506 h 1691232"/>
                <a:gd name="connsiteX40" fmla="*/ 295393 w 1920650"/>
                <a:gd name="connsiteY40" fmla="*/ 929981 h 1691232"/>
                <a:gd name="connsiteX41" fmla="*/ 341051 w 1920650"/>
                <a:gd name="connsiteY41" fmla="*/ 968573 h 1691232"/>
                <a:gd name="connsiteX42" fmla="*/ 426184 w 1920650"/>
                <a:gd name="connsiteY42" fmla="*/ 1022825 h 1691232"/>
                <a:gd name="connsiteX43" fmla="*/ 461961 w 1920650"/>
                <a:gd name="connsiteY43" fmla="*/ 1093918 h 1691232"/>
                <a:gd name="connsiteX44" fmla="*/ 441064 w 1920650"/>
                <a:gd name="connsiteY44" fmla="*/ 1163491 h 1691232"/>
                <a:gd name="connsiteX45" fmla="*/ 519111 w 1920650"/>
                <a:gd name="connsiteY45" fmla="*/ 1219954 h 1691232"/>
                <a:gd name="connsiteX46" fmla="*/ 591143 w 1920650"/>
                <a:gd name="connsiteY46" fmla="*/ 1252948 h 1691232"/>
                <a:gd name="connsiteX47" fmla="*/ 571974 w 1920650"/>
                <a:gd name="connsiteY47" fmla="*/ 1312651 h 1691232"/>
                <a:gd name="connsiteX48" fmla="*/ 662461 w 1920650"/>
                <a:gd name="connsiteY48" fmla="*/ 1465051 h 1691232"/>
                <a:gd name="connsiteX49" fmla="*/ 755271 w 1920650"/>
                <a:gd name="connsiteY49" fmla="*/ 1538205 h 1691232"/>
                <a:gd name="connsiteX50" fmla="*/ 805336 w 1920650"/>
                <a:gd name="connsiteY50" fmla="*/ 1488863 h 1691232"/>
                <a:gd name="connsiteX51" fmla="*/ 869926 w 1920650"/>
                <a:gd name="connsiteY51" fmla="*/ 1516260 h 1691232"/>
                <a:gd name="connsiteX52" fmla="*/ 924399 w 1920650"/>
                <a:gd name="connsiteY52" fmla="*/ 1484101 h 1691232"/>
                <a:gd name="connsiteX53" fmla="*/ 941246 w 1920650"/>
                <a:gd name="connsiteY53" fmla="*/ 1441925 h 1691232"/>
                <a:gd name="connsiteX54" fmla="*/ 1005123 w 1920650"/>
                <a:gd name="connsiteY54" fmla="*/ 1528337 h 1691232"/>
                <a:gd name="connsiteX55" fmla="*/ 1050190 w 1920650"/>
                <a:gd name="connsiteY55" fmla="*/ 1599431 h 1691232"/>
                <a:gd name="connsiteX56" fmla="*/ 1120136 w 1920650"/>
                <a:gd name="connsiteY56" fmla="*/ 1690950 h 1691232"/>
                <a:gd name="connsiteX57" fmla="*/ 1151034 w 1920650"/>
                <a:gd name="connsiteY57" fmla="*/ 1627859 h 1691232"/>
                <a:gd name="connsiteX58" fmla="*/ 1181693 w 1920650"/>
                <a:gd name="connsiteY58" fmla="*/ 1621379 h 1691232"/>
                <a:gd name="connsiteX59" fmla="*/ 1224792 w 1920650"/>
                <a:gd name="connsiteY59" fmla="*/ 1650642 h 1691232"/>
                <a:gd name="connsiteX60" fmla="*/ 1258367 w 1920650"/>
                <a:gd name="connsiteY60" fmla="*/ 1609988 h 1691232"/>
                <a:gd name="connsiteX61" fmla="*/ 1277188 w 1920650"/>
                <a:gd name="connsiteY61" fmla="*/ 1614605 h 1691232"/>
                <a:gd name="connsiteX62" fmla="*/ 1311230 w 1920650"/>
                <a:gd name="connsiteY62" fmla="*/ 1681082 h 1691232"/>
                <a:gd name="connsiteX63" fmla="*/ 1367786 w 1920650"/>
                <a:gd name="connsiteY63" fmla="*/ 1657613 h 1691232"/>
                <a:gd name="connsiteX64" fmla="*/ 1419818 w 1920650"/>
                <a:gd name="connsiteY64" fmla="*/ 1601492 h 1691232"/>
                <a:gd name="connsiteX65" fmla="*/ 1470595 w 1920650"/>
                <a:gd name="connsiteY65" fmla="*/ 1584949 h 1691232"/>
                <a:gd name="connsiteX66" fmla="*/ 1488274 w 1920650"/>
                <a:gd name="connsiteY66" fmla="*/ 1640771 h 1691232"/>
                <a:gd name="connsiteX67" fmla="*/ 1558169 w 1920650"/>
                <a:gd name="connsiteY67" fmla="*/ 1615093 h 1691232"/>
                <a:gd name="connsiteX68" fmla="*/ 1588947 w 1920650"/>
                <a:gd name="connsiteY68" fmla="*/ 1528337 h 1691232"/>
                <a:gd name="connsiteX69" fmla="*/ 1670383 w 1920650"/>
                <a:gd name="connsiteY69" fmla="*/ 1438195 h 1691232"/>
                <a:gd name="connsiteX70" fmla="*/ 1714974 w 1920650"/>
                <a:gd name="connsiteY70" fmla="*/ 1407065 h 1691232"/>
                <a:gd name="connsiteX71" fmla="*/ 1743343 w 1920650"/>
                <a:gd name="connsiteY71" fmla="*/ 1410360 h 1691232"/>
                <a:gd name="connsiteX72" fmla="*/ 1833138 w 1920650"/>
                <a:gd name="connsiteY72" fmla="*/ 1402304 h 1691232"/>
                <a:gd name="connsiteX73" fmla="*/ 1816054 w 1920650"/>
                <a:gd name="connsiteY73" fmla="*/ 1453316 h 1691232"/>
                <a:gd name="connsiteX74" fmla="*/ 1886424 w 1920650"/>
                <a:gd name="connsiteY74" fmla="*/ 1446001 h 1691232"/>
                <a:gd name="connsiteX75" fmla="*/ 1919761 w 1920650"/>
                <a:gd name="connsiteY75" fmla="*/ 1441238 h 1691232"/>
                <a:gd name="connsiteX76" fmla="*/ 1853086 w 1920650"/>
                <a:gd name="connsiteY76" fmla="*/ 1398376 h 1691232"/>
                <a:gd name="connsiteX77" fmla="*/ 1853086 w 1920650"/>
                <a:gd name="connsiteY77" fmla="*/ 1303126 h 1691232"/>
                <a:gd name="connsiteX78" fmla="*/ 1853086 w 1920650"/>
                <a:gd name="connsiteY78" fmla="*/ 1245976 h 1691232"/>
                <a:gd name="connsiteX79" fmla="*/ 1810224 w 1920650"/>
                <a:gd name="connsiteY79" fmla="*/ 1236451 h 1691232"/>
                <a:gd name="connsiteX80" fmla="*/ 1734024 w 1920650"/>
                <a:gd name="connsiteY80" fmla="*/ 1155488 h 1691232"/>
                <a:gd name="connsiteX81" fmla="*/ 1695924 w 1920650"/>
                <a:gd name="connsiteY81" fmla="*/ 974513 h 1691232"/>
                <a:gd name="connsiteX82" fmla="*/ 1643536 w 1920650"/>
                <a:gd name="connsiteY82" fmla="*/ 941176 h 1691232"/>
                <a:gd name="connsiteX83" fmla="*/ 1605436 w 1920650"/>
                <a:gd name="connsiteY83" fmla="*/ 884026 h 1691232"/>
                <a:gd name="connsiteX84" fmla="*/ 1557811 w 1920650"/>
                <a:gd name="connsiteY84" fmla="*/ 836401 h 1691232"/>
                <a:gd name="connsiteX85" fmla="*/ 1505424 w 1920650"/>
                <a:gd name="connsiteY85" fmla="*/ 817351 h 1691232"/>
                <a:gd name="connsiteX86" fmla="*/ 1453036 w 1920650"/>
                <a:gd name="connsiteY86" fmla="*/ 812588 h 1691232"/>
                <a:gd name="connsiteX87" fmla="*/ 1510186 w 1920650"/>
                <a:gd name="connsiteY87" fmla="*/ 779251 h 1691232"/>
                <a:gd name="connsiteX88" fmla="*/ 1476849 w 1920650"/>
                <a:gd name="connsiteY88" fmla="*/ 745913 h 1691232"/>
                <a:gd name="connsiteX89" fmla="*/ 1481611 w 1920650"/>
                <a:gd name="connsiteY89" fmla="*/ 722101 h 1691232"/>
                <a:gd name="connsiteX90" fmla="*/ 1572099 w 1920650"/>
                <a:gd name="connsiteY90" fmla="*/ 760201 h 1691232"/>
                <a:gd name="connsiteX91" fmla="*/ 1624486 w 1920650"/>
                <a:gd name="connsiteY91" fmla="*/ 693526 h 1691232"/>
                <a:gd name="connsiteX92" fmla="*/ 1614961 w 1920650"/>
                <a:gd name="connsiteY92" fmla="*/ 550651 h 1691232"/>
                <a:gd name="connsiteX93" fmla="*/ 1610199 w 1920650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33138 w 1920031"/>
                <a:gd name="connsiteY72" fmla="*/ 1402304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20935 w 1920031"/>
                <a:gd name="connsiteY72" fmla="*/ 1399752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880151"/>
                <a:gd name="connsiteY0" fmla="*/ 412538 h 1691232"/>
                <a:gd name="connsiteX1" fmla="*/ 1567336 w 1880151"/>
                <a:gd name="connsiteY1" fmla="*/ 369676 h 1691232"/>
                <a:gd name="connsiteX2" fmla="*/ 1467324 w 1880151"/>
                <a:gd name="connsiteY2" fmla="*/ 345863 h 1691232"/>
                <a:gd name="connsiteX3" fmla="*/ 1419699 w 1880151"/>
                <a:gd name="connsiteY3" fmla="*/ 317288 h 1691232"/>
                <a:gd name="connsiteX4" fmla="*/ 1367311 w 1880151"/>
                <a:gd name="connsiteY4" fmla="*/ 160126 h 1691232"/>
                <a:gd name="connsiteX5" fmla="*/ 1338736 w 1880151"/>
                <a:gd name="connsiteY5" fmla="*/ 12488 h 1691232"/>
                <a:gd name="connsiteX6" fmla="*/ 1267299 w 1880151"/>
                <a:gd name="connsiteY6" fmla="*/ 12488 h 1691232"/>
                <a:gd name="connsiteX7" fmla="*/ 1214911 w 1880151"/>
                <a:gd name="connsiteY7" fmla="*/ 50588 h 1691232"/>
                <a:gd name="connsiteX8" fmla="*/ 1214911 w 1880151"/>
                <a:gd name="connsiteY8" fmla="*/ 155363 h 1691232"/>
                <a:gd name="connsiteX9" fmla="*/ 1186336 w 1880151"/>
                <a:gd name="connsiteY9" fmla="*/ 183938 h 1691232"/>
                <a:gd name="connsiteX10" fmla="*/ 1176811 w 1880151"/>
                <a:gd name="connsiteY10" fmla="*/ 255376 h 1691232"/>
                <a:gd name="connsiteX11" fmla="*/ 1114899 w 1880151"/>
                <a:gd name="connsiteY11" fmla="*/ 298238 h 1691232"/>
                <a:gd name="connsiteX12" fmla="*/ 1005361 w 1880151"/>
                <a:gd name="connsiteY12" fmla="*/ 312526 h 1691232"/>
                <a:gd name="connsiteX13" fmla="*/ 962499 w 1880151"/>
                <a:gd name="connsiteY13" fmla="*/ 355388 h 1691232"/>
                <a:gd name="connsiteX14" fmla="*/ 838674 w 1880151"/>
                <a:gd name="connsiteY14" fmla="*/ 355388 h 1691232"/>
                <a:gd name="connsiteX15" fmla="*/ 781524 w 1880151"/>
                <a:gd name="connsiteY15" fmla="*/ 426826 h 1691232"/>
                <a:gd name="connsiteX16" fmla="*/ 781524 w 1880151"/>
                <a:gd name="connsiteY16" fmla="*/ 460163 h 1691232"/>
                <a:gd name="connsiteX17" fmla="*/ 743424 w 1880151"/>
                <a:gd name="connsiteY17" fmla="*/ 483976 h 1691232"/>
                <a:gd name="connsiteX18" fmla="*/ 671986 w 1880151"/>
                <a:gd name="connsiteY18" fmla="*/ 417301 h 1691232"/>
                <a:gd name="connsiteX19" fmla="*/ 519586 w 1880151"/>
                <a:gd name="connsiteY19" fmla="*/ 412538 h 1691232"/>
                <a:gd name="connsiteX20" fmla="*/ 457674 w 1880151"/>
                <a:gd name="connsiteY20" fmla="*/ 431588 h 1691232"/>
                <a:gd name="connsiteX21" fmla="*/ 419574 w 1880151"/>
                <a:gd name="connsiteY21" fmla="*/ 417301 h 1691232"/>
                <a:gd name="connsiteX22" fmla="*/ 400524 w 1880151"/>
                <a:gd name="connsiteY22" fmla="*/ 355388 h 1691232"/>
                <a:gd name="connsiteX23" fmla="*/ 333849 w 1880151"/>
                <a:gd name="connsiteY23" fmla="*/ 303001 h 1691232"/>
                <a:gd name="connsiteX24" fmla="*/ 286224 w 1880151"/>
                <a:gd name="connsiteY24" fmla="*/ 236326 h 1691232"/>
                <a:gd name="connsiteX25" fmla="*/ 143349 w 1880151"/>
                <a:gd name="connsiteY25" fmla="*/ 255376 h 1691232"/>
                <a:gd name="connsiteX26" fmla="*/ 124299 w 1880151"/>
                <a:gd name="connsiteY26" fmla="*/ 331576 h 1691232"/>
                <a:gd name="connsiteX27" fmla="*/ 110011 w 1880151"/>
                <a:gd name="connsiteY27" fmla="*/ 364913 h 1691232"/>
                <a:gd name="connsiteX28" fmla="*/ 133824 w 1880151"/>
                <a:gd name="connsiteY28" fmla="*/ 412538 h 1691232"/>
                <a:gd name="connsiteX29" fmla="*/ 81436 w 1880151"/>
                <a:gd name="connsiteY29" fmla="*/ 450638 h 1691232"/>
                <a:gd name="connsiteX30" fmla="*/ 33811 w 1880151"/>
                <a:gd name="connsiteY30" fmla="*/ 445876 h 1691232"/>
                <a:gd name="connsiteX31" fmla="*/ 33811 w 1880151"/>
                <a:gd name="connsiteY31" fmla="*/ 517313 h 1691232"/>
                <a:gd name="connsiteX32" fmla="*/ 474 w 1880151"/>
                <a:gd name="connsiteY32" fmla="*/ 622088 h 1691232"/>
                <a:gd name="connsiteX33" fmla="*/ 62386 w 1880151"/>
                <a:gd name="connsiteY33" fmla="*/ 698288 h 1691232"/>
                <a:gd name="connsiteX34" fmla="*/ 111977 w 1880151"/>
                <a:gd name="connsiteY34" fmla="*/ 678550 h 1691232"/>
                <a:gd name="connsiteX35" fmla="*/ 112334 w 1880151"/>
                <a:gd name="connsiteY35" fmla="*/ 748809 h 1691232"/>
                <a:gd name="connsiteX36" fmla="*/ 167161 w 1880151"/>
                <a:gd name="connsiteY36" fmla="*/ 779251 h 1691232"/>
                <a:gd name="connsiteX37" fmla="*/ 236159 w 1880151"/>
                <a:gd name="connsiteY37" fmla="*/ 789463 h 1691232"/>
                <a:gd name="connsiteX38" fmla="*/ 271462 w 1880151"/>
                <a:gd name="connsiteY38" fmla="*/ 845434 h 1691232"/>
                <a:gd name="connsiteX39" fmla="*/ 270869 w 1880151"/>
                <a:gd name="connsiteY39" fmla="*/ 890506 h 1691232"/>
                <a:gd name="connsiteX40" fmla="*/ 295393 w 1880151"/>
                <a:gd name="connsiteY40" fmla="*/ 929981 h 1691232"/>
                <a:gd name="connsiteX41" fmla="*/ 341051 w 1880151"/>
                <a:gd name="connsiteY41" fmla="*/ 968573 h 1691232"/>
                <a:gd name="connsiteX42" fmla="*/ 426184 w 1880151"/>
                <a:gd name="connsiteY42" fmla="*/ 1022825 h 1691232"/>
                <a:gd name="connsiteX43" fmla="*/ 461961 w 1880151"/>
                <a:gd name="connsiteY43" fmla="*/ 1093918 h 1691232"/>
                <a:gd name="connsiteX44" fmla="*/ 441064 w 1880151"/>
                <a:gd name="connsiteY44" fmla="*/ 1163491 h 1691232"/>
                <a:gd name="connsiteX45" fmla="*/ 519111 w 1880151"/>
                <a:gd name="connsiteY45" fmla="*/ 1219954 h 1691232"/>
                <a:gd name="connsiteX46" fmla="*/ 591143 w 1880151"/>
                <a:gd name="connsiteY46" fmla="*/ 1252948 h 1691232"/>
                <a:gd name="connsiteX47" fmla="*/ 571974 w 1880151"/>
                <a:gd name="connsiteY47" fmla="*/ 1312651 h 1691232"/>
                <a:gd name="connsiteX48" fmla="*/ 662461 w 1880151"/>
                <a:gd name="connsiteY48" fmla="*/ 1465051 h 1691232"/>
                <a:gd name="connsiteX49" fmla="*/ 755271 w 1880151"/>
                <a:gd name="connsiteY49" fmla="*/ 1538205 h 1691232"/>
                <a:gd name="connsiteX50" fmla="*/ 805336 w 1880151"/>
                <a:gd name="connsiteY50" fmla="*/ 1488863 h 1691232"/>
                <a:gd name="connsiteX51" fmla="*/ 869926 w 1880151"/>
                <a:gd name="connsiteY51" fmla="*/ 1516260 h 1691232"/>
                <a:gd name="connsiteX52" fmla="*/ 924399 w 1880151"/>
                <a:gd name="connsiteY52" fmla="*/ 1484101 h 1691232"/>
                <a:gd name="connsiteX53" fmla="*/ 941246 w 1880151"/>
                <a:gd name="connsiteY53" fmla="*/ 1441925 h 1691232"/>
                <a:gd name="connsiteX54" fmla="*/ 1005123 w 1880151"/>
                <a:gd name="connsiteY54" fmla="*/ 1528337 h 1691232"/>
                <a:gd name="connsiteX55" fmla="*/ 1050190 w 1880151"/>
                <a:gd name="connsiteY55" fmla="*/ 1599431 h 1691232"/>
                <a:gd name="connsiteX56" fmla="*/ 1120136 w 1880151"/>
                <a:gd name="connsiteY56" fmla="*/ 1690950 h 1691232"/>
                <a:gd name="connsiteX57" fmla="*/ 1151034 w 1880151"/>
                <a:gd name="connsiteY57" fmla="*/ 1627859 h 1691232"/>
                <a:gd name="connsiteX58" fmla="*/ 1181693 w 1880151"/>
                <a:gd name="connsiteY58" fmla="*/ 1621379 h 1691232"/>
                <a:gd name="connsiteX59" fmla="*/ 1224792 w 1880151"/>
                <a:gd name="connsiteY59" fmla="*/ 1650642 h 1691232"/>
                <a:gd name="connsiteX60" fmla="*/ 1258367 w 1880151"/>
                <a:gd name="connsiteY60" fmla="*/ 1609988 h 1691232"/>
                <a:gd name="connsiteX61" fmla="*/ 1277188 w 1880151"/>
                <a:gd name="connsiteY61" fmla="*/ 1614605 h 1691232"/>
                <a:gd name="connsiteX62" fmla="*/ 1311230 w 1880151"/>
                <a:gd name="connsiteY62" fmla="*/ 1681082 h 1691232"/>
                <a:gd name="connsiteX63" fmla="*/ 1367786 w 1880151"/>
                <a:gd name="connsiteY63" fmla="*/ 1657613 h 1691232"/>
                <a:gd name="connsiteX64" fmla="*/ 1419818 w 1880151"/>
                <a:gd name="connsiteY64" fmla="*/ 1601492 h 1691232"/>
                <a:gd name="connsiteX65" fmla="*/ 1470595 w 1880151"/>
                <a:gd name="connsiteY65" fmla="*/ 1584949 h 1691232"/>
                <a:gd name="connsiteX66" fmla="*/ 1488274 w 1880151"/>
                <a:gd name="connsiteY66" fmla="*/ 1640771 h 1691232"/>
                <a:gd name="connsiteX67" fmla="*/ 1558169 w 1880151"/>
                <a:gd name="connsiteY67" fmla="*/ 1615093 h 1691232"/>
                <a:gd name="connsiteX68" fmla="*/ 1588947 w 1880151"/>
                <a:gd name="connsiteY68" fmla="*/ 1528337 h 1691232"/>
                <a:gd name="connsiteX69" fmla="*/ 1670383 w 1880151"/>
                <a:gd name="connsiteY69" fmla="*/ 1438195 h 1691232"/>
                <a:gd name="connsiteX70" fmla="*/ 1714974 w 1880151"/>
                <a:gd name="connsiteY70" fmla="*/ 1407065 h 1691232"/>
                <a:gd name="connsiteX71" fmla="*/ 1743343 w 1880151"/>
                <a:gd name="connsiteY71" fmla="*/ 1410360 h 1691232"/>
                <a:gd name="connsiteX72" fmla="*/ 1820935 w 1880151"/>
                <a:gd name="connsiteY72" fmla="*/ 1399752 h 1691232"/>
                <a:gd name="connsiteX73" fmla="*/ 1816054 w 1880151"/>
                <a:gd name="connsiteY73" fmla="*/ 1453316 h 1691232"/>
                <a:gd name="connsiteX74" fmla="*/ 1874221 w 1880151"/>
                <a:gd name="connsiteY74" fmla="*/ 1476637 h 1691232"/>
                <a:gd name="connsiteX75" fmla="*/ 1875830 w 1880151"/>
                <a:gd name="connsiteY75" fmla="*/ 1451451 h 1691232"/>
                <a:gd name="connsiteX76" fmla="*/ 1853086 w 1880151"/>
                <a:gd name="connsiteY76" fmla="*/ 1398376 h 1691232"/>
                <a:gd name="connsiteX77" fmla="*/ 1853086 w 1880151"/>
                <a:gd name="connsiteY77" fmla="*/ 1303126 h 1691232"/>
                <a:gd name="connsiteX78" fmla="*/ 1853086 w 1880151"/>
                <a:gd name="connsiteY78" fmla="*/ 1245976 h 1691232"/>
                <a:gd name="connsiteX79" fmla="*/ 1810224 w 1880151"/>
                <a:gd name="connsiteY79" fmla="*/ 1236451 h 1691232"/>
                <a:gd name="connsiteX80" fmla="*/ 1734024 w 1880151"/>
                <a:gd name="connsiteY80" fmla="*/ 1155488 h 1691232"/>
                <a:gd name="connsiteX81" fmla="*/ 1695924 w 1880151"/>
                <a:gd name="connsiteY81" fmla="*/ 974513 h 1691232"/>
                <a:gd name="connsiteX82" fmla="*/ 1643536 w 1880151"/>
                <a:gd name="connsiteY82" fmla="*/ 941176 h 1691232"/>
                <a:gd name="connsiteX83" fmla="*/ 1605436 w 1880151"/>
                <a:gd name="connsiteY83" fmla="*/ 884026 h 1691232"/>
                <a:gd name="connsiteX84" fmla="*/ 1557811 w 1880151"/>
                <a:gd name="connsiteY84" fmla="*/ 836401 h 1691232"/>
                <a:gd name="connsiteX85" fmla="*/ 1505424 w 1880151"/>
                <a:gd name="connsiteY85" fmla="*/ 817351 h 1691232"/>
                <a:gd name="connsiteX86" fmla="*/ 1453036 w 1880151"/>
                <a:gd name="connsiteY86" fmla="*/ 812588 h 1691232"/>
                <a:gd name="connsiteX87" fmla="*/ 1510186 w 1880151"/>
                <a:gd name="connsiteY87" fmla="*/ 779251 h 1691232"/>
                <a:gd name="connsiteX88" fmla="*/ 1476849 w 1880151"/>
                <a:gd name="connsiteY88" fmla="*/ 745913 h 1691232"/>
                <a:gd name="connsiteX89" fmla="*/ 1481611 w 1880151"/>
                <a:gd name="connsiteY89" fmla="*/ 722101 h 1691232"/>
                <a:gd name="connsiteX90" fmla="*/ 1572099 w 1880151"/>
                <a:gd name="connsiteY90" fmla="*/ 760201 h 1691232"/>
                <a:gd name="connsiteX91" fmla="*/ 1624486 w 1880151"/>
                <a:gd name="connsiteY91" fmla="*/ 693526 h 1691232"/>
                <a:gd name="connsiteX92" fmla="*/ 1614961 w 1880151"/>
                <a:gd name="connsiteY92" fmla="*/ 550651 h 1691232"/>
                <a:gd name="connsiteX93" fmla="*/ 1610199 w 1880151"/>
                <a:gd name="connsiteY93" fmla="*/ 412538 h 1691232"/>
                <a:gd name="connsiteX0" fmla="*/ 1610199 w 1874950"/>
                <a:gd name="connsiteY0" fmla="*/ 412538 h 1691232"/>
                <a:gd name="connsiteX1" fmla="*/ 1567336 w 1874950"/>
                <a:gd name="connsiteY1" fmla="*/ 369676 h 1691232"/>
                <a:gd name="connsiteX2" fmla="*/ 1467324 w 1874950"/>
                <a:gd name="connsiteY2" fmla="*/ 345863 h 1691232"/>
                <a:gd name="connsiteX3" fmla="*/ 1419699 w 1874950"/>
                <a:gd name="connsiteY3" fmla="*/ 317288 h 1691232"/>
                <a:gd name="connsiteX4" fmla="*/ 1367311 w 1874950"/>
                <a:gd name="connsiteY4" fmla="*/ 160126 h 1691232"/>
                <a:gd name="connsiteX5" fmla="*/ 1338736 w 1874950"/>
                <a:gd name="connsiteY5" fmla="*/ 12488 h 1691232"/>
                <a:gd name="connsiteX6" fmla="*/ 1267299 w 1874950"/>
                <a:gd name="connsiteY6" fmla="*/ 12488 h 1691232"/>
                <a:gd name="connsiteX7" fmla="*/ 1214911 w 1874950"/>
                <a:gd name="connsiteY7" fmla="*/ 50588 h 1691232"/>
                <a:gd name="connsiteX8" fmla="*/ 1214911 w 1874950"/>
                <a:gd name="connsiteY8" fmla="*/ 155363 h 1691232"/>
                <a:gd name="connsiteX9" fmla="*/ 1186336 w 1874950"/>
                <a:gd name="connsiteY9" fmla="*/ 183938 h 1691232"/>
                <a:gd name="connsiteX10" fmla="*/ 1176811 w 1874950"/>
                <a:gd name="connsiteY10" fmla="*/ 255376 h 1691232"/>
                <a:gd name="connsiteX11" fmla="*/ 1114899 w 1874950"/>
                <a:gd name="connsiteY11" fmla="*/ 298238 h 1691232"/>
                <a:gd name="connsiteX12" fmla="*/ 1005361 w 1874950"/>
                <a:gd name="connsiteY12" fmla="*/ 312526 h 1691232"/>
                <a:gd name="connsiteX13" fmla="*/ 962499 w 1874950"/>
                <a:gd name="connsiteY13" fmla="*/ 355388 h 1691232"/>
                <a:gd name="connsiteX14" fmla="*/ 838674 w 1874950"/>
                <a:gd name="connsiteY14" fmla="*/ 355388 h 1691232"/>
                <a:gd name="connsiteX15" fmla="*/ 781524 w 1874950"/>
                <a:gd name="connsiteY15" fmla="*/ 426826 h 1691232"/>
                <a:gd name="connsiteX16" fmla="*/ 781524 w 1874950"/>
                <a:gd name="connsiteY16" fmla="*/ 460163 h 1691232"/>
                <a:gd name="connsiteX17" fmla="*/ 743424 w 1874950"/>
                <a:gd name="connsiteY17" fmla="*/ 483976 h 1691232"/>
                <a:gd name="connsiteX18" fmla="*/ 671986 w 1874950"/>
                <a:gd name="connsiteY18" fmla="*/ 417301 h 1691232"/>
                <a:gd name="connsiteX19" fmla="*/ 519586 w 1874950"/>
                <a:gd name="connsiteY19" fmla="*/ 412538 h 1691232"/>
                <a:gd name="connsiteX20" fmla="*/ 457674 w 1874950"/>
                <a:gd name="connsiteY20" fmla="*/ 431588 h 1691232"/>
                <a:gd name="connsiteX21" fmla="*/ 419574 w 1874950"/>
                <a:gd name="connsiteY21" fmla="*/ 417301 h 1691232"/>
                <a:gd name="connsiteX22" fmla="*/ 400524 w 1874950"/>
                <a:gd name="connsiteY22" fmla="*/ 355388 h 1691232"/>
                <a:gd name="connsiteX23" fmla="*/ 333849 w 1874950"/>
                <a:gd name="connsiteY23" fmla="*/ 303001 h 1691232"/>
                <a:gd name="connsiteX24" fmla="*/ 286224 w 1874950"/>
                <a:gd name="connsiteY24" fmla="*/ 236326 h 1691232"/>
                <a:gd name="connsiteX25" fmla="*/ 143349 w 1874950"/>
                <a:gd name="connsiteY25" fmla="*/ 255376 h 1691232"/>
                <a:gd name="connsiteX26" fmla="*/ 124299 w 1874950"/>
                <a:gd name="connsiteY26" fmla="*/ 331576 h 1691232"/>
                <a:gd name="connsiteX27" fmla="*/ 110011 w 1874950"/>
                <a:gd name="connsiteY27" fmla="*/ 364913 h 1691232"/>
                <a:gd name="connsiteX28" fmla="*/ 133824 w 1874950"/>
                <a:gd name="connsiteY28" fmla="*/ 412538 h 1691232"/>
                <a:gd name="connsiteX29" fmla="*/ 81436 w 1874950"/>
                <a:gd name="connsiteY29" fmla="*/ 450638 h 1691232"/>
                <a:gd name="connsiteX30" fmla="*/ 33811 w 1874950"/>
                <a:gd name="connsiteY30" fmla="*/ 445876 h 1691232"/>
                <a:gd name="connsiteX31" fmla="*/ 33811 w 1874950"/>
                <a:gd name="connsiteY31" fmla="*/ 517313 h 1691232"/>
                <a:gd name="connsiteX32" fmla="*/ 474 w 1874950"/>
                <a:gd name="connsiteY32" fmla="*/ 622088 h 1691232"/>
                <a:gd name="connsiteX33" fmla="*/ 62386 w 1874950"/>
                <a:gd name="connsiteY33" fmla="*/ 698288 h 1691232"/>
                <a:gd name="connsiteX34" fmla="*/ 111977 w 1874950"/>
                <a:gd name="connsiteY34" fmla="*/ 678550 h 1691232"/>
                <a:gd name="connsiteX35" fmla="*/ 112334 w 1874950"/>
                <a:gd name="connsiteY35" fmla="*/ 748809 h 1691232"/>
                <a:gd name="connsiteX36" fmla="*/ 167161 w 1874950"/>
                <a:gd name="connsiteY36" fmla="*/ 779251 h 1691232"/>
                <a:gd name="connsiteX37" fmla="*/ 236159 w 1874950"/>
                <a:gd name="connsiteY37" fmla="*/ 789463 h 1691232"/>
                <a:gd name="connsiteX38" fmla="*/ 271462 w 1874950"/>
                <a:gd name="connsiteY38" fmla="*/ 845434 h 1691232"/>
                <a:gd name="connsiteX39" fmla="*/ 270869 w 1874950"/>
                <a:gd name="connsiteY39" fmla="*/ 890506 h 1691232"/>
                <a:gd name="connsiteX40" fmla="*/ 295393 w 1874950"/>
                <a:gd name="connsiteY40" fmla="*/ 929981 h 1691232"/>
                <a:gd name="connsiteX41" fmla="*/ 341051 w 1874950"/>
                <a:gd name="connsiteY41" fmla="*/ 968573 h 1691232"/>
                <a:gd name="connsiteX42" fmla="*/ 426184 w 1874950"/>
                <a:gd name="connsiteY42" fmla="*/ 1022825 h 1691232"/>
                <a:gd name="connsiteX43" fmla="*/ 461961 w 1874950"/>
                <a:gd name="connsiteY43" fmla="*/ 1093918 h 1691232"/>
                <a:gd name="connsiteX44" fmla="*/ 441064 w 1874950"/>
                <a:gd name="connsiteY44" fmla="*/ 1163491 h 1691232"/>
                <a:gd name="connsiteX45" fmla="*/ 519111 w 1874950"/>
                <a:gd name="connsiteY45" fmla="*/ 1219954 h 1691232"/>
                <a:gd name="connsiteX46" fmla="*/ 591143 w 1874950"/>
                <a:gd name="connsiteY46" fmla="*/ 1252948 h 1691232"/>
                <a:gd name="connsiteX47" fmla="*/ 571974 w 1874950"/>
                <a:gd name="connsiteY47" fmla="*/ 1312651 h 1691232"/>
                <a:gd name="connsiteX48" fmla="*/ 662461 w 1874950"/>
                <a:gd name="connsiteY48" fmla="*/ 1465051 h 1691232"/>
                <a:gd name="connsiteX49" fmla="*/ 755271 w 1874950"/>
                <a:gd name="connsiteY49" fmla="*/ 1538205 h 1691232"/>
                <a:gd name="connsiteX50" fmla="*/ 805336 w 1874950"/>
                <a:gd name="connsiteY50" fmla="*/ 1488863 h 1691232"/>
                <a:gd name="connsiteX51" fmla="*/ 869926 w 1874950"/>
                <a:gd name="connsiteY51" fmla="*/ 1516260 h 1691232"/>
                <a:gd name="connsiteX52" fmla="*/ 924399 w 1874950"/>
                <a:gd name="connsiteY52" fmla="*/ 1484101 h 1691232"/>
                <a:gd name="connsiteX53" fmla="*/ 941246 w 1874950"/>
                <a:gd name="connsiteY53" fmla="*/ 1441925 h 1691232"/>
                <a:gd name="connsiteX54" fmla="*/ 1005123 w 1874950"/>
                <a:gd name="connsiteY54" fmla="*/ 1528337 h 1691232"/>
                <a:gd name="connsiteX55" fmla="*/ 1050190 w 1874950"/>
                <a:gd name="connsiteY55" fmla="*/ 1599431 h 1691232"/>
                <a:gd name="connsiteX56" fmla="*/ 1120136 w 1874950"/>
                <a:gd name="connsiteY56" fmla="*/ 1690950 h 1691232"/>
                <a:gd name="connsiteX57" fmla="*/ 1151034 w 1874950"/>
                <a:gd name="connsiteY57" fmla="*/ 1627859 h 1691232"/>
                <a:gd name="connsiteX58" fmla="*/ 1181693 w 1874950"/>
                <a:gd name="connsiteY58" fmla="*/ 1621379 h 1691232"/>
                <a:gd name="connsiteX59" fmla="*/ 1224792 w 1874950"/>
                <a:gd name="connsiteY59" fmla="*/ 1650642 h 1691232"/>
                <a:gd name="connsiteX60" fmla="*/ 1258367 w 1874950"/>
                <a:gd name="connsiteY60" fmla="*/ 1609988 h 1691232"/>
                <a:gd name="connsiteX61" fmla="*/ 1277188 w 1874950"/>
                <a:gd name="connsiteY61" fmla="*/ 1614605 h 1691232"/>
                <a:gd name="connsiteX62" fmla="*/ 1311230 w 1874950"/>
                <a:gd name="connsiteY62" fmla="*/ 1681082 h 1691232"/>
                <a:gd name="connsiteX63" fmla="*/ 1367786 w 1874950"/>
                <a:gd name="connsiteY63" fmla="*/ 1657613 h 1691232"/>
                <a:gd name="connsiteX64" fmla="*/ 1419818 w 1874950"/>
                <a:gd name="connsiteY64" fmla="*/ 1601492 h 1691232"/>
                <a:gd name="connsiteX65" fmla="*/ 1470595 w 1874950"/>
                <a:gd name="connsiteY65" fmla="*/ 1584949 h 1691232"/>
                <a:gd name="connsiteX66" fmla="*/ 1488274 w 1874950"/>
                <a:gd name="connsiteY66" fmla="*/ 1640771 h 1691232"/>
                <a:gd name="connsiteX67" fmla="*/ 1558169 w 1874950"/>
                <a:gd name="connsiteY67" fmla="*/ 1615093 h 1691232"/>
                <a:gd name="connsiteX68" fmla="*/ 1588947 w 1874950"/>
                <a:gd name="connsiteY68" fmla="*/ 1528337 h 1691232"/>
                <a:gd name="connsiteX69" fmla="*/ 1670383 w 1874950"/>
                <a:gd name="connsiteY69" fmla="*/ 1438195 h 1691232"/>
                <a:gd name="connsiteX70" fmla="*/ 1714974 w 1874950"/>
                <a:gd name="connsiteY70" fmla="*/ 1407065 h 1691232"/>
                <a:gd name="connsiteX71" fmla="*/ 1743343 w 1874950"/>
                <a:gd name="connsiteY71" fmla="*/ 1410360 h 1691232"/>
                <a:gd name="connsiteX72" fmla="*/ 1820935 w 1874950"/>
                <a:gd name="connsiteY72" fmla="*/ 1399752 h 1691232"/>
                <a:gd name="connsiteX73" fmla="*/ 1816054 w 1874950"/>
                <a:gd name="connsiteY73" fmla="*/ 1453316 h 1691232"/>
                <a:gd name="connsiteX74" fmla="*/ 1874221 w 1874950"/>
                <a:gd name="connsiteY74" fmla="*/ 1476637 h 1691232"/>
                <a:gd name="connsiteX75" fmla="*/ 1848983 w 1874950"/>
                <a:gd name="connsiteY75" fmla="*/ 1443791 h 1691232"/>
                <a:gd name="connsiteX76" fmla="*/ 1853086 w 1874950"/>
                <a:gd name="connsiteY76" fmla="*/ 1398376 h 1691232"/>
                <a:gd name="connsiteX77" fmla="*/ 1853086 w 1874950"/>
                <a:gd name="connsiteY77" fmla="*/ 1303126 h 1691232"/>
                <a:gd name="connsiteX78" fmla="*/ 1853086 w 1874950"/>
                <a:gd name="connsiteY78" fmla="*/ 1245976 h 1691232"/>
                <a:gd name="connsiteX79" fmla="*/ 1810224 w 1874950"/>
                <a:gd name="connsiteY79" fmla="*/ 1236451 h 1691232"/>
                <a:gd name="connsiteX80" fmla="*/ 1734024 w 1874950"/>
                <a:gd name="connsiteY80" fmla="*/ 1155488 h 1691232"/>
                <a:gd name="connsiteX81" fmla="*/ 1695924 w 1874950"/>
                <a:gd name="connsiteY81" fmla="*/ 974513 h 1691232"/>
                <a:gd name="connsiteX82" fmla="*/ 1643536 w 1874950"/>
                <a:gd name="connsiteY82" fmla="*/ 941176 h 1691232"/>
                <a:gd name="connsiteX83" fmla="*/ 1605436 w 1874950"/>
                <a:gd name="connsiteY83" fmla="*/ 884026 h 1691232"/>
                <a:gd name="connsiteX84" fmla="*/ 1557811 w 1874950"/>
                <a:gd name="connsiteY84" fmla="*/ 836401 h 1691232"/>
                <a:gd name="connsiteX85" fmla="*/ 1505424 w 1874950"/>
                <a:gd name="connsiteY85" fmla="*/ 817351 h 1691232"/>
                <a:gd name="connsiteX86" fmla="*/ 1453036 w 1874950"/>
                <a:gd name="connsiteY86" fmla="*/ 812588 h 1691232"/>
                <a:gd name="connsiteX87" fmla="*/ 1510186 w 1874950"/>
                <a:gd name="connsiteY87" fmla="*/ 779251 h 1691232"/>
                <a:gd name="connsiteX88" fmla="*/ 1476849 w 1874950"/>
                <a:gd name="connsiteY88" fmla="*/ 745913 h 1691232"/>
                <a:gd name="connsiteX89" fmla="*/ 1481611 w 1874950"/>
                <a:gd name="connsiteY89" fmla="*/ 722101 h 1691232"/>
                <a:gd name="connsiteX90" fmla="*/ 1572099 w 1874950"/>
                <a:gd name="connsiteY90" fmla="*/ 760201 h 1691232"/>
                <a:gd name="connsiteX91" fmla="*/ 1624486 w 1874950"/>
                <a:gd name="connsiteY91" fmla="*/ 693526 h 1691232"/>
                <a:gd name="connsiteX92" fmla="*/ 1614961 w 1874950"/>
                <a:gd name="connsiteY92" fmla="*/ 550651 h 1691232"/>
                <a:gd name="connsiteX93" fmla="*/ 1610199 w 1874950"/>
                <a:gd name="connsiteY93" fmla="*/ 412538 h 1691232"/>
                <a:gd name="connsiteX0" fmla="*/ 1610199 w 1880150"/>
                <a:gd name="connsiteY0" fmla="*/ 412538 h 1691232"/>
                <a:gd name="connsiteX1" fmla="*/ 1567336 w 1880150"/>
                <a:gd name="connsiteY1" fmla="*/ 369676 h 1691232"/>
                <a:gd name="connsiteX2" fmla="*/ 1467324 w 1880150"/>
                <a:gd name="connsiteY2" fmla="*/ 345863 h 1691232"/>
                <a:gd name="connsiteX3" fmla="*/ 1419699 w 1880150"/>
                <a:gd name="connsiteY3" fmla="*/ 317288 h 1691232"/>
                <a:gd name="connsiteX4" fmla="*/ 1367311 w 1880150"/>
                <a:gd name="connsiteY4" fmla="*/ 160126 h 1691232"/>
                <a:gd name="connsiteX5" fmla="*/ 1338736 w 1880150"/>
                <a:gd name="connsiteY5" fmla="*/ 12488 h 1691232"/>
                <a:gd name="connsiteX6" fmla="*/ 1267299 w 1880150"/>
                <a:gd name="connsiteY6" fmla="*/ 12488 h 1691232"/>
                <a:gd name="connsiteX7" fmla="*/ 1214911 w 1880150"/>
                <a:gd name="connsiteY7" fmla="*/ 50588 h 1691232"/>
                <a:gd name="connsiteX8" fmla="*/ 1214911 w 1880150"/>
                <a:gd name="connsiteY8" fmla="*/ 155363 h 1691232"/>
                <a:gd name="connsiteX9" fmla="*/ 1186336 w 1880150"/>
                <a:gd name="connsiteY9" fmla="*/ 183938 h 1691232"/>
                <a:gd name="connsiteX10" fmla="*/ 1176811 w 1880150"/>
                <a:gd name="connsiteY10" fmla="*/ 255376 h 1691232"/>
                <a:gd name="connsiteX11" fmla="*/ 1114899 w 1880150"/>
                <a:gd name="connsiteY11" fmla="*/ 298238 h 1691232"/>
                <a:gd name="connsiteX12" fmla="*/ 1005361 w 1880150"/>
                <a:gd name="connsiteY12" fmla="*/ 312526 h 1691232"/>
                <a:gd name="connsiteX13" fmla="*/ 962499 w 1880150"/>
                <a:gd name="connsiteY13" fmla="*/ 355388 h 1691232"/>
                <a:gd name="connsiteX14" fmla="*/ 838674 w 1880150"/>
                <a:gd name="connsiteY14" fmla="*/ 355388 h 1691232"/>
                <a:gd name="connsiteX15" fmla="*/ 781524 w 1880150"/>
                <a:gd name="connsiteY15" fmla="*/ 426826 h 1691232"/>
                <a:gd name="connsiteX16" fmla="*/ 781524 w 1880150"/>
                <a:gd name="connsiteY16" fmla="*/ 460163 h 1691232"/>
                <a:gd name="connsiteX17" fmla="*/ 743424 w 1880150"/>
                <a:gd name="connsiteY17" fmla="*/ 483976 h 1691232"/>
                <a:gd name="connsiteX18" fmla="*/ 671986 w 1880150"/>
                <a:gd name="connsiteY18" fmla="*/ 417301 h 1691232"/>
                <a:gd name="connsiteX19" fmla="*/ 519586 w 1880150"/>
                <a:gd name="connsiteY19" fmla="*/ 412538 h 1691232"/>
                <a:gd name="connsiteX20" fmla="*/ 457674 w 1880150"/>
                <a:gd name="connsiteY20" fmla="*/ 431588 h 1691232"/>
                <a:gd name="connsiteX21" fmla="*/ 419574 w 1880150"/>
                <a:gd name="connsiteY21" fmla="*/ 417301 h 1691232"/>
                <a:gd name="connsiteX22" fmla="*/ 400524 w 1880150"/>
                <a:gd name="connsiteY22" fmla="*/ 355388 h 1691232"/>
                <a:gd name="connsiteX23" fmla="*/ 333849 w 1880150"/>
                <a:gd name="connsiteY23" fmla="*/ 303001 h 1691232"/>
                <a:gd name="connsiteX24" fmla="*/ 286224 w 1880150"/>
                <a:gd name="connsiteY24" fmla="*/ 236326 h 1691232"/>
                <a:gd name="connsiteX25" fmla="*/ 143349 w 1880150"/>
                <a:gd name="connsiteY25" fmla="*/ 255376 h 1691232"/>
                <a:gd name="connsiteX26" fmla="*/ 124299 w 1880150"/>
                <a:gd name="connsiteY26" fmla="*/ 331576 h 1691232"/>
                <a:gd name="connsiteX27" fmla="*/ 110011 w 1880150"/>
                <a:gd name="connsiteY27" fmla="*/ 364913 h 1691232"/>
                <a:gd name="connsiteX28" fmla="*/ 133824 w 1880150"/>
                <a:gd name="connsiteY28" fmla="*/ 412538 h 1691232"/>
                <a:gd name="connsiteX29" fmla="*/ 81436 w 1880150"/>
                <a:gd name="connsiteY29" fmla="*/ 450638 h 1691232"/>
                <a:gd name="connsiteX30" fmla="*/ 33811 w 1880150"/>
                <a:gd name="connsiteY30" fmla="*/ 445876 h 1691232"/>
                <a:gd name="connsiteX31" fmla="*/ 33811 w 1880150"/>
                <a:gd name="connsiteY31" fmla="*/ 517313 h 1691232"/>
                <a:gd name="connsiteX32" fmla="*/ 474 w 1880150"/>
                <a:gd name="connsiteY32" fmla="*/ 622088 h 1691232"/>
                <a:gd name="connsiteX33" fmla="*/ 62386 w 1880150"/>
                <a:gd name="connsiteY33" fmla="*/ 698288 h 1691232"/>
                <a:gd name="connsiteX34" fmla="*/ 111977 w 1880150"/>
                <a:gd name="connsiteY34" fmla="*/ 678550 h 1691232"/>
                <a:gd name="connsiteX35" fmla="*/ 112334 w 1880150"/>
                <a:gd name="connsiteY35" fmla="*/ 748809 h 1691232"/>
                <a:gd name="connsiteX36" fmla="*/ 167161 w 1880150"/>
                <a:gd name="connsiteY36" fmla="*/ 779251 h 1691232"/>
                <a:gd name="connsiteX37" fmla="*/ 236159 w 1880150"/>
                <a:gd name="connsiteY37" fmla="*/ 789463 h 1691232"/>
                <a:gd name="connsiteX38" fmla="*/ 271462 w 1880150"/>
                <a:gd name="connsiteY38" fmla="*/ 845434 h 1691232"/>
                <a:gd name="connsiteX39" fmla="*/ 270869 w 1880150"/>
                <a:gd name="connsiteY39" fmla="*/ 890506 h 1691232"/>
                <a:gd name="connsiteX40" fmla="*/ 295393 w 1880150"/>
                <a:gd name="connsiteY40" fmla="*/ 929981 h 1691232"/>
                <a:gd name="connsiteX41" fmla="*/ 341051 w 1880150"/>
                <a:gd name="connsiteY41" fmla="*/ 968573 h 1691232"/>
                <a:gd name="connsiteX42" fmla="*/ 426184 w 1880150"/>
                <a:gd name="connsiteY42" fmla="*/ 1022825 h 1691232"/>
                <a:gd name="connsiteX43" fmla="*/ 461961 w 1880150"/>
                <a:gd name="connsiteY43" fmla="*/ 1093918 h 1691232"/>
                <a:gd name="connsiteX44" fmla="*/ 441064 w 1880150"/>
                <a:gd name="connsiteY44" fmla="*/ 1163491 h 1691232"/>
                <a:gd name="connsiteX45" fmla="*/ 519111 w 1880150"/>
                <a:gd name="connsiteY45" fmla="*/ 1219954 h 1691232"/>
                <a:gd name="connsiteX46" fmla="*/ 591143 w 1880150"/>
                <a:gd name="connsiteY46" fmla="*/ 1252948 h 1691232"/>
                <a:gd name="connsiteX47" fmla="*/ 571974 w 1880150"/>
                <a:gd name="connsiteY47" fmla="*/ 1312651 h 1691232"/>
                <a:gd name="connsiteX48" fmla="*/ 662461 w 1880150"/>
                <a:gd name="connsiteY48" fmla="*/ 1465051 h 1691232"/>
                <a:gd name="connsiteX49" fmla="*/ 755271 w 1880150"/>
                <a:gd name="connsiteY49" fmla="*/ 1538205 h 1691232"/>
                <a:gd name="connsiteX50" fmla="*/ 805336 w 1880150"/>
                <a:gd name="connsiteY50" fmla="*/ 1488863 h 1691232"/>
                <a:gd name="connsiteX51" fmla="*/ 869926 w 1880150"/>
                <a:gd name="connsiteY51" fmla="*/ 1516260 h 1691232"/>
                <a:gd name="connsiteX52" fmla="*/ 924399 w 1880150"/>
                <a:gd name="connsiteY52" fmla="*/ 1484101 h 1691232"/>
                <a:gd name="connsiteX53" fmla="*/ 941246 w 1880150"/>
                <a:gd name="connsiteY53" fmla="*/ 1441925 h 1691232"/>
                <a:gd name="connsiteX54" fmla="*/ 1005123 w 1880150"/>
                <a:gd name="connsiteY54" fmla="*/ 1528337 h 1691232"/>
                <a:gd name="connsiteX55" fmla="*/ 1050190 w 1880150"/>
                <a:gd name="connsiteY55" fmla="*/ 1599431 h 1691232"/>
                <a:gd name="connsiteX56" fmla="*/ 1120136 w 1880150"/>
                <a:gd name="connsiteY56" fmla="*/ 1690950 h 1691232"/>
                <a:gd name="connsiteX57" fmla="*/ 1151034 w 1880150"/>
                <a:gd name="connsiteY57" fmla="*/ 1627859 h 1691232"/>
                <a:gd name="connsiteX58" fmla="*/ 1181693 w 1880150"/>
                <a:gd name="connsiteY58" fmla="*/ 1621379 h 1691232"/>
                <a:gd name="connsiteX59" fmla="*/ 1224792 w 1880150"/>
                <a:gd name="connsiteY59" fmla="*/ 1650642 h 1691232"/>
                <a:gd name="connsiteX60" fmla="*/ 1258367 w 1880150"/>
                <a:gd name="connsiteY60" fmla="*/ 1609988 h 1691232"/>
                <a:gd name="connsiteX61" fmla="*/ 1277188 w 1880150"/>
                <a:gd name="connsiteY61" fmla="*/ 1614605 h 1691232"/>
                <a:gd name="connsiteX62" fmla="*/ 1311230 w 1880150"/>
                <a:gd name="connsiteY62" fmla="*/ 1681082 h 1691232"/>
                <a:gd name="connsiteX63" fmla="*/ 1367786 w 1880150"/>
                <a:gd name="connsiteY63" fmla="*/ 1657613 h 1691232"/>
                <a:gd name="connsiteX64" fmla="*/ 1419818 w 1880150"/>
                <a:gd name="connsiteY64" fmla="*/ 1601492 h 1691232"/>
                <a:gd name="connsiteX65" fmla="*/ 1470595 w 1880150"/>
                <a:gd name="connsiteY65" fmla="*/ 1584949 h 1691232"/>
                <a:gd name="connsiteX66" fmla="*/ 1488274 w 1880150"/>
                <a:gd name="connsiteY66" fmla="*/ 1640771 h 1691232"/>
                <a:gd name="connsiteX67" fmla="*/ 1558169 w 1880150"/>
                <a:gd name="connsiteY67" fmla="*/ 1615093 h 1691232"/>
                <a:gd name="connsiteX68" fmla="*/ 1588947 w 1880150"/>
                <a:gd name="connsiteY68" fmla="*/ 1528337 h 1691232"/>
                <a:gd name="connsiteX69" fmla="*/ 1670383 w 1880150"/>
                <a:gd name="connsiteY69" fmla="*/ 1438195 h 1691232"/>
                <a:gd name="connsiteX70" fmla="*/ 1714974 w 1880150"/>
                <a:gd name="connsiteY70" fmla="*/ 1407065 h 1691232"/>
                <a:gd name="connsiteX71" fmla="*/ 1743343 w 1880150"/>
                <a:gd name="connsiteY71" fmla="*/ 1410360 h 1691232"/>
                <a:gd name="connsiteX72" fmla="*/ 1820935 w 1880150"/>
                <a:gd name="connsiteY72" fmla="*/ 1399752 h 1691232"/>
                <a:gd name="connsiteX73" fmla="*/ 1816054 w 1880150"/>
                <a:gd name="connsiteY73" fmla="*/ 1453316 h 1691232"/>
                <a:gd name="connsiteX74" fmla="*/ 1874221 w 1880150"/>
                <a:gd name="connsiteY74" fmla="*/ 1476637 h 1691232"/>
                <a:gd name="connsiteX75" fmla="*/ 1875829 w 1880150"/>
                <a:gd name="connsiteY75" fmla="*/ 1454003 h 1691232"/>
                <a:gd name="connsiteX76" fmla="*/ 1853086 w 1880150"/>
                <a:gd name="connsiteY76" fmla="*/ 1398376 h 1691232"/>
                <a:gd name="connsiteX77" fmla="*/ 1853086 w 1880150"/>
                <a:gd name="connsiteY77" fmla="*/ 1303126 h 1691232"/>
                <a:gd name="connsiteX78" fmla="*/ 1853086 w 1880150"/>
                <a:gd name="connsiteY78" fmla="*/ 1245976 h 1691232"/>
                <a:gd name="connsiteX79" fmla="*/ 1810224 w 1880150"/>
                <a:gd name="connsiteY79" fmla="*/ 1236451 h 1691232"/>
                <a:gd name="connsiteX80" fmla="*/ 1734024 w 1880150"/>
                <a:gd name="connsiteY80" fmla="*/ 1155488 h 1691232"/>
                <a:gd name="connsiteX81" fmla="*/ 1695924 w 1880150"/>
                <a:gd name="connsiteY81" fmla="*/ 974513 h 1691232"/>
                <a:gd name="connsiteX82" fmla="*/ 1643536 w 1880150"/>
                <a:gd name="connsiteY82" fmla="*/ 941176 h 1691232"/>
                <a:gd name="connsiteX83" fmla="*/ 1605436 w 1880150"/>
                <a:gd name="connsiteY83" fmla="*/ 884026 h 1691232"/>
                <a:gd name="connsiteX84" fmla="*/ 1557811 w 1880150"/>
                <a:gd name="connsiteY84" fmla="*/ 836401 h 1691232"/>
                <a:gd name="connsiteX85" fmla="*/ 1505424 w 1880150"/>
                <a:gd name="connsiteY85" fmla="*/ 817351 h 1691232"/>
                <a:gd name="connsiteX86" fmla="*/ 1453036 w 1880150"/>
                <a:gd name="connsiteY86" fmla="*/ 812588 h 1691232"/>
                <a:gd name="connsiteX87" fmla="*/ 1510186 w 1880150"/>
                <a:gd name="connsiteY87" fmla="*/ 779251 h 1691232"/>
                <a:gd name="connsiteX88" fmla="*/ 1476849 w 1880150"/>
                <a:gd name="connsiteY88" fmla="*/ 745913 h 1691232"/>
                <a:gd name="connsiteX89" fmla="*/ 1481611 w 1880150"/>
                <a:gd name="connsiteY89" fmla="*/ 722101 h 1691232"/>
                <a:gd name="connsiteX90" fmla="*/ 1572099 w 1880150"/>
                <a:gd name="connsiteY90" fmla="*/ 760201 h 1691232"/>
                <a:gd name="connsiteX91" fmla="*/ 1624486 w 1880150"/>
                <a:gd name="connsiteY91" fmla="*/ 693526 h 1691232"/>
                <a:gd name="connsiteX92" fmla="*/ 1614961 w 1880150"/>
                <a:gd name="connsiteY92" fmla="*/ 550651 h 1691232"/>
                <a:gd name="connsiteX93" fmla="*/ 1610199 w 1880150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81147"/>
                <a:gd name="connsiteY0" fmla="*/ 412538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10199 w 1881147"/>
                <a:gd name="connsiteY93" fmla="*/ 412538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51753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822 h 1691729"/>
                <a:gd name="connsiteX1" fmla="*/ 1567336 w 1881147"/>
                <a:gd name="connsiteY1" fmla="*/ 370173 h 1691729"/>
                <a:gd name="connsiteX2" fmla="*/ 1467324 w 1881147"/>
                <a:gd name="connsiteY2" fmla="*/ 346360 h 1691729"/>
                <a:gd name="connsiteX3" fmla="*/ 1427021 w 1881147"/>
                <a:gd name="connsiteY3" fmla="*/ 289701 h 1691729"/>
                <a:gd name="connsiteX4" fmla="*/ 1395785 w 1881147"/>
                <a:gd name="connsiteY4" fmla="*/ 167431 h 1691729"/>
                <a:gd name="connsiteX5" fmla="*/ 1351753 w 1881147"/>
                <a:gd name="connsiteY5" fmla="*/ 12985 h 1691729"/>
                <a:gd name="connsiteX6" fmla="*/ 1267299 w 1881147"/>
                <a:gd name="connsiteY6" fmla="*/ 12985 h 1691729"/>
                <a:gd name="connsiteX7" fmla="*/ 1214911 w 1881147"/>
                <a:gd name="connsiteY7" fmla="*/ 51085 h 1691729"/>
                <a:gd name="connsiteX8" fmla="*/ 1214911 w 1881147"/>
                <a:gd name="connsiteY8" fmla="*/ 155860 h 1691729"/>
                <a:gd name="connsiteX9" fmla="*/ 1186336 w 1881147"/>
                <a:gd name="connsiteY9" fmla="*/ 184435 h 1691729"/>
                <a:gd name="connsiteX10" fmla="*/ 1176811 w 1881147"/>
                <a:gd name="connsiteY10" fmla="*/ 255873 h 1691729"/>
                <a:gd name="connsiteX11" fmla="*/ 1114899 w 1881147"/>
                <a:gd name="connsiteY11" fmla="*/ 298735 h 1691729"/>
                <a:gd name="connsiteX12" fmla="*/ 1005361 w 1881147"/>
                <a:gd name="connsiteY12" fmla="*/ 313023 h 1691729"/>
                <a:gd name="connsiteX13" fmla="*/ 962499 w 1881147"/>
                <a:gd name="connsiteY13" fmla="*/ 355885 h 1691729"/>
                <a:gd name="connsiteX14" fmla="*/ 838674 w 1881147"/>
                <a:gd name="connsiteY14" fmla="*/ 355885 h 1691729"/>
                <a:gd name="connsiteX15" fmla="*/ 781524 w 1881147"/>
                <a:gd name="connsiteY15" fmla="*/ 427323 h 1691729"/>
                <a:gd name="connsiteX16" fmla="*/ 781524 w 1881147"/>
                <a:gd name="connsiteY16" fmla="*/ 460660 h 1691729"/>
                <a:gd name="connsiteX17" fmla="*/ 743424 w 1881147"/>
                <a:gd name="connsiteY17" fmla="*/ 484473 h 1691729"/>
                <a:gd name="connsiteX18" fmla="*/ 671986 w 1881147"/>
                <a:gd name="connsiteY18" fmla="*/ 417798 h 1691729"/>
                <a:gd name="connsiteX19" fmla="*/ 519586 w 1881147"/>
                <a:gd name="connsiteY19" fmla="*/ 413035 h 1691729"/>
                <a:gd name="connsiteX20" fmla="*/ 457674 w 1881147"/>
                <a:gd name="connsiteY20" fmla="*/ 432085 h 1691729"/>
                <a:gd name="connsiteX21" fmla="*/ 419574 w 1881147"/>
                <a:gd name="connsiteY21" fmla="*/ 417798 h 1691729"/>
                <a:gd name="connsiteX22" fmla="*/ 400524 w 1881147"/>
                <a:gd name="connsiteY22" fmla="*/ 355885 h 1691729"/>
                <a:gd name="connsiteX23" fmla="*/ 333849 w 1881147"/>
                <a:gd name="connsiteY23" fmla="*/ 303498 h 1691729"/>
                <a:gd name="connsiteX24" fmla="*/ 286224 w 1881147"/>
                <a:gd name="connsiteY24" fmla="*/ 236823 h 1691729"/>
                <a:gd name="connsiteX25" fmla="*/ 143349 w 1881147"/>
                <a:gd name="connsiteY25" fmla="*/ 255873 h 1691729"/>
                <a:gd name="connsiteX26" fmla="*/ 124299 w 1881147"/>
                <a:gd name="connsiteY26" fmla="*/ 332073 h 1691729"/>
                <a:gd name="connsiteX27" fmla="*/ 110011 w 1881147"/>
                <a:gd name="connsiteY27" fmla="*/ 365410 h 1691729"/>
                <a:gd name="connsiteX28" fmla="*/ 133824 w 1881147"/>
                <a:gd name="connsiteY28" fmla="*/ 413035 h 1691729"/>
                <a:gd name="connsiteX29" fmla="*/ 81436 w 1881147"/>
                <a:gd name="connsiteY29" fmla="*/ 451135 h 1691729"/>
                <a:gd name="connsiteX30" fmla="*/ 33811 w 1881147"/>
                <a:gd name="connsiteY30" fmla="*/ 446373 h 1691729"/>
                <a:gd name="connsiteX31" fmla="*/ 33811 w 1881147"/>
                <a:gd name="connsiteY31" fmla="*/ 517810 h 1691729"/>
                <a:gd name="connsiteX32" fmla="*/ 474 w 1881147"/>
                <a:gd name="connsiteY32" fmla="*/ 622585 h 1691729"/>
                <a:gd name="connsiteX33" fmla="*/ 62386 w 1881147"/>
                <a:gd name="connsiteY33" fmla="*/ 698785 h 1691729"/>
                <a:gd name="connsiteX34" fmla="*/ 111977 w 1881147"/>
                <a:gd name="connsiteY34" fmla="*/ 679047 h 1691729"/>
                <a:gd name="connsiteX35" fmla="*/ 112334 w 1881147"/>
                <a:gd name="connsiteY35" fmla="*/ 749306 h 1691729"/>
                <a:gd name="connsiteX36" fmla="*/ 167161 w 1881147"/>
                <a:gd name="connsiteY36" fmla="*/ 779748 h 1691729"/>
                <a:gd name="connsiteX37" fmla="*/ 236159 w 1881147"/>
                <a:gd name="connsiteY37" fmla="*/ 789960 h 1691729"/>
                <a:gd name="connsiteX38" fmla="*/ 271462 w 1881147"/>
                <a:gd name="connsiteY38" fmla="*/ 845931 h 1691729"/>
                <a:gd name="connsiteX39" fmla="*/ 270869 w 1881147"/>
                <a:gd name="connsiteY39" fmla="*/ 891003 h 1691729"/>
                <a:gd name="connsiteX40" fmla="*/ 295393 w 1881147"/>
                <a:gd name="connsiteY40" fmla="*/ 930478 h 1691729"/>
                <a:gd name="connsiteX41" fmla="*/ 341051 w 1881147"/>
                <a:gd name="connsiteY41" fmla="*/ 969070 h 1691729"/>
                <a:gd name="connsiteX42" fmla="*/ 426184 w 1881147"/>
                <a:gd name="connsiteY42" fmla="*/ 1023322 h 1691729"/>
                <a:gd name="connsiteX43" fmla="*/ 461961 w 1881147"/>
                <a:gd name="connsiteY43" fmla="*/ 1094415 h 1691729"/>
                <a:gd name="connsiteX44" fmla="*/ 441064 w 1881147"/>
                <a:gd name="connsiteY44" fmla="*/ 1163988 h 1691729"/>
                <a:gd name="connsiteX45" fmla="*/ 519111 w 1881147"/>
                <a:gd name="connsiteY45" fmla="*/ 1220451 h 1691729"/>
                <a:gd name="connsiteX46" fmla="*/ 591143 w 1881147"/>
                <a:gd name="connsiteY46" fmla="*/ 1253445 h 1691729"/>
                <a:gd name="connsiteX47" fmla="*/ 571974 w 1881147"/>
                <a:gd name="connsiteY47" fmla="*/ 1313148 h 1691729"/>
                <a:gd name="connsiteX48" fmla="*/ 662461 w 1881147"/>
                <a:gd name="connsiteY48" fmla="*/ 1465548 h 1691729"/>
                <a:gd name="connsiteX49" fmla="*/ 755271 w 1881147"/>
                <a:gd name="connsiteY49" fmla="*/ 1538702 h 1691729"/>
                <a:gd name="connsiteX50" fmla="*/ 805336 w 1881147"/>
                <a:gd name="connsiteY50" fmla="*/ 1489360 h 1691729"/>
                <a:gd name="connsiteX51" fmla="*/ 869926 w 1881147"/>
                <a:gd name="connsiteY51" fmla="*/ 1516757 h 1691729"/>
                <a:gd name="connsiteX52" fmla="*/ 924399 w 1881147"/>
                <a:gd name="connsiteY52" fmla="*/ 1484598 h 1691729"/>
                <a:gd name="connsiteX53" fmla="*/ 941246 w 1881147"/>
                <a:gd name="connsiteY53" fmla="*/ 1442422 h 1691729"/>
                <a:gd name="connsiteX54" fmla="*/ 1005123 w 1881147"/>
                <a:gd name="connsiteY54" fmla="*/ 1528834 h 1691729"/>
                <a:gd name="connsiteX55" fmla="*/ 1050190 w 1881147"/>
                <a:gd name="connsiteY55" fmla="*/ 1599928 h 1691729"/>
                <a:gd name="connsiteX56" fmla="*/ 1120136 w 1881147"/>
                <a:gd name="connsiteY56" fmla="*/ 1691447 h 1691729"/>
                <a:gd name="connsiteX57" fmla="*/ 1151034 w 1881147"/>
                <a:gd name="connsiteY57" fmla="*/ 1628356 h 1691729"/>
                <a:gd name="connsiteX58" fmla="*/ 1181693 w 1881147"/>
                <a:gd name="connsiteY58" fmla="*/ 1621876 h 1691729"/>
                <a:gd name="connsiteX59" fmla="*/ 1224792 w 1881147"/>
                <a:gd name="connsiteY59" fmla="*/ 1651139 h 1691729"/>
                <a:gd name="connsiteX60" fmla="*/ 1258367 w 1881147"/>
                <a:gd name="connsiteY60" fmla="*/ 1610485 h 1691729"/>
                <a:gd name="connsiteX61" fmla="*/ 1277188 w 1881147"/>
                <a:gd name="connsiteY61" fmla="*/ 1615102 h 1691729"/>
                <a:gd name="connsiteX62" fmla="*/ 1311230 w 1881147"/>
                <a:gd name="connsiteY62" fmla="*/ 1681579 h 1691729"/>
                <a:gd name="connsiteX63" fmla="*/ 1367786 w 1881147"/>
                <a:gd name="connsiteY63" fmla="*/ 1658110 h 1691729"/>
                <a:gd name="connsiteX64" fmla="*/ 1419818 w 1881147"/>
                <a:gd name="connsiteY64" fmla="*/ 1601989 h 1691729"/>
                <a:gd name="connsiteX65" fmla="*/ 1470595 w 1881147"/>
                <a:gd name="connsiteY65" fmla="*/ 1585446 h 1691729"/>
                <a:gd name="connsiteX66" fmla="*/ 1488274 w 1881147"/>
                <a:gd name="connsiteY66" fmla="*/ 1641268 h 1691729"/>
                <a:gd name="connsiteX67" fmla="*/ 1558169 w 1881147"/>
                <a:gd name="connsiteY67" fmla="*/ 1615590 h 1691729"/>
                <a:gd name="connsiteX68" fmla="*/ 1588947 w 1881147"/>
                <a:gd name="connsiteY68" fmla="*/ 1528834 h 1691729"/>
                <a:gd name="connsiteX69" fmla="*/ 1670383 w 1881147"/>
                <a:gd name="connsiteY69" fmla="*/ 1438692 h 1691729"/>
                <a:gd name="connsiteX70" fmla="*/ 1714974 w 1881147"/>
                <a:gd name="connsiteY70" fmla="*/ 1407562 h 1691729"/>
                <a:gd name="connsiteX71" fmla="*/ 1743343 w 1881147"/>
                <a:gd name="connsiteY71" fmla="*/ 1410857 h 1691729"/>
                <a:gd name="connsiteX72" fmla="*/ 1820935 w 1881147"/>
                <a:gd name="connsiteY72" fmla="*/ 1400249 h 1691729"/>
                <a:gd name="connsiteX73" fmla="*/ 1816054 w 1881147"/>
                <a:gd name="connsiteY73" fmla="*/ 1453813 h 1691729"/>
                <a:gd name="connsiteX74" fmla="*/ 1874221 w 1881147"/>
                <a:gd name="connsiteY74" fmla="*/ 1477134 h 1691729"/>
                <a:gd name="connsiteX75" fmla="*/ 1875829 w 1881147"/>
                <a:gd name="connsiteY75" fmla="*/ 1454500 h 1691729"/>
                <a:gd name="connsiteX76" fmla="*/ 1875051 w 1881147"/>
                <a:gd name="connsiteY76" fmla="*/ 1393766 h 1691729"/>
                <a:gd name="connsiteX77" fmla="*/ 1853086 w 1881147"/>
                <a:gd name="connsiteY77" fmla="*/ 1303623 h 1691729"/>
                <a:gd name="connsiteX78" fmla="*/ 1853086 w 1881147"/>
                <a:gd name="connsiteY78" fmla="*/ 1246473 h 1691729"/>
                <a:gd name="connsiteX79" fmla="*/ 1810224 w 1881147"/>
                <a:gd name="connsiteY79" fmla="*/ 1236948 h 1691729"/>
                <a:gd name="connsiteX80" fmla="*/ 1734024 w 1881147"/>
                <a:gd name="connsiteY80" fmla="*/ 1155985 h 1691729"/>
                <a:gd name="connsiteX81" fmla="*/ 1695924 w 1881147"/>
                <a:gd name="connsiteY81" fmla="*/ 975010 h 1691729"/>
                <a:gd name="connsiteX82" fmla="*/ 1643536 w 1881147"/>
                <a:gd name="connsiteY82" fmla="*/ 941673 h 1691729"/>
                <a:gd name="connsiteX83" fmla="*/ 1605436 w 1881147"/>
                <a:gd name="connsiteY83" fmla="*/ 884523 h 1691729"/>
                <a:gd name="connsiteX84" fmla="*/ 1557811 w 1881147"/>
                <a:gd name="connsiteY84" fmla="*/ 836898 h 1691729"/>
                <a:gd name="connsiteX85" fmla="*/ 1505424 w 1881147"/>
                <a:gd name="connsiteY85" fmla="*/ 817848 h 1691729"/>
                <a:gd name="connsiteX86" fmla="*/ 1453036 w 1881147"/>
                <a:gd name="connsiteY86" fmla="*/ 813085 h 1691729"/>
                <a:gd name="connsiteX87" fmla="*/ 1510186 w 1881147"/>
                <a:gd name="connsiteY87" fmla="*/ 779748 h 1691729"/>
                <a:gd name="connsiteX88" fmla="*/ 1476849 w 1881147"/>
                <a:gd name="connsiteY88" fmla="*/ 746410 h 1691729"/>
                <a:gd name="connsiteX89" fmla="*/ 1481611 w 1881147"/>
                <a:gd name="connsiteY89" fmla="*/ 722598 h 1691729"/>
                <a:gd name="connsiteX90" fmla="*/ 1572099 w 1881147"/>
                <a:gd name="connsiteY90" fmla="*/ 760698 h 1691729"/>
                <a:gd name="connsiteX91" fmla="*/ 1624486 w 1881147"/>
                <a:gd name="connsiteY91" fmla="*/ 694023 h 1691729"/>
                <a:gd name="connsiteX92" fmla="*/ 1622283 w 1881147"/>
                <a:gd name="connsiteY92" fmla="*/ 551148 h 1691729"/>
                <a:gd name="connsiteX93" fmla="*/ 1639486 w 1881147"/>
                <a:gd name="connsiteY93" fmla="*/ 402822 h 1691729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67324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23767 w 1881147"/>
                <a:gd name="connsiteY3" fmla="*/ 269277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5145 h 1694052"/>
                <a:gd name="connsiteX1" fmla="*/ 1567336 w 1881147"/>
                <a:gd name="connsiteY1" fmla="*/ 372496 h 1694052"/>
                <a:gd name="connsiteX2" fmla="*/ 1477087 w 1881147"/>
                <a:gd name="connsiteY2" fmla="*/ 348683 h 1694052"/>
                <a:gd name="connsiteX3" fmla="*/ 1423767 w 1881147"/>
                <a:gd name="connsiteY3" fmla="*/ 271599 h 1694052"/>
                <a:gd name="connsiteX4" fmla="*/ 1395785 w 1881147"/>
                <a:gd name="connsiteY4" fmla="*/ 169754 h 1694052"/>
                <a:gd name="connsiteX5" fmla="*/ 1351753 w 1881147"/>
                <a:gd name="connsiteY5" fmla="*/ 15308 h 1694052"/>
                <a:gd name="connsiteX6" fmla="*/ 1267299 w 1881147"/>
                <a:gd name="connsiteY6" fmla="*/ 15308 h 1694052"/>
                <a:gd name="connsiteX7" fmla="*/ 1247452 w 1881147"/>
                <a:gd name="connsiteY7" fmla="*/ 101065 h 1694052"/>
                <a:gd name="connsiteX8" fmla="*/ 1214911 w 1881147"/>
                <a:gd name="connsiteY8" fmla="*/ 158183 h 1694052"/>
                <a:gd name="connsiteX9" fmla="*/ 1186336 w 1881147"/>
                <a:gd name="connsiteY9" fmla="*/ 186758 h 1694052"/>
                <a:gd name="connsiteX10" fmla="*/ 1176811 w 1881147"/>
                <a:gd name="connsiteY10" fmla="*/ 258196 h 1694052"/>
                <a:gd name="connsiteX11" fmla="*/ 1114899 w 1881147"/>
                <a:gd name="connsiteY11" fmla="*/ 301058 h 1694052"/>
                <a:gd name="connsiteX12" fmla="*/ 1005361 w 1881147"/>
                <a:gd name="connsiteY12" fmla="*/ 315346 h 1694052"/>
                <a:gd name="connsiteX13" fmla="*/ 962499 w 1881147"/>
                <a:gd name="connsiteY13" fmla="*/ 358208 h 1694052"/>
                <a:gd name="connsiteX14" fmla="*/ 838674 w 1881147"/>
                <a:gd name="connsiteY14" fmla="*/ 358208 h 1694052"/>
                <a:gd name="connsiteX15" fmla="*/ 781524 w 1881147"/>
                <a:gd name="connsiteY15" fmla="*/ 429646 h 1694052"/>
                <a:gd name="connsiteX16" fmla="*/ 781524 w 1881147"/>
                <a:gd name="connsiteY16" fmla="*/ 462983 h 1694052"/>
                <a:gd name="connsiteX17" fmla="*/ 743424 w 1881147"/>
                <a:gd name="connsiteY17" fmla="*/ 486796 h 1694052"/>
                <a:gd name="connsiteX18" fmla="*/ 671986 w 1881147"/>
                <a:gd name="connsiteY18" fmla="*/ 420121 h 1694052"/>
                <a:gd name="connsiteX19" fmla="*/ 519586 w 1881147"/>
                <a:gd name="connsiteY19" fmla="*/ 415358 h 1694052"/>
                <a:gd name="connsiteX20" fmla="*/ 457674 w 1881147"/>
                <a:gd name="connsiteY20" fmla="*/ 434408 h 1694052"/>
                <a:gd name="connsiteX21" fmla="*/ 419574 w 1881147"/>
                <a:gd name="connsiteY21" fmla="*/ 420121 h 1694052"/>
                <a:gd name="connsiteX22" fmla="*/ 400524 w 1881147"/>
                <a:gd name="connsiteY22" fmla="*/ 358208 h 1694052"/>
                <a:gd name="connsiteX23" fmla="*/ 333849 w 1881147"/>
                <a:gd name="connsiteY23" fmla="*/ 305821 h 1694052"/>
                <a:gd name="connsiteX24" fmla="*/ 286224 w 1881147"/>
                <a:gd name="connsiteY24" fmla="*/ 239146 h 1694052"/>
                <a:gd name="connsiteX25" fmla="*/ 143349 w 1881147"/>
                <a:gd name="connsiteY25" fmla="*/ 258196 h 1694052"/>
                <a:gd name="connsiteX26" fmla="*/ 124299 w 1881147"/>
                <a:gd name="connsiteY26" fmla="*/ 334396 h 1694052"/>
                <a:gd name="connsiteX27" fmla="*/ 110011 w 1881147"/>
                <a:gd name="connsiteY27" fmla="*/ 367733 h 1694052"/>
                <a:gd name="connsiteX28" fmla="*/ 133824 w 1881147"/>
                <a:gd name="connsiteY28" fmla="*/ 415358 h 1694052"/>
                <a:gd name="connsiteX29" fmla="*/ 81436 w 1881147"/>
                <a:gd name="connsiteY29" fmla="*/ 453458 h 1694052"/>
                <a:gd name="connsiteX30" fmla="*/ 33811 w 1881147"/>
                <a:gd name="connsiteY30" fmla="*/ 448696 h 1694052"/>
                <a:gd name="connsiteX31" fmla="*/ 33811 w 1881147"/>
                <a:gd name="connsiteY31" fmla="*/ 520133 h 1694052"/>
                <a:gd name="connsiteX32" fmla="*/ 474 w 1881147"/>
                <a:gd name="connsiteY32" fmla="*/ 624908 h 1694052"/>
                <a:gd name="connsiteX33" fmla="*/ 62386 w 1881147"/>
                <a:gd name="connsiteY33" fmla="*/ 701108 h 1694052"/>
                <a:gd name="connsiteX34" fmla="*/ 111977 w 1881147"/>
                <a:gd name="connsiteY34" fmla="*/ 681370 h 1694052"/>
                <a:gd name="connsiteX35" fmla="*/ 112334 w 1881147"/>
                <a:gd name="connsiteY35" fmla="*/ 751629 h 1694052"/>
                <a:gd name="connsiteX36" fmla="*/ 167161 w 1881147"/>
                <a:gd name="connsiteY36" fmla="*/ 782071 h 1694052"/>
                <a:gd name="connsiteX37" fmla="*/ 236159 w 1881147"/>
                <a:gd name="connsiteY37" fmla="*/ 792283 h 1694052"/>
                <a:gd name="connsiteX38" fmla="*/ 271462 w 1881147"/>
                <a:gd name="connsiteY38" fmla="*/ 848254 h 1694052"/>
                <a:gd name="connsiteX39" fmla="*/ 270869 w 1881147"/>
                <a:gd name="connsiteY39" fmla="*/ 893326 h 1694052"/>
                <a:gd name="connsiteX40" fmla="*/ 295393 w 1881147"/>
                <a:gd name="connsiteY40" fmla="*/ 932801 h 1694052"/>
                <a:gd name="connsiteX41" fmla="*/ 341051 w 1881147"/>
                <a:gd name="connsiteY41" fmla="*/ 971393 h 1694052"/>
                <a:gd name="connsiteX42" fmla="*/ 426184 w 1881147"/>
                <a:gd name="connsiteY42" fmla="*/ 1025645 h 1694052"/>
                <a:gd name="connsiteX43" fmla="*/ 461961 w 1881147"/>
                <a:gd name="connsiteY43" fmla="*/ 1096738 h 1694052"/>
                <a:gd name="connsiteX44" fmla="*/ 441064 w 1881147"/>
                <a:gd name="connsiteY44" fmla="*/ 1166311 h 1694052"/>
                <a:gd name="connsiteX45" fmla="*/ 519111 w 1881147"/>
                <a:gd name="connsiteY45" fmla="*/ 1222774 h 1694052"/>
                <a:gd name="connsiteX46" fmla="*/ 591143 w 1881147"/>
                <a:gd name="connsiteY46" fmla="*/ 1255768 h 1694052"/>
                <a:gd name="connsiteX47" fmla="*/ 571974 w 1881147"/>
                <a:gd name="connsiteY47" fmla="*/ 1315471 h 1694052"/>
                <a:gd name="connsiteX48" fmla="*/ 662461 w 1881147"/>
                <a:gd name="connsiteY48" fmla="*/ 1467871 h 1694052"/>
                <a:gd name="connsiteX49" fmla="*/ 755271 w 1881147"/>
                <a:gd name="connsiteY49" fmla="*/ 1541025 h 1694052"/>
                <a:gd name="connsiteX50" fmla="*/ 805336 w 1881147"/>
                <a:gd name="connsiteY50" fmla="*/ 1491683 h 1694052"/>
                <a:gd name="connsiteX51" fmla="*/ 869926 w 1881147"/>
                <a:gd name="connsiteY51" fmla="*/ 1519080 h 1694052"/>
                <a:gd name="connsiteX52" fmla="*/ 924399 w 1881147"/>
                <a:gd name="connsiteY52" fmla="*/ 1486921 h 1694052"/>
                <a:gd name="connsiteX53" fmla="*/ 941246 w 1881147"/>
                <a:gd name="connsiteY53" fmla="*/ 1444745 h 1694052"/>
                <a:gd name="connsiteX54" fmla="*/ 1005123 w 1881147"/>
                <a:gd name="connsiteY54" fmla="*/ 1531157 h 1694052"/>
                <a:gd name="connsiteX55" fmla="*/ 1050190 w 1881147"/>
                <a:gd name="connsiteY55" fmla="*/ 1602251 h 1694052"/>
                <a:gd name="connsiteX56" fmla="*/ 1120136 w 1881147"/>
                <a:gd name="connsiteY56" fmla="*/ 1693770 h 1694052"/>
                <a:gd name="connsiteX57" fmla="*/ 1151034 w 1881147"/>
                <a:gd name="connsiteY57" fmla="*/ 1630679 h 1694052"/>
                <a:gd name="connsiteX58" fmla="*/ 1181693 w 1881147"/>
                <a:gd name="connsiteY58" fmla="*/ 1624199 h 1694052"/>
                <a:gd name="connsiteX59" fmla="*/ 1224792 w 1881147"/>
                <a:gd name="connsiteY59" fmla="*/ 1653462 h 1694052"/>
                <a:gd name="connsiteX60" fmla="*/ 1258367 w 1881147"/>
                <a:gd name="connsiteY60" fmla="*/ 1612808 h 1694052"/>
                <a:gd name="connsiteX61" fmla="*/ 1277188 w 1881147"/>
                <a:gd name="connsiteY61" fmla="*/ 1617425 h 1694052"/>
                <a:gd name="connsiteX62" fmla="*/ 1311230 w 1881147"/>
                <a:gd name="connsiteY62" fmla="*/ 1683902 h 1694052"/>
                <a:gd name="connsiteX63" fmla="*/ 1367786 w 1881147"/>
                <a:gd name="connsiteY63" fmla="*/ 1660433 h 1694052"/>
                <a:gd name="connsiteX64" fmla="*/ 1419818 w 1881147"/>
                <a:gd name="connsiteY64" fmla="*/ 1604312 h 1694052"/>
                <a:gd name="connsiteX65" fmla="*/ 1470595 w 1881147"/>
                <a:gd name="connsiteY65" fmla="*/ 1587769 h 1694052"/>
                <a:gd name="connsiteX66" fmla="*/ 1488274 w 1881147"/>
                <a:gd name="connsiteY66" fmla="*/ 1643591 h 1694052"/>
                <a:gd name="connsiteX67" fmla="*/ 1558169 w 1881147"/>
                <a:gd name="connsiteY67" fmla="*/ 1617913 h 1694052"/>
                <a:gd name="connsiteX68" fmla="*/ 1588947 w 1881147"/>
                <a:gd name="connsiteY68" fmla="*/ 1531157 h 1694052"/>
                <a:gd name="connsiteX69" fmla="*/ 1670383 w 1881147"/>
                <a:gd name="connsiteY69" fmla="*/ 1441015 h 1694052"/>
                <a:gd name="connsiteX70" fmla="*/ 1714974 w 1881147"/>
                <a:gd name="connsiteY70" fmla="*/ 1409885 h 1694052"/>
                <a:gd name="connsiteX71" fmla="*/ 1743343 w 1881147"/>
                <a:gd name="connsiteY71" fmla="*/ 1413180 h 1694052"/>
                <a:gd name="connsiteX72" fmla="*/ 1820935 w 1881147"/>
                <a:gd name="connsiteY72" fmla="*/ 1402572 h 1694052"/>
                <a:gd name="connsiteX73" fmla="*/ 1816054 w 1881147"/>
                <a:gd name="connsiteY73" fmla="*/ 1456136 h 1694052"/>
                <a:gd name="connsiteX74" fmla="*/ 1874221 w 1881147"/>
                <a:gd name="connsiteY74" fmla="*/ 1479457 h 1694052"/>
                <a:gd name="connsiteX75" fmla="*/ 1875829 w 1881147"/>
                <a:gd name="connsiteY75" fmla="*/ 1456823 h 1694052"/>
                <a:gd name="connsiteX76" fmla="*/ 1875051 w 1881147"/>
                <a:gd name="connsiteY76" fmla="*/ 1396089 h 1694052"/>
                <a:gd name="connsiteX77" fmla="*/ 1853086 w 1881147"/>
                <a:gd name="connsiteY77" fmla="*/ 1305946 h 1694052"/>
                <a:gd name="connsiteX78" fmla="*/ 1853086 w 1881147"/>
                <a:gd name="connsiteY78" fmla="*/ 1248796 h 1694052"/>
                <a:gd name="connsiteX79" fmla="*/ 1810224 w 1881147"/>
                <a:gd name="connsiteY79" fmla="*/ 1239271 h 1694052"/>
                <a:gd name="connsiteX80" fmla="*/ 1734024 w 1881147"/>
                <a:gd name="connsiteY80" fmla="*/ 1158308 h 1694052"/>
                <a:gd name="connsiteX81" fmla="*/ 1695924 w 1881147"/>
                <a:gd name="connsiteY81" fmla="*/ 977333 h 1694052"/>
                <a:gd name="connsiteX82" fmla="*/ 1643536 w 1881147"/>
                <a:gd name="connsiteY82" fmla="*/ 943996 h 1694052"/>
                <a:gd name="connsiteX83" fmla="*/ 1605436 w 1881147"/>
                <a:gd name="connsiteY83" fmla="*/ 886846 h 1694052"/>
                <a:gd name="connsiteX84" fmla="*/ 1557811 w 1881147"/>
                <a:gd name="connsiteY84" fmla="*/ 839221 h 1694052"/>
                <a:gd name="connsiteX85" fmla="*/ 1505424 w 1881147"/>
                <a:gd name="connsiteY85" fmla="*/ 820171 h 1694052"/>
                <a:gd name="connsiteX86" fmla="*/ 1453036 w 1881147"/>
                <a:gd name="connsiteY86" fmla="*/ 815408 h 1694052"/>
                <a:gd name="connsiteX87" fmla="*/ 1510186 w 1881147"/>
                <a:gd name="connsiteY87" fmla="*/ 782071 h 1694052"/>
                <a:gd name="connsiteX88" fmla="*/ 1476849 w 1881147"/>
                <a:gd name="connsiteY88" fmla="*/ 748733 h 1694052"/>
                <a:gd name="connsiteX89" fmla="*/ 1481611 w 1881147"/>
                <a:gd name="connsiteY89" fmla="*/ 724921 h 1694052"/>
                <a:gd name="connsiteX90" fmla="*/ 1572099 w 1881147"/>
                <a:gd name="connsiteY90" fmla="*/ 763021 h 1694052"/>
                <a:gd name="connsiteX91" fmla="*/ 1624486 w 1881147"/>
                <a:gd name="connsiteY91" fmla="*/ 696346 h 1694052"/>
                <a:gd name="connsiteX92" fmla="*/ 1622283 w 1881147"/>
                <a:gd name="connsiteY92" fmla="*/ 553471 h 1694052"/>
                <a:gd name="connsiteX93" fmla="*/ 1639486 w 1881147"/>
                <a:gd name="connsiteY93" fmla="*/ 405145 h 1694052"/>
                <a:gd name="connsiteX0" fmla="*/ 1639486 w 1881147"/>
                <a:gd name="connsiteY0" fmla="*/ 415049 h 1703956"/>
                <a:gd name="connsiteX1" fmla="*/ 1567336 w 1881147"/>
                <a:gd name="connsiteY1" fmla="*/ 382400 h 1703956"/>
                <a:gd name="connsiteX2" fmla="*/ 1477087 w 1881147"/>
                <a:gd name="connsiteY2" fmla="*/ 358587 h 1703956"/>
                <a:gd name="connsiteX3" fmla="*/ 1423767 w 1881147"/>
                <a:gd name="connsiteY3" fmla="*/ 281503 h 1703956"/>
                <a:gd name="connsiteX4" fmla="*/ 1395785 w 1881147"/>
                <a:gd name="connsiteY4" fmla="*/ 179658 h 1703956"/>
                <a:gd name="connsiteX5" fmla="*/ 1364769 w 1881147"/>
                <a:gd name="connsiteY5" fmla="*/ 11596 h 1703956"/>
                <a:gd name="connsiteX6" fmla="*/ 1267299 w 1881147"/>
                <a:gd name="connsiteY6" fmla="*/ 25212 h 1703956"/>
                <a:gd name="connsiteX7" fmla="*/ 1247452 w 1881147"/>
                <a:gd name="connsiteY7" fmla="*/ 110969 h 1703956"/>
                <a:gd name="connsiteX8" fmla="*/ 1214911 w 1881147"/>
                <a:gd name="connsiteY8" fmla="*/ 168087 h 1703956"/>
                <a:gd name="connsiteX9" fmla="*/ 1186336 w 1881147"/>
                <a:gd name="connsiteY9" fmla="*/ 196662 h 1703956"/>
                <a:gd name="connsiteX10" fmla="*/ 1176811 w 1881147"/>
                <a:gd name="connsiteY10" fmla="*/ 268100 h 1703956"/>
                <a:gd name="connsiteX11" fmla="*/ 1114899 w 1881147"/>
                <a:gd name="connsiteY11" fmla="*/ 310962 h 1703956"/>
                <a:gd name="connsiteX12" fmla="*/ 1005361 w 1881147"/>
                <a:gd name="connsiteY12" fmla="*/ 325250 h 1703956"/>
                <a:gd name="connsiteX13" fmla="*/ 962499 w 1881147"/>
                <a:gd name="connsiteY13" fmla="*/ 368112 h 1703956"/>
                <a:gd name="connsiteX14" fmla="*/ 838674 w 1881147"/>
                <a:gd name="connsiteY14" fmla="*/ 368112 h 1703956"/>
                <a:gd name="connsiteX15" fmla="*/ 781524 w 1881147"/>
                <a:gd name="connsiteY15" fmla="*/ 439550 h 1703956"/>
                <a:gd name="connsiteX16" fmla="*/ 781524 w 1881147"/>
                <a:gd name="connsiteY16" fmla="*/ 472887 h 1703956"/>
                <a:gd name="connsiteX17" fmla="*/ 743424 w 1881147"/>
                <a:gd name="connsiteY17" fmla="*/ 496700 h 1703956"/>
                <a:gd name="connsiteX18" fmla="*/ 671986 w 1881147"/>
                <a:gd name="connsiteY18" fmla="*/ 430025 h 1703956"/>
                <a:gd name="connsiteX19" fmla="*/ 519586 w 1881147"/>
                <a:gd name="connsiteY19" fmla="*/ 425262 h 1703956"/>
                <a:gd name="connsiteX20" fmla="*/ 457674 w 1881147"/>
                <a:gd name="connsiteY20" fmla="*/ 444312 h 1703956"/>
                <a:gd name="connsiteX21" fmla="*/ 419574 w 1881147"/>
                <a:gd name="connsiteY21" fmla="*/ 430025 h 1703956"/>
                <a:gd name="connsiteX22" fmla="*/ 400524 w 1881147"/>
                <a:gd name="connsiteY22" fmla="*/ 368112 h 1703956"/>
                <a:gd name="connsiteX23" fmla="*/ 333849 w 1881147"/>
                <a:gd name="connsiteY23" fmla="*/ 315725 h 1703956"/>
                <a:gd name="connsiteX24" fmla="*/ 286224 w 1881147"/>
                <a:gd name="connsiteY24" fmla="*/ 249050 h 1703956"/>
                <a:gd name="connsiteX25" fmla="*/ 143349 w 1881147"/>
                <a:gd name="connsiteY25" fmla="*/ 268100 h 1703956"/>
                <a:gd name="connsiteX26" fmla="*/ 124299 w 1881147"/>
                <a:gd name="connsiteY26" fmla="*/ 344300 h 1703956"/>
                <a:gd name="connsiteX27" fmla="*/ 110011 w 1881147"/>
                <a:gd name="connsiteY27" fmla="*/ 377637 h 1703956"/>
                <a:gd name="connsiteX28" fmla="*/ 133824 w 1881147"/>
                <a:gd name="connsiteY28" fmla="*/ 425262 h 1703956"/>
                <a:gd name="connsiteX29" fmla="*/ 81436 w 1881147"/>
                <a:gd name="connsiteY29" fmla="*/ 463362 h 1703956"/>
                <a:gd name="connsiteX30" fmla="*/ 33811 w 1881147"/>
                <a:gd name="connsiteY30" fmla="*/ 458600 h 1703956"/>
                <a:gd name="connsiteX31" fmla="*/ 33811 w 1881147"/>
                <a:gd name="connsiteY31" fmla="*/ 530037 h 1703956"/>
                <a:gd name="connsiteX32" fmla="*/ 474 w 1881147"/>
                <a:gd name="connsiteY32" fmla="*/ 634812 h 1703956"/>
                <a:gd name="connsiteX33" fmla="*/ 62386 w 1881147"/>
                <a:gd name="connsiteY33" fmla="*/ 711012 h 1703956"/>
                <a:gd name="connsiteX34" fmla="*/ 111977 w 1881147"/>
                <a:gd name="connsiteY34" fmla="*/ 691274 h 1703956"/>
                <a:gd name="connsiteX35" fmla="*/ 112334 w 1881147"/>
                <a:gd name="connsiteY35" fmla="*/ 761533 h 1703956"/>
                <a:gd name="connsiteX36" fmla="*/ 167161 w 1881147"/>
                <a:gd name="connsiteY36" fmla="*/ 791975 h 1703956"/>
                <a:gd name="connsiteX37" fmla="*/ 236159 w 1881147"/>
                <a:gd name="connsiteY37" fmla="*/ 802187 h 1703956"/>
                <a:gd name="connsiteX38" fmla="*/ 271462 w 1881147"/>
                <a:gd name="connsiteY38" fmla="*/ 858158 h 1703956"/>
                <a:gd name="connsiteX39" fmla="*/ 270869 w 1881147"/>
                <a:gd name="connsiteY39" fmla="*/ 903230 h 1703956"/>
                <a:gd name="connsiteX40" fmla="*/ 295393 w 1881147"/>
                <a:gd name="connsiteY40" fmla="*/ 942705 h 1703956"/>
                <a:gd name="connsiteX41" fmla="*/ 341051 w 1881147"/>
                <a:gd name="connsiteY41" fmla="*/ 981297 h 1703956"/>
                <a:gd name="connsiteX42" fmla="*/ 426184 w 1881147"/>
                <a:gd name="connsiteY42" fmla="*/ 1035549 h 1703956"/>
                <a:gd name="connsiteX43" fmla="*/ 461961 w 1881147"/>
                <a:gd name="connsiteY43" fmla="*/ 1106642 h 1703956"/>
                <a:gd name="connsiteX44" fmla="*/ 441064 w 1881147"/>
                <a:gd name="connsiteY44" fmla="*/ 1176215 h 1703956"/>
                <a:gd name="connsiteX45" fmla="*/ 519111 w 1881147"/>
                <a:gd name="connsiteY45" fmla="*/ 1232678 h 1703956"/>
                <a:gd name="connsiteX46" fmla="*/ 591143 w 1881147"/>
                <a:gd name="connsiteY46" fmla="*/ 1265672 h 1703956"/>
                <a:gd name="connsiteX47" fmla="*/ 571974 w 1881147"/>
                <a:gd name="connsiteY47" fmla="*/ 1325375 h 1703956"/>
                <a:gd name="connsiteX48" fmla="*/ 662461 w 1881147"/>
                <a:gd name="connsiteY48" fmla="*/ 1477775 h 1703956"/>
                <a:gd name="connsiteX49" fmla="*/ 755271 w 1881147"/>
                <a:gd name="connsiteY49" fmla="*/ 1550929 h 1703956"/>
                <a:gd name="connsiteX50" fmla="*/ 805336 w 1881147"/>
                <a:gd name="connsiteY50" fmla="*/ 1501587 h 1703956"/>
                <a:gd name="connsiteX51" fmla="*/ 869926 w 1881147"/>
                <a:gd name="connsiteY51" fmla="*/ 1528984 h 1703956"/>
                <a:gd name="connsiteX52" fmla="*/ 924399 w 1881147"/>
                <a:gd name="connsiteY52" fmla="*/ 1496825 h 1703956"/>
                <a:gd name="connsiteX53" fmla="*/ 941246 w 1881147"/>
                <a:gd name="connsiteY53" fmla="*/ 1454649 h 1703956"/>
                <a:gd name="connsiteX54" fmla="*/ 1005123 w 1881147"/>
                <a:gd name="connsiteY54" fmla="*/ 1541061 h 1703956"/>
                <a:gd name="connsiteX55" fmla="*/ 1050190 w 1881147"/>
                <a:gd name="connsiteY55" fmla="*/ 1612155 h 1703956"/>
                <a:gd name="connsiteX56" fmla="*/ 1120136 w 1881147"/>
                <a:gd name="connsiteY56" fmla="*/ 1703674 h 1703956"/>
                <a:gd name="connsiteX57" fmla="*/ 1151034 w 1881147"/>
                <a:gd name="connsiteY57" fmla="*/ 1640583 h 1703956"/>
                <a:gd name="connsiteX58" fmla="*/ 1181693 w 1881147"/>
                <a:gd name="connsiteY58" fmla="*/ 1634103 h 1703956"/>
                <a:gd name="connsiteX59" fmla="*/ 1224792 w 1881147"/>
                <a:gd name="connsiteY59" fmla="*/ 1663366 h 1703956"/>
                <a:gd name="connsiteX60" fmla="*/ 1258367 w 1881147"/>
                <a:gd name="connsiteY60" fmla="*/ 1622712 h 1703956"/>
                <a:gd name="connsiteX61" fmla="*/ 1277188 w 1881147"/>
                <a:gd name="connsiteY61" fmla="*/ 1627329 h 1703956"/>
                <a:gd name="connsiteX62" fmla="*/ 1311230 w 1881147"/>
                <a:gd name="connsiteY62" fmla="*/ 1693806 h 1703956"/>
                <a:gd name="connsiteX63" fmla="*/ 1367786 w 1881147"/>
                <a:gd name="connsiteY63" fmla="*/ 1670337 h 1703956"/>
                <a:gd name="connsiteX64" fmla="*/ 1419818 w 1881147"/>
                <a:gd name="connsiteY64" fmla="*/ 1614216 h 1703956"/>
                <a:gd name="connsiteX65" fmla="*/ 1470595 w 1881147"/>
                <a:gd name="connsiteY65" fmla="*/ 1597673 h 1703956"/>
                <a:gd name="connsiteX66" fmla="*/ 1488274 w 1881147"/>
                <a:gd name="connsiteY66" fmla="*/ 1653495 h 1703956"/>
                <a:gd name="connsiteX67" fmla="*/ 1558169 w 1881147"/>
                <a:gd name="connsiteY67" fmla="*/ 1627817 h 1703956"/>
                <a:gd name="connsiteX68" fmla="*/ 1588947 w 1881147"/>
                <a:gd name="connsiteY68" fmla="*/ 1541061 h 1703956"/>
                <a:gd name="connsiteX69" fmla="*/ 1670383 w 1881147"/>
                <a:gd name="connsiteY69" fmla="*/ 1450919 h 1703956"/>
                <a:gd name="connsiteX70" fmla="*/ 1714974 w 1881147"/>
                <a:gd name="connsiteY70" fmla="*/ 1419789 h 1703956"/>
                <a:gd name="connsiteX71" fmla="*/ 1743343 w 1881147"/>
                <a:gd name="connsiteY71" fmla="*/ 1423084 h 1703956"/>
                <a:gd name="connsiteX72" fmla="*/ 1820935 w 1881147"/>
                <a:gd name="connsiteY72" fmla="*/ 1412476 h 1703956"/>
                <a:gd name="connsiteX73" fmla="*/ 1816054 w 1881147"/>
                <a:gd name="connsiteY73" fmla="*/ 1466040 h 1703956"/>
                <a:gd name="connsiteX74" fmla="*/ 1874221 w 1881147"/>
                <a:gd name="connsiteY74" fmla="*/ 1489361 h 1703956"/>
                <a:gd name="connsiteX75" fmla="*/ 1875829 w 1881147"/>
                <a:gd name="connsiteY75" fmla="*/ 1466727 h 1703956"/>
                <a:gd name="connsiteX76" fmla="*/ 1875051 w 1881147"/>
                <a:gd name="connsiteY76" fmla="*/ 1405993 h 1703956"/>
                <a:gd name="connsiteX77" fmla="*/ 1853086 w 1881147"/>
                <a:gd name="connsiteY77" fmla="*/ 1315850 h 1703956"/>
                <a:gd name="connsiteX78" fmla="*/ 1853086 w 1881147"/>
                <a:gd name="connsiteY78" fmla="*/ 1258700 h 1703956"/>
                <a:gd name="connsiteX79" fmla="*/ 1810224 w 1881147"/>
                <a:gd name="connsiteY79" fmla="*/ 1249175 h 1703956"/>
                <a:gd name="connsiteX80" fmla="*/ 1734024 w 1881147"/>
                <a:gd name="connsiteY80" fmla="*/ 1168212 h 1703956"/>
                <a:gd name="connsiteX81" fmla="*/ 1695924 w 1881147"/>
                <a:gd name="connsiteY81" fmla="*/ 987237 h 1703956"/>
                <a:gd name="connsiteX82" fmla="*/ 1643536 w 1881147"/>
                <a:gd name="connsiteY82" fmla="*/ 953900 h 1703956"/>
                <a:gd name="connsiteX83" fmla="*/ 1605436 w 1881147"/>
                <a:gd name="connsiteY83" fmla="*/ 896750 h 1703956"/>
                <a:gd name="connsiteX84" fmla="*/ 1557811 w 1881147"/>
                <a:gd name="connsiteY84" fmla="*/ 849125 h 1703956"/>
                <a:gd name="connsiteX85" fmla="*/ 1505424 w 1881147"/>
                <a:gd name="connsiteY85" fmla="*/ 830075 h 1703956"/>
                <a:gd name="connsiteX86" fmla="*/ 1453036 w 1881147"/>
                <a:gd name="connsiteY86" fmla="*/ 825312 h 1703956"/>
                <a:gd name="connsiteX87" fmla="*/ 1510186 w 1881147"/>
                <a:gd name="connsiteY87" fmla="*/ 791975 h 1703956"/>
                <a:gd name="connsiteX88" fmla="*/ 1476849 w 1881147"/>
                <a:gd name="connsiteY88" fmla="*/ 758637 h 1703956"/>
                <a:gd name="connsiteX89" fmla="*/ 1481611 w 1881147"/>
                <a:gd name="connsiteY89" fmla="*/ 734825 h 1703956"/>
                <a:gd name="connsiteX90" fmla="*/ 1572099 w 1881147"/>
                <a:gd name="connsiteY90" fmla="*/ 772925 h 1703956"/>
                <a:gd name="connsiteX91" fmla="*/ 1624486 w 1881147"/>
                <a:gd name="connsiteY91" fmla="*/ 706250 h 1703956"/>
                <a:gd name="connsiteX92" fmla="*/ 1622283 w 1881147"/>
                <a:gd name="connsiteY92" fmla="*/ 563375 h 1703956"/>
                <a:gd name="connsiteX93" fmla="*/ 1639486 w 1881147"/>
                <a:gd name="connsiteY93" fmla="*/ 415049 h 1703956"/>
                <a:gd name="connsiteX0" fmla="*/ 1639486 w 1881147"/>
                <a:gd name="connsiteY0" fmla="*/ 410094 h 1699001"/>
                <a:gd name="connsiteX1" fmla="*/ 1567336 w 1881147"/>
                <a:gd name="connsiteY1" fmla="*/ 377445 h 1699001"/>
                <a:gd name="connsiteX2" fmla="*/ 1477087 w 1881147"/>
                <a:gd name="connsiteY2" fmla="*/ 353632 h 1699001"/>
                <a:gd name="connsiteX3" fmla="*/ 1423767 w 1881147"/>
                <a:gd name="connsiteY3" fmla="*/ 276548 h 1699001"/>
                <a:gd name="connsiteX4" fmla="*/ 1395785 w 1881147"/>
                <a:gd name="connsiteY4" fmla="*/ 174703 h 1699001"/>
                <a:gd name="connsiteX5" fmla="*/ 1364769 w 1881147"/>
                <a:gd name="connsiteY5" fmla="*/ 6641 h 1699001"/>
                <a:gd name="connsiteX6" fmla="*/ 1270553 w 1881147"/>
                <a:gd name="connsiteY6" fmla="*/ 40681 h 1699001"/>
                <a:gd name="connsiteX7" fmla="*/ 1247452 w 1881147"/>
                <a:gd name="connsiteY7" fmla="*/ 106014 h 1699001"/>
                <a:gd name="connsiteX8" fmla="*/ 1214911 w 1881147"/>
                <a:gd name="connsiteY8" fmla="*/ 163132 h 1699001"/>
                <a:gd name="connsiteX9" fmla="*/ 1186336 w 1881147"/>
                <a:gd name="connsiteY9" fmla="*/ 191707 h 1699001"/>
                <a:gd name="connsiteX10" fmla="*/ 1176811 w 1881147"/>
                <a:gd name="connsiteY10" fmla="*/ 263145 h 1699001"/>
                <a:gd name="connsiteX11" fmla="*/ 1114899 w 1881147"/>
                <a:gd name="connsiteY11" fmla="*/ 306007 h 1699001"/>
                <a:gd name="connsiteX12" fmla="*/ 1005361 w 1881147"/>
                <a:gd name="connsiteY12" fmla="*/ 320295 h 1699001"/>
                <a:gd name="connsiteX13" fmla="*/ 962499 w 1881147"/>
                <a:gd name="connsiteY13" fmla="*/ 363157 h 1699001"/>
                <a:gd name="connsiteX14" fmla="*/ 838674 w 1881147"/>
                <a:gd name="connsiteY14" fmla="*/ 363157 h 1699001"/>
                <a:gd name="connsiteX15" fmla="*/ 781524 w 1881147"/>
                <a:gd name="connsiteY15" fmla="*/ 434595 h 1699001"/>
                <a:gd name="connsiteX16" fmla="*/ 781524 w 1881147"/>
                <a:gd name="connsiteY16" fmla="*/ 467932 h 1699001"/>
                <a:gd name="connsiteX17" fmla="*/ 743424 w 1881147"/>
                <a:gd name="connsiteY17" fmla="*/ 491745 h 1699001"/>
                <a:gd name="connsiteX18" fmla="*/ 671986 w 1881147"/>
                <a:gd name="connsiteY18" fmla="*/ 425070 h 1699001"/>
                <a:gd name="connsiteX19" fmla="*/ 519586 w 1881147"/>
                <a:gd name="connsiteY19" fmla="*/ 420307 h 1699001"/>
                <a:gd name="connsiteX20" fmla="*/ 457674 w 1881147"/>
                <a:gd name="connsiteY20" fmla="*/ 439357 h 1699001"/>
                <a:gd name="connsiteX21" fmla="*/ 419574 w 1881147"/>
                <a:gd name="connsiteY21" fmla="*/ 425070 h 1699001"/>
                <a:gd name="connsiteX22" fmla="*/ 400524 w 1881147"/>
                <a:gd name="connsiteY22" fmla="*/ 363157 h 1699001"/>
                <a:gd name="connsiteX23" fmla="*/ 333849 w 1881147"/>
                <a:gd name="connsiteY23" fmla="*/ 310770 h 1699001"/>
                <a:gd name="connsiteX24" fmla="*/ 286224 w 1881147"/>
                <a:gd name="connsiteY24" fmla="*/ 244095 h 1699001"/>
                <a:gd name="connsiteX25" fmla="*/ 143349 w 1881147"/>
                <a:gd name="connsiteY25" fmla="*/ 263145 h 1699001"/>
                <a:gd name="connsiteX26" fmla="*/ 124299 w 1881147"/>
                <a:gd name="connsiteY26" fmla="*/ 339345 h 1699001"/>
                <a:gd name="connsiteX27" fmla="*/ 110011 w 1881147"/>
                <a:gd name="connsiteY27" fmla="*/ 372682 h 1699001"/>
                <a:gd name="connsiteX28" fmla="*/ 133824 w 1881147"/>
                <a:gd name="connsiteY28" fmla="*/ 420307 h 1699001"/>
                <a:gd name="connsiteX29" fmla="*/ 81436 w 1881147"/>
                <a:gd name="connsiteY29" fmla="*/ 458407 h 1699001"/>
                <a:gd name="connsiteX30" fmla="*/ 33811 w 1881147"/>
                <a:gd name="connsiteY30" fmla="*/ 453645 h 1699001"/>
                <a:gd name="connsiteX31" fmla="*/ 33811 w 1881147"/>
                <a:gd name="connsiteY31" fmla="*/ 525082 h 1699001"/>
                <a:gd name="connsiteX32" fmla="*/ 474 w 1881147"/>
                <a:gd name="connsiteY32" fmla="*/ 629857 h 1699001"/>
                <a:gd name="connsiteX33" fmla="*/ 62386 w 1881147"/>
                <a:gd name="connsiteY33" fmla="*/ 706057 h 1699001"/>
                <a:gd name="connsiteX34" fmla="*/ 111977 w 1881147"/>
                <a:gd name="connsiteY34" fmla="*/ 686319 h 1699001"/>
                <a:gd name="connsiteX35" fmla="*/ 112334 w 1881147"/>
                <a:gd name="connsiteY35" fmla="*/ 756578 h 1699001"/>
                <a:gd name="connsiteX36" fmla="*/ 167161 w 1881147"/>
                <a:gd name="connsiteY36" fmla="*/ 787020 h 1699001"/>
                <a:gd name="connsiteX37" fmla="*/ 236159 w 1881147"/>
                <a:gd name="connsiteY37" fmla="*/ 797232 h 1699001"/>
                <a:gd name="connsiteX38" fmla="*/ 271462 w 1881147"/>
                <a:gd name="connsiteY38" fmla="*/ 853203 h 1699001"/>
                <a:gd name="connsiteX39" fmla="*/ 270869 w 1881147"/>
                <a:gd name="connsiteY39" fmla="*/ 898275 h 1699001"/>
                <a:gd name="connsiteX40" fmla="*/ 295393 w 1881147"/>
                <a:gd name="connsiteY40" fmla="*/ 937750 h 1699001"/>
                <a:gd name="connsiteX41" fmla="*/ 341051 w 1881147"/>
                <a:gd name="connsiteY41" fmla="*/ 976342 h 1699001"/>
                <a:gd name="connsiteX42" fmla="*/ 426184 w 1881147"/>
                <a:gd name="connsiteY42" fmla="*/ 1030594 h 1699001"/>
                <a:gd name="connsiteX43" fmla="*/ 461961 w 1881147"/>
                <a:gd name="connsiteY43" fmla="*/ 1101687 h 1699001"/>
                <a:gd name="connsiteX44" fmla="*/ 441064 w 1881147"/>
                <a:gd name="connsiteY44" fmla="*/ 1171260 h 1699001"/>
                <a:gd name="connsiteX45" fmla="*/ 519111 w 1881147"/>
                <a:gd name="connsiteY45" fmla="*/ 1227723 h 1699001"/>
                <a:gd name="connsiteX46" fmla="*/ 591143 w 1881147"/>
                <a:gd name="connsiteY46" fmla="*/ 1260717 h 1699001"/>
                <a:gd name="connsiteX47" fmla="*/ 571974 w 1881147"/>
                <a:gd name="connsiteY47" fmla="*/ 1320420 h 1699001"/>
                <a:gd name="connsiteX48" fmla="*/ 662461 w 1881147"/>
                <a:gd name="connsiteY48" fmla="*/ 1472820 h 1699001"/>
                <a:gd name="connsiteX49" fmla="*/ 755271 w 1881147"/>
                <a:gd name="connsiteY49" fmla="*/ 1545974 h 1699001"/>
                <a:gd name="connsiteX50" fmla="*/ 805336 w 1881147"/>
                <a:gd name="connsiteY50" fmla="*/ 1496632 h 1699001"/>
                <a:gd name="connsiteX51" fmla="*/ 869926 w 1881147"/>
                <a:gd name="connsiteY51" fmla="*/ 1524029 h 1699001"/>
                <a:gd name="connsiteX52" fmla="*/ 924399 w 1881147"/>
                <a:gd name="connsiteY52" fmla="*/ 1491870 h 1699001"/>
                <a:gd name="connsiteX53" fmla="*/ 941246 w 1881147"/>
                <a:gd name="connsiteY53" fmla="*/ 1449694 h 1699001"/>
                <a:gd name="connsiteX54" fmla="*/ 1005123 w 1881147"/>
                <a:gd name="connsiteY54" fmla="*/ 1536106 h 1699001"/>
                <a:gd name="connsiteX55" fmla="*/ 1050190 w 1881147"/>
                <a:gd name="connsiteY55" fmla="*/ 1607200 h 1699001"/>
                <a:gd name="connsiteX56" fmla="*/ 1120136 w 1881147"/>
                <a:gd name="connsiteY56" fmla="*/ 1698719 h 1699001"/>
                <a:gd name="connsiteX57" fmla="*/ 1151034 w 1881147"/>
                <a:gd name="connsiteY57" fmla="*/ 1635628 h 1699001"/>
                <a:gd name="connsiteX58" fmla="*/ 1181693 w 1881147"/>
                <a:gd name="connsiteY58" fmla="*/ 1629148 h 1699001"/>
                <a:gd name="connsiteX59" fmla="*/ 1224792 w 1881147"/>
                <a:gd name="connsiteY59" fmla="*/ 1658411 h 1699001"/>
                <a:gd name="connsiteX60" fmla="*/ 1258367 w 1881147"/>
                <a:gd name="connsiteY60" fmla="*/ 1617757 h 1699001"/>
                <a:gd name="connsiteX61" fmla="*/ 1277188 w 1881147"/>
                <a:gd name="connsiteY61" fmla="*/ 1622374 h 1699001"/>
                <a:gd name="connsiteX62" fmla="*/ 1311230 w 1881147"/>
                <a:gd name="connsiteY62" fmla="*/ 1688851 h 1699001"/>
                <a:gd name="connsiteX63" fmla="*/ 1367786 w 1881147"/>
                <a:gd name="connsiteY63" fmla="*/ 1665382 h 1699001"/>
                <a:gd name="connsiteX64" fmla="*/ 1419818 w 1881147"/>
                <a:gd name="connsiteY64" fmla="*/ 1609261 h 1699001"/>
                <a:gd name="connsiteX65" fmla="*/ 1470595 w 1881147"/>
                <a:gd name="connsiteY65" fmla="*/ 1592718 h 1699001"/>
                <a:gd name="connsiteX66" fmla="*/ 1488274 w 1881147"/>
                <a:gd name="connsiteY66" fmla="*/ 1648540 h 1699001"/>
                <a:gd name="connsiteX67" fmla="*/ 1558169 w 1881147"/>
                <a:gd name="connsiteY67" fmla="*/ 1622862 h 1699001"/>
                <a:gd name="connsiteX68" fmla="*/ 1588947 w 1881147"/>
                <a:gd name="connsiteY68" fmla="*/ 1536106 h 1699001"/>
                <a:gd name="connsiteX69" fmla="*/ 1670383 w 1881147"/>
                <a:gd name="connsiteY69" fmla="*/ 1445964 h 1699001"/>
                <a:gd name="connsiteX70" fmla="*/ 1714974 w 1881147"/>
                <a:gd name="connsiteY70" fmla="*/ 1414834 h 1699001"/>
                <a:gd name="connsiteX71" fmla="*/ 1743343 w 1881147"/>
                <a:gd name="connsiteY71" fmla="*/ 1418129 h 1699001"/>
                <a:gd name="connsiteX72" fmla="*/ 1820935 w 1881147"/>
                <a:gd name="connsiteY72" fmla="*/ 1407521 h 1699001"/>
                <a:gd name="connsiteX73" fmla="*/ 1816054 w 1881147"/>
                <a:gd name="connsiteY73" fmla="*/ 1461085 h 1699001"/>
                <a:gd name="connsiteX74" fmla="*/ 1874221 w 1881147"/>
                <a:gd name="connsiteY74" fmla="*/ 1484406 h 1699001"/>
                <a:gd name="connsiteX75" fmla="*/ 1875829 w 1881147"/>
                <a:gd name="connsiteY75" fmla="*/ 1461772 h 1699001"/>
                <a:gd name="connsiteX76" fmla="*/ 1875051 w 1881147"/>
                <a:gd name="connsiteY76" fmla="*/ 1401038 h 1699001"/>
                <a:gd name="connsiteX77" fmla="*/ 1853086 w 1881147"/>
                <a:gd name="connsiteY77" fmla="*/ 1310895 h 1699001"/>
                <a:gd name="connsiteX78" fmla="*/ 1853086 w 1881147"/>
                <a:gd name="connsiteY78" fmla="*/ 1253745 h 1699001"/>
                <a:gd name="connsiteX79" fmla="*/ 1810224 w 1881147"/>
                <a:gd name="connsiteY79" fmla="*/ 1244220 h 1699001"/>
                <a:gd name="connsiteX80" fmla="*/ 1734024 w 1881147"/>
                <a:gd name="connsiteY80" fmla="*/ 1163257 h 1699001"/>
                <a:gd name="connsiteX81" fmla="*/ 1695924 w 1881147"/>
                <a:gd name="connsiteY81" fmla="*/ 982282 h 1699001"/>
                <a:gd name="connsiteX82" fmla="*/ 1643536 w 1881147"/>
                <a:gd name="connsiteY82" fmla="*/ 948945 h 1699001"/>
                <a:gd name="connsiteX83" fmla="*/ 1605436 w 1881147"/>
                <a:gd name="connsiteY83" fmla="*/ 891795 h 1699001"/>
                <a:gd name="connsiteX84" fmla="*/ 1557811 w 1881147"/>
                <a:gd name="connsiteY84" fmla="*/ 844170 h 1699001"/>
                <a:gd name="connsiteX85" fmla="*/ 1505424 w 1881147"/>
                <a:gd name="connsiteY85" fmla="*/ 825120 h 1699001"/>
                <a:gd name="connsiteX86" fmla="*/ 1453036 w 1881147"/>
                <a:gd name="connsiteY86" fmla="*/ 820357 h 1699001"/>
                <a:gd name="connsiteX87" fmla="*/ 1510186 w 1881147"/>
                <a:gd name="connsiteY87" fmla="*/ 787020 h 1699001"/>
                <a:gd name="connsiteX88" fmla="*/ 1476849 w 1881147"/>
                <a:gd name="connsiteY88" fmla="*/ 753682 h 1699001"/>
                <a:gd name="connsiteX89" fmla="*/ 1481611 w 1881147"/>
                <a:gd name="connsiteY89" fmla="*/ 729870 h 1699001"/>
                <a:gd name="connsiteX90" fmla="*/ 1572099 w 1881147"/>
                <a:gd name="connsiteY90" fmla="*/ 767970 h 1699001"/>
                <a:gd name="connsiteX91" fmla="*/ 1624486 w 1881147"/>
                <a:gd name="connsiteY91" fmla="*/ 701295 h 1699001"/>
                <a:gd name="connsiteX92" fmla="*/ 1622283 w 1881147"/>
                <a:gd name="connsiteY92" fmla="*/ 558420 h 1699001"/>
                <a:gd name="connsiteX93" fmla="*/ 1639486 w 1881147"/>
                <a:gd name="connsiteY93" fmla="*/ 410094 h 1699001"/>
                <a:gd name="connsiteX0" fmla="*/ 1639486 w 1881147"/>
                <a:gd name="connsiteY0" fmla="*/ 410466 h 1699373"/>
                <a:gd name="connsiteX1" fmla="*/ 1567336 w 1881147"/>
                <a:gd name="connsiteY1" fmla="*/ 377817 h 1699373"/>
                <a:gd name="connsiteX2" fmla="*/ 1477087 w 1881147"/>
                <a:gd name="connsiteY2" fmla="*/ 354004 h 1699373"/>
                <a:gd name="connsiteX3" fmla="*/ 1423767 w 1881147"/>
                <a:gd name="connsiteY3" fmla="*/ 276920 h 1699373"/>
                <a:gd name="connsiteX4" fmla="*/ 1395785 w 1881147"/>
                <a:gd name="connsiteY4" fmla="*/ 175075 h 1699373"/>
                <a:gd name="connsiteX5" fmla="*/ 1364769 w 1881147"/>
                <a:gd name="connsiteY5" fmla="*/ 7013 h 1699373"/>
                <a:gd name="connsiteX6" fmla="*/ 1270553 w 1881147"/>
                <a:gd name="connsiteY6" fmla="*/ 41053 h 1699373"/>
                <a:gd name="connsiteX7" fmla="*/ 1244198 w 1881147"/>
                <a:gd name="connsiteY7" fmla="*/ 126810 h 1699373"/>
                <a:gd name="connsiteX8" fmla="*/ 1214911 w 1881147"/>
                <a:gd name="connsiteY8" fmla="*/ 163504 h 1699373"/>
                <a:gd name="connsiteX9" fmla="*/ 1186336 w 1881147"/>
                <a:gd name="connsiteY9" fmla="*/ 192079 h 1699373"/>
                <a:gd name="connsiteX10" fmla="*/ 1176811 w 1881147"/>
                <a:gd name="connsiteY10" fmla="*/ 263517 h 1699373"/>
                <a:gd name="connsiteX11" fmla="*/ 1114899 w 1881147"/>
                <a:gd name="connsiteY11" fmla="*/ 306379 h 1699373"/>
                <a:gd name="connsiteX12" fmla="*/ 1005361 w 1881147"/>
                <a:gd name="connsiteY12" fmla="*/ 320667 h 1699373"/>
                <a:gd name="connsiteX13" fmla="*/ 962499 w 1881147"/>
                <a:gd name="connsiteY13" fmla="*/ 363529 h 1699373"/>
                <a:gd name="connsiteX14" fmla="*/ 838674 w 1881147"/>
                <a:gd name="connsiteY14" fmla="*/ 363529 h 1699373"/>
                <a:gd name="connsiteX15" fmla="*/ 781524 w 1881147"/>
                <a:gd name="connsiteY15" fmla="*/ 434967 h 1699373"/>
                <a:gd name="connsiteX16" fmla="*/ 781524 w 1881147"/>
                <a:gd name="connsiteY16" fmla="*/ 468304 h 1699373"/>
                <a:gd name="connsiteX17" fmla="*/ 743424 w 1881147"/>
                <a:gd name="connsiteY17" fmla="*/ 492117 h 1699373"/>
                <a:gd name="connsiteX18" fmla="*/ 671986 w 1881147"/>
                <a:gd name="connsiteY18" fmla="*/ 425442 h 1699373"/>
                <a:gd name="connsiteX19" fmla="*/ 519586 w 1881147"/>
                <a:gd name="connsiteY19" fmla="*/ 420679 h 1699373"/>
                <a:gd name="connsiteX20" fmla="*/ 457674 w 1881147"/>
                <a:gd name="connsiteY20" fmla="*/ 439729 h 1699373"/>
                <a:gd name="connsiteX21" fmla="*/ 419574 w 1881147"/>
                <a:gd name="connsiteY21" fmla="*/ 425442 h 1699373"/>
                <a:gd name="connsiteX22" fmla="*/ 400524 w 1881147"/>
                <a:gd name="connsiteY22" fmla="*/ 363529 h 1699373"/>
                <a:gd name="connsiteX23" fmla="*/ 333849 w 1881147"/>
                <a:gd name="connsiteY23" fmla="*/ 311142 h 1699373"/>
                <a:gd name="connsiteX24" fmla="*/ 286224 w 1881147"/>
                <a:gd name="connsiteY24" fmla="*/ 244467 h 1699373"/>
                <a:gd name="connsiteX25" fmla="*/ 143349 w 1881147"/>
                <a:gd name="connsiteY25" fmla="*/ 263517 h 1699373"/>
                <a:gd name="connsiteX26" fmla="*/ 124299 w 1881147"/>
                <a:gd name="connsiteY26" fmla="*/ 339717 h 1699373"/>
                <a:gd name="connsiteX27" fmla="*/ 110011 w 1881147"/>
                <a:gd name="connsiteY27" fmla="*/ 373054 h 1699373"/>
                <a:gd name="connsiteX28" fmla="*/ 133824 w 1881147"/>
                <a:gd name="connsiteY28" fmla="*/ 420679 h 1699373"/>
                <a:gd name="connsiteX29" fmla="*/ 81436 w 1881147"/>
                <a:gd name="connsiteY29" fmla="*/ 458779 h 1699373"/>
                <a:gd name="connsiteX30" fmla="*/ 33811 w 1881147"/>
                <a:gd name="connsiteY30" fmla="*/ 454017 h 1699373"/>
                <a:gd name="connsiteX31" fmla="*/ 33811 w 1881147"/>
                <a:gd name="connsiteY31" fmla="*/ 525454 h 1699373"/>
                <a:gd name="connsiteX32" fmla="*/ 474 w 1881147"/>
                <a:gd name="connsiteY32" fmla="*/ 630229 h 1699373"/>
                <a:gd name="connsiteX33" fmla="*/ 62386 w 1881147"/>
                <a:gd name="connsiteY33" fmla="*/ 706429 h 1699373"/>
                <a:gd name="connsiteX34" fmla="*/ 111977 w 1881147"/>
                <a:gd name="connsiteY34" fmla="*/ 686691 h 1699373"/>
                <a:gd name="connsiteX35" fmla="*/ 112334 w 1881147"/>
                <a:gd name="connsiteY35" fmla="*/ 756950 h 1699373"/>
                <a:gd name="connsiteX36" fmla="*/ 167161 w 1881147"/>
                <a:gd name="connsiteY36" fmla="*/ 787392 h 1699373"/>
                <a:gd name="connsiteX37" fmla="*/ 236159 w 1881147"/>
                <a:gd name="connsiteY37" fmla="*/ 797604 h 1699373"/>
                <a:gd name="connsiteX38" fmla="*/ 271462 w 1881147"/>
                <a:gd name="connsiteY38" fmla="*/ 853575 h 1699373"/>
                <a:gd name="connsiteX39" fmla="*/ 270869 w 1881147"/>
                <a:gd name="connsiteY39" fmla="*/ 898647 h 1699373"/>
                <a:gd name="connsiteX40" fmla="*/ 295393 w 1881147"/>
                <a:gd name="connsiteY40" fmla="*/ 938122 h 1699373"/>
                <a:gd name="connsiteX41" fmla="*/ 341051 w 1881147"/>
                <a:gd name="connsiteY41" fmla="*/ 976714 h 1699373"/>
                <a:gd name="connsiteX42" fmla="*/ 426184 w 1881147"/>
                <a:gd name="connsiteY42" fmla="*/ 1030966 h 1699373"/>
                <a:gd name="connsiteX43" fmla="*/ 461961 w 1881147"/>
                <a:gd name="connsiteY43" fmla="*/ 1102059 h 1699373"/>
                <a:gd name="connsiteX44" fmla="*/ 441064 w 1881147"/>
                <a:gd name="connsiteY44" fmla="*/ 1171632 h 1699373"/>
                <a:gd name="connsiteX45" fmla="*/ 519111 w 1881147"/>
                <a:gd name="connsiteY45" fmla="*/ 1228095 h 1699373"/>
                <a:gd name="connsiteX46" fmla="*/ 591143 w 1881147"/>
                <a:gd name="connsiteY46" fmla="*/ 1261089 h 1699373"/>
                <a:gd name="connsiteX47" fmla="*/ 571974 w 1881147"/>
                <a:gd name="connsiteY47" fmla="*/ 1320792 h 1699373"/>
                <a:gd name="connsiteX48" fmla="*/ 662461 w 1881147"/>
                <a:gd name="connsiteY48" fmla="*/ 1473192 h 1699373"/>
                <a:gd name="connsiteX49" fmla="*/ 755271 w 1881147"/>
                <a:gd name="connsiteY49" fmla="*/ 1546346 h 1699373"/>
                <a:gd name="connsiteX50" fmla="*/ 805336 w 1881147"/>
                <a:gd name="connsiteY50" fmla="*/ 1497004 h 1699373"/>
                <a:gd name="connsiteX51" fmla="*/ 869926 w 1881147"/>
                <a:gd name="connsiteY51" fmla="*/ 1524401 h 1699373"/>
                <a:gd name="connsiteX52" fmla="*/ 924399 w 1881147"/>
                <a:gd name="connsiteY52" fmla="*/ 1492242 h 1699373"/>
                <a:gd name="connsiteX53" fmla="*/ 941246 w 1881147"/>
                <a:gd name="connsiteY53" fmla="*/ 1450066 h 1699373"/>
                <a:gd name="connsiteX54" fmla="*/ 1005123 w 1881147"/>
                <a:gd name="connsiteY54" fmla="*/ 1536478 h 1699373"/>
                <a:gd name="connsiteX55" fmla="*/ 1050190 w 1881147"/>
                <a:gd name="connsiteY55" fmla="*/ 1607572 h 1699373"/>
                <a:gd name="connsiteX56" fmla="*/ 1120136 w 1881147"/>
                <a:gd name="connsiteY56" fmla="*/ 1699091 h 1699373"/>
                <a:gd name="connsiteX57" fmla="*/ 1151034 w 1881147"/>
                <a:gd name="connsiteY57" fmla="*/ 1636000 h 1699373"/>
                <a:gd name="connsiteX58" fmla="*/ 1181693 w 1881147"/>
                <a:gd name="connsiteY58" fmla="*/ 1629520 h 1699373"/>
                <a:gd name="connsiteX59" fmla="*/ 1224792 w 1881147"/>
                <a:gd name="connsiteY59" fmla="*/ 1658783 h 1699373"/>
                <a:gd name="connsiteX60" fmla="*/ 1258367 w 1881147"/>
                <a:gd name="connsiteY60" fmla="*/ 1618129 h 1699373"/>
                <a:gd name="connsiteX61" fmla="*/ 1277188 w 1881147"/>
                <a:gd name="connsiteY61" fmla="*/ 1622746 h 1699373"/>
                <a:gd name="connsiteX62" fmla="*/ 1311230 w 1881147"/>
                <a:gd name="connsiteY62" fmla="*/ 1689223 h 1699373"/>
                <a:gd name="connsiteX63" fmla="*/ 1367786 w 1881147"/>
                <a:gd name="connsiteY63" fmla="*/ 1665754 h 1699373"/>
                <a:gd name="connsiteX64" fmla="*/ 1419818 w 1881147"/>
                <a:gd name="connsiteY64" fmla="*/ 1609633 h 1699373"/>
                <a:gd name="connsiteX65" fmla="*/ 1470595 w 1881147"/>
                <a:gd name="connsiteY65" fmla="*/ 1593090 h 1699373"/>
                <a:gd name="connsiteX66" fmla="*/ 1488274 w 1881147"/>
                <a:gd name="connsiteY66" fmla="*/ 1648912 h 1699373"/>
                <a:gd name="connsiteX67" fmla="*/ 1558169 w 1881147"/>
                <a:gd name="connsiteY67" fmla="*/ 1623234 h 1699373"/>
                <a:gd name="connsiteX68" fmla="*/ 1588947 w 1881147"/>
                <a:gd name="connsiteY68" fmla="*/ 1536478 h 1699373"/>
                <a:gd name="connsiteX69" fmla="*/ 1670383 w 1881147"/>
                <a:gd name="connsiteY69" fmla="*/ 1446336 h 1699373"/>
                <a:gd name="connsiteX70" fmla="*/ 1714974 w 1881147"/>
                <a:gd name="connsiteY70" fmla="*/ 1415206 h 1699373"/>
                <a:gd name="connsiteX71" fmla="*/ 1743343 w 1881147"/>
                <a:gd name="connsiteY71" fmla="*/ 1418501 h 1699373"/>
                <a:gd name="connsiteX72" fmla="*/ 1820935 w 1881147"/>
                <a:gd name="connsiteY72" fmla="*/ 1407893 h 1699373"/>
                <a:gd name="connsiteX73" fmla="*/ 1816054 w 1881147"/>
                <a:gd name="connsiteY73" fmla="*/ 1461457 h 1699373"/>
                <a:gd name="connsiteX74" fmla="*/ 1874221 w 1881147"/>
                <a:gd name="connsiteY74" fmla="*/ 1484778 h 1699373"/>
                <a:gd name="connsiteX75" fmla="*/ 1875829 w 1881147"/>
                <a:gd name="connsiteY75" fmla="*/ 1462144 h 1699373"/>
                <a:gd name="connsiteX76" fmla="*/ 1875051 w 1881147"/>
                <a:gd name="connsiteY76" fmla="*/ 1401410 h 1699373"/>
                <a:gd name="connsiteX77" fmla="*/ 1853086 w 1881147"/>
                <a:gd name="connsiteY77" fmla="*/ 1311267 h 1699373"/>
                <a:gd name="connsiteX78" fmla="*/ 1853086 w 1881147"/>
                <a:gd name="connsiteY78" fmla="*/ 1254117 h 1699373"/>
                <a:gd name="connsiteX79" fmla="*/ 1810224 w 1881147"/>
                <a:gd name="connsiteY79" fmla="*/ 1244592 h 1699373"/>
                <a:gd name="connsiteX80" fmla="*/ 1734024 w 1881147"/>
                <a:gd name="connsiteY80" fmla="*/ 1163629 h 1699373"/>
                <a:gd name="connsiteX81" fmla="*/ 1695924 w 1881147"/>
                <a:gd name="connsiteY81" fmla="*/ 982654 h 1699373"/>
                <a:gd name="connsiteX82" fmla="*/ 1643536 w 1881147"/>
                <a:gd name="connsiteY82" fmla="*/ 949317 h 1699373"/>
                <a:gd name="connsiteX83" fmla="*/ 1605436 w 1881147"/>
                <a:gd name="connsiteY83" fmla="*/ 892167 h 1699373"/>
                <a:gd name="connsiteX84" fmla="*/ 1557811 w 1881147"/>
                <a:gd name="connsiteY84" fmla="*/ 844542 h 1699373"/>
                <a:gd name="connsiteX85" fmla="*/ 1505424 w 1881147"/>
                <a:gd name="connsiteY85" fmla="*/ 825492 h 1699373"/>
                <a:gd name="connsiteX86" fmla="*/ 1453036 w 1881147"/>
                <a:gd name="connsiteY86" fmla="*/ 820729 h 1699373"/>
                <a:gd name="connsiteX87" fmla="*/ 1510186 w 1881147"/>
                <a:gd name="connsiteY87" fmla="*/ 787392 h 1699373"/>
                <a:gd name="connsiteX88" fmla="*/ 1476849 w 1881147"/>
                <a:gd name="connsiteY88" fmla="*/ 754054 h 1699373"/>
                <a:gd name="connsiteX89" fmla="*/ 1481611 w 1881147"/>
                <a:gd name="connsiteY89" fmla="*/ 730242 h 1699373"/>
                <a:gd name="connsiteX90" fmla="*/ 1572099 w 1881147"/>
                <a:gd name="connsiteY90" fmla="*/ 768342 h 1699373"/>
                <a:gd name="connsiteX91" fmla="*/ 1624486 w 1881147"/>
                <a:gd name="connsiteY91" fmla="*/ 701667 h 1699373"/>
                <a:gd name="connsiteX92" fmla="*/ 1622283 w 1881147"/>
                <a:gd name="connsiteY92" fmla="*/ 558792 h 1699373"/>
                <a:gd name="connsiteX93" fmla="*/ 1639486 w 1881147"/>
                <a:gd name="connsiteY93" fmla="*/ 410466 h 1699373"/>
                <a:gd name="connsiteX0" fmla="*/ 1639486 w 1881147"/>
                <a:gd name="connsiteY0" fmla="*/ 409992 h 1698899"/>
                <a:gd name="connsiteX1" fmla="*/ 1567336 w 1881147"/>
                <a:gd name="connsiteY1" fmla="*/ 377343 h 1698899"/>
                <a:gd name="connsiteX2" fmla="*/ 1477087 w 1881147"/>
                <a:gd name="connsiteY2" fmla="*/ 353530 h 1698899"/>
                <a:gd name="connsiteX3" fmla="*/ 1423767 w 1881147"/>
                <a:gd name="connsiteY3" fmla="*/ 276446 h 1698899"/>
                <a:gd name="connsiteX4" fmla="*/ 1395785 w 1881147"/>
                <a:gd name="connsiteY4" fmla="*/ 174601 h 1698899"/>
                <a:gd name="connsiteX5" fmla="*/ 1364769 w 1881147"/>
                <a:gd name="connsiteY5" fmla="*/ 6539 h 1698899"/>
                <a:gd name="connsiteX6" fmla="*/ 1282757 w 1881147"/>
                <a:gd name="connsiteY6" fmla="*/ 43131 h 1698899"/>
                <a:gd name="connsiteX7" fmla="*/ 1244198 w 1881147"/>
                <a:gd name="connsiteY7" fmla="*/ 126336 h 1698899"/>
                <a:gd name="connsiteX8" fmla="*/ 1214911 w 1881147"/>
                <a:gd name="connsiteY8" fmla="*/ 163030 h 1698899"/>
                <a:gd name="connsiteX9" fmla="*/ 1186336 w 1881147"/>
                <a:gd name="connsiteY9" fmla="*/ 191605 h 1698899"/>
                <a:gd name="connsiteX10" fmla="*/ 1176811 w 1881147"/>
                <a:gd name="connsiteY10" fmla="*/ 263043 h 1698899"/>
                <a:gd name="connsiteX11" fmla="*/ 1114899 w 1881147"/>
                <a:gd name="connsiteY11" fmla="*/ 305905 h 1698899"/>
                <a:gd name="connsiteX12" fmla="*/ 1005361 w 1881147"/>
                <a:gd name="connsiteY12" fmla="*/ 320193 h 1698899"/>
                <a:gd name="connsiteX13" fmla="*/ 962499 w 1881147"/>
                <a:gd name="connsiteY13" fmla="*/ 363055 h 1698899"/>
                <a:gd name="connsiteX14" fmla="*/ 838674 w 1881147"/>
                <a:gd name="connsiteY14" fmla="*/ 363055 h 1698899"/>
                <a:gd name="connsiteX15" fmla="*/ 781524 w 1881147"/>
                <a:gd name="connsiteY15" fmla="*/ 434493 h 1698899"/>
                <a:gd name="connsiteX16" fmla="*/ 781524 w 1881147"/>
                <a:gd name="connsiteY16" fmla="*/ 467830 h 1698899"/>
                <a:gd name="connsiteX17" fmla="*/ 743424 w 1881147"/>
                <a:gd name="connsiteY17" fmla="*/ 491643 h 1698899"/>
                <a:gd name="connsiteX18" fmla="*/ 671986 w 1881147"/>
                <a:gd name="connsiteY18" fmla="*/ 424968 h 1698899"/>
                <a:gd name="connsiteX19" fmla="*/ 519586 w 1881147"/>
                <a:gd name="connsiteY19" fmla="*/ 420205 h 1698899"/>
                <a:gd name="connsiteX20" fmla="*/ 457674 w 1881147"/>
                <a:gd name="connsiteY20" fmla="*/ 439255 h 1698899"/>
                <a:gd name="connsiteX21" fmla="*/ 419574 w 1881147"/>
                <a:gd name="connsiteY21" fmla="*/ 424968 h 1698899"/>
                <a:gd name="connsiteX22" fmla="*/ 400524 w 1881147"/>
                <a:gd name="connsiteY22" fmla="*/ 363055 h 1698899"/>
                <a:gd name="connsiteX23" fmla="*/ 333849 w 1881147"/>
                <a:gd name="connsiteY23" fmla="*/ 310668 h 1698899"/>
                <a:gd name="connsiteX24" fmla="*/ 286224 w 1881147"/>
                <a:gd name="connsiteY24" fmla="*/ 243993 h 1698899"/>
                <a:gd name="connsiteX25" fmla="*/ 143349 w 1881147"/>
                <a:gd name="connsiteY25" fmla="*/ 263043 h 1698899"/>
                <a:gd name="connsiteX26" fmla="*/ 124299 w 1881147"/>
                <a:gd name="connsiteY26" fmla="*/ 339243 h 1698899"/>
                <a:gd name="connsiteX27" fmla="*/ 110011 w 1881147"/>
                <a:gd name="connsiteY27" fmla="*/ 372580 h 1698899"/>
                <a:gd name="connsiteX28" fmla="*/ 133824 w 1881147"/>
                <a:gd name="connsiteY28" fmla="*/ 420205 h 1698899"/>
                <a:gd name="connsiteX29" fmla="*/ 81436 w 1881147"/>
                <a:gd name="connsiteY29" fmla="*/ 458305 h 1698899"/>
                <a:gd name="connsiteX30" fmla="*/ 33811 w 1881147"/>
                <a:gd name="connsiteY30" fmla="*/ 453543 h 1698899"/>
                <a:gd name="connsiteX31" fmla="*/ 33811 w 1881147"/>
                <a:gd name="connsiteY31" fmla="*/ 524980 h 1698899"/>
                <a:gd name="connsiteX32" fmla="*/ 474 w 1881147"/>
                <a:gd name="connsiteY32" fmla="*/ 629755 h 1698899"/>
                <a:gd name="connsiteX33" fmla="*/ 62386 w 1881147"/>
                <a:gd name="connsiteY33" fmla="*/ 705955 h 1698899"/>
                <a:gd name="connsiteX34" fmla="*/ 111977 w 1881147"/>
                <a:gd name="connsiteY34" fmla="*/ 686217 h 1698899"/>
                <a:gd name="connsiteX35" fmla="*/ 112334 w 1881147"/>
                <a:gd name="connsiteY35" fmla="*/ 756476 h 1698899"/>
                <a:gd name="connsiteX36" fmla="*/ 167161 w 1881147"/>
                <a:gd name="connsiteY36" fmla="*/ 786918 h 1698899"/>
                <a:gd name="connsiteX37" fmla="*/ 236159 w 1881147"/>
                <a:gd name="connsiteY37" fmla="*/ 797130 h 1698899"/>
                <a:gd name="connsiteX38" fmla="*/ 271462 w 1881147"/>
                <a:gd name="connsiteY38" fmla="*/ 853101 h 1698899"/>
                <a:gd name="connsiteX39" fmla="*/ 270869 w 1881147"/>
                <a:gd name="connsiteY39" fmla="*/ 898173 h 1698899"/>
                <a:gd name="connsiteX40" fmla="*/ 295393 w 1881147"/>
                <a:gd name="connsiteY40" fmla="*/ 937648 h 1698899"/>
                <a:gd name="connsiteX41" fmla="*/ 341051 w 1881147"/>
                <a:gd name="connsiteY41" fmla="*/ 976240 h 1698899"/>
                <a:gd name="connsiteX42" fmla="*/ 426184 w 1881147"/>
                <a:gd name="connsiteY42" fmla="*/ 1030492 h 1698899"/>
                <a:gd name="connsiteX43" fmla="*/ 461961 w 1881147"/>
                <a:gd name="connsiteY43" fmla="*/ 1101585 h 1698899"/>
                <a:gd name="connsiteX44" fmla="*/ 441064 w 1881147"/>
                <a:gd name="connsiteY44" fmla="*/ 1171158 h 1698899"/>
                <a:gd name="connsiteX45" fmla="*/ 519111 w 1881147"/>
                <a:gd name="connsiteY45" fmla="*/ 1227621 h 1698899"/>
                <a:gd name="connsiteX46" fmla="*/ 591143 w 1881147"/>
                <a:gd name="connsiteY46" fmla="*/ 1260615 h 1698899"/>
                <a:gd name="connsiteX47" fmla="*/ 571974 w 1881147"/>
                <a:gd name="connsiteY47" fmla="*/ 1320318 h 1698899"/>
                <a:gd name="connsiteX48" fmla="*/ 662461 w 1881147"/>
                <a:gd name="connsiteY48" fmla="*/ 1472718 h 1698899"/>
                <a:gd name="connsiteX49" fmla="*/ 755271 w 1881147"/>
                <a:gd name="connsiteY49" fmla="*/ 1545872 h 1698899"/>
                <a:gd name="connsiteX50" fmla="*/ 805336 w 1881147"/>
                <a:gd name="connsiteY50" fmla="*/ 1496530 h 1698899"/>
                <a:gd name="connsiteX51" fmla="*/ 869926 w 1881147"/>
                <a:gd name="connsiteY51" fmla="*/ 1523927 h 1698899"/>
                <a:gd name="connsiteX52" fmla="*/ 924399 w 1881147"/>
                <a:gd name="connsiteY52" fmla="*/ 1491768 h 1698899"/>
                <a:gd name="connsiteX53" fmla="*/ 941246 w 1881147"/>
                <a:gd name="connsiteY53" fmla="*/ 1449592 h 1698899"/>
                <a:gd name="connsiteX54" fmla="*/ 1005123 w 1881147"/>
                <a:gd name="connsiteY54" fmla="*/ 1536004 h 1698899"/>
                <a:gd name="connsiteX55" fmla="*/ 1050190 w 1881147"/>
                <a:gd name="connsiteY55" fmla="*/ 1607098 h 1698899"/>
                <a:gd name="connsiteX56" fmla="*/ 1120136 w 1881147"/>
                <a:gd name="connsiteY56" fmla="*/ 1698617 h 1698899"/>
                <a:gd name="connsiteX57" fmla="*/ 1151034 w 1881147"/>
                <a:gd name="connsiteY57" fmla="*/ 1635526 h 1698899"/>
                <a:gd name="connsiteX58" fmla="*/ 1181693 w 1881147"/>
                <a:gd name="connsiteY58" fmla="*/ 1629046 h 1698899"/>
                <a:gd name="connsiteX59" fmla="*/ 1224792 w 1881147"/>
                <a:gd name="connsiteY59" fmla="*/ 1658309 h 1698899"/>
                <a:gd name="connsiteX60" fmla="*/ 1258367 w 1881147"/>
                <a:gd name="connsiteY60" fmla="*/ 1617655 h 1698899"/>
                <a:gd name="connsiteX61" fmla="*/ 1277188 w 1881147"/>
                <a:gd name="connsiteY61" fmla="*/ 1622272 h 1698899"/>
                <a:gd name="connsiteX62" fmla="*/ 1311230 w 1881147"/>
                <a:gd name="connsiteY62" fmla="*/ 1688749 h 1698899"/>
                <a:gd name="connsiteX63" fmla="*/ 1367786 w 1881147"/>
                <a:gd name="connsiteY63" fmla="*/ 1665280 h 1698899"/>
                <a:gd name="connsiteX64" fmla="*/ 1419818 w 1881147"/>
                <a:gd name="connsiteY64" fmla="*/ 1609159 h 1698899"/>
                <a:gd name="connsiteX65" fmla="*/ 1470595 w 1881147"/>
                <a:gd name="connsiteY65" fmla="*/ 1592616 h 1698899"/>
                <a:gd name="connsiteX66" fmla="*/ 1488274 w 1881147"/>
                <a:gd name="connsiteY66" fmla="*/ 1648438 h 1698899"/>
                <a:gd name="connsiteX67" fmla="*/ 1558169 w 1881147"/>
                <a:gd name="connsiteY67" fmla="*/ 1622760 h 1698899"/>
                <a:gd name="connsiteX68" fmla="*/ 1588947 w 1881147"/>
                <a:gd name="connsiteY68" fmla="*/ 1536004 h 1698899"/>
                <a:gd name="connsiteX69" fmla="*/ 1670383 w 1881147"/>
                <a:gd name="connsiteY69" fmla="*/ 1445862 h 1698899"/>
                <a:gd name="connsiteX70" fmla="*/ 1714974 w 1881147"/>
                <a:gd name="connsiteY70" fmla="*/ 1414732 h 1698899"/>
                <a:gd name="connsiteX71" fmla="*/ 1743343 w 1881147"/>
                <a:gd name="connsiteY71" fmla="*/ 1418027 h 1698899"/>
                <a:gd name="connsiteX72" fmla="*/ 1820935 w 1881147"/>
                <a:gd name="connsiteY72" fmla="*/ 1407419 h 1698899"/>
                <a:gd name="connsiteX73" fmla="*/ 1816054 w 1881147"/>
                <a:gd name="connsiteY73" fmla="*/ 1460983 h 1698899"/>
                <a:gd name="connsiteX74" fmla="*/ 1874221 w 1881147"/>
                <a:gd name="connsiteY74" fmla="*/ 1484304 h 1698899"/>
                <a:gd name="connsiteX75" fmla="*/ 1875829 w 1881147"/>
                <a:gd name="connsiteY75" fmla="*/ 1461670 h 1698899"/>
                <a:gd name="connsiteX76" fmla="*/ 1875051 w 1881147"/>
                <a:gd name="connsiteY76" fmla="*/ 1400936 h 1698899"/>
                <a:gd name="connsiteX77" fmla="*/ 1853086 w 1881147"/>
                <a:gd name="connsiteY77" fmla="*/ 1310793 h 1698899"/>
                <a:gd name="connsiteX78" fmla="*/ 1853086 w 1881147"/>
                <a:gd name="connsiteY78" fmla="*/ 1253643 h 1698899"/>
                <a:gd name="connsiteX79" fmla="*/ 1810224 w 1881147"/>
                <a:gd name="connsiteY79" fmla="*/ 1244118 h 1698899"/>
                <a:gd name="connsiteX80" fmla="*/ 1734024 w 1881147"/>
                <a:gd name="connsiteY80" fmla="*/ 1163155 h 1698899"/>
                <a:gd name="connsiteX81" fmla="*/ 1695924 w 1881147"/>
                <a:gd name="connsiteY81" fmla="*/ 982180 h 1698899"/>
                <a:gd name="connsiteX82" fmla="*/ 1643536 w 1881147"/>
                <a:gd name="connsiteY82" fmla="*/ 948843 h 1698899"/>
                <a:gd name="connsiteX83" fmla="*/ 1605436 w 1881147"/>
                <a:gd name="connsiteY83" fmla="*/ 891693 h 1698899"/>
                <a:gd name="connsiteX84" fmla="*/ 1557811 w 1881147"/>
                <a:gd name="connsiteY84" fmla="*/ 844068 h 1698899"/>
                <a:gd name="connsiteX85" fmla="*/ 1505424 w 1881147"/>
                <a:gd name="connsiteY85" fmla="*/ 825018 h 1698899"/>
                <a:gd name="connsiteX86" fmla="*/ 1453036 w 1881147"/>
                <a:gd name="connsiteY86" fmla="*/ 820255 h 1698899"/>
                <a:gd name="connsiteX87" fmla="*/ 1510186 w 1881147"/>
                <a:gd name="connsiteY87" fmla="*/ 786918 h 1698899"/>
                <a:gd name="connsiteX88" fmla="*/ 1476849 w 1881147"/>
                <a:gd name="connsiteY88" fmla="*/ 753580 h 1698899"/>
                <a:gd name="connsiteX89" fmla="*/ 1481611 w 1881147"/>
                <a:gd name="connsiteY89" fmla="*/ 729768 h 1698899"/>
                <a:gd name="connsiteX90" fmla="*/ 1572099 w 1881147"/>
                <a:gd name="connsiteY90" fmla="*/ 767868 h 1698899"/>
                <a:gd name="connsiteX91" fmla="*/ 1624486 w 1881147"/>
                <a:gd name="connsiteY91" fmla="*/ 701193 h 1698899"/>
                <a:gd name="connsiteX92" fmla="*/ 1622283 w 1881147"/>
                <a:gd name="connsiteY92" fmla="*/ 558318 h 1698899"/>
                <a:gd name="connsiteX93" fmla="*/ 1639486 w 1881147"/>
                <a:gd name="connsiteY93" fmla="*/ 409992 h 1698899"/>
                <a:gd name="connsiteX0" fmla="*/ 1639486 w 1881147"/>
                <a:gd name="connsiteY0" fmla="*/ 410565 h 1699472"/>
                <a:gd name="connsiteX1" fmla="*/ 1567336 w 1881147"/>
                <a:gd name="connsiteY1" fmla="*/ 377916 h 1699472"/>
                <a:gd name="connsiteX2" fmla="*/ 1477087 w 1881147"/>
                <a:gd name="connsiteY2" fmla="*/ 354103 h 1699472"/>
                <a:gd name="connsiteX3" fmla="*/ 1423767 w 1881147"/>
                <a:gd name="connsiteY3" fmla="*/ 277019 h 1699472"/>
                <a:gd name="connsiteX4" fmla="*/ 1395785 w 1881147"/>
                <a:gd name="connsiteY4" fmla="*/ 175174 h 1699472"/>
                <a:gd name="connsiteX5" fmla="*/ 1364769 w 1881147"/>
                <a:gd name="connsiteY5" fmla="*/ 7112 h 1699472"/>
                <a:gd name="connsiteX6" fmla="*/ 1282757 w 1881147"/>
                <a:gd name="connsiteY6" fmla="*/ 43704 h 1699472"/>
                <a:gd name="connsiteX7" fmla="*/ 1275927 w 1881147"/>
                <a:gd name="connsiteY7" fmla="*/ 157546 h 1699472"/>
                <a:gd name="connsiteX8" fmla="*/ 1214911 w 1881147"/>
                <a:gd name="connsiteY8" fmla="*/ 163603 h 1699472"/>
                <a:gd name="connsiteX9" fmla="*/ 1186336 w 1881147"/>
                <a:gd name="connsiteY9" fmla="*/ 192178 h 1699472"/>
                <a:gd name="connsiteX10" fmla="*/ 1176811 w 1881147"/>
                <a:gd name="connsiteY10" fmla="*/ 263616 h 1699472"/>
                <a:gd name="connsiteX11" fmla="*/ 1114899 w 1881147"/>
                <a:gd name="connsiteY11" fmla="*/ 306478 h 1699472"/>
                <a:gd name="connsiteX12" fmla="*/ 1005361 w 1881147"/>
                <a:gd name="connsiteY12" fmla="*/ 320766 h 1699472"/>
                <a:gd name="connsiteX13" fmla="*/ 962499 w 1881147"/>
                <a:gd name="connsiteY13" fmla="*/ 363628 h 1699472"/>
                <a:gd name="connsiteX14" fmla="*/ 838674 w 1881147"/>
                <a:gd name="connsiteY14" fmla="*/ 363628 h 1699472"/>
                <a:gd name="connsiteX15" fmla="*/ 781524 w 1881147"/>
                <a:gd name="connsiteY15" fmla="*/ 435066 h 1699472"/>
                <a:gd name="connsiteX16" fmla="*/ 781524 w 1881147"/>
                <a:gd name="connsiteY16" fmla="*/ 468403 h 1699472"/>
                <a:gd name="connsiteX17" fmla="*/ 743424 w 1881147"/>
                <a:gd name="connsiteY17" fmla="*/ 492216 h 1699472"/>
                <a:gd name="connsiteX18" fmla="*/ 671986 w 1881147"/>
                <a:gd name="connsiteY18" fmla="*/ 425541 h 1699472"/>
                <a:gd name="connsiteX19" fmla="*/ 519586 w 1881147"/>
                <a:gd name="connsiteY19" fmla="*/ 420778 h 1699472"/>
                <a:gd name="connsiteX20" fmla="*/ 457674 w 1881147"/>
                <a:gd name="connsiteY20" fmla="*/ 439828 h 1699472"/>
                <a:gd name="connsiteX21" fmla="*/ 419574 w 1881147"/>
                <a:gd name="connsiteY21" fmla="*/ 425541 h 1699472"/>
                <a:gd name="connsiteX22" fmla="*/ 400524 w 1881147"/>
                <a:gd name="connsiteY22" fmla="*/ 363628 h 1699472"/>
                <a:gd name="connsiteX23" fmla="*/ 333849 w 1881147"/>
                <a:gd name="connsiteY23" fmla="*/ 311241 h 1699472"/>
                <a:gd name="connsiteX24" fmla="*/ 286224 w 1881147"/>
                <a:gd name="connsiteY24" fmla="*/ 244566 h 1699472"/>
                <a:gd name="connsiteX25" fmla="*/ 143349 w 1881147"/>
                <a:gd name="connsiteY25" fmla="*/ 263616 h 1699472"/>
                <a:gd name="connsiteX26" fmla="*/ 124299 w 1881147"/>
                <a:gd name="connsiteY26" fmla="*/ 339816 h 1699472"/>
                <a:gd name="connsiteX27" fmla="*/ 110011 w 1881147"/>
                <a:gd name="connsiteY27" fmla="*/ 373153 h 1699472"/>
                <a:gd name="connsiteX28" fmla="*/ 133824 w 1881147"/>
                <a:gd name="connsiteY28" fmla="*/ 420778 h 1699472"/>
                <a:gd name="connsiteX29" fmla="*/ 81436 w 1881147"/>
                <a:gd name="connsiteY29" fmla="*/ 458878 h 1699472"/>
                <a:gd name="connsiteX30" fmla="*/ 33811 w 1881147"/>
                <a:gd name="connsiteY30" fmla="*/ 454116 h 1699472"/>
                <a:gd name="connsiteX31" fmla="*/ 33811 w 1881147"/>
                <a:gd name="connsiteY31" fmla="*/ 525553 h 1699472"/>
                <a:gd name="connsiteX32" fmla="*/ 474 w 1881147"/>
                <a:gd name="connsiteY32" fmla="*/ 630328 h 1699472"/>
                <a:gd name="connsiteX33" fmla="*/ 62386 w 1881147"/>
                <a:gd name="connsiteY33" fmla="*/ 706528 h 1699472"/>
                <a:gd name="connsiteX34" fmla="*/ 111977 w 1881147"/>
                <a:gd name="connsiteY34" fmla="*/ 686790 h 1699472"/>
                <a:gd name="connsiteX35" fmla="*/ 112334 w 1881147"/>
                <a:gd name="connsiteY35" fmla="*/ 757049 h 1699472"/>
                <a:gd name="connsiteX36" fmla="*/ 167161 w 1881147"/>
                <a:gd name="connsiteY36" fmla="*/ 787491 h 1699472"/>
                <a:gd name="connsiteX37" fmla="*/ 236159 w 1881147"/>
                <a:gd name="connsiteY37" fmla="*/ 797703 h 1699472"/>
                <a:gd name="connsiteX38" fmla="*/ 271462 w 1881147"/>
                <a:gd name="connsiteY38" fmla="*/ 853674 h 1699472"/>
                <a:gd name="connsiteX39" fmla="*/ 270869 w 1881147"/>
                <a:gd name="connsiteY39" fmla="*/ 898746 h 1699472"/>
                <a:gd name="connsiteX40" fmla="*/ 295393 w 1881147"/>
                <a:gd name="connsiteY40" fmla="*/ 938221 h 1699472"/>
                <a:gd name="connsiteX41" fmla="*/ 341051 w 1881147"/>
                <a:gd name="connsiteY41" fmla="*/ 976813 h 1699472"/>
                <a:gd name="connsiteX42" fmla="*/ 426184 w 1881147"/>
                <a:gd name="connsiteY42" fmla="*/ 1031065 h 1699472"/>
                <a:gd name="connsiteX43" fmla="*/ 461961 w 1881147"/>
                <a:gd name="connsiteY43" fmla="*/ 1102158 h 1699472"/>
                <a:gd name="connsiteX44" fmla="*/ 441064 w 1881147"/>
                <a:gd name="connsiteY44" fmla="*/ 1171731 h 1699472"/>
                <a:gd name="connsiteX45" fmla="*/ 519111 w 1881147"/>
                <a:gd name="connsiteY45" fmla="*/ 1228194 h 1699472"/>
                <a:gd name="connsiteX46" fmla="*/ 591143 w 1881147"/>
                <a:gd name="connsiteY46" fmla="*/ 1261188 h 1699472"/>
                <a:gd name="connsiteX47" fmla="*/ 571974 w 1881147"/>
                <a:gd name="connsiteY47" fmla="*/ 1320891 h 1699472"/>
                <a:gd name="connsiteX48" fmla="*/ 662461 w 1881147"/>
                <a:gd name="connsiteY48" fmla="*/ 1473291 h 1699472"/>
                <a:gd name="connsiteX49" fmla="*/ 755271 w 1881147"/>
                <a:gd name="connsiteY49" fmla="*/ 1546445 h 1699472"/>
                <a:gd name="connsiteX50" fmla="*/ 805336 w 1881147"/>
                <a:gd name="connsiteY50" fmla="*/ 1497103 h 1699472"/>
                <a:gd name="connsiteX51" fmla="*/ 869926 w 1881147"/>
                <a:gd name="connsiteY51" fmla="*/ 1524500 h 1699472"/>
                <a:gd name="connsiteX52" fmla="*/ 924399 w 1881147"/>
                <a:gd name="connsiteY52" fmla="*/ 1492341 h 1699472"/>
                <a:gd name="connsiteX53" fmla="*/ 941246 w 1881147"/>
                <a:gd name="connsiteY53" fmla="*/ 1450165 h 1699472"/>
                <a:gd name="connsiteX54" fmla="*/ 1005123 w 1881147"/>
                <a:gd name="connsiteY54" fmla="*/ 1536577 h 1699472"/>
                <a:gd name="connsiteX55" fmla="*/ 1050190 w 1881147"/>
                <a:gd name="connsiteY55" fmla="*/ 1607671 h 1699472"/>
                <a:gd name="connsiteX56" fmla="*/ 1120136 w 1881147"/>
                <a:gd name="connsiteY56" fmla="*/ 1699190 h 1699472"/>
                <a:gd name="connsiteX57" fmla="*/ 1151034 w 1881147"/>
                <a:gd name="connsiteY57" fmla="*/ 1636099 h 1699472"/>
                <a:gd name="connsiteX58" fmla="*/ 1181693 w 1881147"/>
                <a:gd name="connsiteY58" fmla="*/ 1629619 h 1699472"/>
                <a:gd name="connsiteX59" fmla="*/ 1224792 w 1881147"/>
                <a:gd name="connsiteY59" fmla="*/ 1658882 h 1699472"/>
                <a:gd name="connsiteX60" fmla="*/ 1258367 w 1881147"/>
                <a:gd name="connsiteY60" fmla="*/ 1618228 h 1699472"/>
                <a:gd name="connsiteX61" fmla="*/ 1277188 w 1881147"/>
                <a:gd name="connsiteY61" fmla="*/ 1622845 h 1699472"/>
                <a:gd name="connsiteX62" fmla="*/ 1311230 w 1881147"/>
                <a:gd name="connsiteY62" fmla="*/ 1689322 h 1699472"/>
                <a:gd name="connsiteX63" fmla="*/ 1367786 w 1881147"/>
                <a:gd name="connsiteY63" fmla="*/ 1665853 h 1699472"/>
                <a:gd name="connsiteX64" fmla="*/ 1419818 w 1881147"/>
                <a:gd name="connsiteY64" fmla="*/ 1609732 h 1699472"/>
                <a:gd name="connsiteX65" fmla="*/ 1470595 w 1881147"/>
                <a:gd name="connsiteY65" fmla="*/ 1593189 h 1699472"/>
                <a:gd name="connsiteX66" fmla="*/ 1488274 w 1881147"/>
                <a:gd name="connsiteY66" fmla="*/ 1649011 h 1699472"/>
                <a:gd name="connsiteX67" fmla="*/ 1558169 w 1881147"/>
                <a:gd name="connsiteY67" fmla="*/ 1623333 h 1699472"/>
                <a:gd name="connsiteX68" fmla="*/ 1588947 w 1881147"/>
                <a:gd name="connsiteY68" fmla="*/ 1536577 h 1699472"/>
                <a:gd name="connsiteX69" fmla="*/ 1670383 w 1881147"/>
                <a:gd name="connsiteY69" fmla="*/ 1446435 h 1699472"/>
                <a:gd name="connsiteX70" fmla="*/ 1714974 w 1881147"/>
                <a:gd name="connsiteY70" fmla="*/ 1415305 h 1699472"/>
                <a:gd name="connsiteX71" fmla="*/ 1743343 w 1881147"/>
                <a:gd name="connsiteY71" fmla="*/ 1418600 h 1699472"/>
                <a:gd name="connsiteX72" fmla="*/ 1820935 w 1881147"/>
                <a:gd name="connsiteY72" fmla="*/ 1407992 h 1699472"/>
                <a:gd name="connsiteX73" fmla="*/ 1816054 w 1881147"/>
                <a:gd name="connsiteY73" fmla="*/ 1461556 h 1699472"/>
                <a:gd name="connsiteX74" fmla="*/ 1874221 w 1881147"/>
                <a:gd name="connsiteY74" fmla="*/ 1484877 h 1699472"/>
                <a:gd name="connsiteX75" fmla="*/ 1875829 w 1881147"/>
                <a:gd name="connsiteY75" fmla="*/ 1462243 h 1699472"/>
                <a:gd name="connsiteX76" fmla="*/ 1875051 w 1881147"/>
                <a:gd name="connsiteY76" fmla="*/ 1401509 h 1699472"/>
                <a:gd name="connsiteX77" fmla="*/ 1853086 w 1881147"/>
                <a:gd name="connsiteY77" fmla="*/ 1311366 h 1699472"/>
                <a:gd name="connsiteX78" fmla="*/ 1853086 w 1881147"/>
                <a:gd name="connsiteY78" fmla="*/ 1254216 h 1699472"/>
                <a:gd name="connsiteX79" fmla="*/ 1810224 w 1881147"/>
                <a:gd name="connsiteY79" fmla="*/ 1244691 h 1699472"/>
                <a:gd name="connsiteX80" fmla="*/ 1734024 w 1881147"/>
                <a:gd name="connsiteY80" fmla="*/ 1163728 h 1699472"/>
                <a:gd name="connsiteX81" fmla="*/ 1695924 w 1881147"/>
                <a:gd name="connsiteY81" fmla="*/ 982753 h 1699472"/>
                <a:gd name="connsiteX82" fmla="*/ 1643536 w 1881147"/>
                <a:gd name="connsiteY82" fmla="*/ 949416 h 1699472"/>
                <a:gd name="connsiteX83" fmla="*/ 1605436 w 1881147"/>
                <a:gd name="connsiteY83" fmla="*/ 892266 h 1699472"/>
                <a:gd name="connsiteX84" fmla="*/ 1557811 w 1881147"/>
                <a:gd name="connsiteY84" fmla="*/ 844641 h 1699472"/>
                <a:gd name="connsiteX85" fmla="*/ 1505424 w 1881147"/>
                <a:gd name="connsiteY85" fmla="*/ 825591 h 1699472"/>
                <a:gd name="connsiteX86" fmla="*/ 1453036 w 1881147"/>
                <a:gd name="connsiteY86" fmla="*/ 820828 h 1699472"/>
                <a:gd name="connsiteX87" fmla="*/ 1510186 w 1881147"/>
                <a:gd name="connsiteY87" fmla="*/ 787491 h 1699472"/>
                <a:gd name="connsiteX88" fmla="*/ 1476849 w 1881147"/>
                <a:gd name="connsiteY88" fmla="*/ 754153 h 1699472"/>
                <a:gd name="connsiteX89" fmla="*/ 1481611 w 1881147"/>
                <a:gd name="connsiteY89" fmla="*/ 730341 h 1699472"/>
                <a:gd name="connsiteX90" fmla="*/ 1572099 w 1881147"/>
                <a:gd name="connsiteY90" fmla="*/ 768441 h 1699472"/>
                <a:gd name="connsiteX91" fmla="*/ 1624486 w 1881147"/>
                <a:gd name="connsiteY91" fmla="*/ 701766 h 1699472"/>
                <a:gd name="connsiteX92" fmla="*/ 1622283 w 1881147"/>
                <a:gd name="connsiteY92" fmla="*/ 558891 h 1699472"/>
                <a:gd name="connsiteX93" fmla="*/ 1639486 w 1881147"/>
                <a:gd name="connsiteY93" fmla="*/ 410565 h 1699472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9649 h 1698556"/>
                <a:gd name="connsiteX1" fmla="*/ 1567336 w 1881147"/>
                <a:gd name="connsiteY1" fmla="*/ 377000 h 1698556"/>
                <a:gd name="connsiteX2" fmla="*/ 1477087 w 1881147"/>
                <a:gd name="connsiteY2" fmla="*/ 353187 h 1698556"/>
                <a:gd name="connsiteX3" fmla="*/ 1423767 w 1881147"/>
                <a:gd name="connsiteY3" fmla="*/ 276103 h 1698556"/>
                <a:gd name="connsiteX4" fmla="*/ 1395785 w 1881147"/>
                <a:gd name="connsiteY4" fmla="*/ 174258 h 1698556"/>
                <a:gd name="connsiteX5" fmla="*/ 1364769 w 1881147"/>
                <a:gd name="connsiteY5" fmla="*/ 6196 h 1698556"/>
                <a:gd name="connsiteX6" fmla="*/ 1282757 w 1881147"/>
                <a:gd name="connsiteY6" fmla="*/ 42788 h 1698556"/>
                <a:gd name="connsiteX7" fmla="*/ 1291832 w 1881147"/>
                <a:gd name="connsiteY7" fmla="*/ 105417 h 1698556"/>
                <a:gd name="connsiteX8" fmla="*/ 1275927 w 1881147"/>
                <a:gd name="connsiteY8" fmla="*/ 156630 h 1698556"/>
                <a:gd name="connsiteX9" fmla="*/ 1214911 w 1881147"/>
                <a:gd name="connsiteY9" fmla="*/ 162687 h 1698556"/>
                <a:gd name="connsiteX10" fmla="*/ 1186336 w 1881147"/>
                <a:gd name="connsiteY10" fmla="*/ 191262 h 1698556"/>
                <a:gd name="connsiteX11" fmla="*/ 1176811 w 1881147"/>
                <a:gd name="connsiteY11" fmla="*/ 262700 h 1698556"/>
                <a:gd name="connsiteX12" fmla="*/ 1114899 w 1881147"/>
                <a:gd name="connsiteY12" fmla="*/ 305562 h 1698556"/>
                <a:gd name="connsiteX13" fmla="*/ 1005361 w 1881147"/>
                <a:gd name="connsiteY13" fmla="*/ 319850 h 1698556"/>
                <a:gd name="connsiteX14" fmla="*/ 962499 w 1881147"/>
                <a:gd name="connsiteY14" fmla="*/ 362712 h 1698556"/>
                <a:gd name="connsiteX15" fmla="*/ 838674 w 1881147"/>
                <a:gd name="connsiteY15" fmla="*/ 362712 h 1698556"/>
                <a:gd name="connsiteX16" fmla="*/ 781524 w 1881147"/>
                <a:gd name="connsiteY16" fmla="*/ 434150 h 1698556"/>
                <a:gd name="connsiteX17" fmla="*/ 781524 w 1881147"/>
                <a:gd name="connsiteY17" fmla="*/ 467487 h 1698556"/>
                <a:gd name="connsiteX18" fmla="*/ 743424 w 1881147"/>
                <a:gd name="connsiteY18" fmla="*/ 491300 h 1698556"/>
                <a:gd name="connsiteX19" fmla="*/ 671986 w 1881147"/>
                <a:gd name="connsiteY19" fmla="*/ 424625 h 1698556"/>
                <a:gd name="connsiteX20" fmla="*/ 519586 w 1881147"/>
                <a:gd name="connsiteY20" fmla="*/ 419862 h 1698556"/>
                <a:gd name="connsiteX21" fmla="*/ 457674 w 1881147"/>
                <a:gd name="connsiteY21" fmla="*/ 438912 h 1698556"/>
                <a:gd name="connsiteX22" fmla="*/ 419574 w 1881147"/>
                <a:gd name="connsiteY22" fmla="*/ 424625 h 1698556"/>
                <a:gd name="connsiteX23" fmla="*/ 400524 w 1881147"/>
                <a:gd name="connsiteY23" fmla="*/ 362712 h 1698556"/>
                <a:gd name="connsiteX24" fmla="*/ 333849 w 1881147"/>
                <a:gd name="connsiteY24" fmla="*/ 310325 h 1698556"/>
                <a:gd name="connsiteX25" fmla="*/ 286224 w 1881147"/>
                <a:gd name="connsiteY25" fmla="*/ 243650 h 1698556"/>
                <a:gd name="connsiteX26" fmla="*/ 143349 w 1881147"/>
                <a:gd name="connsiteY26" fmla="*/ 262700 h 1698556"/>
                <a:gd name="connsiteX27" fmla="*/ 124299 w 1881147"/>
                <a:gd name="connsiteY27" fmla="*/ 338900 h 1698556"/>
                <a:gd name="connsiteX28" fmla="*/ 110011 w 1881147"/>
                <a:gd name="connsiteY28" fmla="*/ 372237 h 1698556"/>
                <a:gd name="connsiteX29" fmla="*/ 133824 w 1881147"/>
                <a:gd name="connsiteY29" fmla="*/ 419862 h 1698556"/>
                <a:gd name="connsiteX30" fmla="*/ 81436 w 1881147"/>
                <a:gd name="connsiteY30" fmla="*/ 457962 h 1698556"/>
                <a:gd name="connsiteX31" fmla="*/ 33811 w 1881147"/>
                <a:gd name="connsiteY31" fmla="*/ 453200 h 1698556"/>
                <a:gd name="connsiteX32" fmla="*/ 33811 w 1881147"/>
                <a:gd name="connsiteY32" fmla="*/ 524637 h 1698556"/>
                <a:gd name="connsiteX33" fmla="*/ 474 w 1881147"/>
                <a:gd name="connsiteY33" fmla="*/ 629412 h 1698556"/>
                <a:gd name="connsiteX34" fmla="*/ 62386 w 1881147"/>
                <a:gd name="connsiteY34" fmla="*/ 705612 h 1698556"/>
                <a:gd name="connsiteX35" fmla="*/ 111977 w 1881147"/>
                <a:gd name="connsiteY35" fmla="*/ 685874 h 1698556"/>
                <a:gd name="connsiteX36" fmla="*/ 112334 w 1881147"/>
                <a:gd name="connsiteY36" fmla="*/ 756133 h 1698556"/>
                <a:gd name="connsiteX37" fmla="*/ 167161 w 1881147"/>
                <a:gd name="connsiteY37" fmla="*/ 786575 h 1698556"/>
                <a:gd name="connsiteX38" fmla="*/ 236159 w 1881147"/>
                <a:gd name="connsiteY38" fmla="*/ 796787 h 1698556"/>
                <a:gd name="connsiteX39" fmla="*/ 271462 w 1881147"/>
                <a:gd name="connsiteY39" fmla="*/ 852758 h 1698556"/>
                <a:gd name="connsiteX40" fmla="*/ 270869 w 1881147"/>
                <a:gd name="connsiteY40" fmla="*/ 897830 h 1698556"/>
                <a:gd name="connsiteX41" fmla="*/ 295393 w 1881147"/>
                <a:gd name="connsiteY41" fmla="*/ 937305 h 1698556"/>
                <a:gd name="connsiteX42" fmla="*/ 341051 w 1881147"/>
                <a:gd name="connsiteY42" fmla="*/ 975897 h 1698556"/>
                <a:gd name="connsiteX43" fmla="*/ 426184 w 1881147"/>
                <a:gd name="connsiteY43" fmla="*/ 1030149 h 1698556"/>
                <a:gd name="connsiteX44" fmla="*/ 461961 w 1881147"/>
                <a:gd name="connsiteY44" fmla="*/ 1101242 h 1698556"/>
                <a:gd name="connsiteX45" fmla="*/ 441064 w 1881147"/>
                <a:gd name="connsiteY45" fmla="*/ 1170815 h 1698556"/>
                <a:gd name="connsiteX46" fmla="*/ 519111 w 1881147"/>
                <a:gd name="connsiteY46" fmla="*/ 1227278 h 1698556"/>
                <a:gd name="connsiteX47" fmla="*/ 591143 w 1881147"/>
                <a:gd name="connsiteY47" fmla="*/ 1260272 h 1698556"/>
                <a:gd name="connsiteX48" fmla="*/ 571974 w 1881147"/>
                <a:gd name="connsiteY48" fmla="*/ 1319975 h 1698556"/>
                <a:gd name="connsiteX49" fmla="*/ 662461 w 1881147"/>
                <a:gd name="connsiteY49" fmla="*/ 1472375 h 1698556"/>
                <a:gd name="connsiteX50" fmla="*/ 755271 w 1881147"/>
                <a:gd name="connsiteY50" fmla="*/ 1545529 h 1698556"/>
                <a:gd name="connsiteX51" fmla="*/ 805336 w 1881147"/>
                <a:gd name="connsiteY51" fmla="*/ 1496187 h 1698556"/>
                <a:gd name="connsiteX52" fmla="*/ 869926 w 1881147"/>
                <a:gd name="connsiteY52" fmla="*/ 1523584 h 1698556"/>
                <a:gd name="connsiteX53" fmla="*/ 924399 w 1881147"/>
                <a:gd name="connsiteY53" fmla="*/ 1491425 h 1698556"/>
                <a:gd name="connsiteX54" fmla="*/ 941246 w 1881147"/>
                <a:gd name="connsiteY54" fmla="*/ 1449249 h 1698556"/>
                <a:gd name="connsiteX55" fmla="*/ 1005123 w 1881147"/>
                <a:gd name="connsiteY55" fmla="*/ 1535661 h 1698556"/>
                <a:gd name="connsiteX56" fmla="*/ 1050190 w 1881147"/>
                <a:gd name="connsiteY56" fmla="*/ 1606755 h 1698556"/>
                <a:gd name="connsiteX57" fmla="*/ 1120136 w 1881147"/>
                <a:gd name="connsiteY57" fmla="*/ 1698274 h 1698556"/>
                <a:gd name="connsiteX58" fmla="*/ 1151034 w 1881147"/>
                <a:gd name="connsiteY58" fmla="*/ 1635183 h 1698556"/>
                <a:gd name="connsiteX59" fmla="*/ 1181693 w 1881147"/>
                <a:gd name="connsiteY59" fmla="*/ 1628703 h 1698556"/>
                <a:gd name="connsiteX60" fmla="*/ 1224792 w 1881147"/>
                <a:gd name="connsiteY60" fmla="*/ 1657966 h 1698556"/>
                <a:gd name="connsiteX61" fmla="*/ 1258367 w 1881147"/>
                <a:gd name="connsiteY61" fmla="*/ 1617312 h 1698556"/>
                <a:gd name="connsiteX62" fmla="*/ 1277188 w 1881147"/>
                <a:gd name="connsiteY62" fmla="*/ 1621929 h 1698556"/>
                <a:gd name="connsiteX63" fmla="*/ 1311230 w 1881147"/>
                <a:gd name="connsiteY63" fmla="*/ 1688406 h 1698556"/>
                <a:gd name="connsiteX64" fmla="*/ 1367786 w 1881147"/>
                <a:gd name="connsiteY64" fmla="*/ 1664937 h 1698556"/>
                <a:gd name="connsiteX65" fmla="*/ 1419818 w 1881147"/>
                <a:gd name="connsiteY65" fmla="*/ 1608816 h 1698556"/>
                <a:gd name="connsiteX66" fmla="*/ 1470595 w 1881147"/>
                <a:gd name="connsiteY66" fmla="*/ 1592273 h 1698556"/>
                <a:gd name="connsiteX67" fmla="*/ 1488274 w 1881147"/>
                <a:gd name="connsiteY67" fmla="*/ 1648095 h 1698556"/>
                <a:gd name="connsiteX68" fmla="*/ 1558169 w 1881147"/>
                <a:gd name="connsiteY68" fmla="*/ 1622417 h 1698556"/>
                <a:gd name="connsiteX69" fmla="*/ 1588947 w 1881147"/>
                <a:gd name="connsiteY69" fmla="*/ 1535661 h 1698556"/>
                <a:gd name="connsiteX70" fmla="*/ 1670383 w 1881147"/>
                <a:gd name="connsiteY70" fmla="*/ 1445519 h 1698556"/>
                <a:gd name="connsiteX71" fmla="*/ 1714974 w 1881147"/>
                <a:gd name="connsiteY71" fmla="*/ 1414389 h 1698556"/>
                <a:gd name="connsiteX72" fmla="*/ 1743343 w 1881147"/>
                <a:gd name="connsiteY72" fmla="*/ 1417684 h 1698556"/>
                <a:gd name="connsiteX73" fmla="*/ 1820935 w 1881147"/>
                <a:gd name="connsiteY73" fmla="*/ 1407076 h 1698556"/>
                <a:gd name="connsiteX74" fmla="*/ 1816054 w 1881147"/>
                <a:gd name="connsiteY74" fmla="*/ 1460640 h 1698556"/>
                <a:gd name="connsiteX75" fmla="*/ 1874221 w 1881147"/>
                <a:gd name="connsiteY75" fmla="*/ 1483961 h 1698556"/>
                <a:gd name="connsiteX76" fmla="*/ 1875829 w 1881147"/>
                <a:gd name="connsiteY76" fmla="*/ 1461327 h 1698556"/>
                <a:gd name="connsiteX77" fmla="*/ 1875051 w 1881147"/>
                <a:gd name="connsiteY77" fmla="*/ 1400593 h 1698556"/>
                <a:gd name="connsiteX78" fmla="*/ 1853086 w 1881147"/>
                <a:gd name="connsiteY78" fmla="*/ 1310450 h 1698556"/>
                <a:gd name="connsiteX79" fmla="*/ 1853086 w 1881147"/>
                <a:gd name="connsiteY79" fmla="*/ 1253300 h 1698556"/>
                <a:gd name="connsiteX80" fmla="*/ 1810224 w 1881147"/>
                <a:gd name="connsiteY80" fmla="*/ 1243775 h 1698556"/>
                <a:gd name="connsiteX81" fmla="*/ 1734024 w 1881147"/>
                <a:gd name="connsiteY81" fmla="*/ 1162812 h 1698556"/>
                <a:gd name="connsiteX82" fmla="*/ 1695924 w 1881147"/>
                <a:gd name="connsiteY82" fmla="*/ 981837 h 1698556"/>
                <a:gd name="connsiteX83" fmla="*/ 1643536 w 1881147"/>
                <a:gd name="connsiteY83" fmla="*/ 948500 h 1698556"/>
                <a:gd name="connsiteX84" fmla="*/ 1605436 w 1881147"/>
                <a:gd name="connsiteY84" fmla="*/ 891350 h 1698556"/>
                <a:gd name="connsiteX85" fmla="*/ 1557811 w 1881147"/>
                <a:gd name="connsiteY85" fmla="*/ 843725 h 1698556"/>
                <a:gd name="connsiteX86" fmla="*/ 1505424 w 1881147"/>
                <a:gd name="connsiteY86" fmla="*/ 824675 h 1698556"/>
                <a:gd name="connsiteX87" fmla="*/ 1453036 w 1881147"/>
                <a:gd name="connsiteY87" fmla="*/ 819912 h 1698556"/>
                <a:gd name="connsiteX88" fmla="*/ 1510186 w 1881147"/>
                <a:gd name="connsiteY88" fmla="*/ 786575 h 1698556"/>
                <a:gd name="connsiteX89" fmla="*/ 1476849 w 1881147"/>
                <a:gd name="connsiteY89" fmla="*/ 753237 h 1698556"/>
                <a:gd name="connsiteX90" fmla="*/ 1481611 w 1881147"/>
                <a:gd name="connsiteY90" fmla="*/ 729425 h 1698556"/>
                <a:gd name="connsiteX91" fmla="*/ 1572099 w 1881147"/>
                <a:gd name="connsiteY91" fmla="*/ 767525 h 1698556"/>
                <a:gd name="connsiteX92" fmla="*/ 1624486 w 1881147"/>
                <a:gd name="connsiteY92" fmla="*/ 700850 h 1698556"/>
                <a:gd name="connsiteX93" fmla="*/ 1622283 w 1881147"/>
                <a:gd name="connsiteY93" fmla="*/ 557975 h 1698556"/>
                <a:gd name="connsiteX94" fmla="*/ 1639486 w 1881147"/>
                <a:gd name="connsiteY94" fmla="*/ 409649 h 1698556"/>
                <a:gd name="connsiteX0" fmla="*/ 1639486 w 1881147"/>
                <a:gd name="connsiteY0" fmla="*/ 411844 h 1700751"/>
                <a:gd name="connsiteX1" fmla="*/ 1567336 w 1881147"/>
                <a:gd name="connsiteY1" fmla="*/ 379195 h 1700751"/>
                <a:gd name="connsiteX2" fmla="*/ 1477087 w 1881147"/>
                <a:gd name="connsiteY2" fmla="*/ 355382 h 1700751"/>
                <a:gd name="connsiteX3" fmla="*/ 1423767 w 1881147"/>
                <a:gd name="connsiteY3" fmla="*/ 278298 h 1700751"/>
                <a:gd name="connsiteX4" fmla="*/ 1395785 w 1881147"/>
                <a:gd name="connsiteY4" fmla="*/ 176453 h 1700751"/>
                <a:gd name="connsiteX5" fmla="*/ 1364769 w 1881147"/>
                <a:gd name="connsiteY5" fmla="*/ 8391 h 1700751"/>
                <a:gd name="connsiteX6" fmla="*/ 1282757 w 1881147"/>
                <a:gd name="connsiteY6" fmla="*/ 44983 h 1700751"/>
                <a:gd name="connsiteX7" fmla="*/ 1291832 w 1881147"/>
                <a:gd name="connsiteY7" fmla="*/ 107612 h 1700751"/>
                <a:gd name="connsiteX8" fmla="*/ 1275927 w 1881147"/>
                <a:gd name="connsiteY8" fmla="*/ 158825 h 1700751"/>
                <a:gd name="connsiteX9" fmla="*/ 1214911 w 1881147"/>
                <a:gd name="connsiteY9" fmla="*/ 164882 h 1700751"/>
                <a:gd name="connsiteX10" fmla="*/ 1186336 w 1881147"/>
                <a:gd name="connsiteY10" fmla="*/ 193457 h 1700751"/>
                <a:gd name="connsiteX11" fmla="*/ 1176811 w 1881147"/>
                <a:gd name="connsiteY11" fmla="*/ 264895 h 1700751"/>
                <a:gd name="connsiteX12" fmla="*/ 1114899 w 1881147"/>
                <a:gd name="connsiteY12" fmla="*/ 307757 h 1700751"/>
                <a:gd name="connsiteX13" fmla="*/ 1005361 w 1881147"/>
                <a:gd name="connsiteY13" fmla="*/ 322045 h 1700751"/>
                <a:gd name="connsiteX14" fmla="*/ 962499 w 1881147"/>
                <a:gd name="connsiteY14" fmla="*/ 364907 h 1700751"/>
                <a:gd name="connsiteX15" fmla="*/ 838674 w 1881147"/>
                <a:gd name="connsiteY15" fmla="*/ 364907 h 1700751"/>
                <a:gd name="connsiteX16" fmla="*/ 781524 w 1881147"/>
                <a:gd name="connsiteY16" fmla="*/ 436345 h 1700751"/>
                <a:gd name="connsiteX17" fmla="*/ 781524 w 1881147"/>
                <a:gd name="connsiteY17" fmla="*/ 469682 h 1700751"/>
                <a:gd name="connsiteX18" fmla="*/ 743424 w 1881147"/>
                <a:gd name="connsiteY18" fmla="*/ 493495 h 1700751"/>
                <a:gd name="connsiteX19" fmla="*/ 671986 w 1881147"/>
                <a:gd name="connsiteY19" fmla="*/ 426820 h 1700751"/>
                <a:gd name="connsiteX20" fmla="*/ 519586 w 1881147"/>
                <a:gd name="connsiteY20" fmla="*/ 422057 h 1700751"/>
                <a:gd name="connsiteX21" fmla="*/ 457674 w 1881147"/>
                <a:gd name="connsiteY21" fmla="*/ 441107 h 1700751"/>
                <a:gd name="connsiteX22" fmla="*/ 419574 w 1881147"/>
                <a:gd name="connsiteY22" fmla="*/ 426820 h 1700751"/>
                <a:gd name="connsiteX23" fmla="*/ 400524 w 1881147"/>
                <a:gd name="connsiteY23" fmla="*/ 364907 h 1700751"/>
                <a:gd name="connsiteX24" fmla="*/ 333849 w 1881147"/>
                <a:gd name="connsiteY24" fmla="*/ 312520 h 1700751"/>
                <a:gd name="connsiteX25" fmla="*/ 286224 w 1881147"/>
                <a:gd name="connsiteY25" fmla="*/ 245845 h 1700751"/>
                <a:gd name="connsiteX26" fmla="*/ 143349 w 1881147"/>
                <a:gd name="connsiteY26" fmla="*/ 264895 h 1700751"/>
                <a:gd name="connsiteX27" fmla="*/ 124299 w 1881147"/>
                <a:gd name="connsiteY27" fmla="*/ 341095 h 1700751"/>
                <a:gd name="connsiteX28" fmla="*/ 110011 w 1881147"/>
                <a:gd name="connsiteY28" fmla="*/ 374432 h 1700751"/>
                <a:gd name="connsiteX29" fmla="*/ 133824 w 1881147"/>
                <a:gd name="connsiteY29" fmla="*/ 422057 h 1700751"/>
                <a:gd name="connsiteX30" fmla="*/ 81436 w 1881147"/>
                <a:gd name="connsiteY30" fmla="*/ 460157 h 1700751"/>
                <a:gd name="connsiteX31" fmla="*/ 33811 w 1881147"/>
                <a:gd name="connsiteY31" fmla="*/ 455395 h 1700751"/>
                <a:gd name="connsiteX32" fmla="*/ 33811 w 1881147"/>
                <a:gd name="connsiteY32" fmla="*/ 526832 h 1700751"/>
                <a:gd name="connsiteX33" fmla="*/ 474 w 1881147"/>
                <a:gd name="connsiteY33" fmla="*/ 631607 h 1700751"/>
                <a:gd name="connsiteX34" fmla="*/ 62386 w 1881147"/>
                <a:gd name="connsiteY34" fmla="*/ 707807 h 1700751"/>
                <a:gd name="connsiteX35" fmla="*/ 111977 w 1881147"/>
                <a:gd name="connsiteY35" fmla="*/ 688069 h 1700751"/>
                <a:gd name="connsiteX36" fmla="*/ 112334 w 1881147"/>
                <a:gd name="connsiteY36" fmla="*/ 758328 h 1700751"/>
                <a:gd name="connsiteX37" fmla="*/ 167161 w 1881147"/>
                <a:gd name="connsiteY37" fmla="*/ 788770 h 1700751"/>
                <a:gd name="connsiteX38" fmla="*/ 236159 w 1881147"/>
                <a:gd name="connsiteY38" fmla="*/ 798982 h 1700751"/>
                <a:gd name="connsiteX39" fmla="*/ 271462 w 1881147"/>
                <a:gd name="connsiteY39" fmla="*/ 854953 h 1700751"/>
                <a:gd name="connsiteX40" fmla="*/ 270869 w 1881147"/>
                <a:gd name="connsiteY40" fmla="*/ 900025 h 1700751"/>
                <a:gd name="connsiteX41" fmla="*/ 295393 w 1881147"/>
                <a:gd name="connsiteY41" fmla="*/ 939500 h 1700751"/>
                <a:gd name="connsiteX42" fmla="*/ 341051 w 1881147"/>
                <a:gd name="connsiteY42" fmla="*/ 978092 h 1700751"/>
                <a:gd name="connsiteX43" fmla="*/ 426184 w 1881147"/>
                <a:gd name="connsiteY43" fmla="*/ 1032344 h 1700751"/>
                <a:gd name="connsiteX44" fmla="*/ 461961 w 1881147"/>
                <a:gd name="connsiteY44" fmla="*/ 1103437 h 1700751"/>
                <a:gd name="connsiteX45" fmla="*/ 441064 w 1881147"/>
                <a:gd name="connsiteY45" fmla="*/ 1173010 h 1700751"/>
                <a:gd name="connsiteX46" fmla="*/ 519111 w 1881147"/>
                <a:gd name="connsiteY46" fmla="*/ 1229473 h 1700751"/>
                <a:gd name="connsiteX47" fmla="*/ 591143 w 1881147"/>
                <a:gd name="connsiteY47" fmla="*/ 1262467 h 1700751"/>
                <a:gd name="connsiteX48" fmla="*/ 571974 w 1881147"/>
                <a:gd name="connsiteY48" fmla="*/ 1322170 h 1700751"/>
                <a:gd name="connsiteX49" fmla="*/ 662461 w 1881147"/>
                <a:gd name="connsiteY49" fmla="*/ 1474570 h 1700751"/>
                <a:gd name="connsiteX50" fmla="*/ 755271 w 1881147"/>
                <a:gd name="connsiteY50" fmla="*/ 1547724 h 1700751"/>
                <a:gd name="connsiteX51" fmla="*/ 805336 w 1881147"/>
                <a:gd name="connsiteY51" fmla="*/ 1498382 h 1700751"/>
                <a:gd name="connsiteX52" fmla="*/ 869926 w 1881147"/>
                <a:gd name="connsiteY52" fmla="*/ 1525779 h 1700751"/>
                <a:gd name="connsiteX53" fmla="*/ 924399 w 1881147"/>
                <a:gd name="connsiteY53" fmla="*/ 1493620 h 1700751"/>
                <a:gd name="connsiteX54" fmla="*/ 941246 w 1881147"/>
                <a:gd name="connsiteY54" fmla="*/ 1451444 h 1700751"/>
                <a:gd name="connsiteX55" fmla="*/ 1005123 w 1881147"/>
                <a:gd name="connsiteY55" fmla="*/ 1537856 h 1700751"/>
                <a:gd name="connsiteX56" fmla="*/ 1050190 w 1881147"/>
                <a:gd name="connsiteY56" fmla="*/ 1608950 h 1700751"/>
                <a:gd name="connsiteX57" fmla="*/ 1120136 w 1881147"/>
                <a:gd name="connsiteY57" fmla="*/ 1700469 h 1700751"/>
                <a:gd name="connsiteX58" fmla="*/ 1151034 w 1881147"/>
                <a:gd name="connsiteY58" fmla="*/ 1637378 h 1700751"/>
                <a:gd name="connsiteX59" fmla="*/ 1181693 w 1881147"/>
                <a:gd name="connsiteY59" fmla="*/ 1630898 h 1700751"/>
                <a:gd name="connsiteX60" fmla="*/ 1224792 w 1881147"/>
                <a:gd name="connsiteY60" fmla="*/ 1660161 h 1700751"/>
                <a:gd name="connsiteX61" fmla="*/ 1258367 w 1881147"/>
                <a:gd name="connsiteY61" fmla="*/ 1619507 h 1700751"/>
                <a:gd name="connsiteX62" fmla="*/ 1277188 w 1881147"/>
                <a:gd name="connsiteY62" fmla="*/ 1624124 h 1700751"/>
                <a:gd name="connsiteX63" fmla="*/ 1311230 w 1881147"/>
                <a:gd name="connsiteY63" fmla="*/ 1690601 h 1700751"/>
                <a:gd name="connsiteX64" fmla="*/ 1367786 w 1881147"/>
                <a:gd name="connsiteY64" fmla="*/ 1667132 h 1700751"/>
                <a:gd name="connsiteX65" fmla="*/ 1419818 w 1881147"/>
                <a:gd name="connsiteY65" fmla="*/ 1611011 h 1700751"/>
                <a:gd name="connsiteX66" fmla="*/ 1470595 w 1881147"/>
                <a:gd name="connsiteY66" fmla="*/ 1594468 h 1700751"/>
                <a:gd name="connsiteX67" fmla="*/ 1488274 w 1881147"/>
                <a:gd name="connsiteY67" fmla="*/ 1650290 h 1700751"/>
                <a:gd name="connsiteX68" fmla="*/ 1558169 w 1881147"/>
                <a:gd name="connsiteY68" fmla="*/ 1624612 h 1700751"/>
                <a:gd name="connsiteX69" fmla="*/ 1588947 w 1881147"/>
                <a:gd name="connsiteY69" fmla="*/ 1537856 h 1700751"/>
                <a:gd name="connsiteX70" fmla="*/ 1670383 w 1881147"/>
                <a:gd name="connsiteY70" fmla="*/ 1447714 h 1700751"/>
                <a:gd name="connsiteX71" fmla="*/ 1714974 w 1881147"/>
                <a:gd name="connsiteY71" fmla="*/ 1416584 h 1700751"/>
                <a:gd name="connsiteX72" fmla="*/ 1743343 w 1881147"/>
                <a:gd name="connsiteY72" fmla="*/ 1419879 h 1700751"/>
                <a:gd name="connsiteX73" fmla="*/ 1820935 w 1881147"/>
                <a:gd name="connsiteY73" fmla="*/ 1409271 h 1700751"/>
                <a:gd name="connsiteX74" fmla="*/ 1816054 w 1881147"/>
                <a:gd name="connsiteY74" fmla="*/ 1462835 h 1700751"/>
                <a:gd name="connsiteX75" fmla="*/ 1874221 w 1881147"/>
                <a:gd name="connsiteY75" fmla="*/ 1486156 h 1700751"/>
                <a:gd name="connsiteX76" fmla="*/ 1875829 w 1881147"/>
                <a:gd name="connsiteY76" fmla="*/ 1463522 h 1700751"/>
                <a:gd name="connsiteX77" fmla="*/ 1875051 w 1881147"/>
                <a:gd name="connsiteY77" fmla="*/ 1402788 h 1700751"/>
                <a:gd name="connsiteX78" fmla="*/ 1853086 w 1881147"/>
                <a:gd name="connsiteY78" fmla="*/ 1312645 h 1700751"/>
                <a:gd name="connsiteX79" fmla="*/ 1853086 w 1881147"/>
                <a:gd name="connsiteY79" fmla="*/ 1255495 h 1700751"/>
                <a:gd name="connsiteX80" fmla="*/ 1810224 w 1881147"/>
                <a:gd name="connsiteY80" fmla="*/ 1245970 h 1700751"/>
                <a:gd name="connsiteX81" fmla="*/ 1734024 w 1881147"/>
                <a:gd name="connsiteY81" fmla="*/ 1165007 h 1700751"/>
                <a:gd name="connsiteX82" fmla="*/ 1695924 w 1881147"/>
                <a:gd name="connsiteY82" fmla="*/ 984032 h 1700751"/>
                <a:gd name="connsiteX83" fmla="*/ 1643536 w 1881147"/>
                <a:gd name="connsiteY83" fmla="*/ 950695 h 1700751"/>
                <a:gd name="connsiteX84" fmla="*/ 1605436 w 1881147"/>
                <a:gd name="connsiteY84" fmla="*/ 893545 h 1700751"/>
                <a:gd name="connsiteX85" fmla="*/ 1557811 w 1881147"/>
                <a:gd name="connsiteY85" fmla="*/ 845920 h 1700751"/>
                <a:gd name="connsiteX86" fmla="*/ 1505424 w 1881147"/>
                <a:gd name="connsiteY86" fmla="*/ 826870 h 1700751"/>
                <a:gd name="connsiteX87" fmla="*/ 1453036 w 1881147"/>
                <a:gd name="connsiteY87" fmla="*/ 822107 h 1700751"/>
                <a:gd name="connsiteX88" fmla="*/ 1510186 w 1881147"/>
                <a:gd name="connsiteY88" fmla="*/ 788770 h 1700751"/>
                <a:gd name="connsiteX89" fmla="*/ 1476849 w 1881147"/>
                <a:gd name="connsiteY89" fmla="*/ 755432 h 1700751"/>
                <a:gd name="connsiteX90" fmla="*/ 1481611 w 1881147"/>
                <a:gd name="connsiteY90" fmla="*/ 731620 h 1700751"/>
                <a:gd name="connsiteX91" fmla="*/ 1572099 w 1881147"/>
                <a:gd name="connsiteY91" fmla="*/ 769720 h 1700751"/>
                <a:gd name="connsiteX92" fmla="*/ 1624486 w 1881147"/>
                <a:gd name="connsiteY92" fmla="*/ 703045 h 1700751"/>
                <a:gd name="connsiteX93" fmla="*/ 1622283 w 1881147"/>
                <a:gd name="connsiteY93" fmla="*/ 560170 h 1700751"/>
                <a:gd name="connsiteX94" fmla="*/ 1639486 w 1881147"/>
                <a:gd name="connsiteY94" fmla="*/ 411844 h 1700751"/>
                <a:gd name="connsiteX0" fmla="*/ 1639486 w 1881147"/>
                <a:gd name="connsiteY0" fmla="*/ 410679 h 1699586"/>
                <a:gd name="connsiteX1" fmla="*/ 1567336 w 1881147"/>
                <a:gd name="connsiteY1" fmla="*/ 378030 h 1699586"/>
                <a:gd name="connsiteX2" fmla="*/ 1477087 w 1881147"/>
                <a:gd name="connsiteY2" fmla="*/ 354217 h 1699586"/>
                <a:gd name="connsiteX3" fmla="*/ 1423767 w 1881147"/>
                <a:gd name="connsiteY3" fmla="*/ 277133 h 1699586"/>
                <a:gd name="connsiteX4" fmla="*/ 1395785 w 1881147"/>
                <a:gd name="connsiteY4" fmla="*/ 175288 h 1699586"/>
                <a:gd name="connsiteX5" fmla="*/ 1364769 w 1881147"/>
                <a:gd name="connsiteY5" fmla="*/ 7226 h 1699586"/>
                <a:gd name="connsiteX6" fmla="*/ 1297400 w 1881147"/>
                <a:gd name="connsiteY6" fmla="*/ 48924 h 1699586"/>
                <a:gd name="connsiteX7" fmla="*/ 1291832 w 1881147"/>
                <a:gd name="connsiteY7" fmla="*/ 106447 h 1699586"/>
                <a:gd name="connsiteX8" fmla="*/ 1275927 w 1881147"/>
                <a:gd name="connsiteY8" fmla="*/ 157660 h 1699586"/>
                <a:gd name="connsiteX9" fmla="*/ 1214911 w 1881147"/>
                <a:gd name="connsiteY9" fmla="*/ 163717 h 1699586"/>
                <a:gd name="connsiteX10" fmla="*/ 1186336 w 1881147"/>
                <a:gd name="connsiteY10" fmla="*/ 192292 h 1699586"/>
                <a:gd name="connsiteX11" fmla="*/ 1176811 w 1881147"/>
                <a:gd name="connsiteY11" fmla="*/ 263730 h 1699586"/>
                <a:gd name="connsiteX12" fmla="*/ 1114899 w 1881147"/>
                <a:gd name="connsiteY12" fmla="*/ 306592 h 1699586"/>
                <a:gd name="connsiteX13" fmla="*/ 1005361 w 1881147"/>
                <a:gd name="connsiteY13" fmla="*/ 320880 h 1699586"/>
                <a:gd name="connsiteX14" fmla="*/ 962499 w 1881147"/>
                <a:gd name="connsiteY14" fmla="*/ 363742 h 1699586"/>
                <a:gd name="connsiteX15" fmla="*/ 838674 w 1881147"/>
                <a:gd name="connsiteY15" fmla="*/ 363742 h 1699586"/>
                <a:gd name="connsiteX16" fmla="*/ 781524 w 1881147"/>
                <a:gd name="connsiteY16" fmla="*/ 435180 h 1699586"/>
                <a:gd name="connsiteX17" fmla="*/ 781524 w 1881147"/>
                <a:gd name="connsiteY17" fmla="*/ 468517 h 1699586"/>
                <a:gd name="connsiteX18" fmla="*/ 743424 w 1881147"/>
                <a:gd name="connsiteY18" fmla="*/ 492330 h 1699586"/>
                <a:gd name="connsiteX19" fmla="*/ 671986 w 1881147"/>
                <a:gd name="connsiteY19" fmla="*/ 425655 h 1699586"/>
                <a:gd name="connsiteX20" fmla="*/ 519586 w 1881147"/>
                <a:gd name="connsiteY20" fmla="*/ 420892 h 1699586"/>
                <a:gd name="connsiteX21" fmla="*/ 457674 w 1881147"/>
                <a:gd name="connsiteY21" fmla="*/ 439942 h 1699586"/>
                <a:gd name="connsiteX22" fmla="*/ 419574 w 1881147"/>
                <a:gd name="connsiteY22" fmla="*/ 425655 h 1699586"/>
                <a:gd name="connsiteX23" fmla="*/ 400524 w 1881147"/>
                <a:gd name="connsiteY23" fmla="*/ 363742 h 1699586"/>
                <a:gd name="connsiteX24" fmla="*/ 333849 w 1881147"/>
                <a:gd name="connsiteY24" fmla="*/ 311355 h 1699586"/>
                <a:gd name="connsiteX25" fmla="*/ 286224 w 1881147"/>
                <a:gd name="connsiteY25" fmla="*/ 244680 h 1699586"/>
                <a:gd name="connsiteX26" fmla="*/ 143349 w 1881147"/>
                <a:gd name="connsiteY26" fmla="*/ 263730 h 1699586"/>
                <a:gd name="connsiteX27" fmla="*/ 124299 w 1881147"/>
                <a:gd name="connsiteY27" fmla="*/ 339930 h 1699586"/>
                <a:gd name="connsiteX28" fmla="*/ 110011 w 1881147"/>
                <a:gd name="connsiteY28" fmla="*/ 373267 h 1699586"/>
                <a:gd name="connsiteX29" fmla="*/ 133824 w 1881147"/>
                <a:gd name="connsiteY29" fmla="*/ 420892 h 1699586"/>
                <a:gd name="connsiteX30" fmla="*/ 81436 w 1881147"/>
                <a:gd name="connsiteY30" fmla="*/ 458992 h 1699586"/>
                <a:gd name="connsiteX31" fmla="*/ 33811 w 1881147"/>
                <a:gd name="connsiteY31" fmla="*/ 454230 h 1699586"/>
                <a:gd name="connsiteX32" fmla="*/ 33811 w 1881147"/>
                <a:gd name="connsiteY32" fmla="*/ 525667 h 1699586"/>
                <a:gd name="connsiteX33" fmla="*/ 474 w 1881147"/>
                <a:gd name="connsiteY33" fmla="*/ 630442 h 1699586"/>
                <a:gd name="connsiteX34" fmla="*/ 62386 w 1881147"/>
                <a:gd name="connsiteY34" fmla="*/ 706642 h 1699586"/>
                <a:gd name="connsiteX35" fmla="*/ 111977 w 1881147"/>
                <a:gd name="connsiteY35" fmla="*/ 686904 h 1699586"/>
                <a:gd name="connsiteX36" fmla="*/ 112334 w 1881147"/>
                <a:gd name="connsiteY36" fmla="*/ 757163 h 1699586"/>
                <a:gd name="connsiteX37" fmla="*/ 167161 w 1881147"/>
                <a:gd name="connsiteY37" fmla="*/ 787605 h 1699586"/>
                <a:gd name="connsiteX38" fmla="*/ 236159 w 1881147"/>
                <a:gd name="connsiteY38" fmla="*/ 797817 h 1699586"/>
                <a:gd name="connsiteX39" fmla="*/ 271462 w 1881147"/>
                <a:gd name="connsiteY39" fmla="*/ 853788 h 1699586"/>
                <a:gd name="connsiteX40" fmla="*/ 270869 w 1881147"/>
                <a:gd name="connsiteY40" fmla="*/ 898860 h 1699586"/>
                <a:gd name="connsiteX41" fmla="*/ 295393 w 1881147"/>
                <a:gd name="connsiteY41" fmla="*/ 938335 h 1699586"/>
                <a:gd name="connsiteX42" fmla="*/ 341051 w 1881147"/>
                <a:gd name="connsiteY42" fmla="*/ 976927 h 1699586"/>
                <a:gd name="connsiteX43" fmla="*/ 426184 w 1881147"/>
                <a:gd name="connsiteY43" fmla="*/ 1031179 h 1699586"/>
                <a:gd name="connsiteX44" fmla="*/ 461961 w 1881147"/>
                <a:gd name="connsiteY44" fmla="*/ 1102272 h 1699586"/>
                <a:gd name="connsiteX45" fmla="*/ 441064 w 1881147"/>
                <a:gd name="connsiteY45" fmla="*/ 1171845 h 1699586"/>
                <a:gd name="connsiteX46" fmla="*/ 519111 w 1881147"/>
                <a:gd name="connsiteY46" fmla="*/ 1228308 h 1699586"/>
                <a:gd name="connsiteX47" fmla="*/ 591143 w 1881147"/>
                <a:gd name="connsiteY47" fmla="*/ 1261302 h 1699586"/>
                <a:gd name="connsiteX48" fmla="*/ 571974 w 1881147"/>
                <a:gd name="connsiteY48" fmla="*/ 1321005 h 1699586"/>
                <a:gd name="connsiteX49" fmla="*/ 662461 w 1881147"/>
                <a:gd name="connsiteY49" fmla="*/ 1473405 h 1699586"/>
                <a:gd name="connsiteX50" fmla="*/ 755271 w 1881147"/>
                <a:gd name="connsiteY50" fmla="*/ 1546559 h 1699586"/>
                <a:gd name="connsiteX51" fmla="*/ 805336 w 1881147"/>
                <a:gd name="connsiteY51" fmla="*/ 1497217 h 1699586"/>
                <a:gd name="connsiteX52" fmla="*/ 869926 w 1881147"/>
                <a:gd name="connsiteY52" fmla="*/ 1524614 h 1699586"/>
                <a:gd name="connsiteX53" fmla="*/ 924399 w 1881147"/>
                <a:gd name="connsiteY53" fmla="*/ 1492455 h 1699586"/>
                <a:gd name="connsiteX54" fmla="*/ 941246 w 1881147"/>
                <a:gd name="connsiteY54" fmla="*/ 1450279 h 1699586"/>
                <a:gd name="connsiteX55" fmla="*/ 1005123 w 1881147"/>
                <a:gd name="connsiteY55" fmla="*/ 1536691 h 1699586"/>
                <a:gd name="connsiteX56" fmla="*/ 1050190 w 1881147"/>
                <a:gd name="connsiteY56" fmla="*/ 1607785 h 1699586"/>
                <a:gd name="connsiteX57" fmla="*/ 1120136 w 1881147"/>
                <a:gd name="connsiteY57" fmla="*/ 1699304 h 1699586"/>
                <a:gd name="connsiteX58" fmla="*/ 1151034 w 1881147"/>
                <a:gd name="connsiteY58" fmla="*/ 1636213 h 1699586"/>
                <a:gd name="connsiteX59" fmla="*/ 1181693 w 1881147"/>
                <a:gd name="connsiteY59" fmla="*/ 1629733 h 1699586"/>
                <a:gd name="connsiteX60" fmla="*/ 1224792 w 1881147"/>
                <a:gd name="connsiteY60" fmla="*/ 1658996 h 1699586"/>
                <a:gd name="connsiteX61" fmla="*/ 1258367 w 1881147"/>
                <a:gd name="connsiteY61" fmla="*/ 1618342 h 1699586"/>
                <a:gd name="connsiteX62" fmla="*/ 1277188 w 1881147"/>
                <a:gd name="connsiteY62" fmla="*/ 1622959 h 1699586"/>
                <a:gd name="connsiteX63" fmla="*/ 1311230 w 1881147"/>
                <a:gd name="connsiteY63" fmla="*/ 1689436 h 1699586"/>
                <a:gd name="connsiteX64" fmla="*/ 1367786 w 1881147"/>
                <a:gd name="connsiteY64" fmla="*/ 1665967 h 1699586"/>
                <a:gd name="connsiteX65" fmla="*/ 1419818 w 1881147"/>
                <a:gd name="connsiteY65" fmla="*/ 1609846 h 1699586"/>
                <a:gd name="connsiteX66" fmla="*/ 1470595 w 1881147"/>
                <a:gd name="connsiteY66" fmla="*/ 1593303 h 1699586"/>
                <a:gd name="connsiteX67" fmla="*/ 1488274 w 1881147"/>
                <a:gd name="connsiteY67" fmla="*/ 1649125 h 1699586"/>
                <a:gd name="connsiteX68" fmla="*/ 1558169 w 1881147"/>
                <a:gd name="connsiteY68" fmla="*/ 1623447 h 1699586"/>
                <a:gd name="connsiteX69" fmla="*/ 1588947 w 1881147"/>
                <a:gd name="connsiteY69" fmla="*/ 1536691 h 1699586"/>
                <a:gd name="connsiteX70" fmla="*/ 1670383 w 1881147"/>
                <a:gd name="connsiteY70" fmla="*/ 1446549 h 1699586"/>
                <a:gd name="connsiteX71" fmla="*/ 1714974 w 1881147"/>
                <a:gd name="connsiteY71" fmla="*/ 1415419 h 1699586"/>
                <a:gd name="connsiteX72" fmla="*/ 1743343 w 1881147"/>
                <a:gd name="connsiteY72" fmla="*/ 1418714 h 1699586"/>
                <a:gd name="connsiteX73" fmla="*/ 1820935 w 1881147"/>
                <a:gd name="connsiteY73" fmla="*/ 1408106 h 1699586"/>
                <a:gd name="connsiteX74" fmla="*/ 1816054 w 1881147"/>
                <a:gd name="connsiteY74" fmla="*/ 1461670 h 1699586"/>
                <a:gd name="connsiteX75" fmla="*/ 1874221 w 1881147"/>
                <a:gd name="connsiteY75" fmla="*/ 1484991 h 1699586"/>
                <a:gd name="connsiteX76" fmla="*/ 1875829 w 1881147"/>
                <a:gd name="connsiteY76" fmla="*/ 1462357 h 1699586"/>
                <a:gd name="connsiteX77" fmla="*/ 1875051 w 1881147"/>
                <a:gd name="connsiteY77" fmla="*/ 1401623 h 1699586"/>
                <a:gd name="connsiteX78" fmla="*/ 1853086 w 1881147"/>
                <a:gd name="connsiteY78" fmla="*/ 1311480 h 1699586"/>
                <a:gd name="connsiteX79" fmla="*/ 1853086 w 1881147"/>
                <a:gd name="connsiteY79" fmla="*/ 1254330 h 1699586"/>
                <a:gd name="connsiteX80" fmla="*/ 1810224 w 1881147"/>
                <a:gd name="connsiteY80" fmla="*/ 1244805 h 1699586"/>
                <a:gd name="connsiteX81" fmla="*/ 1734024 w 1881147"/>
                <a:gd name="connsiteY81" fmla="*/ 1163842 h 1699586"/>
                <a:gd name="connsiteX82" fmla="*/ 1695924 w 1881147"/>
                <a:gd name="connsiteY82" fmla="*/ 982867 h 1699586"/>
                <a:gd name="connsiteX83" fmla="*/ 1643536 w 1881147"/>
                <a:gd name="connsiteY83" fmla="*/ 949530 h 1699586"/>
                <a:gd name="connsiteX84" fmla="*/ 1605436 w 1881147"/>
                <a:gd name="connsiteY84" fmla="*/ 892380 h 1699586"/>
                <a:gd name="connsiteX85" fmla="*/ 1557811 w 1881147"/>
                <a:gd name="connsiteY85" fmla="*/ 844755 h 1699586"/>
                <a:gd name="connsiteX86" fmla="*/ 1505424 w 1881147"/>
                <a:gd name="connsiteY86" fmla="*/ 825705 h 1699586"/>
                <a:gd name="connsiteX87" fmla="*/ 1453036 w 1881147"/>
                <a:gd name="connsiteY87" fmla="*/ 820942 h 1699586"/>
                <a:gd name="connsiteX88" fmla="*/ 1510186 w 1881147"/>
                <a:gd name="connsiteY88" fmla="*/ 787605 h 1699586"/>
                <a:gd name="connsiteX89" fmla="*/ 1476849 w 1881147"/>
                <a:gd name="connsiteY89" fmla="*/ 754267 h 1699586"/>
                <a:gd name="connsiteX90" fmla="*/ 1481611 w 1881147"/>
                <a:gd name="connsiteY90" fmla="*/ 730455 h 1699586"/>
                <a:gd name="connsiteX91" fmla="*/ 1572099 w 1881147"/>
                <a:gd name="connsiteY91" fmla="*/ 768555 h 1699586"/>
                <a:gd name="connsiteX92" fmla="*/ 1624486 w 1881147"/>
                <a:gd name="connsiteY92" fmla="*/ 701880 h 1699586"/>
                <a:gd name="connsiteX93" fmla="*/ 1622283 w 1881147"/>
                <a:gd name="connsiteY93" fmla="*/ 559005 h 1699586"/>
                <a:gd name="connsiteX94" fmla="*/ 1639486 w 1881147"/>
                <a:gd name="connsiteY94" fmla="*/ 410679 h 1699586"/>
                <a:gd name="connsiteX0" fmla="*/ 1639486 w 1881147"/>
                <a:gd name="connsiteY0" fmla="*/ 403727 h 1692634"/>
                <a:gd name="connsiteX1" fmla="*/ 1567336 w 1881147"/>
                <a:gd name="connsiteY1" fmla="*/ 371078 h 1692634"/>
                <a:gd name="connsiteX2" fmla="*/ 1477087 w 1881147"/>
                <a:gd name="connsiteY2" fmla="*/ 347265 h 1692634"/>
                <a:gd name="connsiteX3" fmla="*/ 1423767 w 1881147"/>
                <a:gd name="connsiteY3" fmla="*/ 270181 h 1692634"/>
                <a:gd name="connsiteX4" fmla="*/ 1395785 w 1881147"/>
                <a:gd name="connsiteY4" fmla="*/ 168336 h 1692634"/>
                <a:gd name="connsiteX5" fmla="*/ 1364769 w 1881147"/>
                <a:gd name="connsiteY5" fmla="*/ 274 h 1692634"/>
                <a:gd name="connsiteX6" fmla="*/ 1297400 w 1881147"/>
                <a:gd name="connsiteY6" fmla="*/ 41972 h 1692634"/>
                <a:gd name="connsiteX7" fmla="*/ 1291832 w 1881147"/>
                <a:gd name="connsiteY7" fmla="*/ 99495 h 1692634"/>
                <a:gd name="connsiteX8" fmla="*/ 1275927 w 1881147"/>
                <a:gd name="connsiteY8" fmla="*/ 150708 h 1692634"/>
                <a:gd name="connsiteX9" fmla="*/ 1214911 w 1881147"/>
                <a:gd name="connsiteY9" fmla="*/ 156765 h 1692634"/>
                <a:gd name="connsiteX10" fmla="*/ 1186336 w 1881147"/>
                <a:gd name="connsiteY10" fmla="*/ 185340 h 1692634"/>
                <a:gd name="connsiteX11" fmla="*/ 1176811 w 1881147"/>
                <a:gd name="connsiteY11" fmla="*/ 256778 h 1692634"/>
                <a:gd name="connsiteX12" fmla="*/ 1114899 w 1881147"/>
                <a:gd name="connsiteY12" fmla="*/ 299640 h 1692634"/>
                <a:gd name="connsiteX13" fmla="*/ 1005361 w 1881147"/>
                <a:gd name="connsiteY13" fmla="*/ 313928 h 1692634"/>
                <a:gd name="connsiteX14" fmla="*/ 962499 w 1881147"/>
                <a:gd name="connsiteY14" fmla="*/ 356790 h 1692634"/>
                <a:gd name="connsiteX15" fmla="*/ 838674 w 1881147"/>
                <a:gd name="connsiteY15" fmla="*/ 356790 h 1692634"/>
                <a:gd name="connsiteX16" fmla="*/ 781524 w 1881147"/>
                <a:gd name="connsiteY16" fmla="*/ 428228 h 1692634"/>
                <a:gd name="connsiteX17" fmla="*/ 781524 w 1881147"/>
                <a:gd name="connsiteY17" fmla="*/ 461565 h 1692634"/>
                <a:gd name="connsiteX18" fmla="*/ 743424 w 1881147"/>
                <a:gd name="connsiteY18" fmla="*/ 485378 h 1692634"/>
                <a:gd name="connsiteX19" fmla="*/ 671986 w 1881147"/>
                <a:gd name="connsiteY19" fmla="*/ 418703 h 1692634"/>
                <a:gd name="connsiteX20" fmla="*/ 519586 w 1881147"/>
                <a:gd name="connsiteY20" fmla="*/ 413940 h 1692634"/>
                <a:gd name="connsiteX21" fmla="*/ 457674 w 1881147"/>
                <a:gd name="connsiteY21" fmla="*/ 432990 h 1692634"/>
                <a:gd name="connsiteX22" fmla="*/ 419574 w 1881147"/>
                <a:gd name="connsiteY22" fmla="*/ 418703 h 1692634"/>
                <a:gd name="connsiteX23" fmla="*/ 400524 w 1881147"/>
                <a:gd name="connsiteY23" fmla="*/ 356790 h 1692634"/>
                <a:gd name="connsiteX24" fmla="*/ 333849 w 1881147"/>
                <a:gd name="connsiteY24" fmla="*/ 304403 h 1692634"/>
                <a:gd name="connsiteX25" fmla="*/ 286224 w 1881147"/>
                <a:gd name="connsiteY25" fmla="*/ 237728 h 1692634"/>
                <a:gd name="connsiteX26" fmla="*/ 143349 w 1881147"/>
                <a:gd name="connsiteY26" fmla="*/ 256778 h 1692634"/>
                <a:gd name="connsiteX27" fmla="*/ 124299 w 1881147"/>
                <a:gd name="connsiteY27" fmla="*/ 332978 h 1692634"/>
                <a:gd name="connsiteX28" fmla="*/ 110011 w 1881147"/>
                <a:gd name="connsiteY28" fmla="*/ 366315 h 1692634"/>
                <a:gd name="connsiteX29" fmla="*/ 133824 w 1881147"/>
                <a:gd name="connsiteY29" fmla="*/ 413940 h 1692634"/>
                <a:gd name="connsiteX30" fmla="*/ 81436 w 1881147"/>
                <a:gd name="connsiteY30" fmla="*/ 452040 h 1692634"/>
                <a:gd name="connsiteX31" fmla="*/ 33811 w 1881147"/>
                <a:gd name="connsiteY31" fmla="*/ 447278 h 1692634"/>
                <a:gd name="connsiteX32" fmla="*/ 33811 w 1881147"/>
                <a:gd name="connsiteY32" fmla="*/ 518715 h 1692634"/>
                <a:gd name="connsiteX33" fmla="*/ 474 w 1881147"/>
                <a:gd name="connsiteY33" fmla="*/ 623490 h 1692634"/>
                <a:gd name="connsiteX34" fmla="*/ 62386 w 1881147"/>
                <a:gd name="connsiteY34" fmla="*/ 699690 h 1692634"/>
                <a:gd name="connsiteX35" fmla="*/ 111977 w 1881147"/>
                <a:gd name="connsiteY35" fmla="*/ 679952 h 1692634"/>
                <a:gd name="connsiteX36" fmla="*/ 112334 w 1881147"/>
                <a:gd name="connsiteY36" fmla="*/ 750211 h 1692634"/>
                <a:gd name="connsiteX37" fmla="*/ 167161 w 1881147"/>
                <a:gd name="connsiteY37" fmla="*/ 780653 h 1692634"/>
                <a:gd name="connsiteX38" fmla="*/ 236159 w 1881147"/>
                <a:gd name="connsiteY38" fmla="*/ 790865 h 1692634"/>
                <a:gd name="connsiteX39" fmla="*/ 271462 w 1881147"/>
                <a:gd name="connsiteY39" fmla="*/ 846836 h 1692634"/>
                <a:gd name="connsiteX40" fmla="*/ 270869 w 1881147"/>
                <a:gd name="connsiteY40" fmla="*/ 891908 h 1692634"/>
                <a:gd name="connsiteX41" fmla="*/ 295393 w 1881147"/>
                <a:gd name="connsiteY41" fmla="*/ 931383 h 1692634"/>
                <a:gd name="connsiteX42" fmla="*/ 341051 w 1881147"/>
                <a:gd name="connsiteY42" fmla="*/ 969975 h 1692634"/>
                <a:gd name="connsiteX43" fmla="*/ 426184 w 1881147"/>
                <a:gd name="connsiteY43" fmla="*/ 1024227 h 1692634"/>
                <a:gd name="connsiteX44" fmla="*/ 461961 w 1881147"/>
                <a:gd name="connsiteY44" fmla="*/ 1095320 h 1692634"/>
                <a:gd name="connsiteX45" fmla="*/ 441064 w 1881147"/>
                <a:gd name="connsiteY45" fmla="*/ 1164893 h 1692634"/>
                <a:gd name="connsiteX46" fmla="*/ 519111 w 1881147"/>
                <a:gd name="connsiteY46" fmla="*/ 1221356 h 1692634"/>
                <a:gd name="connsiteX47" fmla="*/ 591143 w 1881147"/>
                <a:gd name="connsiteY47" fmla="*/ 1254350 h 1692634"/>
                <a:gd name="connsiteX48" fmla="*/ 571974 w 1881147"/>
                <a:gd name="connsiteY48" fmla="*/ 1314053 h 1692634"/>
                <a:gd name="connsiteX49" fmla="*/ 662461 w 1881147"/>
                <a:gd name="connsiteY49" fmla="*/ 1466453 h 1692634"/>
                <a:gd name="connsiteX50" fmla="*/ 755271 w 1881147"/>
                <a:gd name="connsiteY50" fmla="*/ 1539607 h 1692634"/>
                <a:gd name="connsiteX51" fmla="*/ 805336 w 1881147"/>
                <a:gd name="connsiteY51" fmla="*/ 1490265 h 1692634"/>
                <a:gd name="connsiteX52" fmla="*/ 869926 w 1881147"/>
                <a:gd name="connsiteY52" fmla="*/ 1517662 h 1692634"/>
                <a:gd name="connsiteX53" fmla="*/ 924399 w 1881147"/>
                <a:gd name="connsiteY53" fmla="*/ 1485503 h 1692634"/>
                <a:gd name="connsiteX54" fmla="*/ 941246 w 1881147"/>
                <a:gd name="connsiteY54" fmla="*/ 1443327 h 1692634"/>
                <a:gd name="connsiteX55" fmla="*/ 1005123 w 1881147"/>
                <a:gd name="connsiteY55" fmla="*/ 1529739 h 1692634"/>
                <a:gd name="connsiteX56" fmla="*/ 1050190 w 1881147"/>
                <a:gd name="connsiteY56" fmla="*/ 1600833 h 1692634"/>
                <a:gd name="connsiteX57" fmla="*/ 1120136 w 1881147"/>
                <a:gd name="connsiteY57" fmla="*/ 1692352 h 1692634"/>
                <a:gd name="connsiteX58" fmla="*/ 1151034 w 1881147"/>
                <a:gd name="connsiteY58" fmla="*/ 1629261 h 1692634"/>
                <a:gd name="connsiteX59" fmla="*/ 1181693 w 1881147"/>
                <a:gd name="connsiteY59" fmla="*/ 1622781 h 1692634"/>
                <a:gd name="connsiteX60" fmla="*/ 1224792 w 1881147"/>
                <a:gd name="connsiteY60" fmla="*/ 1652044 h 1692634"/>
                <a:gd name="connsiteX61" fmla="*/ 1258367 w 1881147"/>
                <a:gd name="connsiteY61" fmla="*/ 1611390 h 1692634"/>
                <a:gd name="connsiteX62" fmla="*/ 1277188 w 1881147"/>
                <a:gd name="connsiteY62" fmla="*/ 1616007 h 1692634"/>
                <a:gd name="connsiteX63" fmla="*/ 1311230 w 1881147"/>
                <a:gd name="connsiteY63" fmla="*/ 1682484 h 1692634"/>
                <a:gd name="connsiteX64" fmla="*/ 1367786 w 1881147"/>
                <a:gd name="connsiteY64" fmla="*/ 1659015 h 1692634"/>
                <a:gd name="connsiteX65" fmla="*/ 1419818 w 1881147"/>
                <a:gd name="connsiteY65" fmla="*/ 1602894 h 1692634"/>
                <a:gd name="connsiteX66" fmla="*/ 1470595 w 1881147"/>
                <a:gd name="connsiteY66" fmla="*/ 1586351 h 1692634"/>
                <a:gd name="connsiteX67" fmla="*/ 1488274 w 1881147"/>
                <a:gd name="connsiteY67" fmla="*/ 1642173 h 1692634"/>
                <a:gd name="connsiteX68" fmla="*/ 1558169 w 1881147"/>
                <a:gd name="connsiteY68" fmla="*/ 1616495 h 1692634"/>
                <a:gd name="connsiteX69" fmla="*/ 1588947 w 1881147"/>
                <a:gd name="connsiteY69" fmla="*/ 1529739 h 1692634"/>
                <a:gd name="connsiteX70" fmla="*/ 1670383 w 1881147"/>
                <a:gd name="connsiteY70" fmla="*/ 1439597 h 1692634"/>
                <a:gd name="connsiteX71" fmla="*/ 1714974 w 1881147"/>
                <a:gd name="connsiteY71" fmla="*/ 1408467 h 1692634"/>
                <a:gd name="connsiteX72" fmla="*/ 1743343 w 1881147"/>
                <a:gd name="connsiteY72" fmla="*/ 1411762 h 1692634"/>
                <a:gd name="connsiteX73" fmla="*/ 1820935 w 1881147"/>
                <a:gd name="connsiteY73" fmla="*/ 1401154 h 1692634"/>
                <a:gd name="connsiteX74" fmla="*/ 1816054 w 1881147"/>
                <a:gd name="connsiteY74" fmla="*/ 1454718 h 1692634"/>
                <a:gd name="connsiteX75" fmla="*/ 1874221 w 1881147"/>
                <a:gd name="connsiteY75" fmla="*/ 1478039 h 1692634"/>
                <a:gd name="connsiteX76" fmla="*/ 1875829 w 1881147"/>
                <a:gd name="connsiteY76" fmla="*/ 1455405 h 1692634"/>
                <a:gd name="connsiteX77" fmla="*/ 1875051 w 1881147"/>
                <a:gd name="connsiteY77" fmla="*/ 1394671 h 1692634"/>
                <a:gd name="connsiteX78" fmla="*/ 1853086 w 1881147"/>
                <a:gd name="connsiteY78" fmla="*/ 1304528 h 1692634"/>
                <a:gd name="connsiteX79" fmla="*/ 1853086 w 1881147"/>
                <a:gd name="connsiteY79" fmla="*/ 1247378 h 1692634"/>
                <a:gd name="connsiteX80" fmla="*/ 1810224 w 1881147"/>
                <a:gd name="connsiteY80" fmla="*/ 1237853 h 1692634"/>
                <a:gd name="connsiteX81" fmla="*/ 1734024 w 1881147"/>
                <a:gd name="connsiteY81" fmla="*/ 1156890 h 1692634"/>
                <a:gd name="connsiteX82" fmla="*/ 1695924 w 1881147"/>
                <a:gd name="connsiteY82" fmla="*/ 975915 h 1692634"/>
                <a:gd name="connsiteX83" fmla="*/ 1643536 w 1881147"/>
                <a:gd name="connsiteY83" fmla="*/ 942578 h 1692634"/>
                <a:gd name="connsiteX84" fmla="*/ 1605436 w 1881147"/>
                <a:gd name="connsiteY84" fmla="*/ 885428 h 1692634"/>
                <a:gd name="connsiteX85" fmla="*/ 1557811 w 1881147"/>
                <a:gd name="connsiteY85" fmla="*/ 837803 h 1692634"/>
                <a:gd name="connsiteX86" fmla="*/ 1505424 w 1881147"/>
                <a:gd name="connsiteY86" fmla="*/ 818753 h 1692634"/>
                <a:gd name="connsiteX87" fmla="*/ 1453036 w 1881147"/>
                <a:gd name="connsiteY87" fmla="*/ 813990 h 1692634"/>
                <a:gd name="connsiteX88" fmla="*/ 1510186 w 1881147"/>
                <a:gd name="connsiteY88" fmla="*/ 780653 h 1692634"/>
                <a:gd name="connsiteX89" fmla="*/ 1476849 w 1881147"/>
                <a:gd name="connsiteY89" fmla="*/ 747315 h 1692634"/>
                <a:gd name="connsiteX90" fmla="*/ 1481611 w 1881147"/>
                <a:gd name="connsiteY90" fmla="*/ 723503 h 1692634"/>
                <a:gd name="connsiteX91" fmla="*/ 1572099 w 1881147"/>
                <a:gd name="connsiteY91" fmla="*/ 761603 h 1692634"/>
                <a:gd name="connsiteX92" fmla="*/ 1624486 w 1881147"/>
                <a:gd name="connsiteY92" fmla="*/ 694928 h 1692634"/>
                <a:gd name="connsiteX93" fmla="*/ 1622283 w 1881147"/>
                <a:gd name="connsiteY93" fmla="*/ 552053 h 1692634"/>
                <a:gd name="connsiteX94" fmla="*/ 1639486 w 1881147"/>
                <a:gd name="connsiteY94" fmla="*/ 403727 h 1692634"/>
                <a:gd name="connsiteX0" fmla="*/ 1639486 w 1881147"/>
                <a:gd name="connsiteY0" fmla="*/ 403995 h 1692902"/>
                <a:gd name="connsiteX1" fmla="*/ 1567336 w 1881147"/>
                <a:gd name="connsiteY1" fmla="*/ 371346 h 1692902"/>
                <a:gd name="connsiteX2" fmla="*/ 1477087 w 1881147"/>
                <a:gd name="connsiteY2" fmla="*/ 347533 h 1692902"/>
                <a:gd name="connsiteX3" fmla="*/ 1423767 w 1881147"/>
                <a:gd name="connsiteY3" fmla="*/ 270449 h 1692902"/>
                <a:gd name="connsiteX4" fmla="*/ 1395785 w 1881147"/>
                <a:gd name="connsiteY4" fmla="*/ 168604 h 1692902"/>
                <a:gd name="connsiteX5" fmla="*/ 1364769 w 1881147"/>
                <a:gd name="connsiteY5" fmla="*/ 542 h 1692902"/>
                <a:gd name="connsiteX6" fmla="*/ 1297400 w 1881147"/>
                <a:gd name="connsiteY6" fmla="*/ 42240 h 1692902"/>
                <a:gd name="connsiteX7" fmla="*/ 1291832 w 1881147"/>
                <a:gd name="connsiteY7" fmla="*/ 99763 h 1692902"/>
                <a:gd name="connsiteX8" fmla="*/ 1275927 w 1881147"/>
                <a:gd name="connsiteY8" fmla="*/ 150976 h 1692902"/>
                <a:gd name="connsiteX9" fmla="*/ 1214911 w 1881147"/>
                <a:gd name="connsiteY9" fmla="*/ 157033 h 1692902"/>
                <a:gd name="connsiteX10" fmla="*/ 1186336 w 1881147"/>
                <a:gd name="connsiteY10" fmla="*/ 185608 h 1692902"/>
                <a:gd name="connsiteX11" fmla="*/ 1176811 w 1881147"/>
                <a:gd name="connsiteY11" fmla="*/ 257046 h 1692902"/>
                <a:gd name="connsiteX12" fmla="*/ 1114899 w 1881147"/>
                <a:gd name="connsiteY12" fmla="*/ 299908 h 1692902"/>
                <a:gd name="connsiteX13" fmla="*/ 1005361 w 1881147"/>
                <a:gd name="connsiteY13" fmla="*/ 314196 h 1692902"/>
                <a:gd name="connsiteX14" fmla="*/ 962499 w 1881147"/>
                <a:gd name="connsiteY14" fmla="*/ 357058 h 1692902"/>
                <a:gd name="connsiteX15" fmla="*/ 838674 w 1881147"/>
                <a:gd name="connsiteY15" fmla="*/ 357058 h 1692902"/>
                <a:gd name="connsiteX16" fmla="*/ 781524 w 1881147"/>
                <a:gd name="connsiteY16" fmla="*/ 428496 h 1692902"/>
                <a:gd name="connsiteX17" fmla="*/ 781524 w 1881147"/>
                <a:gd name="connsiteY17" fmla="*/ 461833 h 1692902"/>
                <a:gd name="connsiteX18" fmla="*/ 743424 w 1881147"/>
                <a:gd name="connsiteY18" fmla="*/ 485646 h 1692902"/>
                <a:gd name="connsiteX19" fmla="*/ 671986 w 1881147"/>
                <a:gd name="connsiteY19" fmla="*/ 418971 h 1692902"/>
                <a:gd name="connsiteX20" fmla="*/ 519586 w 1881147"/>
                <a:gd name="connsiteY20" fmla="*/ 414208 h 1692902"/>
                <a:gd name="connsiteX21" fmla="*/ 457674 w 1881147"/>
                <a:gd name="connsiteY21" fmla="*/ 433258 h 1692902"/>
                <a:gd name="connsiteX22" fmla="*/ 419574 w 1881147"/>
                <a:gd name="connsiteY22" fmla="*/ 418971 h 1692902"/>
                <a:gd name="connsiteX23" fmla="*/ 400524 w 1881147"/>
                <a:gd name="connsiteY23" fmla="*/ 357058 h 1692902"/>
                <a:gd name="connsiteX24" fmla="*/ 333849 w 1881147"/>
                <a:gd name="connsiteY24" fmla="*/ 304671 h 1692902"/>
                <a:gd name="connsiteX25" fmla="*/ 286224 w 1881147"/>
                <a:gd name="connsiteY25" fmla="*/ 237996 h 1692902"/>
                <a:gd name="connsiteX26" fmla="*/ 143349 w 1881147"/>
                <a:gd name="connsiteY26" fmla="*/ 257046 h 1692902"/>
                <a:gd name="connsiteX27" fmla="*/ 124299 w 1881147"/>
                <a:gd name="connsiteY27" fmla="*/ 333246 h 1692902"/>
                <a:gd name="connsiteX28" fmla="*/ 110011 w 1881147"/>
                <a:gd name="connsiteY28" fmla="*/ 366583 h 1692902"/>
                <a:gd name="connsiteX29" fmla="*/ 133824 w 1881147"/>
                <a:gd name="connsiteY29" fmla="*/ 414208 h 1692902"/>
                <a:gd name="connsiteX30" fmla="*/ 81436 w 1881147"/>
                <a:gd name="connsiteY30" fmla="*/ 452308 h 1692902"/>
                <a:gd name="connsiteX31" fmla="*/ 33811 w 1881147"/>
                <a:gd name="connsiteY31" fmla="*/ 447546 h 1692902"/>
                <a:gd name="connsiteX32" fmla="*/ 33811 w 1881147"/>
                <a:gd name="connsiteY32" fmla="*/ 518983 h 1692902"/>
                <a:gd name="connsiteX33" fmla="*/ 474 w 1881147"/>
                <a:gd name="connsiteY33" fmla="*/ 623758 h 1692902"/>
                <a:gd name="connsiteX34" fmla="*/ 62386 w 1881147"/>
                <a:gd name="connsiteY34" fmla="*/ 699958 h 1692902"/>
                <a:gd name="connsiteX35" fmla="*/ 111977 w 1881147"/>
                <a:gd name="connsiteY35" fmla="*/ 680220 h 1692902"/>
                <a:gd name="connsiteX36" fmla="*/ 112334 w 1881147"/>
                <a:gd name="connsiteY36" fmla="*/ 750479 h 1692902"/>
                <a:gd name="connsiteX37" fmla="*/ 167161 w 1881147"/>
                <a:gd name="connsiteY37" fmla="*/ 780921 h 1692902"/>
                <a:gd name="connsiteX38" fmla="*/ 236159 w 1881147"/>
                <a:gd name="connsiteY38" fmla="*/ 791133 h 1692902"/>
                <a:gd name="connsiteX39" fmla="*/ 271462 w 1881147"/>
                <a:gd name="connsiteY39" fmla="*/ 847104 h 1692902"/>
                <a:gd name="connsiteX40" fmla="*/ 270869 w 1881147"/>
                <a:gd name="connsiteY40" fmla="*/ 892176 h 1692902"/>
                <a:gd name="connsiteX41" fmla="*/ 295393 w 1881147"/>
                <a:gd name="connsiteY41" fmla="*/ 931651 h 1692902"/>
                <a:gd name="connsiteX42" fmla="*/ 341051 w 1881147"/>
                <a:gd name="connsiteY42" fmla="*/ 970243 h 1692902"/>
                <a:gd name="connsiteX43" fmla="*/ 426184 w 1881147"/>
                <a:gd name="connsiteY43" fmla="*/ 1024495 h 1692902"/>
                <a:gd name="connsiteX44" fmla="*/ 461961 w 1881147"/>
                <a:gd name="connsiteY44" fmla="*/ 1095588 h 1692902"/>
                <a:gd name="connsiteX45" fmla="*/ 441064 w 1881147"/>
                <a:gd name="connsiteY45" fmla="*/ 1165161 h 1692902"/>
                <a:gd name="connsiteX46" fmla="*/ 519111 w 1881147"/>
                <a:gd name="connsiteY46" fmla="*/ 1221624 h 1692902"/>
                <a:gd name="connsiteX47" fmla="*/ 591143 w 1881147"/>
                <a:gd name="connsiteY47" fmla="*/ 1254618 h 1692902"/>
                <a:gd name="connsiteX48" fmla="*/ 571974 w 1881147"/>
                <a:gd name="connsiteY48" fmla="*/ 1314321 h 1692902"/>
                <a:gd name="connsiteX49" fmla="*/ 662461 w 1881147"/>
                <a:gd name="connsiteY49" fmla="*/ 1466721 h 1692902"/>
                <a:gd name="connsiteX50" fmla="*/ 755271 w 1881147"/>
                <a:gd name="connsiteY50" fmla="*/ 1539875 h 1692902"/>
                <a:gd name="connsiteX51" fmla="*/ 805336 w 1881147"/>
                <a:gd name="connsiteY51" fmla="*/ 1490533 h 1692902"/>
                <a:gd name="connsiteX52" fmla="*/ 869926 w 1881147"/>
                <a:gd name="connsiteY52" fmla="*/ 1517930 h 1692902"/>
                <a:gd name="connsiteX53" fmla="*/ 924399 w 1881147"/>
                <a:gd name="connsiteY53" fmla="*/ 1485771 h 1692902"/>
                <a:gd name="connsiteX54" fmla="*/ 941246 w 1881147"/>
                <a:gd name="connsiteY54" fmla="*/ 1443595 h 1692902"/>
                <a:gd name="connsiteX55" fmla="*/ 1005123 w 1881147"/>
                <a:gd name="connsiteY55" fmla="*/ 1530007 h 1692902"/>
                <a:gd name="connsiteX56" fmla="*/ 1050190 w 1881147"/>
                <a:gd name="connsiteY56" fmla="*/ 1601101 h 1692902"/>
                <a:gd name="connsiteX57" fmla="*/ 1120136 w 1881147"/>
                <a:gd name="connsiteY57" fmla="*/ 1692620 h 1692902"/>
                <a:gd name="connsiteX58" fmla="*/ 1151034 w 1881147"/>
                <a:gd name="connsiteY58" fmla="*/ 1629529 h 1692902"/>
                <a:gd name="connsiteX59" fmla="*/ 1181693 w 1881147"/>
                <a:gd name="connsiteY59" fmla="*/ 1623049 h 1692902"/>
                <a:gd name="connsiteX60" fmla="*/ 1224792 w 1881147"/>
                <a:gd name="connsiteY60" fmla="*/ 1652312 h 1692902"/>
                <a:gd name="connsiteX61" fmla="*/ 1258367 w 1881147"/>
                <a:gd name="connsiteY61" fmla="*/ 1611658 h 1692902"/>
                <a:gd name="connsiteX62" fmla="*/ 1277188 w 1881147"/>
                <a:gd name="connsiteY62" fmla="*/ 1616275 h 1692902"/>
                <a:gd name="connsiteX63" fmla="*/ 1311230 w 1881147"/>
                <a:gd name="connsiteY63" fmla="*/ 1682752 h 1692902"/>
                <a:gd name="connsiteX64" fmla="*/ 1367786 w 1881147"/>
                <a:gd name="connsiteY64" fmla="*/ 1659283 h 1692902"/>
                <a:gd name="connsiteX65" fmla="*/ 1419818 w 1881147"/>
                <a:gd name="connsiteY65" fmla="*/ 1603162 h 1692902"/>
                <a:gd name="connsiteX66" fmla="*/ 1470595 w 1881147"/>
                <a:gd name="connsiteY66" fmla="*/ 1586619 h 1692902"/>
                <a:gd name="connsiteX67" fmla="*/ 1488274 w 1881147"/>
                <a:gd name="connsiteY67" fmla="*/ 1642441 h 1692902"/>
                <a:gd name="connsiteX68" fmla="*/ 1558169 w 1881147"/>
                <a:gd name="connsiteY68" fmla="*/ 1616763 h 1692902"/>
                <a:gd name="connsiteX69" fmla="*/ 1588947 w 1881147"/>
                <a:gd name="connsiteY69" fmla="*/ 1530007 h 1692902"/>
                <a:gd name="connsiteX70" fmla="*/ 1670383 w 1881147"/>
                <a:gd name="connsiteY70" fmla="*/ 1439865 h 1692902"/>
                <a:gd name="connsiteX71" fmla="*/ 1714974 w 1881147"/>
                <a:gd name="connsiteY71" fmla="*/ 1408735 h 1692902"/>
                <a:gd name="connsiteX72" fmla="*/ 1743343 w 1881147"/>
                <a:gd name="connsiteY72" fmla="*/ 1412030 h 1692902"/>
                <a:gd name="connsiteX73" fmla="*/ 1820935 w 1881147"/>
                <a:gd name="connsiteY73" fmla="*/ 1401422 h 1692902"/>
                <a:gd name="connsiteX74" fmla="*/ 1816054 w 1881147"/>
                <a:gd name="connsiteY74" fmla="*/ 1454986 h 1692902"/>
                <a:gd name="connsiteX75" fmla="*/ 1874221 w 1881147"/>
                <a:gd name="connsiteY75" fmla="*/ 1478307 h 1692902"/>
                <a:gd name="connsiteX76" fmla="*/ 1875829 w 1881147"/>
                <a:gd name="connsiteY76" fmla="*/ 1455673 h 1692902"/>
                <a:gd name="connsiteX77" fmla="*/ 1875051 w 1881147"/>
                <a:gd name="connsiteY77" fmla="*/ 1394939 h 1692902"/>
                <a:gd name="connsiteX78" fmla="*/ 1853086 w 1881147"/>
                <a:gd name="connsiteY78" fmla="*/ 1304796 h 1692902"/>
                <a:gd name="connsiteX79" fmla="*/ 1853086 w 1881147"/>
                <a:gd name="connsiteY79" fmla="*/ 1247646 h 1692902"/>
                <a:gd name="connsiteX80" fmla="*/ 1810224 w 1881147"/>
                <a:gd name="connsiteY80" fmla="*/ 1238121 h 1692902"/>
                <a:gd name="connsiteX81" fmla="*/ 1734024 w 1881147"/>
                <a:gd name="connsiteY81" fmla="*/ 1157158 h 1692902"/>
                <a:gd name="connsiteX82" fmla="*/ 1695924 w 1881147"/>
                <a:gd name="connsiteY82" fmla="*/ 976183 h 1692902"/>
                <a:gd name="connsiteX83" fmla="*/ 1643536 w 1881147"/>
                <a:gd name="connsiteY83" fmla="*/ 942846 h 1692902"/>
                <a:gd name="connsiteX84" fmla="*/ 1605436 w 1881147"/>
                <a:gd name="connsiteY84" fmla="*/ 885696 h 1692902"/>
                <a:gd name="connsiteX85" fmla="*/ 1557811 w 1881147"/>
                <a:gd name="connsiteY85" fmla="*/ 838071 h 1692902"/>
                <a:gd name="connsiteX86" fmla="*/ 1505424 w 1881147"/>
                <a:gd name="connsiteY86" fmla="*/ 819021 h 1692902"/>
                <a:gd name="connsiteX87" fmla="*/ 1453036 w 1881147"/>
                <a:gd name="connsiteY87" fmla="*/ 814258 h 1692902"/>
                <a:gd name="connsiteX88" fmla="*/ 1510186 w 1881147"/>
                <a:gd name="connsiteY88" fmla="*/ 780921 h 1692902"/>
                <a:gd name="connsiteX89" fmla="*/ 1476849 w 1881147"/>
                <a:gd name="connsiteY89" fmla="*/ 747583 h 1692902"/>
                <a:gd name="connsiteX90" fmla="*/ 1481611 w 1881147"/>
                <a:gd name="connsiteY90" fmla="*/ 723771 h 1692902"/>
                <a:gd name="connsiteX91" fmla="*/ 1572099 w 1881147"/>
                <a:gd name="connsiteY91" fmla="*/ 761871 h 1692902"/>
                <a:gd name="connsiteX92" fmla="*/ 1624486 w 1881147"/>
                <a:gd name="connsiteY92" fmla="*/ 695196 h 1692902"/>
                <a:gd name="connsiteX93" fmla="*/ 1622283 w 1881147"/>
                <a:gd name="connsiteY93" fmla="*/ 552321 h 1692902"/>
                <a:gd name="connsiteX94" fmla="*/ 1639486 w 1881147"/>
                <a:gd name="connsiteY94" fmla="*/ 403995 h 1692902"/>
                <a:gd name="connsiteX0" fmla="*/ 1639486 w 1881147"/>
                <a:gd name="connsiteY0" fmla="*/ 410678 h 1699585"/>
                <a:gd name="connsiteX1" fmla="*/ 1567336 w 1881147"/>
                <a:gd name="connsiteY1" fmla="*/ 378029 h 1699585"/>
                <a:gd name="connsiteX2" fmla="*/ 1477087 w 1881147"/>
                <a:gd name="connsiteY2" fmla="*/ 354216 h 1699585"/>
                <a:gd name="connsiteX3" fmla="*/ 1423767 w 1881147"/>
                <a:gd name="connsiteY3" fmla="*/ 277132 h 1699585"/>
                <a:gd name="connsiteX4" fmla="*/ 1400666 w 1881147"/>
                <a:gd name="connsiteY4" fmla="*/ 175287 h 1699585"/>
                <a:gd name="connsiteX5" fmla="*/ 1364769 w 1881147"/>
                <a:gd name="connsiteY5" fmla="*/ 7225 h 1699585"/>
                <a:gd name="connsiteX6" fmla="*/ 1297400 w 1881147"/>
                <a:gd name="connsiteY6" fmla="*/ 48923 h 1699585"/>
                <a:gd name="connsiteX7" fmla="*/ 1291832 w 1881147"/>
                <a:gd name="connsiteY7" fmla="*/ 106446 h 1699585"/>
                <a:gd name="connsiteX8" fmla="*/ 1275927 w 1881147"/>
                <a:gd name="connsiteY8" fmla="*/ 157659 h 1699585"/>
                <a:gd name="connsiteX9" fmla="*/ 1214911 w 1881147"/>
                <a:gd name="connsiteY9" fmla="*/ 163716 h 1699585"/>
                <a:gd name="connsiteX10" fmla="*/ 1186336 w 1881147"/>
                <a:gd name="connsiteY10" fmla="*/ 192291 h 1699585"/>
                <a:gd name="connsiteX11" fmla="*/ 1176811 w 1881147"/>
                <a:gd name="connsiteY11" fmla="*/ 263729 h 1699585"/>
                <a:gd name="connsiteX12" fmla="*/ 1114899 w 1881147"/>
                <a:gd name="connsiteY12" fmla="*/ 306591 h 1699585"/>
                <a:gd name="connsiteX13" fmla="*/ 1005361 w 1881147"/>
                <a:gd name="connsiteY13" fmla="*/ 320879 h 1699585"/>
                <a:gd name="connsiteX14" fmla="*/ 962499 w 1881147"/>
                <a:gd name="connsiteY14" fmla="*/ 363741 h 1699585"/>
                <a:gd name="connsiteX15" fmla="*/ 838674 w 1881147"/>
                <a:gd name="connsiteY15" fmla="*/ 363741 h 1699585"/>
                <a:gd name="connsiteX16" fmla="*/ 781524 w 1881147"/>
                <a:gd name="connsiteY16" fmla="*/ 435179 h 1699585"/>
                <a:gd name="connsiteX17" fmla="*/ 781524 w 1881147"/>
                <a:gd name="connsiteY17" fmla="*/ 468516 h 1699585"/>
                <a:gd name="connsiteX18" fmla="*/ 743424 w 1881147"/>
                <a:gd name="connsiteY18" fmla="*/ 492329 h 1699585"/>
                <a:gd name="connsiteX19" fmla="*/ 671986 w 1881147"/>
                <a:gd name="connsiteY19" fmla="*/ 425654 h 1699585"/>
                <a:gd name="connsiteX20" fmla="*/ 519586 w 1881147"/>
                <a:gd name="connsiteY20" fmla="*/ 420891 h 1699585"/>
                <a:gd name="connsiteX21" fmla="*/ 457674 w 1881147"/>
                <a:gd name="connsiteY21" fmla="*/ 439941 h 1699585"/>
                <a:gd name="connsiteX22" fmla="*/ 419574 w 1881147"/>
                <a:gd name="connsiteY22" fmla="*/ 425654 h 1699585"/>
                <a:gd name="connsiteX23" fmla="*/ 400524 w 1881147"/>
                <a:gd name="connsiteY23" fmla="*/ 363741 h 1699585"/>
                <a:gd name="connsiteX24" fmla="*/ 333849 w 1881147"/>
                <a:gd name="connsiteY24" fmla="*/ 311354 h 1699585"/>
                <a:gd name="connsiteX25" fmla="*/ 286224 w 1881147"/>
                <a:gd name="connsiteY25" fmla="*/ 244679 h 1699585"/>
                <a:gd name="connsiteX26" fmla="*/ 143349 w 1881147"/>
                <a:gd name="connsiteY26" fmla="*/ 263729 h 1699585"/>
                <a:gd name="connsiteX27" fmla="*/ 124299 w 1881147"/>
                <a:gd name="connsiteY27" fmla="*/ 339929 h 1699585"/>
                <a:gd name="connsiteX28" fmla="*/ 110011 w 1881147"/>
                <a:gd name="connsiteY28" fmla="*/ 373266 h 1699585"/>
                <a:gd name="connsiteX29" fmla="*/ 133824 w 1881147"/>
                <a:gd name="connsiteY29" fmla="*/ 420891 h 1699585"/>
                <a:gd name="connsiteX30" fmla="*/ 81436 w 1881147"/>
                <a:gd name="connsiteY30" fmla="*/ 458991 h 1699585"/>
                <a:gd name="connsiteX31" fmla="*/ 33811 w 1881147"/>
                <a:gd name="connsiteY31" fmla="*/ 454229 h 1699585"/>
                <a:gd name="connsiteX32" fmla="*/ 33811 w 1881147"/>
                <a:gd name="connsiteY32" fmla="*/ 525666 h 1699585"/>
                <a:gd name="connsiteX33" fmla="*/ 474 w 1881147"/>
                <a:gd name="connsiteY33" fmla="*/ 630441 h 1699585"/>
                <a:gd name="connsiteX34" fmla="*/ 62386 w 1881147"/>
                <a:gd name="connsiteY34" fmla="*/ 706641 h 1699585"/>
                <a:gd name="connsiteX35" fmla="*/ 111977 w 1881147"/>
                <a:gd name="connsiteY35" fmla="*/ 686903 h 1699585"/>
                <a:gd name="connsiteX36" fmla="*/ 112334 w 1881147"/>
                <a:gd name="connsiteY36" fmla="*/ 757162 h 1699585"/>
                <a:gd name="connsiteX37" fmla="*/ 167161 w 1881147"/>
                <a:gd name="connsiteY37" fmla="*/ 787604 h 1699585"/>
                <a:gd name="connsiteX38" fmla="*/ 236159 w 1881147"/>
                <a:gd name="connsiteY38" fmla="*/ 797816 h 1699585"/>
                <a:gd name="connsiteX39" fmla="*/ 271462 w 1881147"/>
                <a:gd name="connsiteY39" fmla="*/ 853787 h 1699585"/>
                <a:gd name="connsiteX40" fmla="*/ 270869 w 1881147"/>
                <a:gd name="connsiteY40" fmla="*/ 898859 h 1699585"/>
                <a:gd name="connsiteX41" fmla="*/ 295393 w 1881147"/>
                <a:gd name="connsiteY41" fmla="*/ 938334 h 1699585"/>
                <a:gd name="connsiteX42" fmla="*/ 341051 w 1881147"/>
                <a:gd name="connsiteY42" fmla="*/ 976926 h 1699585"/>
                <a:gd name="connsiteX43" fmla="*/ 426184 w 1881147"/>
                <a:gd name="connsiteY43" fmla="*/ 1031178 h 1699585"/>
                <a:gd name="connsiteX44" fmla="*/ 461961 w 1881147"/>
                <a:gd name="connsiteY44" fmla="*/ 1102271 h 1699585"/>
                <a:gd name="connsiteX45" fmla="*/ 441064 w 1881147"/>
                <a:gd name="connsiteY45" fmla="*/ 1171844 h 1699585"/>
                <a:gd name="connsiteX46" fmla="*/ 519111 w 1881147"/>
                <a:gd name="connsiteY46" fmla="*/ 1228307 h 1699585"/>
                <a:gd name="connsiteX47" fmla="*/ 591143 w 1881147"/>
                <a:gd name="connsiteY47" fmla="*/ 1261301 h 1699585"/>
                <a:gd name="connsiteX48" fmla="*/ 571974 w 1881147"/>
                <a:gd name="connsiteY48" fmla="*/ 1321004 h 1699585"/>
                <a:gd name="connsiteX49" fmla="*/ 662461 w 1881147"/>
                <a:gd name="connsiteY49" fmla="*/ 1473404 h 1699585"/>
                <a:gd name="connsiteX50" fmla="*/ 755271 w 1881147"/>
                <a:gd name="connsiteY50" fmla="*/ 1546558 h 1699585"/>
                <a:gd name="connsiteX51" fmla="*/ 805336 w 1881147"/>
                <a:gd name="connsiteY51" fmla="*/ 1497216 h 1699585"/>
                <a:gd name="connsiteX52" fmla="*/ 869926 w 1881147"/>
                <a:gd name="connsiteY52" fmla="*/ 1524613 h 1699585"/>
                <a:gd name="connsiteX53" fmla="*/ 924399 w 1881147"/>
                <a:gd name="connsiteY53" fmla="*/ 1492454 h 1699585"/>
                <a:gd name="connsiteX54" fmla="*/ 941246 w 1881147"/>
                <a:gd name="connsiteY54" fmla="*/ 1450278 h 1699585"/>
                <a:gd name="connsiteX55" fmla="*/ 1005123 w 1881147"/>
                <a:gd name="connsiteY55" fmla="*/ 1536690 h 1699585"/>
                <a:gd name="connsiteX56" fmla="*/ 1050190 w 1881147"/>
                <a:gd name="connsiteY56" fmla="*/ 1607784 h 1699585"/>
                <a:gd name="connsiteX57" fmla="*/ 1120136 w 1881147"/>
                <a:gd name="connsiteY57" fmla="*/ 1699303 h 1699585"/>
                <a:gd name="connsiteX58" fmla="*/ 1151034 w 1881147"/>
                <a:gd name="connsiteY58" fmla="*/ 1636212 h 1699585"/>
                <a:gd name="connsiteX59" fmla="*/ 1181693 w 1881147"/>
                <a:gd name="connsiteY59" fmla="*/ 1629732 h 1699585"/>
                <a:gd name="connsiteX60" fmla="*/ 1224792 w 1881147"/>
                <a:gd name="connsiteY60" fmla="*/ 1658995 h 1699585"/>
                <a:gd name="connsiteX61" fmla="*/ 1258367 w 1881147"/>
                <a:gd name="connsiteY61" fmla="*/ 1618341 h 1699585"/>
                <a:gd name="connsiteX62" fmla="*/ 1277188 w 1881147"/>
                <a:gd name="connsiteY62" fmla="*/ 1622958 h 1699585"/>
                <a:gd name="connsiteX63" fmla="*/ 1311230 w 1881147"/>
                <a:gd name="connsiteY63" fmla="*/ 1689435 h 1699585"/>
                <a:gd name="connsiteX64" fmla="*/ 1367786 w 1881147"/>
                <a:gd name="connsiteY64" fmla="*/ 1665966 h 1699585"/>
                <a:gd name="connsiteX65" fmla="*/ 1419818 w 1881147"/>
                <a:gd name="connsiteY65" fmla="*/ 1609845 h 1699585"/>
                <a:gd name="connsiteX66" fmla="*/ 1470595 w 1881147"/>
                <a:gd name="connsiteY66" fmla="*/ 1593302 h 1699585"/>
                <a:gd name="connsiteX67" fmla="*/ 1488274 w 1881147"/>
                <a:gd name="connsiteY67" fmla="*/ 1649124 h 1699585"/>
                <a:gd name="connsiteX68" fmla="*/ 1558169 w 1881147"/>
                <a:gd name="connsiteY68" fmla="*/ 1623446 h 1699585"/>
                <a:gd name="connsiteX69" fmla="*/ 1588947 w 1881147"/>
                <a:gd name="connsiteY69" fmla="*/ 1536690 h 1699585"/>
                <a:gd name="connsiteX70" fmla="*/ 1670383 w 1881147"/>
                <a:gd name="connsiteY70" fmla="*/ 1446548 h 1699585"/>
                <a:gd name="connsiteX71" fmla="*/ 1714974 w 1881147"/>
                <a:gd name="connsiteY71" fmla="*/ 1415418 h 1699585"/>
                <a:gd name="connsiteX72" fmla="*/ 1743343 w 1881147"/>
                <a:gd name="connsiteY72" fmla="*/ 1418713 h 1699585"/>
                <a:gd name="connsiteX73" fmla="*/ 1820935 w 1881147"/>
                <a:gd name="connsiteY73" fmla="*/ 1408105 h 1699585"/>
                <a:gd name="connsiteX74" fmla="*/ 1816054 w 1881147"/>
                <a:gd name="connsiteY74" fmla="*/ 1461669 h 1699585"/>
                <a:gd name="connsiteX75" fmla="*/ 1874221 w 1881147"/>
                <a:gd name="connsiteY75" fmla="*/ 1484990 h 1699585"/>
                <a:gd name="connsiteX76" fmla="*/ 1875829 w 1881147"/>
                <a:gd name="connsiteY76" fmla="*/ 1462356 h 1699585"/>
                <a:gd name="connsiteX77" fmla="*/ 1875051 w 1881147"/>
                <a:gd name="connsiteY77" fmla="*/ 1401622 h 1699585"/>
                <a:gd name="connsiteX78" fmla="*/ 1853086 w 1881147"/>
                <a:gd name="connsiteY78" fmla="*/ 1311479 h 1699585"/>
                <a:gd name="connsiteX79" fmla="*/ 1853086 w 1881147"/>
                <a:gd name="connsiteY79" fmla="*/ 1254329 h 1699585"/>
                <a:gd name="connsiteX80" fmla="*/ 1810224 w 1881147"/>
                <a:gd name="connsiteY80" fmla="*/ 1244804 h 1699585"/>
                <a:gd name="connsiteX81" fmla="*/ 1734024 w 1881147"/>
                <a:gd name="connsiteY81" fmla="*/ 1163841 h 1699585"/>
                <a:gd name="connsiteX82" fmla="*/ 1695924 w 1881147"/>
                <a:gd name="connsiteY82" fmla="*/ 982866 h 1699585"/>
                <a:gd name="connsiteX83" fmla="*/ 1643536 w 1881147"/>
                <a:gd name="connsiteY83" fmla="*/ 949529 h 1699585"/>
                <a:gd name="connsiteX84" fmla="*/ 1605436 w 1881147"/>
                <a:gd name="connsiteY84" fmla="*/ 892379 h 1699585"/>
                <a:gd name="connsiteX85" fmla="*/ 1557811 w 1881147"/>
                <a:gd name="connsiteY85" fmla="*/ 844754 h 1699585"/>
                <a:gd name="connsiteX86" fmla="*/ 1505424 w 1881147"/>
                <a:gd name="connsiteY86" fmla="*/ 825704 h 1699585"/>
                <a:gd name="connsiteX87" fmla="*/ 1453036 w 1881147"/>
                <a:gd name="connsiteY87" fmla="*/ 820941 h 1699585"/>
                <a:gd name="connsiteX88" fmla="*/ 1510186 w 1881147"/>
                <a:gd name="connsiteY88" fmla="*/ 787604 h 1699585"/>
                <a:gd name="connsiteX89" fmla="*/ 1476849 w 1881147"/>
                <a:gd name="connsiteY89" fmla="*/ 754266 h 1699585"/>
                <a:gd name="connsiteX90" fmla="*/ 1481611 w 1881147"/>
                <a:gd name="connsiteY90" fmla="*/ 730454 h 1699585"/>
                <a:gd name="connsiteX91" fmla="*/ 1572099 w 1881147"/>
                <a:gd name="connsiteY91" fmla="*/ 768554 h 1699585"/>
                <a:gd name="connsiteX92" fmla="*/ 1624486 w 1881147"/>
                <a:gd name="connsiteY92" fmla="*/ 701879 h 1699585"/>
                <a:gd name="connsiteX93" fmla="*/ 1622283 w 1881147"/>
                <a:gd name="connsiteY93" fmla="*/ 559004 h 1699585"/>
                <a:gd name="connsiteX94" fmla="*/ 1639486 w 1881147"/>
                <a:gd name="connsiteY94" fmla="*/ 410678 h 1699585"/>
                <a:gd name="connsiteX0" fmla="*/ 1639486 w 1881147"/>
                <a:gd name="connsiteY0" fmla="*/ 419377 h 1708284"/>
                <a:gd name="connsiteX1" fmla="*/ 1567336 w 1881147"/>
                <a:gd name="connsiteY1" fmla="*/ 386728 h 1708284"/>
                <a:gd name="connsiteX2" fmla="*/ 1477087 w 1881147"/>
                <a:gd name="connsiteY2" fmla="*/ 362915 h 1708284"/>
                <a:gd name="connsiteX3" fmla="*/ 1423767 w 1881147"/>
                <a:gd name="connsiteY3" fmla="*/ 285831 h 1708284"/>
                <a:gd name="connsiteX4" fmla="*/ 1400666 w 1881147"/>
                <a:gd name="connsiteY4" fmla="*/ 183986 h 1708284"/>
                <a:gd name="connsiteX5" fmla="*/ 1364769 w 1881147"/>
                <a:gd name="connsiteY5" fmla="*/ 15924 h 1708284"/>
                <a:gd name="connsiteX6" fmla="*/ 1297400 w 1881147"/>
                <a:gd name="connsiteY6" fmla="*/ 57622 h 1708284"/>
                <a:gd name="connsiteX7" fmla="*/ 1291832 w 1881147"/>
                <a:gd name="connsiteY7" fmla="*/ 115145 h 1708284"/>
                <a:gd name="connsiteX8" fmla="*/ 1275927 w 1881147"/>
                <a:gd name="connsiteY8" fmla="*/ 166358 h 1708284"/>
                <a:gd name="connsiteX9" fmla="*/ 1214911 w 1881147"/>
                <a:gd name="connsiteY9" fmla="*/ 172415 h 1708284"/>
                <a:gd name="connsiteX10" fmla="*/ 1186336 w 1881147"/>
                <a:gd name="connsiteY10" fmla="*/ 200990 h 1708284"/>
                <a:gd name="connsiteX11" fmla="*/ 1176811 w 1881147"/>
                <a:gd name="connsiteY11" fmla="*/ 272428 h 1708284"/>
                <a:gd name="connsiteX12" fmla="*/ 1114899 w 1881147"/>
                <a:gd name="connsiteY12" fmla="*/ 315290 h 1708284"/>
                <a:gd name="connsiteX13" fmla="*/ 1005361 w 1881147"/>
                <a:gd name="connsiteY13" fmla="*/ 329578 h 1708284"/>
                <a:gd name="connsiteX14" fmla="*/ 962499 w 1881147"/>
                <a:gd name="connsiteY14" fmla="*/ 372440 h 1708284"/>
                <a:gd name="connsiteX15" fmla="*/ 838674 w 1881147"/>
                <a:gd name="connsiteY15" fmla="*/ 372440 h 1708284"/>
                <a:gd name="connsiteX16" fmla="*/ 781524 w 1881147"/>
                <a:gd name="connsiteY16" fmla="*/ 443878 h 1708284"/>
                <a:gd name="connsiteX17" fmla="*/ 781524 w 1881147"/>
                <a:gd name="connsiteY17" fmla="*/ 477215 h 1708284"/>
                <a:gd name="connsiteX18" fmla="*/ 743424 w 1881147"/>
                <a:gd name="connsiteY18" fmla="*/ 501028 h 1708284"/>
                <a:gd name="connsiteX19" fmla="*/ 671986 w 1881147"/>
                <a:gd name="connsiteY19" fmla="*/ 434353 h 1708284"/>
                <a:gd name="connsiteX20" fmla="*/ 519586 w 1881147"/>
                <a:gd name="connsiteY20" fmla="*/ 429590 h 1708284"/>
                <a:gd name="connsiteX21" fmla="*/ 457674 w 1881147"/>
                <a:gd name="connsiteY21" fmla="*/ 448640 h 1708284"/>
                <a:gd name="connsiteX22" fmla="*/ 419574 w 1881147"/>
                <a:gd name="connsiteY22" fmla="*/ 434353 h 1708284"/>
                <a:gd name="connsiteX23" fmla="*/ 400524 w 1881147"/>
                <a:gd name="connsiteY23" fmla="*/ 372440 h 1708284"/>
                <a:gd name="connsiteX24" fmla="*/ 333849 w 1881147"/>
                <a:gd name="connsiteY24" fmla="*/ 320053 h 1708284"/>
                <a:gd name="connsiteX25" fmla="*/ 286224 w 1881147"/>
                <a:gd name="connsiteY25" fmla="*/ 253378 h 1708284"/>
                <a:gd name="connsiteX26" fmla="*/ 143349 w 1881147"/>
                <a:gd name="connsiteY26" fmla="*/ 272428 h 1708284"/>
                <a:gd name="connsiteX27" fmla="*/ 124299 w 1881147"/>
                <a:gd name="connsiteY27" fmla="*/ 348628 h 1708284"/>
                <a:gd name="connsiteX28" fmla="*/ 110011 w 1881147"/>
                <a:gd name="connsiteY28" fmla="*/ 381965 h 1708284"/>
                <a:gd name="connsiteX29" fmla="*/ 133824 w 1881147"/>
                <a:gd name="connsiteY29" fmla="*/ 429590 h 1708284"/>
                <a:gd name="connsiteX30" fmla="*/ 81436 w 1881147"/>
                <a:gd name="connsiteY30" fmla="*/ 467690 h 1708284"/>
                <a:gd name="connsiteX31" fmla="*/ 33811 w 1881147"/>
                <a:gd name="connsiteY31" fmla="*/ 462928 h 1708284"/>
                <a:gd name="connsiteX32" fmla="*/ 33811 w 1881147"/>
                <a:gd name="connsiteY32" fmla="*/ 534365 h 1708284"/>
                <a:gd name="connsiteX33" fmla="*/ 474 w 1881147"/>
                <a:gd name="connsiteY33" fmla="*/ 639140 h 1708284"/>
                <a:gd name="connsiteX34" fmla="*/ 62386 w 1881147"/>
                <a:gd name="connsiteY34" fmla="*/ 715340 h 1708284"/>
                <a:gd name="connsiteX35" fmla="*/ 111977 w 1881147"/>
                <a:gd name="connsiteY35" fmla="*/ 695602 h 1708284"/>
                <a:gd name="connsiteX36" fmla="*/ 112334 w 1881147"/>
                <a:gd name="connsiteY36" fmla="*/ 765861 h 1708284"/>
                <a:gd name="connsiteX37" fmla="*/ 167161 w 1881147"/>
                <a:gd name="connsiteY37" fmla="*/ 796303 h 1708284"/>
                <a:gd name="connsiteX38" fmla="*/ 236159 w 1881147"/>
                <a:gd name="connsiteY38" fmla="*/ 806515 h 1708284"/>
                <a:gd name="connsiteX39" fmla="*/ 271462 w 1881147"/>
                <a:gd name="connsiteY39" fmla="*/ 862486 h 1708284"/>
                <a:gd name="connsiteX40" fmla="*/ 270869 w 1881147"/>
                <a:gd name="connsiteY40" fmla="*/ 907558 h 1708284"/>
                <a:gd name="connsiteX41" fmla="*/ 295393 w 1881147"/>
                <a:gd name="connsiteY41" fmla="*/ 947033 h 1708284"/>
                <a:gd name="connsiteX42" fmla="*/ 341051 w 1881147"/>
                <a:gd name="connsiteY42" fmla="*/ 985625 h 1708284"/>
                <a:gd name="connsiteX43" fmla="*/ 426184 w 1881147"/>
                <a:gd name="connsiteY43" fmla="*/ 1039877 h 1708284"/>
                <a:gd name="connsiteX44" fmla="*/ 461961 w 1881147"/>
                <a:gd name="connsiteY44" fmla="*/ 1110970 h 1708284"/>
                <a:gd name="connsiteX45" fmla="*/ 441064 w 1881147"/>
                <a:gd name="connsiteY45" fmla="*/ 1180543 h 1708284"/>
                <a:gd name="connsiteX46" fmla="*/ 519111 w 1881147"/>
                <a:gd name="connsiteY46" fmla="*/ 1237006 h 1708284"/>
                <a:gd name="connsiteX47" fmla="*/ 591143 w 1881147"/>
                <a:gd name="connsiteY47" fmla="*/ 1270000 h 1708284"/>
                <a:gd name="connsiteX48" fmla="*/ 571974 w 1881147"/>
                <a:gd name="connsiteY48" fmla="*/ 1329703 h 1708284"/>
                <a:gd name="connsiteX49" fmla="*/ 662461 w 1881147"/>
                <a:gd name="connsiteY49" fmla="*/ 1482103 h 1708284"/>
                <a:gd name="connsiteX50" fmla="*/ 755271 w 1881147"/>
                <a:gd name="connsiteY50" fmla="*/ 1555257 h 1708284"/>
                <a:gd name="connsiteX51" fmla="*/ 805336 w 1881147"/>
                <a:gd name="connsiteY51" fmla="*/ 1505915 h 1708284"/>
                <a:gd name="connsiteX52" fmla="*/ 869926 w 1881147"/>
                <a:gd name="connsiteY52" fmla="*/ 1533312 h 1708284"/>
                <a:gd name="connsiteX53" fmla="*/ 924399 w 1881147"/>
                <a:gd name="connsiteY53" fmla="*/ 1501153 h 1708284"/>
                <a:gd name="connsiteX54" fmla="*/ 941246 w 1881147"/>
                <a:gd name="connsiteY54" fmla="*/ 1458977 h 1708284"/>
                <a:gd name="connsiteX55" fmla="*/ 1005123 w 1881147"/>
                <a:gd name="connsiteY55" fmla="*/ 1545389 h 1708284"/>
                <a:gd name="connsiteX56" fmla="*/ 1050190 w 1881147"/>
                <a:gd name="connsiteY56" fmla="*/ 1616483 h 1708284"/>
                <a:gd name="connsiteX57" fmla="*/ 1120136 w 1881147"/>
                <a:gd name="connsiteY57" fmla="*/ 1708002 h 1708284"/>
                <a:gd name="connsiteX58" fmla="*/ 1151034 w 1881147"/>
                <a:gd name="connsiteY58" fmla="*/ 1644911 h 1708284"/>
                <a:gd name="connsiteX59" fmla="*/ 1181693 w 1881147"/>
                <a:gd name="connsiteY59" fmla="*/ 1638431 h 1708284"/>
                <a:gd name="connsiteX60" fmla="*/ 1224792 w 1881147"/>
                <a:gd name="connsiteY60" fmla="*/ 1667694 h 1708284"/>
                <a:gd name="connsiteX61" fmla="*/ 1258367 w 1881147"/>
                <a:gd name="connsiteY61" fmla="*/ 1627040 h 1708284"/>
                <a:gd name="connsiteX62" fmla="*/ 1277188 w 1881147"/>
                <a:gd name="connsiteY62" fmla="*/ 1631657 h 1708284"/>
                <a:gd name="connsiteX63" fmla="*/ 1311230 w 1881147"/>
                <a:gd name="connsiteY63" fmla="*/ 1698134 h 1708284"/>
                <a:gd name="connsiteX64" fmla="*/ 1367786 w 1881147"/>
                <a:gd name="connsiteY64" fmla="*/ 1674665 h 1708284"/>
                <a:gd name="connsiteX65" fmla="*/ 1419818 w 1881147"/>
                <a:gd name="connsiteY65" fmla="*/ 1618544 h 1708284"/>
                <a:gd name="connsiteX66" fmla="*/ 1470595 w 1881147"/>
                <a:gd name="connsiteY66" fmla="*/ 1602001 h 1708284"/>
                <a:gd name="connsiteX67" fmla="*/ 1488274 w 1881147"/>
                <a:gd name="connsiteY67" fmla="*/ 1657823 h 1708284"/>
                <a:gd name="connsiteX68" fmla="*/ 1558169 w 1881147"/>
                <a:gd name="connsiteY68" fmla="*/ 1632145 h 1708284"/>
                <a:gd name="connsiteX69" fmla="*/ 1588947 w 1881147"/>
                <a:gd name="connsiteY69" fmla="*/ 1545389 h 1708284"/>
                <a:gd name="connsiteX70" fmla="*/ 1670383 w 1881147"/>
                <a:gd name="connsiteY70" fmla="*/ 1455247 h 1708284"/>
                <a:gd name="connsiteX71" fmla="*/ 1714974 w 1881147"/>
                <a:gd name="connsiteY71" fmla="*/ 1424117 h 1708284"/>
                <a:gd name="connsiteX72" fmla="*/ 1743343 w 1881147"/>
                <a:gd name="connsiteY72" fmla="*/ 1427412 h 1708284"/>
                <a:gd name="connsiteX73" fmla="*/ 1820935 w 1881147"/>
                <a:gd name="connsiteY73" fmla="*/ 1416804 h 1708284"/>
                <a:gd name="connsiteX74" fmla="*/ 1816054 w 1881147"/>
                <a:gd name="connsiteY74" fmla="*/ 1470368 h 1708284"/>
                <a:gd name="connsiteX75" fmla="*/ 1874221 w 1881147"/>
                <a:gd name="connsiteY75" fmla="*/ 1493689 h 1708284"/>
                <a:gd name="connsiteX76" fmla="*/ 1875829 w 1881147"/>
                <a:gd name="connsiteY76" fmla="*/ 1471055 h 1708284"/>
                <a:gd name="connsiteX77" fmla="*/ 1875051 w 1881147"/>
                <a:gd name="connsiteY77" fmla="*/ 1410321 h 1708284"/>
                <a:gd name="connsiteX78" fmla="*/ 1853086 w 1881147"/>
                <a:gd name="connsiteY78" fmla="*/ 1320178 h 1708284"/>
                <a:gd name="connsiteX79" fmla="*/ 1853086 w 1881147"/>
                <a:gd name="connsiteY79" fmla="*/ 1263028 h 1708284"/>
                <a:gd name="connsiteX80" fmla="*/ 1810224 w 1881147"/>
                <a:gd name="connsiteY80" fmla="*/ 1253503 h 1708284"/>
                <a:gd name="connsiteX81" fmla="*/ 1734024 w 1881147"/>
                <a:gd name="connsiteY81" fmla="*/ 1172540 h 1708284"/>
                <a:gd name="connsiteX82" fmla="*/ 1695924 w 1881147"/>
                <a:gd name="connsiteY82" fmla="*/ 991565 h 1708284"/>
                <a:gd name="connsiteX83" fmla="*/ 1643536 w 1881147"/>
                <a:gd name="connsiteY83" fmla="*/ 958228 h 1708284"/>
                <a:gd name="connsiteX84" fmla="*/ 1605436 w 1881147"/>
                <a:gd name="connsiteY84" fmla="*/ 901078 h 1708284"/>
                <a:gd name="connsiteX85" fmla="*/ 1557811 w 1881147"/>
                <a:gd name="connsiteY85" fmla="*/ 853453 h 1708284"/>
                <a:gd name="connsiteX86" fmla="*/ 1505424 w 1881147"/>
                <a:gd name="connsiteY86" fmla="*/ 834403 h 1708284"/>
                <a:gd name="connsiteX87" fmla="*/ 1453036 w 1881147"/>
                <a:gd name="connsiteY87" fmla="*/ 829640 h 1708284"/>
                <a:gd name="connsiteX88" fmla="*/ 1510186 w 1881147"/>
                <a:gd name="connsiteY88" fmla="*/ 796303 h 1708284"/>
                <a:gd name="connsiteX89" fmla="*/ 1476849 w 1881147"/>
                <a:gd name="connsiteY89" fmla="*/ 762965 h 1708284"/>
                <a:gd name="connsiteX90" fmla="*/ 1481611 w 1881147"/>
                <a:gd name="connsiteY90" fmla="*/ 739153 h 1708284"/>
                <a:gd name="connsiteX91" fmla="*/ 1572099 w 1881147"/>
                <a:gd name="connsiteY91" fmla="*/ 777253 h 1708284"/>
                <a:gd name="connsiteX92" fmla="*/ 1624486 w 1881147"/>
                <a:gd name="connsiteY92" fmla="*/ 710578 h 1708284"/>
                <a:gd name="connsiteX93" fmla="*/ 1622283 w 1881147"/>
                <a:gd name="connsiteY93" fmla="*/ 567703 h 1708284"/>
                <a:gd name="connsiteX94" fmla="*/ 1639486 w 1881147"/>
                <a:gd name="connsiteY94" fmla="*/ 419377 h 1708284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14911 w 1881147"/>
                <a:gd name="connsiteY9" fmla="*/ 158360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19586 w 1881147"/>
                <a:gd name="connsiteY22" fmla="*/ 415535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46620 w 1881147"/>
                <a:gd name="connsiteY30" fmla="*/ 390888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3877 w 1881147"/>
                <a:gd name="connsiteY32" fmla="*/ 474059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538 w 1881199"/>
                <a:gd name="connsiteY0" fmla="*/ 405322 h 1694229"/>
                <a:gd name="connsiteX1" fmla="*/ 1567388 w 1881199"/>
                <a:gd name="connsiteY1" fmla="*/ 372673 h 1694229"/>
                <a:gd name="connsiteX2" fmla="*/ 1477139 w 1881199"/>
                <a:gd name="connsiteY2" fmla="*/ 348860 h 1694229"/>
                <a:gd name="connsiteX3" fmla="*/ 1423819 w 1881199"/>
                <a:gd name="connsiteY3" fmla="*/ 271776 h 1694229"/>
                <a:gd name="connsiteX4" fmla="*/ 1400718 w 1881199"/>
                <a:gd name="connsiteY4" fmla="*/ 169931 h 1694229"/>
                <a:gd name="connsiteX5" fmla="*/ 1364821 w 1881199"/>
                <a:gd name="connsiteY5" fmla="*/ 1869 h 1694229"/>
                <a:gd name="connsiteX6" fmla="*/ 1297452 w 1881199"/>
                <a:gd name="connsiteY6" fmla="*/ 43567 h 1694229"/>
                <a:gd name="connsiteX7" fmla="*/ 1291884 w 1881199"/>
                <a:gd name="connsiteY7" fmla="*/ 101090 h 1694229"/>
                <a:gd name="connsiteX8" fmla="*/ 1275979 w 1881199"/>
                <a:gd name="connsiteY8" fmla="*/ 152303 h 1694229"/>
                <a:gd name="connsiteX9" fmla="*/ 1256454 w 1881199"/>
                <a:gd name="connsiteY9" fmla="*/ 204316 h 1694229"/>
                <a:gd name="connsiteX10" fmla="*/ 1254725 w 1881199"/>
                <a:gd name="connsiteY10" fmla="*/ 273739 h 1694229"/>
                <a:gd name="connsiteX11" fmla="*/ 1181744 w 1881199"/>
                <a:gd name="connsiteY11" fmla="*/ 283903 h 1694229"/>
                <a:gd name="connsiteX12" fmla="*/ 1117391 w 1881199"/>
                <a:gd name="connsiteY12" fmla="*/ 285917 h 1694229"/>
                <a:gd name="connsiteX13" fmla="*/ 1069790 w 1881199"/>
                <a:gd name="connsiteY13" fmla="*/ 346183 h 1694229"/>
                <a:gd name="connsiteX14" fmla="*/ 1015175 w 1881199"/>
                <a:gd name="connsiteY14" fmla="*/ 371690 h 1694229"/>
                <a:gd name="connsiteX15" fmla="*/ 962551 w 1881199"/>
                <a:gd name="connsiteY15" fmla="*/ 358385 h 1694229"/>
                <a:gd name="connsiteX16" fmla="*/ 855811 w 1881199"/>
                <a:gd name="connsiteY16" fmla="*/ 376257 h 1694229"/>
                <a:gd name="connsiteX17" fmla="*/ 832828 w 1881199"/>
                <a:gd name="connsiteY17" fmla="*/ 440035 h 1694229"/>
                <a:gd name="connsiteX18" fmla="*/ 815745 w 1881199"/>
                <a:gd name="connsiteY18" fmla="*/ 475926 h 1694229"/>
                <a:gd name="connsiteX19" fmla="*/ 733714 w 1881199"/>
                <a:gd name="connsiteY19" fmla="*/ 494632 h 1694229"/>
                <a:gd name="connsiteX20" fmla="*/ 715902 w 1881199"/>
                <a:gd name="connsiteY20" fmla="*/ 440647 h 1694229"/>
                <a:gd name="connsiteX21" fmla="*/ 672038 w 1881199"/>
                <a:gd name="connsiteY21" fmla="*/ 420298 h 1694229"/>
                <a:gd name="connsiteX22" fmla="*/ 536722 w 1881199"/>
                <a:gd name="connsiteY22" fmla="*/ 420641 h 1694229"/>
                <a:gd name="connsiteX23" fmla="*/ 452845 w 1881199"/>
                <a:gd name="connsiteY23" fmla="*/ 447350 h 1694229"/>
                <a:gd name="connsiteX24" fmla="*/ 419626 w 1881199"/>
                <a:gd name="connsiteY24" fmla="*/ 420298 h 1694229"/>
                <a:gd name="connsiteX25" fmla="*/ 400576 w 1881199"/>
                <a:gd name="connsiteY25" fmla="*/ 358385 h 1694229"/>
                <a:gd name="connsiteX26" fmla="*/ 333901 w 1881199"/>
                <a:gd name="connsiteY26" fmla="*/ 305998 h 1694229"/>
                <a:gd name="connsiteX27" fmla="*/ 288716 w 1881199"/>
                <a:gd name="connsiteY27" fmla="*/ 229110 h 1694229"/>
                <a:gd name="connsiteX28" fmla="*/ 165366 w 1881199"/>
                <a:gd name="connsiteY28" fmla="*/ 258373 h 1694229"/>
                <a:gd name="connsiteX29" fmla="*/ 146316 w 1881199"/>
                <a:gd name="connsiteY29" fmla="*/ 344785 h 1694229"/>
                <a:gd name="connsiteX30" fmla="*/ 163756 w 1881199"/>
                <a:gd name="connsiteY30" fmla="*/ 411312 h 1694229"/>
                <a:gd name="connsiteX31" fmla="*/ 136317 w 1881199"/>
                <a:gd name="connsiteY31" fmla="*/ 446172 h 1694229"/>
                <a:gd name="connsiteX32" fmla="*/ 83929 w 1881199"/>
                <a:gd name="connsiteY32" fmla="*/ 474059 h 1694229"/>
                <a:gd name="connsiteX33" fmla="*/ 55828 w 1881199"/>
                <a:gd name="connsiteY33" fmla="*/ 482063 h 1694229"/>
                <a:gd name="connsiteX34" fmla="*/ 33863 w 1881199"/>
                <a:gd name="connsiteY34" fmla="*/ 520310 h 1694229"/>
                <a:gd name="connsiteX35" fmla="*/ 526 w 1881199"/>
                <a:gd name="connsiteY35" fmla="*/ 625085 h 1694229"/>
                <a:gd name="connsiteX36" fmla="*/ 62438 w 1881199"/>
                <a:gd name="connsiteY36" fmla="*/ 701285 h 1694229"/>
                <a:gd name="connsiteX37" fmla="*/ 112029 w 1881199"/>
                <a:gd name="connsiteY37" fmla="*/ 681547 h 1694229"/>
                <a:gd name="connsiteX38" fmla="*/ 112386 w 1881199"/>
                <a:gd name="connsiteY38" fmla="*/ 751806 h 1694229"/>
                <a:gd name="connsiteX39" fmla="*/ 167213 w 1881199"/>
                <a:gd name="connsiteY39" fmla="*/ 782248 h 1694229"/>
                <a:gd name="connsiteX40" fmla="*/ 236211 w 1881199"/>
                <a:gd name="connsiteY40" fmla="*/ 792460 h 1694229"/>
                <a:gd name="connsiteX41" fmla="*/ 271514 w 1881199"/>
                <a:gd name="connsiteY41" fmla="*/ 848431 h 1694229"/>
                <a:gd name="connsiteX42" fmla="*/ 270921 w 1881199"/>
                <a:gd name="connsiteY42" fmla="*/ 893503 h 1694229"/>
                <a:gd name="connsiteX43" fmla="*/ 295445 w 1881199"/>
                <a:gd name="connsiteY43" fmla="*/ 932978 h 1694229"/>
                <a:gd name="connsiteX44" fmla="*/ 341103 w 1881199"/>
                <a:gd name="connsiteY44" fmla="*/ 971570 h 1694229"/>
                <a:gd name="connsiteX45" fmla="*/ 426236 w 1881199"/>
                <a:gd name="connsiteY45" fmla="*/ 1025822 h 1694229"/>
                <a:gd name="connsiteX46" fmla="*/ 462013 w 1881199"/>
                <a:gd name="connsiteY46" fmla="*/ 1096915 h 1694229"/>
                <a:gd name="connsiteX47" fmla="*/ 441116 w 1881199"/>
                <a:gd name="connsiteY47" fmla="*/ 1166488 h 1694229"/>
                <a:gd name="connsiteX48" fmla="*/ 519163 w 1881199"/>
                <a:gd name="connsiteY48" fmla="*/ 1222951 h 1694229"/>
                <a:gd name="connsiteX49" fmla="*/ 591195 w 1881199"/>
                <a:gd name="connsiteY49" fmla="*/ 1255945 h 1694229"/>
                <a:gd name="connsiteX50" fmla="*/ 572026 w 1881199"/>
                <a:gd name="connsiteY50" fmla="*/ 1315648 h 1694229"/>
                <a:gd name="connsiteX51" fmla="*/ 662513 w 1881199"/>
                <a:gd name="connsiteY51" fmla="*/ 1468048 h 1694229"/>
                <a:gd name="connsiteX52" fmla="*/ 755323 w 1881199"/>
                <a:gd name="connsiteY52" fmla="*/ 1541202 h 1694229"/>
                <a:gd name="connsiteX53" fmla="*/ 805388 w 1881199"/>
                <a:gd name="connsiteY53" fmla="*/ 1491860 h 1694229"/>
                <a:gd name="connsiteX54" fmla="*/ 869978 w 1881199"/>
                <a:gd name="connsiteY54" fmla="*/ 1519257 h 1694229"/>
                <a:gd name="connsiteX55" fmla="*/ 924451 w 1881199"/>
                <a:gd name="connsiteY55" fmla="*/ 1487098 h 1694229"/>
                <a:gd name="connsiteX56" fmla="*/ 941298 w 1881199"/>
                <a:gd name="connsiteY56" fmla="*/ 1444922 h 1694229"/>
                <a:gd name="connsiteX57" fmla="*/ 1005175 w 1881199"/>
                <a:gd name="connsiteY57" fmla="*/ 1531334 h 1694229"/>
                <a:gd name="connsiteX58" fmla="*/ 1050242 w 1881199"/>
                <a:gd name="connsiteY58" fmla="*/ 1602428 h 1694229"/>
                <a:gd name="connsiteX59" fmla="*/ 1120188 w 1881199"/>
                <a:gd name="connsiteY59" fmla="*/ 1693947 h 1694229"/>
                <a:gd name="connsiteX60" fmla="*/ 1151086 w 1881199"/>
                <a:gd name="connsiteY60" fmla="*/ 1630856 h 1694229"/>
                <a:gd name="connsiteX61" fmla="*/ 1181745 w 1881199"/>
                <a:gd name="connsiteY61" fmla="*/ 1624376 h 1694229"/>
                <a:gd name="connsiteX62" fmla="*/ 1224844 w 1881199"/>
                <a:gd name="connsiteY62" fmla="*/ 1653639 h 1694229"/>
                <a:gd name="connsiteX63" fmla="*/ 1258419 w 1881199"/>
                <a:gd name="connsiteY63" fmla="*/ 1612985 h 1694229"/>
                <a:gd name="connsiteX64" fmla="*/ 1277240 w 1881199"/>
                <a:gd name="connsiteY64" fmla="*/ 1617602 h 1694229"/>
                <a:gd name="connsiteX65" fmla="*/ 1311282 w 1881199"/>
                <a:gd name="connsiteY65" fmla="*/ 1684079 h 1694229"/>
                <a:gd name="connsiteX66" fmla="*/ 1367838 w 1881199"/>
                <a:gd name="connsiteY66" fmla="*/ 1660610 h 1694229"/>
                <a:gd name="connsiteX67" fmla="*/ 1419870 w 1881199"/>
                <a:gd name="connsiteY67" fmla="*/ 1604489 h 1694229"/>
                <a:gd name="connsiteX68" fmla="*/ 1470647 w 1881199"/>
                <a:gd name="connsiteY68" fmla="*/ 1587946 h 1694229"/>
                <a:gd name="connsiteX69" fmla="*/ 1488326 w 1881199"/>
                <a:gd name="connsiteY69" fmla="*/ 1643768 h 1694229"/>
                <a:gd name="connsiteX70" fmla="*/ 1558221 w 1881199"/>
                <a:gd name="connsiteY70" fmla="*/ 1618090 h 1694229"/>
                <a:gd name="connsiteX71" fmla="*/ 1588999 w 1881199"/>
                <a:gd name="connsiteY71" fmla="*/ 1531334 h 1694229"/>
                <a:gd name="connsiteX72" fmla="*/ 1670435 w 1881199"/>
                <a:gd name="connsiteY72" fmla="*/ 1441192 h 1694229"/>
                <a:gd name="connsiteX73" fmla="*/ 1715026 w 1881199"/>
                <a:gd name="connsiteY73" fmla="*/ 1410062 h 1694229"/>
                <a:gd name="connsiteX74" fmla="*/ 1743395 w 1881199"/>
                <a:gd name="connsiteY74" fmla="*/ 1413357 h 1694229"/>
                <a:gd name="connsiteX75" fmla="*/ 1820987 w 1881199"/>
                <a:gd name="connsiteY75" fmla="*/ 1402749 h 1694229"/>
                <a:gd name="connsiteX76" fmla="*/ 1816106 w 1881199"/>
                <a:gd name="connsiteY76" fmla="*/ 1456313 h 1694229"/>
                <a:gd name="connsiteX77" fmla="*/ 1874273 w 1881199"/>
                <a:gd name="connsiteY77" fmla="*/ 1479634 h 1694229"/>
                <a:gd name="connsiteX78" fmla="*/ 1875881 w 1881199"/>
                <a:gd name="connsiteY78" fmla="*/ 1457000 h 1694229"/>
                <a:gd name="connsiteX79" fmla="*/ 1875103 w 1881199"/>
                <a:gd name="connsiteY79" fmla="*/ 1396266 h 1694229"/>
                <a:gd name="connsiteX80" fmla="*/ 1853138 w 1881199"/>
                <a:gd name="connsiteY80" fmla="*/ 1306123 h 1694229"/>
                <a:gd name="connsiteX81" fmla="*/ 1853138 w 1881199"/>
                <a:gd name="connsiteY81" fmla="*/ 1248973 h 1694229"/>
                <a:gd name="connsiteX82" fmla="*/ 1810276 w 1881199"/>
                <a:gd name="connsiteY82" fmla="*/ 1239448 h 1694229"/>
                <a:gd name="connsiteX83" fmla="*/ 1734076 w 1881199"/>
                <a:gd name="connsiteY83" fmla="*/ 1158485 h 1694229"/>
                <a:gd name="connsiteX84" fmla="*/ 1695976 w 1881199"/>
                <a:gd name="connsiteY84" fmla="*/ 977510 h 1694229"/>
                <a:gd name="connsiteX85" fmla="*/ 1643588 w 1881199"/>
                <a:gd name="connsiteY85" fmla="*/ 944173 h 1694229"/>
                <a:gd name="connsiteX86" fmla="*/ 1605488 w 1881199"/>
                <a:gd name="connsiteY86" fmla="*/ 887023 h 1694229"/>
                <a:gd name="connsiteX87" fmla="*/ 1557863 w 1881199"/>
                <a:gd name="connsiteY87" fmla="*/ 839398 h 1694229"/>
                <a:gd name="connsiteX88" fmla="*/ 1505476 w 1881199"/>
                <a:gd name="connsiteY88" fmla="*/ 820348 h 1694229"/>
                <a:gd name="connsiteX89" fmla="*/ 1453088 w 1881199"/>
                <a:gd name="connsiteY89" fmla="*/ 815585 h 1694229"/>
                <a:gd name="connsiteX90" fmla="*/ 1510238 w 1881199"/>
                <a:gd name="connsiteY90" fmla="*/ 782248 h 1694229"/>
                <a:gd name="connsiteX91" fmla="*/ 1476901 w 1881199"/>
                <a:gd name="connsiteY91" fmla="*/ 748910 h 1694229"/>
                <a:gd name="connsiteX92" fmla="*/ 1481663 w 1881199"/>
                <a:gd name="connsiteY92" fmla="*/ 725098 h 1694229"/>
                <a:gd name="connsiteX93" fmla="*/ 1572151 w 1881199"/>
                <a:gd name="connsiteY93" fmla="*/ 763198 h 1694229"/>
                <a:gd name="connsiteX94" fmla="*/ 1624538 w 1881199"/>
                <a:gd name="connsiteY94" fmla="*/ 696523 h 1694229"/>
                <a:gd name="connsiteX95" fmla="*/ 1622335 w 1881199"/>
                <a:gd name="connsiteY95" fmla="*/ 553648 h 1694229"/>
                <a:gd name="connsiteX96" fmla="*/ 1639538 w 1881199"/>
                <a:gd name="connsiteY96" fmla="*/ 405322 h 1694229"/>
                <a:gd name="connsiteX0" fmla="*/ 1620540 w 1862201"/>
                <a:gd name="connsiteY0" fmla="*/ 405322 h 1694229"/>
                <a:gd name="connsiteX1" fmla="*/ 1548390 w 1862201"/>
                <a:gd name="connsiteY1" fmla="*/ 372673 h 1694229"/>
                <a:gd name="connsiteX2" fmla="*/ 1458141 w 1862201"/>
                <a:gd name="connsiteY2" fmla="*/ 348860 h 1694229"/>
                <a:gd name="connsiteX3" fmla="*/ 1404821 w 1862201"/>
                <a:gd name="connsiteY3" fmla="*/ 271776 h 1694229"/>
                <a:gd name="connsiteX4" fmla="*/ 1381720 w 1862201"/>
                <a:gd name="connsiteY4" fmla="*/ 169931 h 1694229"/>
                <a:gd name="connsiteX5" fmla="*/ 1345823 w 1862201"/>
                <a:gd name="connsiteY5" fmla="*/ 1869 h 1694229"/>
                <a:gd name="connsiteX6" fmla="*/ 1278454 w 1862201"/>
                <a:gd name="connsiteY6" fmla="*/ 43567 h 1694229"/>
                <a:gd name="connsiteX7" fmla="*/ 1272886 w 1862201"/>
                <a:gd name="connsiteY7" fmla="*/ 101090 h 1694229"/>
                <a:gd name="connsiteX8" fmla="*/ 1256981 w 1862201"/>
                <a:gd name="connsiteY8" fmla="*/ 152303 h 1694229"/>
                <a:gd name="connsiteX9" fmla="*/ 1237456 w 1862201"/>
                <a:gd name="connsiteY9" fmla="*/ 204316 h 1694229"/>
                <a:gd name="connsiteX10" fmla="*/ 1235727 w 1862201"/>
                <a:gd name="connsiteY10" fmla="*/ 273739 h 1694229"/>
                <a:gd name="connsiteX11" fmla="*/ 1162746 w 1862201"/>
                <a:gd name="connsiteY11" fmla="*/ 283903 h 1694229"/>
                <a:gd name="connsiteX12" fmla="*/ 1098393 w 1862201"/>
                <a:gd name="connsiteY12" fmla="*/ 285917 h 1694229"/>
                <a:gd name="connsiteX13" fmla="*/ 1050792 w 1862201"/>
                <a:gd name="connsiteY13" fmla="*/ 346183 h 1694229"/>
                <a:gd name="connsiteX14" fmla="*/ 996177 w 1862201"/>
                <a:gd name="connsiteY14" fmla="*/ 371690 h 1694229"/>
                <a:gd name="connsiteX15" fmla="*/ 943553 w 1862201"/>
                <a:gd name="connsiteY15" fmla="*/ 358385 h 1694229"/>
                <a:gd name="connsiteX16" fmla="*/ 836813 w 1862201"/>
                <a:gd name="connsiteY16" fmla="*/ 376257 h 1694229"/>
                <a:gd name="connsiteX17" fmla="*/ 813830 w 1862201"/>
                <a:gd name="connsiteY17" fmla="*/ 440035 h 1694229"/>
                <a:gd name="connsiteX18" fmla="*/ 796747 w 1862201"/>
                <a:gd name="connsiteY18" fmla="*/ 475926 h 1694229"/>
                <a:gd name="connsiteX19" fmla="*/ 714716 w 1862201"/>
                <a:gd name="connsiteY19" fmla="*/ 494632 h 1694229"/>
                <a:gd name="connsiteX20" fmla="*/ 696904 w 1862201"/>
                <a:gd name="connsiteY20" fmla="*/ 440647 h 1694229"/>
                <a:gd name="connsiteX21" fmla="*/ 653040 w 1862201"/>
                <a:gd name="connsiteY21" fmla="*/ 420298 h 1694229"/>
                <a:gd name="connsiteX22" fmla="*/ 517724 w 1862201"/>
                <a:gd name="connsiteY22" fmla="*/ 420641 h 1694229"/>
                <a:gd name="connsiteX23" fmla="*/ 433847 w 1862201"/>
                <a:gd name="connsiteY23" fmla="*/ 447350 h 1694229"/>
                <a:gd name="connsiteX24" fmla="*/ 400628 w 1862201"/>
                <a:gd name="connsiteY24" fmla="*/ 420298 h 1694229"/>
                <a:gd name="connsiteX25" fmla="*/ 381578 w 1862201"/>
                <a:gd name="connsiteY25" fmla="*/ 358385 h 1694229"/>
                <a:gd name="connsiteX26" fmla="*/ 314903 w 1862201"/>
                <a:gd name="connsiteY26" fmla="*/ 305998 h 1694229"/>
                <a:gd name="connsiteX27" fmla="*/ 269718 w 1862201"/>
                <a:gd name="connsiteY27" fmla="*/ 229110 h 1694229"/>
                <a:gd name="connsiteX28" fmla="*/ 146368 w 1862201"/>
                <a:gd name="connsiteY28" fmla="*/ 258373 h 1694229"/>
                <a:gd name="connsiteX29" fmla="*/ 127318 w 1862201"/>
                <a:gd name="connsiteY29" fmla="*/ 344785 h 1694229"/>
                <a:gd name="connsiteX30" fmla="*/ 144758 w 1862201"/>
                <a:gd name="connsiteY30" fmla="*/ 411312 h 1694229"/>
                <a:gd name="connsiteX31" fmla="*/ 117319 w 1862201"/>
                <a:gd name="connsiteY31" fmla="*/ 446172 h 1694229"/>
                <a:gd name="connsiteX32" fmla="*/ 64931 w 1862201"/>
                <a:gd name="connsiteY32" fmla="*/ 474059 h 1694229"/>
                <a:gd name="connsiteX33" fmla="*/ 36830 w 1862201"/>
                <a:gd name="connsiteY33" fmla="*/ 482063 h 1694229"/>
                <a:gd name="connsiteX34" fmla="*/ 14865 w 1862201"/>
                <a:gd name="connsiteY34" fmla="*/ 520310 h 1694229"/>
                <a:gd name="connsiteX35" fmla="*/ 1053 w 1862201"/>
                <a:gd name="connsiteY35" fmla="*/ 632745 h 1694229"/>
                <a:gd name="connsiteX36" fmla="*/ 43440 w 1862201"/>
                <a:gd name="connsiteY36" fmla="*/ 701285 h 1694229"/>
                <a:gd name="connsiteX37" fmla="*/ 93031 w 1862201"/>
                <a:gd name="connsiteY37" fmla="*/ 681547 h 1694229"/>
                <a:gd name="connsiteX38" fmla="*/ 93388 w 1862201"/>
                <a:gd name="connsiteY38" fmla="*/ 751806 h 1694229"/>
                <a:gd name="connsiteX39" fmla="*/ 148215 w 1862201"/>
                <a:gd name="connsiteY39" fmla="*/ 782248 h 1694229"/>
                <a:gd name="connsiteX40" fmla="*/ 217213 w 1862201"/>
                <a:gd name="connsiteY40" fmla="*/ 792460 h 1694229"/>
                <a:gd name="connsiteX41" fmla="*/ 252516 w 1862201"/>
                <a:gd name="connsiteY41" fmla="*/ 848431 h 1694229"/>
                <a:gd name="connsiteX42" fmla="*/ 251923 w 1862201"/>
                <a:gd name="connsiteY42" fmla="*/ 893503 h 1694229"/>
                <a:gd name="connsiteX43" fmla="*/ 276447 w 1862201"/>
                <a:gd name="connsiteY43" fmla="*/ 932978 h 1694229"/>
                <a:gd name="connsiteX44" fmla="*/ 322105 w 1862201"/>
                <a:gd name="connsiteY44" fmla="*/ 971570 h 1694229"/>
                <a:gd name="connsiteX45" fmla="*/ 407238 w 1862201"/>
                <a:gd name="connsiteY45" fmla="*/ 1025822 h 1694229"/>
                <a:gd name="connsiteX46" fmla="*/ 443015 w 1862201"/>
                <a:gd name="connsiteY46" fmla="*/ 1096915 h 1694229"/>
                <a:gd name="connsiteX47" fmla="*/ 422118 w 1862201"/>
                <a:gd name="connsiteY47" fmla="*/ 1166488 h 1694229"/>
                <a:gd name="connsiteX48" fmla="*/ 500165 w 1862201"/>
                <a:gd name="connsiteY48" fmla="*/ 1222951 h 1694229"/>
                <a:gd name="connsiteX49" fmla="*/ 572197 w 1862201"/>
                <a:gd name="connsiteY49" fmla="*/ 1255945 h 1694229"/>
                <a:gd name="connsiteX50" fmla="*/ 553028 w 1862201"/>
                <a:gd name="connsiteY50" fmla="*/ 1315648 h 1694229"/>
                <a:gd name="connsiteX51" fmla="*/ 643515 w 1862201"/>
                <a:gd name="connsiteY51" fmla="*/ 1468048 h 1694229"/>
                <a:gd name="connsiteX52" fmla="*/ 736325 w 1862201"/>
                <a:gd name="connsiteY52" fmla="*/ 1541202 h 1694229"/>
                <a:gd name="connsiteX53" fmla="*/ 786390 w 1862201"/>
                <a:gd name="connsiteY53" fmla="*/ 1491860 h 1694229"/>
                <a:gd name="connsiteX54" fmla="*/ 850980 w 1862201"/>
                <a:gd name="connsiteY54" fmla="*/ 1519257 h 1694229"/>
                <a:gd name="connsiteX55" fmla="*/ 905453 w 1862201"/>
                <a:gd name="connsiteY55" fmla="*/ 1487098 h 1694229"/>
                <a:gd name="connsiteX56" fmla="*/ 922300 w 1862201"/>
                <a:gd name="connsiteY56" fmla="*/ 1444922 h 1694229"/>
                <a:gd name="connsiteX57" fmla="*/ 986177 w 1862201"/>
                <a:gd name="connsiteY57" fmla="*/ 1531334 h 1694229"/>
                <a:gd name="connsiteX58" fmla="*/ 1031244 w 1862201"/>
                <a:gd name="connsiteY58" fmla="*/ 1602428 h 1694229"/>
                <a:gd name="connsiteX59" fmla="*/ 1101190 w 1862201"/>
                <a:gd name="connsiteY59" fmla="*/ 1693947 h 1694229"/>
                <a:gd name="connsiteX60" fmla="*/ 1132088 w 1862201"/>
                <a:gd name="connsiteY60" fmla="*/ 1630856 h 1694229"/>
                <a:gd name="connsiteX61" fmla="*/ 1162747 w 1862201"/>
                <a:gd name="connsiteY61" fmla="*/ 1624376 h 1694229"/>
                <a:gd name="connsiteX62" fmla="*/ 1205846 w 1862201"/>
                <a:gd name="connsiteY62" fmla="*/ 1653639 h 1694229"/>
                <a:gd name="connsiteX63" fmla="*/ 1239421 w 1862201"/>
                <a:gd name="connsiteY63" fmla="*/ 1612985 h 1694229"/>
                <a:gd name="connsiteX64" fmla="*/ 1258242 w 1862201"/>
                <a:gd name="connsiteY64" fmla="*/ 1617602 h 1694229"/>
                <a:gd name="connsiteX65" fmla="*/ 1292284 w 1862201"/>
                <a:gd name="connsiteY65" fmla="*/ 1684079 h 1694229"/>
                <a:gd name="connsiteX66" fmla="*/ 1348840 w 1862201"/>
                <a:gd name="connsiteY66" fmla="*/ 1660610 h 1694229"/>
                <a:gd name="connsiteX67" fmla="*/ 1400872 w 1862201"/>
                <a:gd name="connsiteY67" fmla="*/ 1604489 h 1694229"/>
                <a:gd name="connsiteX68" fmla="*/ 1451649 w 1862201"/>
                <a:gd name="connsiteY68" fmla="*/ 1587946 h 1694229"/>
                <a:gd name="connsiteX69" fmla="*/ 1469328 w 1862201"/>
                <a:gd name="connsiteY69" fmla="*/ 1643768 h 1694229"/>
                <a:gd name="connsiteX70" fmla="*/ 1539223 w 1862201"/>
                <a:gd name="connsiteY70" fmla="*/ 1618090 h 1694229"/>
                <a:gd name="connsiteX71" fmla="*/ 1570001 w 1862201"/>
                <a:gd name="connsiteY71" fmla="*/ 1531334 h 1694229"/>
                <a:gd name="connsiteX72" fmla="*/ 1651437 w 1862201"/>
                <a:gd name="connsiteY72" fmla="*/ 1441192 h 1694229"/>
                <a:gd name="connsiteX73" fmla="*/ 1696028 w 1862201"/>
                <a:gd name="connsiteY73" fmla="*/ 1410062 h 1694229"/>
                <a:gd name="connsiteX74" fmla="*/ 1724397 w 1862201"/>
                <a:gd name="connsiteY74" fmla="*/ 1413357 h 1694229"/>
                <a:gd name="connsiteX75" fmla="*/ 1801989 w 1862201"/>
                <a:gd name="connsiteY75" fmla="*/ 1402749 h 1694229"/>
                <a:gd name="connsiteX76" fmla="*/ 1797108 w 1862201"/>
                <a:gd name="connsiteY76" fmla="*/ 1456313 h 1694229"/>
                <a:gd name="connsiteX77" fmla="*/ 1855275 w 1862201"/>
                <a:gd name="connsiteY77" fmla="*/ 1479634 h 1694229"/>
                <a:gd name="connsiteX78" fmla="*/ 1856883 w 1862201"/>
                <a:gd name="connsiteY78" fmla="*/ 1457000 h 1694229"/>
                <a:gd name="connsiteX79" fmla="*/ 1856105 w 1862201"/>
                <a:gd name="connsiteY79" fmla="*/ 1396266 h 1694229"/>
                <a:gd name="connsiteX80" fmla="*/ 1834140 w 1862201"/>
                <a:gd name="connsiteY80" fmla="*/ 1306123 h 1694229"/>
                <a:gd name="connsiteX81" fmla="*/ 1834140 w 1862201"/>
                <a:gd name="connsiteY81" fmla="*/ 1248973 h 1694229"/>
                <a:gd name="connsiteX82" fmla="*/ 1791278 w 1862201"/>
                <a:gd name="connsiteY82" fmla="*/ 1239448 h 1694229"/>
                <a:gd name="connsiteX83" fmla="*/ 1715078 w 1862201"/>
                <a:gd name="connsiteY83" fmla="*/ 1158485 h 1694229"/>
                <a:gd name="connsiteX84" fmla="*/ 1676978 w 1862201"/>
                <a:gd name="connsiteY84" fmla="*/ 977510 h 1694229"/>
                <a:gd name="connsiteX85" fmla="*/ 1624590 w 1862201"/>
                <a:gd name="connsiteY85" fmla="*/ 944173 h 1694229"/>
                <a:gd name="connsiteX86" fmla="*/ 1586490 w 1862201"/>
                <a:gd name="connsiteY86" fmla="*/ 887023 h 1694229"/>
                <a:gd name="connsiteX87" fmla="*/ 1538865 w 1862201"/>
                <a:gd name="connsiteY87" fmla="*/ 839398 h 1694229"/>
                <a:gd name="connsiteX88" fmla="*/ 1486478 w 1862201"/>
                <a:gd name="connsiteY88" fmla="*/ 820348 h 1694229"/>
                <a:gd name="connsiteX89" fmla="*/ 1434090 w 1862201"/>
                <a:gd name="connsiteY89" fmla="*/ 815585 h 1694229"/>
                <a:gd name="connsiteX90" fmla="*/ 1491240 w 1862201"/>
                <a:gd name="connsiteY90" fmla="*/ 782248 h 1694229"/>
                <a:gd name="connsiteX91" fmla="*/ 1457903 w 1862201"/>
                <a:gd name="connsiteY91" fmla="*/ 748910 h 1694229"/>
                <a:gd name="connsiteX92" fmla="*/ 1462665 w 1862201"/>
                <a:gd name="connsiteY92" fmla="*/ 725098 h 1694229"/>
                <a:gd name="connsiteX93" fmla="*/ 1553153 w 1862201"/>
                <a:gd name="connsiteY93" fmla="*/ 763198 h 1694229"/>
                <a:gd name="connsiteX94" fmla="*/ 1605540 w 1862201"/>
                <a:gd name="connsiteY94" fmla="*/ 696523 h 1694229"/>
                <a:gd name="connsiteX95" fmla="*/ 1603337 w 1862201"/>
                <a:gd name="connsiteY95" fmla="*/ 553648 h 1694229"/>
                <a:gd name="connsiteX96" fmla="*/ 1620540 w 1862201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93447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53569 w 1862617"/>
                <a:gd name="connsiteY94" fmla="*/ 763198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47763 w 1862617"/>
                <a:gd name="connsiteY82" fmla="*/ 1264979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78075"/>
                <a:gd name="connsiteY0" fmla="*/ 405322 h 1694229"/>
                <a:gd name="connsiteX1" fmla="*/ 1548806 w 1878075"/>
                <a:gd name="connsiteY1" fmla="*/ 372673 h 1694229"/>
                <a:gd name="connsiteX2" fmla="*/ 1458557 w 1878075"/>
                <a:gd name="connsiteY2" fmla="*/ 348860 h 1694229"/>
                <a:gd name="connsiteX3" fmla="*/ 1405237 w 1878075"/>
                <a:gd name="connsiteY3" fmla="*/ 271776 h 1694229"/>
                <a:gd name="connsiteX4" fmla="*/ 1382136 w 1878075"/>
                <a:gd name="connsiteY4" fmla="*/ 169931 h 1694229"/>
                <a:gd name="connsiteX5" fmla="*/ 1346239 w 1878075"/>
                <a:gd name="connsiteY5" fmla="*/ 1869 h 1694229"/>
                <a:gd name="connsiteX6" fmla="*/ 1278870 w 1878075"/>
                <a:gd name="connsiteY6" fmla="*/ 43567 h 1694229"/>
                <a:gd name="connsiteX7" fmla="*/ 1273302 w 1878075"/>
                <a:gd name="connsiteY7" fmla="*/ 101090 h 1694229"/>
                <a:gd name="connsiteX8" fmla="*/ 1257397 w 1878075"/>
                <a:gd name="connsiteY8" fmla="*/ 152303 h 1694229"/>
                <a:gd name="connsiteX9" fmla="*/ 1237872 w 1878075"/>
                <a:gd name="connsiteY9" fmla="*/ 204316 h 1694229"/>
                <a:gd name="connsiteX10" fmla="*/ 1236143 w 1878075"/>
                <a:gd name="connsiteY10" fmla="*/ 273739 h 1694229"/>
                <a:gd name="connsiteX11" fmla="*/ 1163162 w 1878075"/>
                <a:gd name="connsiteY11" fmla="*/ 283903 h 1694229"/>
                <a:gd name="connsiteX12" fmla="*/ 1098809 w 1878075"/>
                <a:gd name="connsiteY12" fmla="*/ 285917 h 1694229"/>
                <a:gd name="connsiteX13" fmla="*/ 1051208 w 1878075"/>
                <a:gd name="connsiteY13" fmla="*/ 346183 h 1694229"/>
                <a:gd name="connsiteX14" fmla="*/ 996593 w 1878075"/>
                <a:gd name="connsiteY14" fmla="*/ 371690 h 1694229"/>
                <a:gd name="connsiteX15" fmla="*/ 943969 w 1878075"/>
                <a:gd name="connsiteY15" fmla="*/ 358385 h 1694229"/>
                <a:gd name="connsiteX16" fmla="*/ 837229 w 1878075"/>
                <a:gd name="connsiteY16" fmla="*/ 376257 h 1694229"/>
                <a:gd name="connsiteX17" fmla="*/ 814246 w 1878075"/>
                <a:gd name="connsiteY17" fmla="*/ 440035 h 1694229"/>
                <a:gd name="connsiteX18" fmla="*/ 797163 w 1878075"/>
                <a:gd name="connsiteY18" fmla="*/ 475926 h 1694229"/>
                <a:gd name="connsiteX19" fmla="*/ 715132 w 1878075"/>
                <a:gd name="connsiteY19" fmla="*/ 494632 h 1694229"/>
                <a:gd name="connsiteX20" fmla="*/ 697320 w 1878075"/>
                <a:gd name="connsiteY20" fmla="*/ 440647 h 1694229"/>
                <a:gd name="connsiteX21" fmla="*/ 653456 w 1878075"/>
                <a:gd name="connsiteY21" fmla="*/ 420298 h 1694229"/>
                <a:gd name="connsiteX22" fmla="*/ 518140 w 1878075"/>
                <a:gd name="connsiteY22" fmla="*/ 420641 h 1694229"/>
                <a:gd name="connsiteX23" fmla="*/ 434263 w 1878075"/>
                <a:gd name="connsiteY23" fmla="*/ 447350 h 1694229"/>
                <a:gd name="connsiteX24" fmla="*/ 401044 w 1878075"/>
                <a:gd name="connsiteY24" fmla="*/ 420298 h 1694229"/>
                <a:gd name="connsiteX25" fmla="*/ 381994 w 1878075"/>
                <a:gd name="connsiteY25" fmla="*/ 358385 h 1694229"/>
                <a:gd name="connsiteX26" fmla="*/ 315319 w 1878075"/>
                <a:gd name="connsiteY26" fmla="*/ 305998 h 1694229"/>
                <a:gd name="connsiteX27" fmla="*/ 270134 w 1878075"/>
                <a:gd name="connsiteY27" fmla="*/ 229110 h 1694229"/>
                <a:gd name="connsiteX28" fmla="*/ 146784 w 1878075"/>
                <a:gd name="connsiteY28" fmla="*/ 258373 h 1694229"/>
                <a:gd name="connsiteX29" fmla="*/ 127734 w 1878075"/>
                <a:gd name="connsiteY29" fmla="*/ 344785 h 1694229"/>
                <a:gd name="connsiteX30" fmla="*/ 145174 w 1878075"/>
                <a:gd name="connsiteY30" fmla="*/ 411312 h 1694229"/>
                <a:gd name="connsiteX31" fmla="*/ 117735 w 1878075"/>
                <a:gd name="connsiteY31" fmla="*/ 446172 h 1694229"/>
                <a:gd name="connsiteX32" fmla="*/ 65347 w 1878075"/>
                <a:gd name="connsiteY32" fmla="*/ 474059 h 1694229"/>
                <a:gd name="connsiteX33" fmla="*/ 37246 w 1878075"/>
                <a:gd name="connsiteY33" fmla="*/ 482063 h 1694229"/>
                <a:gd name="connsiteX34" fmla="*/ 15281 w 1878075"/>
                <a:gd name="connsiteY34" fmla="*/ 520310 h 1694229"/>
                <a:gd name="connsiteX35" fmla="*/ 1469 w 1878075"/>
                <a:gd name="connsiteY35" fmla="*/ 632745 h 1694229"/>
                <a:gd name="connsiteX36" fmla="*/ 51178 w 1878075"/>
                <a:gd name="connsiteY36" fmla="*/ 685967 h 1694229"/>
                <a:gd name="connsiteX37" fmla="*/ 108092 w 1878075"/>
                <a:gd name="connsiteY37" fmla="*/ 681547 h 1694229"/>
                <a:gd name="connsiteX38" fmla="*/ 93804 w 1878075"/>
                <a:gd name="connsiteY38" fmla="*/ 751806 h 1694229"/>
                <a:gd name="connsiteX39" fmla="*/ 148631 w 1878075"/>
                <a:gd name="connsiteY39" fmla="*/ 782248 h 1694229"/>
                <a:gd name="connsiteX40" fmla="*/ 217629 w 1878075"/>
                <a:gd name="connsiteY40" fmla="*/ 792460 h 1694229"/>
                <a:gd name="connsiteX41" fmla="*/ 252932 w 1878075"/>
                <a:gd name="connsiteY41" fmla="*/ 848431 h 1694229"/>
                <a:gd name="connsiteX42" fmla="*/ 252339 w 1878075"/>
                <a:gd name="connsiteY42" fmla="*/ 893503 h 1694229"/>
                <a:gd name="connsiteX43" fmla="*/ 276863 w 1878075"/>
                <a:gd name="connsiteY43" fmla="*/ 932978 h 1694229"/>
                <a:gd name="connsiteX44" fmla="*/ 322521 w 1878075"/>
                <a:gd name="connsiteY44" fmla="*/ 971570 h 1694229"/>
                <a:gd name="connsiteX45" fmla="*/ 407654 w 1878075"/>
                <a:gd name="connsiteY45" fmla="*/ 1025822 h 1694229"/>
                <a:gd name="connsiteX46" fmla="*/ 443431 w 1878075"/>
                <a:gd name="connsiteY46" fmla="*/ 1096915 h 1694229"/>
                <a:gd name="connsiteX47" fmla="*/ 422534 w 1878075"/>
                <a:gd name="connsiteY47" fmla="*/ 1166488 h 1694229"/>
                <a:gd name="connsiteX48" fmla="*/ 500581 w 1878075"/>
                <a:gd name="connsiteY48" fmla="*/ 1222951 h 1694229"/>
                <a:gd name="connsiteX49" fmla="*/ 572613 w 1878075"/>
                <a:gd name="connsiteY49" fmla="*/ 1255945 h 1694229"/>
                <a:gd name="connsiteX50" fmla="*/ 553444 w 1878075"/>
                <a:gd name="connsiteY50" fmla="*/ 1315648 h 1694229"/>
                <a:gd name="connsiteX51" fmla="*/ 643931 w 1878075"/>
                <a:gd name="connsiteY51" fmla="*/ 1468048 h 1694229"/>
                <a:gd name="connsiteX52" fmla="*/ 736741 w 1878075"/>
                <a:gd name="connsiteY52" fmla="*/ 1541202 h 1694229"/>
                <a:gd name="connsiteX53" fmla="*/ 786806 w 1878075"/>
                <a:gd name="connsiteY53" fmla="*/ 1491860 h 1694229"/>
                <a:gd name="connsiteX54" fmla="*/ 851396 w 1878075"/>
                <a:gd name="connsiteY54" fmla="*/ 1519257 h 1694229"/>
                <a:gd name="connsiteX55" fmla="*/ 905869 w 1878075"/>
                <a:gd name="connsiteY55" fmla="*/ 1487098 h 1694229"/>
                <a:gd name="connsiteX56" fmla="*/ 922716 w 1878075"/>
                <a:gd name="connsiteY56" fmla="*/ 1444922 h 1694229"/>
                <a:gd name="connsiteX57" fmla="*/ 986593 w 1878075"/>
                <a:gd name="connsiteY57" fmla="*/ 1531334 h 1694229"/>
                <a:gd name="connsiteX58" fmla="*/ 1031660 w 1878075"/>
                <a:gd name="connsiteY58" fmla="*/ 1602428 h 1694229"/>
                <a:gd name="connsiteX59" fmla="*/ 1101606 w 1878075"/>
                <a:gd name="connsiteY59" fmla="*/ 1693947 h 1694229"/>
                <a:gd name="connsiteX60" fmla="*/ 1132504 w 1878075"/>
                <a:gd name="connsiteY60" fmla="*/ 1630856 h 1694229"/>
                <a:gd name="connsiteX61" fmla="*/ 1163163 w 1878075"/>
                <a:gd name="connsiteY61" fmla="*/ 1624376 h 1694229"/>
                <a:gd name="connsiteX62" fmla="*/ 1206262 w 1878075"/>
                <a:gd name="connsiteY62" fmla="*/ 1653639 h 1694229"/>
                <a:gd name="connsiteX63" fmla="*/ 1239837 w 1878075"/>
                <a:gd name="connsiteY63" fmla="*/ 1612985 h 1694229"/>
                <a:gd name="connsiteX64" fmla="*/ 1258658 w 1878075"/>
                <a:gd name="connsiteY64" fmla="*/ 1617602 h 1694229"/>
                <a:gd name="connsiteX65" fmla="*/ 1292700 w 1878075"/>
                <a:gd name="connsiteY65" fmla="*/ 1684079 h 1694229"/>
                <a:gd name="connsiteX66" fmla="*/ 1349256 w 1878075"/>
                <a:gd name="connsiteY66" fmla="*/ 1660610 h 1694229"/>
                <a:gd name="connsiteX67" fmla="*/ 1401288 w 1878075"/>
                <a:gd name="connsiteY67" fmla="*/ 1604489 h 1694229"/>
                <a:gd name="connsiteX68" fmla="*/ 1452065 w 1878075"/>
                <a:gd name="connsiteY68" fmla="*/ 1587946 h 1694229"/>
                <a:gd name="connsiteX69" fmla="*/ 1469744 w 1878075"/>
                <a:gd name="connsiteY69" fmla="*/ 1643768 h 1694229"/>
                <a:gd name="connsiteX70" fmla="*/ 1539639 w 1878075"/>
                <a:gd name="connsiteY70" fmla="*/ 1618090 h 1694229"/>
                <a:gd name="connsiteX71" fmla="*/ 1570417 w 1878075"/>
                <a:gd name="connsiteY71" fmla="*/ 1531334 h 1694229"/>
                <a:gd name="connsiteX72" fmla="*/ 1651853 w 1878075"/>
                <a:gd name="connsiteY72" fmla="*/ 1441192 h 1694229"/>
                <a:gd name="connsiteX73" fmla="*/ 1696444 w 1878075"/>
                <a:gd name="connsiteY73" fmla="*/ 1410062 h 1694229"/>
                <a:gd name="connsiteX74" fmla="*/ 1724813 w 1878075"/>
                <a:gd name="connsiteY74" fmla="*/ 1413357 h 1694229"/>
                <a:gd name="connsiteX75" fmla="*/ 1802405 w 1878075"/>
                <a:gd name="connsiteY75" fmla="*/ 1402749 h 1694229"/>
                <a:gd name="connsiteX76" fmla="*/ 1797524 w 1878075"/>
                <a:gd name="connsiteY76" fmla="*/ 1456313 h 1694229"/>
                <a:gd name="connsiteX77" fmla="*/ 1855691 w 1878075"/>
                <a:gd name="connsiteY77" fmla="*/ 1479634 h 1694229"/>
                <a:gd name="connsiteX78" fmla="*/ 1857299 w 1878075"/>
                <a:gd name="connsiteY78" fmla="*/ 1457000 h 1694229"/>
                <a:gd name="connsiteX79" fmla="*/ 1856521 w 1878075"/>
                <a:gd name="connsiteY79" fmla="*/ 1396266 h 1694229"/>
                <a:gd name="connsiteX80" fmla="*/ 1863843 w 1878075"/>
                <a:gd name="connsiteY80" fmla="*/ 1323993 h 1694229"/>
                <a:gd name="connsiteX81" fmla="*/ 1834556 w 1878075"/>
                <a:gd name="connsiteY81" fmla="*/ 1248973 h 1694229"/>
                <a:gd name="connsiteX82" fmla="*/ 1747763 w 1878075"/>
                <a:gd name="connsiteY82" fmla="*/ 1264979 h 1694229"/>
                <a:gd name="connsiteX83" fmla="*/ 1737459 w 1878075"/>
                <a:gd name="connsiteY83" fmla="*/ 1176356 h 1694229"/>
                <a:gd name="connsiteX84" fmla="*/ 1704241 w 1878075"/>
                <a:gd name="connsiteY84" fmla="*/ 1038783 h 1694229"/>
                <a:gd name="connsiteX85" fmla="*/ 1627446 w 1878075"/>
                <a:gd name="connsiteY85" fmla="*/ 972257 h 1694229"/>
                <a:gd name="connsiteX86" fmla="*/ 1594228 w 1878075"/>
                <a:gd name="connsiteY86" fmla="*/ 917660 h 1694229"/>
                <a:gd name="connsiteX87" fmla="*/ 1544162 w 1878075"/>
                <a:gd name="connsiteY87" fmla="*/ 872587 h 1694229"/>
                <a:gd name="connsiteX88" fmla="*/ 1472251 w 1878075"/>
                <a:gd name="connsiteY88" fmla="*/ 845878 h 1694229"/>
                <a:gd name="connsiteX89" fmla="*/ 1449150 w 1878075"/>
                <a:gd name="connsiteY89" fmla="*/ 823245 h 1694229"/>
                <a:gd name="connsiteX90" fmla="*/ 1477013 w 1878075"/>
                <a:gd name="connsiteY90" fmla="*/ 784801 h 1694229"/>
                <a:gd name="connsiteX91" fmla="*/ 1458319 w 1878075"/>
                <a:gd name="connsiteY91" fmla="*/ 748910 h 1694229"/>
                <a:gd name="connsiteX92" fmla="*/ 1463081 w 1878075"/>
                <a:gd name="connsiteY92" fmla="*/ 725098 h 1694229"/>
                <a:gd name="connsiteX93" fmla="*/ 1488076 w 1878075"/>
                <a:gd name="connsiteY93" fmla="*/ 724035 h 1694229"/>
                <a:gd name="connsiteX94" fmla="*/ 1580416 w 1878075"/>
                <a:gd name="connsiteY94" fmla="*/ 740220 h 1694229"/>
                <a:gd name="connsiteX95" fmla="*/ 1615719 w 1878075"/>
                <a:gd name="connsiteY95" fmla="*/ 683758 h 1694229"/>
                <a:gd name="connsiteX96" fmla="*/ 1603753 w 1878075"/>
                <a:gd name="connsiteY96" fmla="*/ 553648 h 1694229"/>
                <a:gd name="connsiteX97" fmla="*/ 1620956 w 1878075"/>
                <a:gd name="connsiteY97" fmla="*/ 405322 h 1694229"/>
                <a:gd name="connsiteX0" fmla="*/ 1620956 w 1866986"/>
                <a:gd name="connsiteY0" fmla="*/ 405322 h 1694229"/>
                <a:gd name="connsiteX1" fmla="*/ 1548806 w 1866986"/>
                <a:gd name="connsiteY1" fmla="*/ 372673 h 1694229"/>
                <a:gd name="connsiteX2" fmla="*/ 1458557 w 1866986"/>
                <a:gd name="connsiteY2" fmla="*/ 348860 h 1694229"/>
                <a:gd name="connsiteX3" fmla="*/ 1405237 w 1866986"/>
                <a:gd name="connsiteY3" fmla="*/ 271776 h 1694229"/>
                <a:gd name="connsiteX4" fmla="*/ 1382136 w 1866986"/>
                <a:gd name="connsiteY4" fmla="*/ 169931 h 1694229"/>
                <a:gd name="connsiteX5" fmla="*/ 1346239 w 1866986"/>
                <a:gd name="connsiteY5" fmla="*/ 1869 h 1694229"/>
                <a:gd name="connsiteX6" fmla="*/ 1278870 w 1866986"/>
                <a:gd name="connsiteY6" fmla="*/ 43567 h 1694229"/>
                <a:gd name="connsiteX7" fmla="*/ 1273302 w 1866986"/>
                <a:gd name="connsiteY7" fmla="*/ 101090 h 1694229"/>
                <a:gd name="connsiteX8" fmla="*/ 1257397 w 1866986"/>
                <a:gd name="connsiteY8" fmla="*/ 152303 h 1694229"/>
                <a:gd name="connsiteX9" fmla="*/ 1237872 w 1866986"/>
                <a:gd name="connsiteY9" fmla="*/ 204316 h 1694229"/>
                <a:gd name="connsiteX10" fmla="*/ 1236143 w 1866986"/>
                <a:gd name="connsiteY10" fmla="*/ 273739 h 1694229"/>
                <a:gd name="connsiteX11" fmla="*/ 1163162 w 1866986"/>
                <a:gd name="connsiteY11" fmla="*/ 283903 h 1694229"/>
                <a:gd name="connsiteX12" fmla="*/ 1098809 w 1866986"/>
                <a:gd name="connsiteY12" fmla="*/ 285917 h 1694229"/>
                <a:gd name="connsiteX13" fmla="*/ 1051208 w 1866986"/>
                <a:gd name="connsiteY13" fmla="*/ 346183 h 1694229"/>
                <a:gd name="connsiteX14" fmla="*/ 996593 w 1866986"/>
                <a:gd name="connsiteY14" fmla="*/ 371690 h 1694229"/>
                <a:gd name="connsiteX15" fmla="*/ 943969 w 1866986"/>
                <a:gd name="connsiteY15" fmla="*/ 358385 h 1694229"/>
                <a:gd name="connsiteX16" fmla="*/ 837229 w 1866986"/>
                <a:gd name="connsiteY16" fmla="*/ 376257 h 1694229"/>
                <a:gd name="connsiteX17" fmla="*/ 814246 w 1866986"/>
                <a:gd name="connsiteY17" fmla="*/ 440035 h 1694229"/>
                <a:gd name="connsiteX18" fmla="*/ 797163 w 1866986"/>
                <a:gd name="connsiteY18" fmla="*/ 475926 h 1694229"/>
                <a:gd name="connsiteX19" fmla="*/ 715132 w 1866986"/>
                <a:gd name="connsiteY19" fmla="*/ 494632 h 1694229"/>
                <a:gd name="connsiteX20" fmla="*/ 697320 w 1866986"/>
                <a:gd name="connsiteY20" fmla="*/ 440647 h 1694229"/>
                <a:gd name="connsiteX21" fmla="*/ 653456 w 1866986"/>
                <a:gd name="connsiteY21" fmla="*/ 420298 h 1694229"/>
                <a:gd name="connsiteX22" fmla="*/ 518140 w 1866986"/>
                <a:gd name="connsiteY22" fmla="*/ 420641 h 1694229"/>
                <a:gd name="connsiteX23" fmla="*/ 434263 w 1866986"/>
                <a:gd name="connsiteY23" fmla="*/ 447350 h 1694229"/>
                <a:gd name="connsiteX24" fmla="*/ 401044 w 1866986"/>
                <a:gd name="connsiteY24" fmla="*/ 420298 h 1694229"/>
                <a:gd name="connsiteX25" fmla="*/ 381994 w 1866986"/>
                <a:gd name="connsiteY25" fmla="*/ 358385 h 1694229"/>
                <a:gd name="connsiteX26" fmla="*/ 315319 w 1866986"/>
                <a:gd name="connsiteY26" fmla="*/ 305998 h 1694229"/>
                <a:gd name="connsiteX27" fmla="*/ 270134 w 1866986"/>
                <a:gd name="connsiteY27" fmla="*/ 229110 h 1694229"/>
                <a:gd name="connsiteX28" fmla="*/ 146784 w 1866986"/>
                <a:gd name="connsiteY28" fmla="*/ 258373 h 1694229"/>
                <a:gd name="connsiteX29" fmla="*/ 127734 w 1866986"/>
                <a:gd name="connsiteY29" fmla="*/ 344785 h 1694229"/>
                <a:gd name="connsiteX30" fmla="*/ 145174 w 1866986"/>
                <a:gd name="connsiteY30" fmla="*/ 411312 h 1694229"/>
                <a:gd name="connsiteX31" fmla="*/ 117735 w 1866986"/>
                <a:gd name="connsiteY31" fmla="*/ 446172 h 1694229"/>
                <a:gd name="connsiteX32" fmla="*/ 65347 w 1866986"/>
                <a:gd name="connsiteY32" fmla="*/ 474059 h 1694229"/>
                <a:gd name="connsiteX33" fmla="*/ 37246 w 1866986"/>
                <a:gd name="connsiteY33" fmla="*/ 482063 h 1694229"/>
                <a:gd name="connsiteX34" fmla="*/ 15281 w 1866986"/>
                <a:gd name="connsiteY34" fmla="*/ 520310 h 1694229"/>
                <a:gd name="connsiteX35" fmla="*/ 1469 w 1866986"/>
                <a:gd name="connsiteY35" fmla="*/ 632745 h 1694229"/>
                <a:gd name="connsiteX36" fmla="*/ 51178 w 1866986"/>
                <a:gd name="connsiteY36" fmla="*/ 685967 h 1694229"/>
                <a:gd name="connsiteX37" fmla="*/ 108092 w 1866986"/>
                <a:gd name="connsiteY37" fmla="*/ 681547 h 1694229"/>
                <a:gd name="connsiteX38" fmla="*/ 93804 w 1866986"/>
                <a:gd name="connsiteY38" fmla="*/ 751806 h 1694229"/>
                <a:gd name="connsiteX39" fmla="*/ 148631 w 1866986"/>
                <a:gd name="connsiteY39" fmla="*/ 782248 h 1694229"/>
                <a:gd name="connsiteX40" fmla="*/ 217629 w 1866986"/>
                <a:gd name="connsiteY40" fmla="*/ 792460 h 1694229"/>
                <a:gd name="connsiteX41" fmla="*/ 252932 w 1866986"/>
                <a:gd name="connsiteY41" fmla="*/ 848431 h 1694229"/>
                <a:gd name="connsiteX42" fmla="*/ 252339 w 1866986"/>
                <a:gd name="connsiteY42" fmla="*/ 893503 h 1694229"/>
                <a:gd name="connsiteX43" fmla="*/ 276863 w 1866986"/>
                <a:gd name="connsiteY43" fmla="*/ 932978 h 1694229"/>
                <a:gd name="connsiteX44" fmla="*/ 322521 w 1866986"/>
                <a:gd name="connsiteY44" fmla="*/ 971570 h 1694229"/>
                <a:gd name="connsiteX45" fmla="*/ 407654 w 1866986"/>
                <a:gd name="connsiteY45" fmla="*/ 1025822 h 1694229"/>
                <a:gd name="connsiteX46" fmla="*/ 443431 w 1866986"/>
                <a:gd name="connsiteY46" fmla="*/ 1096915 h 1694229"/>
                <a:gd name="connsiteX47" fmla="*/ 422534 w 1866986"/>
                <a:gd name="connsiteY47" fmla="*/ 1166488 h 1694229"/>
                <a:gd name="connsiteX48" fmla="*/ 500581 w 1866986"/>
                <a:gd name="connsiteY48" fmla="*/ 1222951 h 1694229"/>
                <a:gd name="connsiteX49" fmla="*/ 572613 w 1866986"/>
                <a:gd name="connsiteY49" fmla="*/ 1255945 h 1694229"/>
                <a:gd name="connsiteX50" fmla="*/ 553444 w 1866986"/>
                <a:gd name="connsiteY50" fmla="*/ 1315648 h 1694229"/>
                <a:gd name="connsiteX51" fmla="*/ 643931 w 1866986"/>
                <a:gd name="connsiteY51" fmla="*/ 1468048 h 1694229"/>
                <a:gd name="connsiteX52" fmla="*/ 736741 w 1866986"/>
                <a:gd name="connsiteY52" fmla="*/ 1541202 h 1694229"/>
                <a:gd name="connsiteX53" fmla="*/ 786806 w 1866986"/>
                <a:gd name="connsiteY53" fmla="*/ 1491860 h 1694229"/>
                <a:gd name="connsiteX54" fmla="*/ 851396 w 1866986"/>
                <a:gd name="connsiteY54" fmla="*/ 1519257 h 1694229"/>
                <a:gd name="connsiteX55" fmla="*/ 905869 w 1866986"/>
                <a:gd name="connsiteY55" fmla="*/ 1487098 h 1694229"/>
                <a:gd name="connsiteX56" fmla="*/ 922716 w 1866986"/>
                <a:gd name="connsiteY56" fmla="*/ 1444922 h 1694229"/>
                <a:gd name="connsiteX57" fmla="*/ 986593 w 1866986"/>
                <a:gd name="connsiteY57" fmla="*/ 1531334 h 1694229"/>
                <a:gd name="connsiteX58" fmla="*/ 1031660 w 1866986"/>
                <a:gd name="connsiteY58" fmla="*/ 1602428 h 1694229"/>
                <a:gd name="connsiteX59" fmla="*/ 1101606 w 1866986"/>
                <a:gd name="connsiteY59" fmla="*/ 1693947 h 1694229"/>
                <a:gd name="connsiteX60" fmla="*/ 1132504 w 1866986"/>
                <a:gd name="connsiteY60" fmla="*/ 1630856 h 1694229"/>
                <a:gd name="connsiteX61" fmla="*/ 1163163 w 1866986"/>
                <a:gd name="connsiteY61" fmla="*/ 1624376 h 1694229"/>
                <a:gd name="connsiteX62" fmla="*/ 1206262 w 1866986"/>
                <a:gd name="connsiteY62" fmla="*/ 1653639 h 1694229"/>
                <a:gd name="connsiteX63" fmla="*/ 1239837 w 1866986"/>
                <a:gd name="connsiteY63" fmla="*/ 1612985 h 1694229"/>
                <a:gd name="connsiteX64" fmla="*/ 1258658 w 1866986"/>
                <a:gd name="connsiteY64" fmla="*/ 1617602 h 1694229"/>
                <a:gd name="connsiteX65" fmla="*/ 1292700 w 1866986"/>
                <a:gd name="connsiteY65" fmla="*/ 1684079 h 1694229"/>
                <a:gd name="connsiteX66" fmla="*/ 1349256 w 1866986"/>
                <a:gd name="connsiteY66" fmla="*/ 1660610 h 1694229"/>
                <a:gd name="connsiteX67" fmla="*/ 1401288 w 1866986"/>
                <a:gd name="connsiteY67" fmla="*/ 1604489 h 1694229"/>
                <a:gd name="connsiteX68" fmla="*/ 1452065 w 1866986"/>
                <a:gd name="connsiteY68" fmla="*/ 1587946 h 1694229"/>
                <a:gd name="connsiteX69" fmla="*/ 1469744 w 1866986"/>
                <a:gd name="connsiteY69" fmla="*/ 1643768 h 1694229"/>
                <a:gd name="connsiteX70" fmla="*/ 1539639 w 1866986"/>
                <a:gd name="connsiteY70" fmla="*/ 1618090 h 1694229"/>
                <a:gd name="connsiteX71" fmla="*/ 1570417 w 1866986"/>
                <a:gd name="connsiteY71" fmla="*/ 1531334 h 1694229"/>
                <a:gd name="connsiteX72" fmla="*/ 1651853 w 1866986"/>
                <a:gd name="connsiteY72" fmla="*/ 1441192 h 1694229"/>
                <a:gd name="connsiteX73" fmla="*/ 1696444 w 1866986"/>
                <a:gd name="connsiteY73" fmla="*/ 1410062 h 1694229"/>
                <a:gd name="connsiteX74" fmla="*/ 1724813 w 1866986"/>
                <a:gd name="connsiteY74" fmla="*/ 1413357 h 1694229"/>
                <a:gd name="connsiteX75" fmla="*/ 1802405 w 1866986"/>
                <a:gd name="connsiteY75" fmla="*/ 1402749 h 1694229"/>
                <a:gd name="connsiteX76" fmla="*/ 1797524 w 1866986"/>
                <a:gd name="connsiteY76" fmla="*/ 1456313 h 1694229"/>
                <a:gd name="connsiteX77" fmla="*/ 1855691 w 1866986"/>
                <a:gd name="connsiteY77" fmla="*/ 1479634 h 1694229"/>
                <a:gd name="connsiteX78" fmla="*/ 1857299 w 1866986"/>
                <a:gd name="connsiteY78" fmla="*/ 1457000 h 1694229"/>
                <a:gd name="connsiteX79" fmla="*/ 1856521 w 1866986"/>
                <a:gd name="connsiteY79" fmla="*/ 1396266 h 1694229"/>
                <a:gd name="connsiteX80" fmla="*/ 1863843 w 1866986"/>
                <a:gd name="connsiteY80" fmla="*/ 1323993 h 1694229"/>
                <a:gd name="connsiteX81" fmla="*/ 1797946 w 1866986"/>
                <a:gd name="connsiteY81" fmla="*/ 1305140 h 1694229"/>
                <a:gd name="connsiteX82" fmla="*/ 1747763 w 1866986"/>
                <a:gd name="connsiteY82" fmla="*/ 1264979 h 1694229"/>
                <a:gd name="connsiteX83" fmla="*/ 1737459 w 1866986"/>
                <a:gd name="connsiteY83" fmla="*/ 1176356 h 1694229"/>
                <a:gd name="connsiteX84" fmla="*/ 1704241 w 1866986"/>
                <a:gd name="connsiteY84" fmla="*/ 1038783 h 1694229"/>
                <a:gd name="connsiteX85" fmla="*/ 1627446 w 1866986"/>
                <a:gd name="connsiteY85" fmla="*/ 972257 h 1694229"/>
                <a:gd name="connsiteX86" fmla="*/ 1594228 w 1866986"/>
                <a:gd name="connsiteY86" fmla="*/ 917660 h 1694229"/>
                <a:gd name="connsiteX87" fmla="*/ 1544162 w 1866986"/>
                <a:gd name="connsiteY87" fmla="*/ 872587 h 1694229"/>
                <a:gd name="connsiteX88" fmla="*/ 1472251 w 1866986"/>
                <a:gd name="connsiteY88" fmla="*/ 845878 h 1694229"/>
                <a:gd name="connsiteX89" fmla="*/ 1449150 w 1866986"/>
                <a:gd name="connsiteY89" fmla="*/ 823245 h 1694229"/>
                <a:gd name="connsiteX90" fmla="*/ 1477013 w 1866986"/>
                <a:gd name="connsiteY90" fmla="*/ 784801 h 1694229"/>
                <a:gd name="connsiteX91" fmla="*/ 1458319 w 1866986"/>
                <a:gd name="connsiteY91" fmla="*/ 748910 h 1694229"/>
                <a:gd name="connsiteX92" fmla="*/ 1463081 w 1866986"/>
                <a:gd name="connsiteY92" fmla="*/ 725098 h 1694229"/>
                <a:gd name="connsiteX93" fmla="*/ 1488076 w 1866986"/>
                <a:gd name="connsiteY93" fmla="*/ 724035 h 1694229"/>
                <a:gd name="connsiteX94" fmla="*/ 1580416 w 1866986"/>
                <a:gd name="connsiteY94" fmla="*/ 740220 h 1694229"/>
                <a:gd name="connsiteX95" fmla="*/ 1615719 w 1866986"/>
                <a:gd name="connsiteY95" fmla="*/ 683758 h 1694229"/>
                <a:gd name="connsiteX96" fmla="*/ 1603753 w 1866986"/>
                <a:gd name="connsiteY96" fmla="*/ 553648 h 1694229"/>
                <a:gd name="connsiteX97" fmla="*/ 1620956 w 1866986"/>
                <a:gd name="connsiteY97" fmla="*/ 405322 h 1694229"/>
                <a:gd name="connsiteX0" fmla="*/ 1620956 w 1880530"/>
                <a:gd name="connsiteY0" fmla="*/ 405322 h 1694229"/>
                <a:gd name="connsiteX1" fmla="*/ 1548806 w 1880530"/>
                <a:gd name="connsiteY1" fmla="*/ 372673 h 1694229"/>
                <a:gd name="connsiteX2" fmla="*/ 1458557 w 1880530"/>
                <a:gd name="connsiteY2" fmla="*/ 348860 h 1694229"/>
                <a:gd name="connsiteX3" fmla="*/ 1405237 w 1880530"/>
                <a:gd name="connsiteY3" fmla="*/ 271776 h 1694229"/>
                <a:gd name="connsiteX4" fmla="*/ 1382136 w 1880530"/>
                <a:gd name="connsiteY4" fmla="*/ 169931 h 1694229"/>
                <a:gd name="connsiteX5" fmla="*/ 1346239 w 1880530"/>
                <a:gd name="connsiteY5" fmla="*/ 1869 h 1694229"/>
                <a:gd name="connsiteX6" fmla="*/ 1278870 w 1880530"/>
                <a:gd name="connsiteY6" fmla="*/ 43567 h 1694229"/>
                <a:gd name="connsiteX7" fmla="*/ 1273302 w 1880530"/>
                <a:gd name="connsiteY7" fmla="*/ 101090 h 1694229"/>
                <a:gd name="connsiteX8" fmla="*/ 1257397 w 1880530"/>
                <a:gd name="connsiteY8" fmla="*/ 152303 h 1694229"/>
                <a:gd name="connsiteX9" fmla="*/ 1237872 w 1880530"/>
                <a:gd name="connsiteY9" fmla="*/ 204316 h 1694229"/>
                <a:gd name="connsiteX10" fmla="*/ 1236143 w 1880530"/>
                <a:gd name="connsiteY10" fmla="*/ 273739 h 1694229"/>
                <a:gd name="connsiteX11" fmla="*/ 1163162 w 1880530"/>
                <a:gd name="connsiteY11" fmla="*/ 283903 h 1694229"/>
                <a:gd name="connsiteX12" fmla="*/ 1098809 w 1880530"/>
                <a:gd name="connsiteY12" fmla="*/ 285917 h 1694229"/>
                <a:gd name="connsiteX13" fmla="*/ 1051208 w 1880530"/>
                <a:gd name="connsiteY13" fmla="*/ 346183 h 1694229"/>
                <a:gd name="connsiteX14" fmla="*/ 996593 w 1880530"/>
                <a:gd name="connsiteY14" fmla="*/ 371690 h 1694229"/>
                <a:gd name="connsiteX15" fmla="*/ 943969 w 1880530"/>
                <a:gd name="connsiteY15" fmla="*/ 358385 h 1694229"/>
                <a:gd name="connsiteX16" fmla="*/ 837229 w 1880530"/>
                <a:gd name="connsiteY16" fmla="*/ 376257 h 1694229"/>
                <a:gd name="connsiteX17" fmla="*/ 814246 w 1880530"/>
                <a:gd name="connsiteY17" fmla="*/ 440035 h 1694229"/>
                <a:gd name="connsiteX18" fmla="*/ 797163 w 1880530"/>
                <a:gd name="connsiteY18" fmla="*/ 475926 h 1694229"/>
                <a:gd name="connsiteX19" fmla="*/ 715132 w 1880530"/>
                <a:gd name="connsiteY19" fmla="*/ 494632 h 1694229"/>
                <a:gd name="connsiteX20" fmla="*/ 697320 w 1880530"/>
                <a:gd name="connsiteY20" fmla="*/ 440647 h 1694229"/>
                <a:gd name="connsiteX21" fmla="*/ 653456 w 1880530"/>
                <a:gd name="connsiteY21" fmla="*/ 420298 h 1694229"/>
                <a:gd name="connsiteX22" fmla="*/ 518140 w 1880530"/>
                <a:gd name="connsiteY22" fmla="*/ 420641 h 1694229"/>
                <a:gd name="connsiteX23" fmla="*/ 434263 w 1880530"/>
                <a:gd name="connsiteY23" fmla="*/ 447350 h 1694229"/>
                <a:gd name="connsiteX24" fmla="*/ 401044 w 1880530"/>
                <a:gd name="connsiteY24" fmla="*/ 420298 h 1694229"/>
                <a:gd name="connsiteX25" fmla="*/ 381994 w 1880530"/>
                <a:gd name="connsiteY25" fmla="*/ 358385 h 1694229"/>
                <a:gd name="connsiteX26" fmla="*/ 315319 w 1880530"/>
                <a:gd name="connsiteY26" fmla="*/ 305998 h 1694229"/>
                <a:gd name="connsiteX27" fmla="*/ 270134 w 1880530"/>
                <a:gd name="connsiteY27" fmla="*/ 229110 h 1694229"/>
                <a:gd name="connsiteX28" fmla="*/ 146784 w 1880530"/>
                <a:gd name="connsiteY28" fmla="*/ 258373 h 1694229"/>
                <a:gd name="connsiteX29" fmla="*/ 127734 w 1880530"/>
                <a:gd name="connsiteY29" fmla="*/ 344785 h 1694229"/>
                <a:gd name="connsiteX30" fmla="*/ 145174 w 1880530"/>
                <a:gd name="connsiteY30" fmla="*/ 411312 h 1694229"/>
                <a:gd name="connsiteX31" fmla="*/ 117735 w 1880530"/>
                <a:gd name="connsiteY31" fmla="*/ 446172 h 1694229"/>
                <a:gd name="connsiteX32" fmla="*/ 65347 w 1880530"/>
                <a:gd name="connsiteY32" fmla="*/ 474059 h 1694229"/>
                <a:gd name="connsiteX33" fmla="*/ 37246 w 1880530"/>
                <a:gd name="connsiteY33" fmla="*/ 482063 h 1694229"/>
                <a:gd name="connsiteX34" fmla="*/ 15281 w 1880530"/>
                <a:gd name="connsiteY34" fmla="*/ 520310 h 1694229"/>
                <a:gd name="connsiteX35" fmla="*/ 1469 w 1880530"/>
                <a:gd name="connsiteY35" fmla="*/ 632745 h 1694229"/>
                <a:gd name="connsiteX36" fmla="*/ 51178 w 1880530"/>
                <a:gd name="connsiteY36" fmla="*/ 685967 h 1694229"/>
                <a:gd name="connsiteX37" fmla="*/ 108092 w 1880530"/>
                <a:gd name="connsiteY37" fmla="*/ 681547 h 1694229"/>
                <a:gd name="connsiteX38" fmla="*/ 93804 w 1880530"/>
                <a:gd name="connsiteY38" fmla="*/ 751806 h 1694229"/>
                <a:gd name="connsiteX39" fmla="*/ 148631 w 1880530"/>
                <a:gd name="connsiteY39" fmla="*/ 782248 h 1694229"/>
                <a:gd name="connsiteX40" fmla="*/ 217629 w 1880530"/>
                <a:gd name="connsiteY40" fmla="*/ 792460 h 1694229"/>
                <a:gd name="connsiteX41" fmla="*/ 252932 w 1880530"/>
                <a:gd name="connsiteY41" fmla="*/ 848431 h 1694229"/>
                <a:gd name="connsiteX42" fmla="*/ 252339 w 1880530"/>
                <a:gd name="connsiteY42" fmla="*/ 893503 h 1694229"/>
                <a:gd name="connsiteX43" fmla="*/ 276863 w 1880530"/>
                <a:gd name="connsiteY43" fmla="*/ 932978 h 1694229"/>
                <a:gd name="connsiteX44" fmla="*/ 322521 w 1880530"/>
                <a:gd name="connsiteY44" fmla="*/ 971570 h 1694229"/>
                <a:gd name="connsiteX45" fmla="*/ 407654 w 1880530"/>
                <a:gd name="connsiteY45" fmla="*/ 1025822 h 1694229"/>
                <a:gd name="connsiteX46" fmla="*/ 443431 w 1880530"/>
                <a:gd name="connsiteY46" fmla="*/ 1096915 h 1694229"/>
                <a:gd name="connsiteX47" fmla="*/ 422534 w 1880530"/>
                <a:gd name="connsiteY47" fmla="*/ 1166488 h 1694229"/>
                <a:gd name="connsiteX48" fmla="*/ 500581 w 1880530"/>
                <a:gd name="connsiteY48" fmla="*/ 1222951 h 1694229"/>
                <a:gd name="connsiteX49" fmla="*/ 572613 w 1880530"/>
                <a:gd name="connsiteY49" fmla="*/ 1255945 h 1694229"/>
                <a:gd name="connsiteX50" fmla="*/ 553444 w 1880530"/>
                <a:gd name="connsiteY50" fmla="*/ 1315648 h 1694229"/>
                <a:gd name="connsiteX51" fmla="*/ 643931 w 1880530"/>
                <a:gd name="connsiteY51" fmla="*/ 1468048 h 1694229"/>
                <a:gd name="connsiteX52" fmla="*/ 736741 w 1880530"/>
                <a:gd name="connsiteY52" fmla="*/ 1541202 h 1694229"/>
                <a:gd name="connsiteX53" fmla="*/ 786806 w 1880530"/>
                <a:gd name="connsiteY53" fmla="*/ 1491860 h 1694229"/>
                <a:gd name="connsiteX54" fmla="*/ 851396 w 1880530"/>
                <a:gd name="connsiteY54" fmla="*/ 1519257 h 1694229"/>
                <a:gd name="connsiteX55" fmla="*/ 905869 w 1880530"/>
                <a:gd name="connsiteY55" fmla="*/ 1487098 h 1694229"/>
                <a:gd name="connsiteX56" fmla="*/ 922716 w 1880530"/>
                <a:gd name="connsiteY56" fmla="*/ 1444922 h 1694229"/>
                <a:gd name="connsiteX57" fmla="*/ 986593 w 1880530"/>
                <a:gd name="connsiteY57" fmla="*/ 1531334 h 1694229"/>
                <a:gd name="connsiteX58" fmla="*/ 1031660 w 1880530"/>
                <a:gd name="connsiteY58" fmla="*/ 1602428 h 1694229"/>
                <a:gd name="connsiteX59" fmla="*/ 1101606 w 1880530"/>
                <a:gd name="connsiteY59" fmla="*/ 1693947 h 1694229"/>
                <a:gd name="connsiteX60" fmla="*/ 1132504 w 1880530"/>
                <a:gd name="connsiteY60" fmla="*/ 1630856 h 1694229"/>
                <a:gd name="connsiteX61" fmla="*/ 1163163 w 1880530"/>
                <a:gd name="connsiteY61" fmla="*/ 1624376 h 1694229"/>
                <a:gd name="connsiteX62" fmla="*/ 1206262 w 1880530"/>
                <a:gd name="connsiteY62" fmla="*/ 1653639 h 1694229"/>
                <a:gd name="connsiteX63" fmla="*/ 1239837 w 1880530"/>
                <a:gd name="connsiteY63" fmla="*/ 1612985 h 1694229"/>
                <a:gd name="connsiteX64" fmla="*/ 1258658 w 1880530"/>
                <a:gd name="connsiteY64" fmla="*/ 1617602 h 1694229"/>
                <a:gd name="connsiteX65" fmla="*/ 1292700 w 1880530"/>
                <a:gd name="connsiteY65" fmla="*/ 1684079 h 1694229"/>
                <a:gd name="connsiteX66" fmla="*/ 1349256 w 1880530"/>
                <a:gd name="connsiteY66" fmla="*/ 1660610 h 1694229"/>
                <a:gd name="connsiteX67" fmla="*/ 1401288 w 1880530"/>
                <a:gd name="connsiteY67" fmla="*/ 1604489 h 1694229"/>
                <a:gd name="connsiteX68" fmla="*/ 1452065 w 1880530"/>
                <a:gd name="connsiteY68" fmla="*/ 1587946 h 1694229"/>
                <a:gd name="connsiteX69" fmla="*/ 1469744 w 1880530"/>
                <a:gd name="connsiteY69" fmla="*/ 1643768 h 1694229"/>
                <a:gd name="connsiteX70" fmla="*/ 1539639 w 1880530"/>
                <a:gd name="connsiteY70" fmla="*/ 1618090 h 1694229"/>
                <a:gd name="connsiteX71" fmla="*/ 1570417 w 1880530"/>
                <a:gd name="connsiteY71" fmla="*/ 1531334 h 1694229"/>
                <a:gd name="connsiteX72" fmla="*/ 1651853 w 1880530"/>
                <a:gd name="connsiteY72" fmla="*/ 1441192 h 1694229"/>
                <a:gd name="connsiteX73" fmla="*/ 1696444 w 1880530"/>
                <a:gd name="connsiteY73" fmla="*/ 1410062 h 1694229"/>
                <a:gd name="connsiteX74" fmla="*/ 1724813 w 1880530"/>
                <a:gd name="connsiteY74" fmla="*/ 1413357 h 1694229"/>
                <a:gd name="connsiteX75" fmla="*/ 1802405 w 1880530"/>
                <a:gd name="connsiteY75" fmla="*/ 1402749 h 1694229"/>
                <a:gd name="connsiteX76" fmla="*/ 1797524 w 1880530"/>
                <a:gd name="connsiteY76" fmla="*/ 1456313 h 1694229"/>
                <a:gd name="connsiteX77" fmla="*/ 1855691 w 1880530"/>
                <a:gd name="connsiteY77" fmla="*/ 1479634 h 1694229"/>
                <a:gd name="connsiteX78" fmla="*/ 1857299 w 1880530"/>
                <a:gd name="connsiteY78" fmla="*/ 1457000 h 1694229"/>
                <a:gd name="connsiteX79" fmla="*/ 1856521 w 1880530"/>
                <a:gd name="connsiteY79" fmla="*/ 1396266 h 1694229"/>
                <a:gd name="connsiteX80" fmla="*/ 1878487 w 1880530"/>
                <a:gd name="connsiteY80" fmla="*/ 1326546 h 1694229"/>
                <a:gd name="connsiteX81" fmla="*/ 1797946 w 1880530"/>
                <a:gd name="connsiteY81" fmla="*/ 1305140 h 1694229"/>
                <a:gd name="connsiteX82" fmla="*/ 1747763 w 1880530"/>
                <a:gd name="connsiteY82" fmla="*/ 1264979 h 1694229"/>
                <a:gd name="connsiteX83" fmla="*/ 1737459 w 1880530"/>
                <a:gd name="connsiteY83" fmla="*/ 1176356 h 1694229"/>
                <a:gd name="connsiteX84" fmla="*/ 1704241 w 1880530"/>
                <a:gd name="connsiteY84" fmla="*/ 1038783 h 1694229"/>
                <a:gd name="connsiteX85" fmla="*/ 1627446 w 1880530"/>
                <a:gd name="connsiteY85" fmla="*/ 972257 h 1694229"/>
                <a:gd name="connsiteX86" fmla="*/ 1594228 w 1880530"/>
                <a:gd name="connsiteY86" fmla="*/ 917660 h 1694229"/>
                <a:gd name="connsiteX87" fmla="*/ 1544162 w 1880530"/>
                <a:gd name="connsiteY87" fmla="*/ 872587 h 1694229"/>
                <a:gd name="connsiteX88" fmla="*/ 1472251 w 1880530"/>
                <a:gd name="connsiteY88" fmla="*/ 845878 h 1694229"/>
                <a:gd name="connsiteX89" fmla="*/ 1449150 w 1880530"/>
                <a:gd name="connsiteY89" fmla="*/ 823245 h 1694229"/>
                <a:gd name="connsiteX90" fmla="*/ 1477013 w 1880530"/>
                <a:gd name="connsiteY90" fmla="*/ 784801 h 1694229"/>
                <a:gd name="connsiteX91" fmla="*/ 1458319 w 1880530"/>
                <a:gd name="connsiteY91" fmla="*/ 748910 h 1694229"/>
                <a:gd name="connsiteX92" fmla="*/ 1463081 w 1880530"/>
                <a:gd name="connsiteY92" fmla="*/ 725098 h 1694229"/>
                <a:gd name="connsiteX93" fmla="*/ 1488076 w 1880530"/>
                <a:gd name="connsiteY93" fmla="*/ 724035 h 1694229"/>
                <a:gd name="connsiteX94" fmla="*/ 1580416 w 1880530"/>
                <a:gd name="connsiteY94" fmla="*/ 740220 h 1694229"/>
                <a:gd name="connsiteX95" fmla="*/ 1615719 w 1880530"/>
                <a:gd name="connsiteY95" fmla="*/ 683758 h 1694229"/>
                <a:gd name="connsiteX96" fmla="*/ 1603753 w 1880530"/>
                <a:gd name="connsiteY96" fmla="*/ 553648 h 1694229"/>
                <a:gd name="connsiteX97" fmla="*/ 1620956 w 1880530"/>
                <a:gd name="connsiteY97" fmla="*/ 405322 h 1694229"/>
                <a:gd name="connsiteX0" fmla="*/ 1620956 w 1881147"/>
                <a:gd name="connsiteY0" fmla="*/ 405322 h 1694229"/>
                <a:gd name="connsiteX1" fmla="*/ 1548806 w 1881147"/>
                <a:gd name="connsiteY1" fmla="*/ 372673 h 1694229"/>
                <a:gd name="connsiteX2" fmla="*/ 1458557 w 1881147"/>
                <a:gd name="connsiteY2" fmla="*/ 348860 h 1694229"/>
                <a:gd name="connsiteX3" fmla="*/ 1405237 w 1881147"/>
                <a:gd name="connsiteY3" fmla="*/ 271776 h 1694229"/>
                <a:gd name="connsiteX4" fmla="*/ 1382136 w 1881147"/>
                <a:gd name="connsiteY4" fmla="*/ 169931 h 1694229"/>
                <a:gd name="connsiteX5" fmla="*/ 1346239 w 1881147"/>
                <a:gd name="connsiteY5" fmla="*/ 1869 h 1694229"/>
                <a:gd name="connsiteX6" fmla="*/ 1278870 w 1881147"/>
                <a:gd name="connsiteY6" fmla="*/ 43567 h 1694229"/>
                <a:gd name="connsiteX7" fmla="*/ 1273302 w 1881147"/>
                <a:gd name="connsiteY7" fmla="*/ 101090 h 1694229"/>
                <a:gd name="connsiteX8" fmla="*/ 1257397 w 1881147"/>
                <a:gd name="connsiteY8" fmla="*/ 152303 h 1694229"/>
                <a:gd name="connsiteX9" fmla="*/ 1237872 w 1881147"/>
                <a:gd name="connsiteY9" fmla="*/ 204316 h 1694229"/>
                <a:gd name="connsiteX10" fmla="*/ 1236143 w 1881147"/>
                <a:gd name="connsiteY10" fmla="*/ 273739 h 1694229"/>
                <a:gd name="connsiteX11" fmla="*/ 1163162 w 1881147"/>
                <a:gd name="connsiteY11" fmla="*/ 283903 h 1694229"/>
                <a:gd name="connsiteX12" fmla="*/ 1098809 w 1881147"/>
                <a:gd name="connsiteY12" fmla="*/ 285917 h 1694229"/>
                <a:gd name="connsiteX13" fmla="*/ 1051208 w 1881147"/>
                <a:gd name="connsiteY13" fmla="*/ 346183 h 1694229"/>
                <a:gd name="connsiteX14" fmla="*/ 996593 w 1881147"/>
                <a:gd name="connsiteY14" fmla="*/ 371690 h 1694229"/>
                <a:gd name="connsiteX15" fmla="*/ 943969 w 1881147"/>
                <a:gd name="connsiteY15" fmla="*/ 358385 h 1694229"/>
                <a:gd name="connsiteX16" fmla="*/ 837229 w 1881147"/>
                <a:gd name="connsiteY16" fmla="*/ 376257 h 1694229"/>
                <a:gd name="connsiteX17" fmla="*/ 814246 w 1881147"/>
                <a:gd name="connsiteY17" fmla="*/ 440035 h 1694229"/>
                <a:gd name="connsiteX18" fmla="*/ 797163 w 1881147"/>
                <a:gd name="connsiteY18" fmla="*/ 475926 h 1694229"/>
                <a:gd name="connsiteX19" fmla="*/ 715132 w 1881147"/>
                <a:gd name="connsiteY19" fmla="*/ 494632 h 1694229"/>
                <a:gd name="connsiteX20" fmla="*/ 697320 w 1881147"/>
                <a:gd name="connsiteY20" fmla="*/ 440647 h 1694229"/>
                <a:gd name="connsiteX21" fmla="*/ 653456 w 1881147"/>
                <a:gd name="connsiteY21" fmla="*/ 420298 h 1694229"/>
                <a:gd name="connsiteX22" fmla="*/ 518140 w 1881147"/>
                <a:gd name="connsiteY22" fmla="*/ 420641 h 1694229"/>
                <a:gd name="connsiteX23" fmla="*/ 434263 w 1881147"/>
                <a:gd name="connsiteY23" fmla="*/ 447350 h 1694229"/>
                <a:gd name="connsiteX24" fmla="*/ 401044 w 1881147"/>
                <a:gd name="connsiteY24" fmla="*/ 420298 h 1694229"/>
                <a:gd name="connsiteX25" fmla="*/ 381994 w 1881147"/>
                <a:gd name="connsiteY25" fmla="*/ 358385 h 1694229"/>
                <a:gd name="connsiteX26" fmla="*/ 315319 w 1881147"/>
                <a:gd name="connsiteY26" fmla="*/ 305998 h 1694229"/>
                <a:gd name="connsiteX27" fmla="*/ 270134 w 1881147"/>
                <a:gd name="connsiteY27" fmla="*/ 229110 h 1694229"/>
                <a:gd name="connsiteX28" fmla="*/ 146784 w 1881147"/>
                <a:gd name="connsiteY28" fmla="*/ 258373 h 1694229"/>
                <a:gd name="connsiteX29" fmla="*/ 127734 w 1881147"/>
                <a:gd name="connsiteY29" fmla="*/ 344785 h 1694229"/>
                <a:gd name="connsiteX30" fmla="*/ 145174 w 1881147"/>
                <a:gd name="connsiteY30" fmla="*/ 411312 h 1694229"/>
                <a:gd name="connsiteX31" fmla="*/ 117735 w 1881147"/>
                <a:gd name="connsiteY31" fmla="*/ 446172 h 1694229"/>
                <a:gd name="connsiteX32" fmla="*/ 65347 w 1881147"/>
                <a:gd name="connsiteY32" fmla="*/ 474059 h 1694229"/>
                <a:gd name="connsiteX33" fmla="*/ 37246 w 1881147"/>
                <a:gd name="connsiteY33" fmla="*/ 482063 h 1694229"/>
                <a:gd name="connsiteX34" fmla="*/ 15281 w 1881147"/>
                <a:gd name="connsiteY34" fmla="*/ 520310 h 1694229"/>
                <a:gd name="connsiteX35" fmla="*/ 1469 w 1881147"/>
                <a:gd name="connsiteY35" fmla="*/ 632745 h 1694229"/>
                <a:gd name="connsiteX36" fmla="*/ 51178 w 1881147"/>
                <a:gd name="connsiteY36" fmla="*/ 685967 h 1694229"/>
                <a:gd name="connsiteX37" fmla="*/ 108092 w 1881147"/>
                <a:gd name="connsiteY37" fmla="*/ 681547 h 1694229"/>
                <a:gd name="connsiteX38" fmla="*/ 93804 w 1881147"/>
                <a:gd name="connsiteY38" fmla="*/ 751806 h 1694229"/>
                <a:gd name="connsiteX39" fmla="*/ 148631 w 1881147"/>
                <a:gd name="connsiteY39" fmla="*/ 782248 h 1694229"/>
                <a:gd name="connsiteX40" fmla="*/ 217629 w 1881147"/>
                <a:gd name="connsiteY40" fmla="*/ 792460 h 1694229"/>
                <a:gd name="connsiteX41" fmla="*/ 252932 w 1881147"/>
                <a:gd name="connsiteY41" fmla="*/ 848431 h 1694229"/>
                <a:gd name="connsiteX42" fmla="*/ 252339 w 1881147"/>
                <a:gd name="connsiteY42" fmla="*/ 893503 h 1694229"/>
                <a:gd name="connsiteX43" fmla="*/ 276863 w 1881147"/>
                <a:gd name="connsiteY43" fmla="*/ 932978 h 1694229"/>
                <a:gd name="connsiteX44" fmla="*/ 322521 w 1881147"/>
                <a:gd name="connsiteY44" fmla="*/ 971570 h 1694229"/>
                <a:gd name="connsiteX45" fmla="*/ 407654 w 1881147"/>
                <a:gd name="connsiteY45" fmla="*/ 1025822 h 1694229"/>
                <a:gd name="connsiteX46" fmla="*/ 443431 w 1881147"/>
                <a:gd name="connsiteY46" fmla="*/ 1096915 h 1694229"/>
                <a:gd name="connsiteX47" fmla="*/ 422534 w 1881147"/>
                <a:gd name="connsiteY47" fmla="*/ 1166488 h 1694229"/>
                <a:gd name="connsiteX48" fmla="*/ 500581 w 1881147"/>
                <a:gd name="connsiteY48" fmla="*/ 1222951 h 1694229"/>
                <a:gd name="connsiteX49" fmla="*/ 572613 w 1881147"/>
                <a:gd name="connsiteY49" fmla="*/ 1255945 h 1694229"/>
                <a:gd name="connsiteX50" fmla="*/ 553444 w 1881147"/>
                <a:gd name="connsiteY50" fmla="*/ 1315648 h 1694229"/>
                <a:gd name="connsiteX51" fmla="*/ 643931 w 1881147"/>
                <a:gd name="connsiteY51" fmla="*/ 1468048 h 1694229"/>
                <a:gd name="connsiteX52" fmla="*/ 736741 w 1881147"/>
                <a:gd name="connsiteY52" fmla="*/ 1541202 h 1694229"/>
                <a:gd name="connsiteX53" fmla="*/ 786806 w 1881147"/>
                <a:gd name="connsiteY53" fmla="*/ 1491860 h 1694229"/>
                <a:gd name="connsiteX54" fmla="*/ 851396 w 1881147"/>
                <a:gd name="connsiteY54" fmla="*/ 1519257 h 1694229"/>
                <a:gd name="connsiteX55" fmla="*/ 905869 w 1881147"/>
                <a:gd name="connsiteY55" fmla="*/ 1487098 h 1694229"/>
                <a:gd name="connsiteX56" fmla="*/ 922716 w 1881147"/>
                <a:gd name="connsiteY56" fmla="*/ 1444922 h 1694229"/>
                <a:gd name="connsiteX57" fmla="*/ 986593 w 1881147"/>
                <a:gd name="connsiteY57" fmla="*/ 1531334 h 1694229"/>
                <a:gd name="connsiteX58" fmla="*/ 1031660 w 1881147"/>
                <a:gd name="connsiteY58" fmla="*/ 1602428 h 1694229"/>
                <a:gd name="connsiteX59" fmla="*/ 1101606 w 1881147"/>
                <a:gd name="connsiteY59" fmla="*/ 1693947 h 1694229"/>
                <a:gd name="connsiteX60" fmla="*/ 1132504 w 1881147"/>
                <a:gd name="connsiteY60" fmla="*/ 1630856 h 1694229"/>
                <a:gd name="connsiteX61" fmla="*/ 1163163 w 1881147"/>
                <a:gd name="connsiteY61" fmla="*/ 1624376 h 1694229"/>
                <a:gd name="connsiteX62" fmla="*/ 1206262 w 1881147"/>
                <a:gd name="connsiteY62" fmla="*/ 1653639 h 1694229"/>
                <a:gd name="connsiteX63" fmla="*/ 1239837 w 1881147"/>
                <a:gd name="connsiteY63" fmla="*/ 1612985 h 1694229"/>
                <a:gd name="connsiteX64" fmla="*/ 1258658 w 1881147"/>
                <a:gd name="connsiteY64" fmla="*/ 1617602 h 1694229"/>
                <a:gd name="connsiteX65" fmla="*/ 1292700 w 1881147"/>
                <a:gd name="connsiteY65" fmla="*/ 1684079 h 1694229"/>
                <a:gd name="connsiteX66" fmla="*/ 1349256 w 1881147"/>
                <a:gd name="connsiteY66" fmla="*/ 1660610 h 1694229"/>
                <a:gd name="connsiteX67" fmla="*/ 1401288 w 1881147"/>
                <a:gd name="connsiteY67" fmla="*/ 1604489 h 1694229"/>
                <a:gd name="connsiteX68" fmla="*/ 1452065 w 1881147"/>
                <a:gd name="connsiteY68" fmla="*/ 1587946 h 1694229"/>
                <a:gd name="connsiteX69" fmla="*/ 1469744 w 1881147"/>
                <a:gd name="connsiteY69" fmla="*/ 1643768 h 1694229"/>
                <a:gd name="connsiteX70" fmla="*/ 1539639 w 1881147"/>
                <a:gd name="connsiteY70" fmla="*/ 1618090 h 1694229"/>
                <a:gd name="connsiteX71" fmla="*/ 1570417 w 1881147"/>
                <a:gd name="connsiteY71" fmla="*/ 1531334 h 1694229"/>
                <a:gd name="connsiteX72" fmla="*/ 1651853 w 1881147"/>
                <a:gd name="connsiteY72" fmla="*/ 1441192 h 1694229"/>
                <a:gd name="connsiteX73" fmla="*/ 1696444 w 1881147"/>
                <a:gd name="connsiteY73" fmla="*/ 1410062 h 1694229"/>
                <a:gd name="connsiteX74" fmla="*/ 1724813 w 1881147"/>
                <a:gd name="connsiteY74" fmla="*/ 1413357 h 1694229"/>
                <a:gd name="connsiteX75" fmla="*/ 1802405 w 1881147"/>
                <a:gd name="connsiteY75" fmla="*/ 1402749 h 1694229"/>
                <a:gd name="connsiteX76" fmla="*/ 1797524 w 1881147"/>
                <a:gd name="connsiteY76" fmla="*/ 1456313 h 1694229"/>
                <a:gd name="connsiteX77" fmla="*/ 1855691 w 1881147"/>
                <a:gd name="connsiteY77" fmla="*/ 1479634 h 1694229"/>
                <a:gd name="connsiteX78" fmla="*/ 1857299 w 1881147"/>
                <a:gd name="connsiteY78" fmla="*/ 1457000 h 1694229"/>
                <a:gd name="connsiteX79" fmla="*/ 1861403 w 1881147"/>
                <a:gd name="connsiteY79" fmla="*/ 1401373 h 1694229"/>
                <a:gd name="connsiteX80" fmla="*/ 1878487 w 1881147"/>
                <a:gd name="connsiteY80" fmla="*/ 1326546 h 1694229"/>
                <a:gd name="connsiteX81" fmla="*/ 1797946 w 1881147"/>
                <a:gd name="connsiteY81" fmla="*/ 1305140 h 1694229"/>
                <a:gd name="connsiteX82" fmla="*/ 1747763 w 1881147"/>
                <a:gd name="connsiteY82" fmla="*/ 1264979 h 1694229"/>
                <a:gd name="connsiteX83" fmla="*/ 1737459 w 1881147"/>
                <a:gd name="connsiteY83" fmla="*/ 1176356 h 1694229"/>
                <a:gd name="connsiteX84" fmla="*/ 1704241 w 1881147"/>
                <a:gd name="connsiteY84" fmla="*/ 1038783 h 1694229"/>
                <a:gd name="connsiteX85" fmla="*/ 1627446 w 1881147"/>
                <a:gd name="connsiteY85" fmla="*/ 972257 h 1694229"/>
                <a:gd name="connsiteX86" fmla="*/ 1594228 w 1881147"/>
                <a:gd name="connsiteY86" fmla="*/ 917660 h 1694229"/>
                <a:gd name="connsiteX87" fmla="*/ 1544162 w 1881147"/>
                <a:gd name="connsiteY87" fmla="*/ 872587 h 1694229"/>
                <a:gd name="connsiteX88" fmla="*/ 1472251 w 1881147"/>
                <a:gd name="connsiteY88" fmla="*/ 845878 h 1694229"/>
                <a:gd name="connsiteX89" fmla="*/ 1449150 w 1881147"/>
                <a:gd name="connsiteY89" fmla="*/ 823245 h 1694229"/>
                <a:gd name="connsiteX90" fmla="*/ 1477013 w 1881147"/>
                <a:gd name="connsiteY90" fmla="*/ 784801 h 1694229"/>
                <a:gd name="connsiteX91" fmla="*/ 1458319 w 1881147"/>
                <a:gd name="connsiteY91" fmla="*/ 748910 h 1694229"/>
                <a:gd name="connsiteX92" fmla="*/ 1463081 w 1881147"/>
                <a:gd name="connsiteY92" fmla="*/ 725098 h 1694229"/>
                <a:gd name="connsiteX93" fmla="*/ 1488076 w 1881147"/>
                <a:gd name="connsiteY93" fmla="*/ 724035 h 1694229"/>
                <a:gd name="connsiteX94" fmla="*/ 1580416 w 1881147"/>
                <a:gd name="connsiteY94" fmla="*/ 740220 h 1694229"/>
                <a:gd name="connsiteX95" fmla="*/ 1615719 w 1881147"/>
                <a:gd name="connsiteY95" fmla="*/ 683758 h 1694229"/>
                <a:gd name="connsiteX96" fmla="*/ 1603753 w 1881147"/>
                <a:gd name="connsiteY96" fmla="*/ 553648 h 1694229"/>
                <a:gd name="connsiteX97" fmla="*/ 1620956 w 1881147"/>
                <a:gd name="connsiteY97" fmla="*/ 405322 h 1694229"/>
                <a:gd name="connsiteX0" fmla="*/ 1620956 w 1868187"/>
                <a:gd name="connsiteY0" fmla="*/ 405322 h 1694229"/>
                <a:gd name="connsiteX1" fmla="*/ 1548806 w 1868187"/>
                <a:gd name="connsiteY1" fmla="*/ 372673 h 1694229"/>
                <a:gd name="connsiteX2" fmla="*/ 1458557 w 1868187"/>
                <a:gd name="connsiteY2" fmla="*/ 348860 h 1694229"/>
                <a:gd name="connsiteX3" fmla="*/ 1405237 w 1868187"/>
                <a:gd name="connsiteY3" fmla="*/ 271776 h 1694229"/>
                <a:gd name="connsiteX4" fmla="*/ 1382136 w 1868187"/>
                <a:gd name="connsiteY4" fmla="*/ 169931 h 1694229"/>
                <a:gd name="connsiteX5" fmla="*/ 1346239 w 1868187"/>
                <a:gd name="connsiteY5" fmla="*/ 1869 h 1694229"/>
                <a:gd name="connsiteX6" fmla="*/ 1278870 w 1868187"/>
                <a:gd name="connsiteY6" fmla="*/ 43567 h 1694229"/>
                <a:gd name="connsiteX7" fmla="*/ 1273302 w 1868187"/>
                <a:gd name="connsiteY7" fmla="*/ 101090 h 1694229"/>
                <a:gd name="connsiteX8" fmla="*/ 1257397 w 1868187"/>
                <a:gd name="connsiteY8" fmla="*/ 152303 h 1694229"/>
                <a:gd name="connsiteX9" fmla="*/ 1237872 w 1868187"/>
                <a:gd name="connsiteY9" fmla="*/ 204316 h 1694229"/>
                <a:gd name="connsiteX10" fmla="*/ 1236143 w 1868187"/>
                <a:gd name="connsiteY10" fmla="*/ 273739 h 1694229"/>
                <a:gd name="connsiteX11" fmla="*/ 1163162 w 1868187"/>
                <a:gd name="connsiteY11" fmla="*/ 283903 h 1694229"/>
                <a:gd name="connsiteX12" fmla="*/ 1098809 w 1868187"/>
                <a:gd name="connsiteY12" fmla="*/ 285917 h 1694229"/>
                <a:gd name="connsiteX13" fmla="*/ 1051208 w 1868187"/>
                <a:gd name="connsiteY13" fmla="*/ 346183 h 1694229"/>
                <a:gd name="connsiteX14" fmla="*/ 996593 w 1868187"/>
                <a:gd name="connsiteY14" fmla="*/ 371690 h 1694229"/>
                <a:gd name="connsiteX15" fmla="*/ 943969 w 1868187"/>
                <a:gd name="connsiteY15" fmla="*/ 358385 h 1694229"/>
                <a:gd name="connsiteX16" fmla="*/ 837229 w 1868187"/>
                <a:gd name="connsiteY16" fmla="*/ 376257 h 1694229"/>
                <a:gd name="connsiteX17" fmla="*/ 814246 w 1868187"/>
                <a:gd name="connsiteY17" fmla="*/ 440035 h 1694229"/>
                <a:gd name="connsiteX18" fmla="*/ 797163 w 1868187"/>
                <a:gd name="connsiteY18" fmla="*/ 475926 h 1694229"/>
                <a:gd name="connsiteX19" fmla="*/ 715132 w 1868187"/>
                <a:gd name="connsiteY19" fmla="*/ 494632 h 1694229"/>
                <a:gd name="connsiteX20" fmla="*/ 697320 w 1868187"/>
                <a:gd name="connsiteY20" fmla="*/ 440647 h 1694229"/>
                <a:gd name="connsiteX21" fmla="*/ 653456 w 1868187"/>
                <a:gd name="connsiteY21" fmla="*/ 420298 h 1694229"/>
                <a:gd name="connsiteX22" fmla="*/ 518140 w 1868187"/>
                <a:gd name="connsiteY22" fmla="*/ 420641 h 1694229"/>
                <a:gd name="connsiteX23" fmla="*/ 434263 w 1868187"/>
                <a:gd name="connsiteY23" fmla="*/ 447350 h 1694229"/>
                <a:gd name="connsiteX24" fmla="*/ 401044 w 1868187"/>
                <a:gd name="connsiteY24" fmla="*/ 420298 h 1694229"/>
                <a:gd name="connsiteX25" fmla="*/ 381994 w 1868187"/>
                <a:gd name="connsiteY25" fmla="*/ 358385 h 1694229"/>
                <a:gd name="connsiteX26" fmla="*/ 315319 w 1868187"/>
                <a:gd name="connsiteY26" fmla="*/ 305998 h 1694229"/>
                <a:gd name="connsiteX27" fmla="*/ 270134 w 1868187"/>
                <a:gd name="connsiteY27" fmla="*/ 229110 h 1694229"/>
                <a:gd name="connsiteX28" fmla="*/ 146784 w 1868187"/>
                <a:gd name="connsiteY28" fmla="*/ 258373 h 1694229"/>
                <a:gd name="connsiteX29" fmla="*/ 127734 w 1868187"/>
                <a:gd name="connsiteY29" fmla="*/ 344785 h 1694229"/>
                <a:gd name="connsiteX30" fmla="*/ 145174 w 1868187"/>
                <a:gd name="connsiteY30" fmla="*/ 411312 h 1694229"/>
                <a:gd name="connsiteX31" fmla="*/ 117735 w 1868187"/>
                <a:gd name="connsiteY31" fmla="*/ 446172 h 1694229"/>
                <a:gd name="connsiteX32" fmla="*/ 65347 w 1868187"/>
                <a:gd name="connsiteY32" fmla="*/ 474059 h 1694229"/>
                <a:gd name="connsiteX33" fmla="*/ 37246 w 1868187"/>
                <a:gd name="connsiteY33" fmla="*/ 482063 h 1694229"/>
                <a:gd name="connsiteX34" fmla="*/ 15281 w 1868187"/>
                <a:gd name="connsiteY34" fmla="*/ 520310 h 1694229"/>
                <a:gd name="connsiteX35" fmla="*/ 1469 w 1868187"/>
                <a:gd name="connsiteY35" fmla="*/ 632745 h 1694229"/>
                <a:gd name="connsiteX36" fmla="*/ 51178 w 1868187"/>
                <a:gd name="connsiteY36" fmla="*/ 685967 h 1694229"/>
                <a:gd name="connsiteX37" fmla="*/ 108092 w 1868187"/>
                <a:gd name="connsiteY37" fmla="*/ 681547 h 1694229"/>
                <a:gd name="connsiteX38" fmla="*/ 93804 w 1868187"/>
                <a:gd name="connsiteY38" fmla="*/ 751806 h 1694229"/>
                <a:gd name="connsiteX39" fmla="*/ 148631 w 1868187"/>
                <a:gd name="connsiteY39" fmla="*/ 782248 h 1694229"/>
                <a:gd name="connsiteX40" fmla="*/ 217629 w 1868187"/>
                <a:gd name="connsiteY40" fmla="*/ 792460 h 1694229"/>
                <a:gd name="connsiteX41" fmla="*/ 252932 w 1868187"/>
                <a:gd name="connsiteY41" fmla="*/ 848431 h 1694229"/>
                <a:gd name="connsiteX42" fmla="*/ 252339 w 1868187"/>
                <a:gd name="connsiteY42" fmla="*/ 893503 h 1694229"/>
                <a:gd name="connsiteX43" fmla="*/ 276863 w 1868187"/>
                <a:gd name="connsiteY43" fmla="*/ 932978 h 1694229"/>
                <a:gd name="connsiteX44" fmla="*/ 322521 w 1868187"/>
                <a:gd name="connsiteY44" fmla="*/ 971570 h 1694229"/>
                <a:gd name="connsiteX45" fmla="*/ 407654 w 1868187"/>
                <a:gd name="connsiteY45" fmla="*/ 1025822 h 1694229"/>
                <a:gd name="connsiteX46" fmla="*/ 443431 w 1868187"/>
                <a:gd name="connsiteY46" fmla="*/ 1096915 h 1694229"/>
                <a:gd name="connsiteX47" fmla="*/ 422534 w 1868187"/>
                <a:gd name="connsiteY47" fmla="*/ 1166488 h 1694229"/>
                <a:gd name="connsiteX48" fmla="*/ 500581 w 1868187"/>
                <a:gd name="connsiteY48" fmla="*/ 1222951 h 1694229"/>
                <a:gd name="connsiteX49" fmla="*/ 572613 w 1868187"/>
                <a:gd name="connsiteY49" fmla="*/ 1255945 h 1694229"/>
                <a:gd name="connsiteX50" fmla="*/ 553444 w 1868187"/>
                <a:gd name="connsiteY50" fmla="*/ 1315648 h 1694229"/>
                <a:gd name="connsiteX51" fmla="*/ 643931 w 1868187"/>
                <a:gd name="connsiteY51" fmla="*/ 1468048 h 1694229"/>
                <a:gd name="connsiteX52" fmla="*/ 736741 w 1868187"/>
                <a:gd name="connsiteY52" fmla="*/ 1541202 h 1694229"/>
                <a:gd name="connsiteX53" fmla="*/ 786806 w 1868187"/>
                <a:gd name="connsiteY53" fmla="*/ 1491860 h 1694229"/>
                <a:gd name="connsiteX54" fmla="*/ 851396 w 1868187"/>
                <a:gd name="connsiteY54" fmla="*/ 1519257 h 1694229"/>
                <a:gd name="connsiteX55" fmla="*/ 905869 w 1868187"/>
                <a:gd name="connsiteY55" fmla="*/ 1487098 h 1694229"/>
                <a:gd name="connsiteX56" fmla="*/ 922716 w 1868187"/>
                <a:gd name="connsiteY56" fmla="*/ 1444922 h 1694229"/>
                <a:gd name="connsiteX57" fmla="*/ 986593 w 1868187"/>
                <a:gd name="connsiteY57" fmla="*/ 1531334 h 1694229"/>
                <a:gd name="connsiteX58" fmla="*/ 1031660 w 1868187"/>
                <a:gd name="connsiteY58" fmla="*/ 1602428 h 1694229"/>
                <a:gd name="connsiteX59" fmla="*/ 1101606 w 1868187"/>
                <a:gd name="connsiteY59" fmla="*/ 1693947 h 1694229"/>
                <a:gd name="connsiteX60" fmla="*/ 1132504 w 1868187"/>
                <a:gd name="connsiteY60" fmla="*/ 1630856 h 1694229"/>
                <a:gd name="connsiteX61" fmla="*/ 1163163 w 1868187"/>
                <a:gd name="connsiteY61" fmla="*/ 1624376 h 1694229"/>
                <a:gd name="connsiteX62" fmla="*/ 1206262 w 1868187"/>
                <a:gd name="connsiteY62" fmla="*/ 1653639 h 1694229"/>
                <a:gd name="connsiteX63" fmla="*/ 1239837 w 1868187"/>
                <a:gd name="connsiteY63" fmla="*/ 1612985 h 1694229"/>
                <a:gd name="connsiteX64" fmla="*/ 1258658 w 1868187"/>
                <a:gd name="connsiteY64" fmla="*/ 1617602 h 1694229"/>
                <a:gd name="connsiteX65" fmla="*/ 1292700 w 1868187"/>
                <a:gd name="connsiteY65" fmla="*/ 1684079 h 1694229"/>
                <a:gd name="connsiteX66" fmla="*/ 1349256 w 1868187"/>
                <a:gd name="connsiteY66" fmla="*/ 1660610 h 1694229"/>
                <a:gd name="connsiteX67" fmla="*/ 1401288 w 1868187"/>
                <a:gd name="connsiteY67" fmla="*/ 1604489 h 1694229"/>
                <a:gd name="connsiteX68" fmla="*/ 1452065 w 1868187"/>
                <a:gd name="connsiteY68" fmla="*/ 1587946 h 1694229"/>
                <a:gd name="connsiteX69" fmla="*/ 1469744 w 1868187"/>
                <a:gd name="connsiteY69" fmla="*/ 1643768 h 1694229"/>
                <a:gd name="connsiteX70" fmla="*/ 1539639 w 1868187"/>
                <a:gd name="connsiteY70" fmla="*/ 1618090 h 1694229"/>
                <a:gd name="connsiteX71" fmla="*/ 1570417 w 1868187"/>
                <a:gd name="connsiteY71" fmla="*/ 1531334 h 1694229"/>
                <a:gd name="connsiteX72" fmla="*/ 1651853 w 1868187"/>
                <a:gd name="connsiteY72" fmla="*/ 1441192 h 1694229"/>
                <a:gd name="connsiteX73" fmla="*/ 1696444 w 1868187"/>
                <a:gd name="connsiteY73" fmla="*/ 1410062 h 1694229"/>
                <a:gd name="connsiteX74" fmla="*/ 1724813 w 1868187"/>
                <a:gd name="connsiteY74" fmla="*/ 1413357 h 1694229"/>
                <a:gd name="connsiteX75" fmla="*/ 1802405 w 1868187"/>
                <a:gd name="connsiteY75" fmla="*/ 1402749 h 1694229"/>
                <a:gd name="connsiteX76" fmla="*/ 1797524 w 1868187"/>
                <a:gd name="connsiteY76" fmla="*/ 1456313 h 1694229"/>
                <a:gd name="connsiteX77" fmla="*/ 1855691 w 1868187"/>
                <a:gd name="connsiteY77" fmla="*/ 1479634 h 1694229"/>
                <a:gd name="connsiteX78" fmla="*/ 1857299 w 1868187"/>
                <a:gd name="connsiteY78" fmla="*/ 1457000 h 1694229"/>
                <a:gd name="connsiteX79" fmla="*/ 1861403 w 1868187"/>
                <a:gd name="connsiteY79" fmla="*/ 1401373 h 1694229"/>
                <a:gd name="connsiteX80" fmla="*/ 1863844 w 1868187"/>
                <a:gd name="connsiteY80" fmla="*/ 1326546 h 1694229"/>
                <a:gd name="connsiteX81" fmla="*/ 1797946 w 1868187"/>
                <a:gd name="connsiteY81" fmla="*/ 1305140 h 1694229"/>
                <a:gd name="connsiteX82" fmla="*/ 1747763 w 1868187"/>
                <a:gd name="connsiteY82" fmla="*/ 1264979 h 1694229"/>
                <a:gd name="connsiteX83" fmla="*/ 1737459 w 1868187"/>
                <a:gd name="connsiteY83" fmla="*/ 1176356 h 1694229"/>
                <a:gd name="connsiteX84" fmla="*/ 1704241 w 1868187"/>
                <a:gd name="connsiteY84" fmla="*/ 1038783 h 1694229"/>
                <a:gd name="connsiteX85" fmla="*/ 1627446 w 1868187"/>
                <a:gd name="connsiteY85" fmla="*/ 972257 h 1694229"/>
                <a:gd name="connsiteX86" fmla="*/ 1594228 w 1868187"/>
                <a:gd name="connsiteY86" fmla="*/ 917660 h 1694229"/>
                <a:gd name="connsiteX87" fmla="*/ 1544162 w 1868187"/>
                <a:gd name="connsiteY87" fmla="*/ 872587 h 1694229"/>
                <a:gd name="connsiteX88" fmla="*/ 1472251 w 1868187"/>
                <a:gd name="connsiteY88" fmla="*/ 845878 h 1694229"/>
                <a:gd name="connsiteX89" fmla="*/ 1449150 w 1868187"/>
                <a:gd name="connsiteY89" fmla="*/ 823245 h 1694229"/>
                <a:gd name="connsiteX90" fmla="*/ 1477013 w 1868187"/>
                <a:gd name="connsiteY90" fmla="*/ 784801 h 1694229"/>
                <a:gd name="connsiteX91" fmla="*/ 1458319 w 1868187"/>
                <a:gd name="connsiteY91" fmla="*/ 748910 h 1694229"/>
                <a:gd name="connsiteX92" fmla="*/ 1463081 w 1868187"/>
                <a:gd name="connsiteY92" fmla="*/ 725098 h 1694229"/>
                <a:gd name="connsiteX93" fmla="*/ 1488076 w 1868187"/>
                <a:gd name="connsiteY93" fmla="*/ 724035 h 1694229"/>
                <a:gd name="connsiteX94" fmla="*/ 1580416 w 1868187"/>
                <a:gd name="connsiteY94" fmla="*/ 740220 h 1694229"/>
                <a:gd name="connsiteX95" fmla="*/ 1615719 w 1868187"/>
                <a:gd name="connsiteY95" fmla="*/ 683758 h 1694229"/>
                <a:gd name="connsiteX96" fmla="*/ 1603753 w 1868187"/>
                <a:gd name="connsiteY96" fmla="*/ 553648 h 1694229"/>
                <a:gd name="connsiteX97" fmla="*/ 1620956 w 1868187"/>
                <a:gd name="connsiteY97" fmla="*/ 405322 h 1694229"/>
                <a:gd name="connsiteX0" fmla="*/ 1620956 w 1872005"/>
                <a:gd name="connsiteY0" fmla="*/ 405322 h 1694229"/>
                <a:gd name="connsiteX1" fmla="*/ 1548806 w 1872005"/>
                <a:gd name="connsiteY1" fmla="*/ 372673 h 1694229"/>
                <a:gd name="connsiteX2" fmla="*/ 1458557 w 1872005"/>
                <a:gd name="connsiteY2" fmla="*/ 348860 h 1694229"/>
                <a:gd name="connsiteX3" fmla="*/ 1405237 w 1872005"/>
                <a:gd name="connsiteY3" fmla="*/ 271776 h 1694229"/>
                <a:gd name="connsiteX4" fmla="*/ 1382136 w 1872005"/>
                <a:gd name="connsiteY4" fmla="*/ 169931 h 1694229"/>
                <a:gd name="connsiteX5" fmla="*/ 1346239 w 1872005"/>
                <a:gd name="connsiteY5" fmla="*/ 1869 h 1694229"/>
                <a:gd name="connsiteX6" fmla="*/ 1278870 w 1872005"/>
                <a:gd name="connsiteY6" fmla="*/ 43567 h 1694229"/>
                <a:gd name="connsiteX7" fmla="*/ 1273302 w 1872005"/>
                <a:gd name="connsiteY7" fmla="*/ 101090 h 1694229"/>
                <a:gd name="connsiteX8" fmla="*/ 1257397 w 1872005"/>
                <a:gd name="connsiteY8" fmla="*/ 152303 h 1694229"/>
                <a:gd name="connsiteX9" fmla="*/ 1237872 w 1872005"/>
                <a:gd name="connsiteY9" fmla="*/ 204316 h 1694229"/>
                <a:gd name="connsiteX10" fmla="*/ 1236143 w 1872005"/>
                <a:gd name="connsiteY10" fmla="*/ 273739 h 1694229"/>
                <a:gd name="connsiteX11" fmla="*/ 1163162 w 1872005"/>
                <a:gd name="connsiteY11" fmla="*/ 283903 h 1694229"/>
                <a:gd name="connsiteX12" fmla="*/ 1098809 w 1872005"/>
                <a:gd name="connsiteY12" fmla="*/ 285917 h 1694229"/>
                <a:gd name="connsiteX13" fmla="*/ 1051208 w 1872005"/>
                <a:gd name="connsiteY13" fmla="*/ 346183 h 1694229"/>
                <a:gd name="connsiteX14" fmla="*/ 996593 w 1872005"/>
                <a:gd name="connsiteY14" fmla="*/ 371690 h 1694229"/>
                <a:gd name="connsiteX15" fmla="*/ 943969 w 1872005"/>
                <a:gd name="connsiteY15" fmla="*/ 358385 h 1694229"/>
                <a:gd name="connsiteX16" fmla="*/ 837229 w 1872005"/>
                <a:gd name="connsiteY16" fmla="*/ 376257 h 1694229"/>
                <a:gd name="connsiteX17" fmla="*/ 814246 w 1872005"/>
                <a:gd name="connsiteY17" fmla="*/ 440035 h 1694229"/>
                <a:gd name="connsiteX18" fmla="*/ 797163 w 1872005"/>
                <a:gd name="connsiteY18" fmla="*/ 475926 h 1694229"/>
                <a:gd name="connsiteX19" fmla="*/ 715132 w 1872005"/>
                <a:gd name="connsiteY19" fmla="*/ 494632 h 1694229"/>
                <a:gd name="connsiteX20" fmla="*/ 697320 w 1872005"/>
                <a:gd name="connsiteY20" fmla="*/ 440647 h 1694229"/>
                <a:gd name="connsiteX21" fmla="*/ 653456 w 1872005"/>
                <a:gd name="connsiteY21" fmla="*/ 420298 h 1694229"/>
                <a:gd name="connsiteX22" fmla="*/ 518140 w 1872005"/>
                <a:gd name="connsiteY22" fmla="*/ 420641 h 1694229"/>
                <a:gd name="connsiteX23" fmla="*/ 434263 w 1872005"/>
                <a:gd name="connsiteY23" fmla="*/ 447350 h 1694229"/>
                <a:gd name="connsiteX24" fmla="*/ 401044 w 1872005"/>
                <a:gd name="connsiteY24" fmla="*/ 420298 h 1694229"/>
                <a:gd name="connsiteX25" fmla="*/ 381994 w 1872005"/>
                <a:gd name="connsiteY25" fmla="*/ 358385 h 1694229"/>
                <a:gd name="connsiteX26" fmla="*/ 315319 w 1872005"/>
                <a:gd name="connsiteY26" fmla="*/ 305998 h 1694229"/>
                <a:gd name="connsiteX27" fmla="*/ 270134 w 1872005"/>
                <a:gd name="connsiteY27" fmla="*/ 229110 h 1694229"/>
                <a:gd name="connsiteX28" fmla="*/ 146784 w 1872005"/>
                <a:gd name="connsiteY28" fmla="*/ 258373 h 1694229"/>
                <a:gd name="connsiteX29" fmla="*/ 127734 w 1872005"/>
                <a:gd name="connsiteY29" fmla="*/ 344785 h 1694229"/>
                <a:gd name="connsiteX30" fmla="*/ 145174 w 1872005"/>
                <a:gd name="connsiteY30" fmla="*/ 411312 h 1694229"/>
                <a:gd name="connsiteX31" fmla="*/ 117735 w 1872005"/>
                <a:gd name="connsiteY31" fmla="*/ 446172 h 1694229"/>
                <a:gd name="connsiteX32" fmla="*/ 65347 w 1872005"/>
                <a:gd name="connsiteY32" fmla="*/ 474059 h 1694229"/>
                <a:gd name="connsiteX33" fmla="*/ 37246 w 1872005"/>
                <a:gd name="connsiteY33" fmla="*/ 482063 h 1694229"/>
                <a:gd name="connsiteX34" fmla="*/ 15281 w 1872005"/>
                <a:gd name="connsiteY34" fmla="*/ 520310 h 1694229"/>
                <a:gd name="connsiteX35" fmla="*/ 1469 w 1872005"/>
                <a:gd name="connsiteY35" fmla="*/ 632745 h 1694229"/>
                <a:gd name="connsiteX36" fmla="*/ 51178 w 1872005"/>
                <a:gd name="connsiteY36" fmla="*/ 685967 h 1694229"/>
                <a:gd name="connsiteX37" fmla="*/ 108092 w 1872005"/>
                <a:gd name="connsiteY37" fmla="*/ 681547 h 1694229"/>
                <a:gd name="connsiteX38" fmla="*/ 93804 w 1872005"/>
                <a:gd name="connsiteY38" fmla="*/ 751806 h 1694229"/>
                <a:gd name="connsiteX39" fmla="*/ 148631 w 1872005"/>
                <a:gd name="connsiteY39" fmla="*/ 782248 h 1694229"/>
                <a:gd name="connsiteX40" fmla="*/ 217629 w 1872005"/>
                <a:gd name="connsiteY40" fmla="*/ 792460 h 1694229"/>
                <a:gd name="connsiteX41" fmla="*/ 252932 w 1872005"/>
                <a:gd name="connsiteY41" fmla="*/ 848431 h 1694229"/>
                <a:gd name="connsiteX42" fmla="*/ 252339 w 1872005"/>
                <a:gd name="connsiteY42" fmla="*/ 893503 h 1694229"/>
                <a:gd name="connsiteX43" fmla="*/ 276863 w 1872005"/>
                <a:gd name="connsiteY43" fmla="*/ 932978 h 1694229"/>
                <a:gd name="connsiteX44" fmla="*/ 322521 w 1872005"/>
                <a:gd name="connsiteY44" fmla="*/ 971570 h 1694229"/>
                <a:gd name="connsiteX45" fmla="*/ 407654 w 1872005"/>
                <a:gd name="connsiteY45" fmla="*/ 1025822 h 1694229"/>
                <a:gd name="connsiteX46" fmla="*/ 443431 w 1872005"/>
                <a:gd name="connsiteY46" fmla="*/ 1096915 h 1694229"/>
                <a:gd name="connsiteX47" fmla="*/ 422534 w 1872005"/>
                <a:gd name="connsiteY47" fmla="*/ 1166488 h 1694229"/>
                <a:gd name="connsiteX48" fmla="*/ 500581 w 1872005"/>
                <a:gd name="connsiteY48" fmla="*/ 1222951 h 1694229"/>
                <a:gd name="connsiteX49" fmla="*/ 572613 w 1872005"/>
                <a:gd name="connsiteY49" fmla="*/ 1255945 h 1694229"/>
                <a:gd name="connsiteX50" fmla="*/ 553444 w 1872005"/>
                <a:gd name="connsiteY50" fmla="*/ 1315648 h 1694229"/>
                <a:gd name="connsiteX51" fmla="*/ 643931 w 1872005"/>
                <a:gd name="connsiteY51" fmla="*/ 1468048 h 1694229"/>
                <a:gd name="connsiteX52" fmla="*/ 736741 w 1872005"/>
                <a:gd name="connsiteY52" fmla="*/ 1541202 h 1694229"/>
                <a:gd name="connsiteX53" fmla="*/ 786806 w 1872005"/>
                <a:gd name="connsiteY53" fmla="*/ 1491860 h 1694229"/>
                <a:gd name="connsiteX54" fmla="*/ 851396 w 1872005"/>
                <a:gd name="connsiteY54" fmla="*/ 1519257 h 1694229"/>
                <a:gd name="connsiteX55" fmla="*/ 905869 w 1872005"/>
                <a:gd name="connsiteY55" fmla="*/ 1487098 h 1694229"/>
                <a:gd name="connsiteX56" fmla="*/ 922716 w 1872005"/>
                <a:gd name="connsiteY56" fmla="*/ 1444922 h 1694229"/>
                <a:gd name="connsiteX57" fmla="*/ 986593 w 1872005"/>
                <a:gd name="connsiteY57" fmla="*/ 1531334 h 1694229"/>
                <a:gd name="connsiteX58" fmla="*/ 1031660 w 1872005"/>
                <a:gd name="connsiteY58" fmla="*/ 1602428 h 1694229"/>
                <a:gd name="connsiteX59" fmla="*/ 1101606 w 1872005"/>
                <a:gd name="connsiteY59" fmla="*/ 1693947 h 1694229"/>
                <a:gd name="connsiteX60" fmla="*/ 1132504 w 1872005"/>
                <a:gd name="connsiteY60" fmla="*/ 1630856 h 1694229"/>
                <a:gd name="connsiteX61" fmla="*/ 1163163 w 1872005"/>
                <a:gd name="connsiteY61" fmla="*/ 1624376 h 1694229"/>
                <a:gd name="connsiteX62" fmla="*/ 1206262 w 1872005"/>
                <a:gd name="connsiteY62" fmla="*/ 1653639 h 1694229"/>
                <a:gd name="connsiteX63" fmla="*/ 1239837 w 1872005"/>
                <a:gd name="connsiteY63" fmla="*/ 1612985 h 1694229"/>
                <a:gd name="connsiteX64" fmla="*/ 1258658 w 1872005"/>
                <a:gd name="connsiteY64" fmla="*/ 1617602 h 1694229"/>
                <a:gd name="connsiteX65" fmla="*/ 1292700 w 1872005"/>
                <a:gd name="connsiteY65" fmla="*/ 1684079 h 1694229"/>
                <a:gd name="connsiteX66" fmla="*/ 1349256 w 1872005"/>
                <a:gd name="connsiteY66" fmla="*/ 1660610 h 1694229"/>
                <a:gd name="connsiteX67" fmla="*/ 1401288 w 1872005"/>
                <a:gd name="connsiteY67" fmla="*/ 1604489 h 1694229"/>
                <a:gd name="connsiteX68" fmla="*/ 1452065 w 1872005"/>
                <a:gd name="connsiteY68" fmla="*/ 1587946 h 1694229"/>
                <a:gd name="connsiteX69" fmla="*/ 1469744 w 1872005"/>
                <a:gd name="connsiteY69" fmla="*/ 1643768 h 1694229"/>
                <a:gd name="connsiteX70" fmla="*/ 1539639 w 1872005"/>
                <a:gd name="connsiteY70" fmla="*/ 1618090 h 1694229"/>
                <a:gd name="connsiteX71" fmla="*/ 1570417 w 1872005"/>
                <a:gd name="connsiteY71" fmla="*/ 1531334 h 1694229"/>
                <a:gd name="connsiteX72" fmla="*/ 1651853 w 1872005"/>
                <a:gd name="connsiteY72" fmla="*/ 1441192 h 1694229"/>
                <a:gd name="connsiteX73" fmla="*/ 1696444 w 1872005"/>
                <a:gd name="connsiteY73" fmla="*/ 1410062 h 1694229"/>
                <a:gd name="connsiteX74" fmla="*/ 1724813 w 1872005"/>
                <a:gd name="connsiteY74" fmla="*/ 1413357 h 1694229"/>
                <a:gd name="connsiteX75" fmla="*/ 1802405 w 1872005"/>
                <a:gd name="connsiteY75" fmla="*/ 1402749 h 1694229"/>
                <a:gd name="connsiteX76" fmla="*/ 1797524 w 1872005"/>
                <a:gd name="connsiteY76" fmla="*/ 1456313 h 1694229"/>
                <a:gd name="connsiteX77" fmla="*/ 1855691 w 1872005"/>
                <a:gd name="connsiteY77" fmla="*/ 1479634 h 1694229"/>
                <a:gd name="connsiteX78" fmla="*/ 1871943 w 1872005"/>
                <a:gd name="connsiteY78" fmla="*/ 1454448 h 1694229"/>
                <a:gd name="connsiteX79" fmla="*/ 1861403 w 1872005"/>
                <a:gd name="connsiteY79" fmla="*/ 1401373 h 1694229"/>
                <a:gd name="connsiteX80" fmla="*/ 1863844 w 1872005"/>
                <a:gd name="connsiteY80" fmla="*/ 1326546 h 1694229"/>
                <a:gd name="connsiteX81" fmla="*/ 1797946 w 1872005"/>
                <a:gd name="connsiteY81" fmla="*/ 1305140 h 1694229"/>
                <a:gd name="connsiteX82" fmla="*/ 1747763 w 1872005"/>
                <a:gd name="connsiteY82" fmla="*/ 1264979 h 1694229"/>
                <a:gd name="connsiteX83" fmla="*/ 1737459 w 1872005"/>
                <a:gd name="connsiteY83" fmla="*/ 1176356 h 1694229"/>
                <a:gd name="connsiteX84" fmla="*/ 1704241 w 1872005"/>
                <a:gd name="connsiteY84" fmla="*/ 1038783 h 1694229"/>
                <a:gd name="connsiteX85" fmla="*/ 1627446 w 1872005"/>
                <a:gd name="connsiteY85" fmla="*/ 972257 h 1694229"/>
                <a:gd name="connsiteX86" fmla="*/ 1594228 w 1872005"/>
                <a:gd name="connsiteY86" fmla="*/ 917660 h 1694229"/>
                <a:gd name="connsiteX87" fmla="*/ 1544162 w 1872005"/>
                <a:gd name="connsiteY87" fmla="*/ 872587 h 1694229"/>
                <a:gd name="connsiteX88" fmla="*/ 1472251 w 1872005"/>
                <a:gd name="connsiteY88" fmla="*/ 845878 h 1694229"/>
                <a:gd name="connsiteX89" fmla="*/ 1449150 w 1872005"/>
                <a:gd name="connsiteY89" fmla="*/ 823245 h 1694229"/>
                <a:gd name="connsiteX90" fmla="*/ 1477013 w 1872005"/>
                <a:gd name="connsiteY90" fmla="*/ 784801 h 1694229"/>
                <a:gd name="connsiteX91" fmla="*/ 1458319 w 1872005"/>
                <a:gd name="connsiteY91" fmla="*/ 748910 h 1694229"/>
                <a:gd name="connsiteX92" fmla="*/ 1463081 w 1872005"/>
                <a:gd name="connsiteY92" fmla="*/ 725098 h 1694229"/>
                <a:gd name="connsiteX93" fmla="*/ 1488076 w 1872005"/>
                <a:gd name="connsiteY93" fmla="*/ 724035 h 1694229"/>
                <a:gd name="connsiteX94" fmla="*/ 1580416 w 1872005"/>
                <a:gd name="connsiteY94" fmla="*/ 740220 h 1694229"/>
                <a:gd name="connsiteX95" fmla="*/ 1615719 w 1872005"/>
                <a:gd name="connsiteY95" fmla="*/ 683758 h 1694229"/>
                <a:gd name="connsiteX96" fmla="*/ 1603753 w 1872005"/>
                <a:gd name="connsiteY96" fmla="*/ 553648 h 1694229"/>
                <a:gd name="connsiteX97" fmla="*/ 1620956 w 1872005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02405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14608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53444 w 1887825"/>
                <a:gd name="connsiteY50" fmla="*/ 1315648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887825" h="1694229">
                  <a:moveTo>
                    <a:pt x="1620956" y="405322"/>
                  </a:moveTo>
                  <a:cubicBezTo>
                    <a:pt x="1611798" y="375160"/>
                    <a:pt x="1575873" y="382083"/>
                    <a:pt x="1548806" y="372673"/>
                  </a:cubicBezTo>
                  <a:cubicBezTo>
                    <a:pt x="1521740" y="363263"/>
                    <a:pt x="1482485" y="365676"/>
                    <a:pt x="1458557" y="348860"/>
                  </a:cubicBezTo>
                  <a:cubicBezTo>
                    <a:pt x="1434629" y="332044"/>
                    <a:pt x="1417974" y="301598"/>
                    <a:pt x="1405237" y="271776"/>
                  </a:cubicBezTo>
                  <a:cubicBezTo>
                    <a:pt x="1392500" y="241954"/>
                    <a:pt x="1391969" y="214915"/>
                    <a:pt x="1382136" y="169931"/>
                  </a:cubicBezTo>
                  <a:cubicBezTo>
                    <a:pt x="1372303" y="124947"/>
                    <a:pt x="1353688" y="-17918"/>
                    <a:pt x="1346239" y="1869"/>
                  </a:cubicBezTo>
                  <a:cubicBezTo>
                    <a:pt x="1338790" y="21656"/>
                    <a:pt x="1288585" y="9160"/>
                    <a:pt x="1278870" y="43567"/>
                  </a:cubicBezTo>
                  <a:cubicBezTo>
                    <a:pt x="1269155" y="77974"/>
                    <a:pt x="1274440" y="66798"/>
                    <a:pt x="1273302" y="101090"/>
                  </a:cubicBezTo>
                  <a:cubicBezTo>
                    <a:pt x="1272164" y="120063"/>
                    <a:pt x="1263302" y="135099"/>
                    <a:pt x="1257397" y="152303"/>
                  </a:cubicBezTo>
                  <a:cubicBezTo>
                    <a:pt x="1251492" y="169507"/>
                    <a:pt x="1241414" y="184077"/>
                    <a:pt x="1237872" y="204316"/>
                  </a:cubicBezTo>
                  <a:cubicBezTo>
                    <a:pt x="1234330" y="224555"/>
                    <a:pt x="1248595" y="260475"/>
                    <a:pt x="1236143" y="273739"/>
                  </a:cubicBezTo>
                  <a:cubicBezTo>
                    <a:pt x="1223691" y="287004"/>
                    <a:pt x="1198254" y="286979"/>
                    <a:pt x="1163162" y="283903"/>
                  </a:cubicBezTo>
                  <a:cubicBezTo>
                    <a:pt x="1128070" y="280827"/>
                    <a:pt x="1117468" y="275537"/>
                    <a:pt x="1098809" y="285917"/>
                  </a:cubicBezTo>
                  <a:cubicBezTo>
                    <a:pt x="1080150" y="296297"/>
                    <a:pt x="1069871" y="341249"/>
                    <a:pt x="1051208" y="346183"/>
                  </a:cubicBezTo>
                  <a:cubicBezTo>
                    <a:pt x="1037427" y="374095"/>
                    <a:pt x="1014466" y="369656"/>
                    <a:pt x="996593" y="371690"/>
                  </a:cubicBezTo>
                  <a:cubicBezTo>
                    <a:pt x="978720" y="373724"/>
                    <a:pt x="975412" y="370390"/>
                    <a:pt x="943969" y="358385"/>
                  </a:cubicBezTo>
                  <a:cubicBezTo>
                    <a:pt x="912526" y="346380"/>
                    <a:pt x="858849" y="362649"/>
                    <a:pt x="837229" y="376257"/>
                  </a:cubicBezTo>
                  <a:cubicBezTo>
                    <a:pt x="815609" y="389865"/>
                    <a:pt x="820924" y="423424"/>
                    <a:pt x="814246" y="440035"/>
                  </a:cubicBezTo>
                  <a:cubicBezTo>
                    <a:pt x="807568" y="456646"/>
                    <a:pt x="813682" y="466827"/>
                    <a:pt x="797163" y="475926"/>
                  </a:cubicBezTo>
                  <a:cubicBezTo>
                    <a:pt x="780644" y="485025"/>
                    <a:pt x="731772" y="500512"/>
                    <a:pt x="715132" y="494632"/>
                  </a:cubicBezTo>
                  <a:cubicBezTo>
                    <a:pt x="698492" y="488752"/>
                    <a:pt x="707599" y="453036"/>
                    <a:pt x="697320" y="440647"/>
                  </a:cubicBezTo>
                  <a:cubicBezTo>
                    <a:pt x="687041" y="428258"/>
                    <a:pt x="683319" y="423632"/>
                    <a:pt x="653456" y="420298"/>
                  </a:cubicBezTo>
                  <a:cubicBezTo>
                    <a:pt x="623593" y="416964"/>
                    <a:pt x="554672" y="416132"/>
                    <a:pt x="518140" y="420641"/>
                  </a:cubicBezTo>
                  <a:cubicBezTo>
                    <a:pt x="481608" y="425150"/>
                    <a:pt x="453779" y="447407"/>
                    <a:pt x="434263" y="447350"/>
                  </a:cubicBezTo>
                  <a:cubicBezTo>
                    <a:pt x="414747" y="447293"/>
                    <a:pt x="409756" y="435126"/>
                    <a:pt x="401044" y="420298"/>
                  </a:cubicBezTo>
                  <a:cubicBezTo>
                    <a:pt x="392332" y="405470"/>
                    <a:pt x="396281" y="377435"/>
                    <a:pt x="381994" y="358385"/>
                  </a:cubicBezTo>
                  <a:cubicBezTo>
                    <a:pt x="367706" y="339335"/>
                    <a:pt x="333962" y="327544"/>
                    <a:pt x="315319" y="305998"/>
                  </a:cubicBezTo>
                  <a:cubicBezTo>
                    <a:pt x="296676" y="284452"/>
                    <a:pt x="298223" y="237047"/>
                    <a:pt x="270134" y="229110"/>
                  </a:cubicBezTo>
                  <a:cubicBezTo>
                    <a:pt x="242045" y="221173"/>
                    <a:pt x="170517" y="239094"/>
                    <a:pt x="146784" y="258373"/>
                  </a:cubicBezTo>
                  <a:cubicBezTo>
                    <a:pt x="123051" y="277652"/>
                    <a:pt x="128002" y="319295"/>
                    <a:pt x="127734" y="344785"/>
                  </a:cubicBezTo>
                  <a:cubicBezTo>
                    <a:pt x="127466" y="370275"/>
                    <a:pt x="146840" y="394414"/>
                    <a:pt x="145174" y="411312"/>
                  </a:cubicBezTo>
                  <a:cubicBezTo>
                    <a:pt x="143508" y="428210"/>
                    <a:pt x="131040" y="435714"/>
                    <a:pt x="117735" y="446172"/>
                  </a:cubicBezTo>
                  <a:cubicBezTo>
                    <a:pt x="104431" y="456630"/>
                    <a:pt x="78762" y="468077"/>
                    <a:pt x="65347" y="474059"/>
                  </a:cubicBezTo>
                  <a:cubicBezTo>
                    <a:pt x="51932" y="480041"/>
                    <a:pt x="45590" y="474355"/>
                    <a:pt x="37246" y="482063"/>
                  </a:cubicBezTo>
                  <a:cubicBezTo>
                    <a:pt x="28902" y="489771"/>
                    <a:pt x="21244" y="495196"/>
                    <a:pt x="15281" y="520310"/>
                  </a:cubicBezTo>
                  <a:cubicBezTo>
                    <a:pt x="9318" y="545424"/>
                    <a:pt x="-4514" y="605136"/>
                    <a:pt x="1469" y="632745"/>
                  </a:cubicBezTo>
                  <a:cubicBezTo>
                    <a:pt x="7452" y="660354"/>
                    <a:pt x="33408" y="677833"/>
                    <a:pt x="51178" y="685967"/>
                  </a:cubicBezTo>
                  <a:cubicBezTo>
                    <a:pt x="68948" y="694101"/>
                    <a:pt x="100988" y="670574"/>
                    <a:pt x="108092" y="681547"/>
                  </a:cubicBezTo>
                  <a:cubicBezTo>
                    <a:pt x="115196" y="692520"/>
                    <a:pt x="87047" y="735022"/>
                    <a:pt x="93804" y="751806"/>
                  </a:cubicBezTo>
                  <a:cubicBezTo>
                    <a:pt x="100561" y="768590"/>
                    <a:pt x="127994" y="775472"/>
                    <a:pt x="148631" y="782248"/>
                  </a:cubicBezTo>
                  <a:cubicBezTo>
                    <a:pt x="169268" y="789024"/>
                    <a:pt x="200246" y="781430"/>
                    <a:pt x="217629" y="792460"/>
                  </a:cubicBezTo>
                  <a:cubicBezTo>
                    <a:pt x="235013" y="803491"/>
                    <a:pt x="247147" y="831591"/>
                    <a:pt x="252932" y="848431"/>
                  </a:cubicBezTo>
                  <a:cubicBezTo>
                    <a:pt x="258717" y="865271"/>
                    <a:pt x="248351" y="879412"/>
                    <a:pt x="252339" y="893503"/>
                  </a:cubicBezTo>
                  <a:cubicBezTo>
                    <a:pt x="256327" y="907594"/>
                    <a:pt x="265166" y="919967"/>
                    <a:pt x="276863" y="932978"/>
                  </a:cubicBezTo>
                  <a:cubicBezTo>
                    <a:pt x="288560" y="945989"/>
                    <a:pt x="300723" y="956096"/>
                    <a:pt x="322521" y="971570"/>
                  </a:cubicBezTo>
                  <a:cubicBezTo>
                    <a:pt x="344320" y="987044"/>
                    <a:pt x="387502" y="1004931"/>
                    <a:pt x="407654" y="1025822"/>
                  </a:cubicBezTo>
                  <a:cubicBezTo>
                    <a:pt x="427806" y="1046713"/>
                    <a:pt x="440951" y="1073471"/>
                    <a:pt x="443431" y="1096915"/>
                  </a:cubicBezTo>
                  <a:cubicBezTo>
                    <a:pt x="445911" y="1120359"/>
                    <a:pt x="413009" y="1145482"/>
                    <a:pt x="422534" y="1166488"/>
                  </a:cubicBezTo>
                  <a:cubicBezTo>
                    <a:pt x="432059" y="1187494"/>
                    <a:pt x="475568" y="1208042"/>
                    <a:pt x="500581" y="1222951"/>
                  </a:cubicBezTo>
                  <a:cubicBezTo>
                    <a:pt x="525594" y="1237860"/>
                    <a:pt x="558921" y="1237943"/>
                    <a:pt x="572613" y="1255945"/>
                  </a:cubicBezTo>
                  <a:cubicBezTo>
                    <a:pt x="586305" y="1273947"/>
                    <a:pt x="579387" y="1290935"/>
                    <a:pt x="582731" y="1330966"/>
                  </a:cubicBezTo>
                  <a:cubicBezTo>
                    <a:pt x="586075" y="1370997"/>
                    <a:pt x="625585" y="1415137"/>
                    <a:pt x="651253" y="1450176"/>
                  </a:cubicBezTo>
                  <a:cubicBezTo>
                    <a:pt x="676921" y="1485215"/>
                    <a:pt x="714149" y="1534255"/>
                    <a:pt x="736741" y="1541202"/>
                  </a:cubicBezTo>
                  <a:cubicBezTo>
                    <a:pt x="759333" y="1548149"/>
                    <a:pt x="767697" y="1495518"/>
                    <a:pt x="786806" y="1491860"/>
                  </a:cubicBezTo>
                  <a:cubicBezTo>
                    <a:pt x="805915" y="1488203"/>
                    <a:pt x="831552" y="1520051"/>
                    <a:pt x="851396" y="1519257"/>
                  </a:cubicBezTo>
                  <a:cubicBezTo>
                    <a:pt x="871240" y="1518463"/>
                    <a:pt x="893982" y="1499487"/>
                    <a:pt x="905869" y="1487098"/>
                  </a:cubicBezTo>
                  <a:cubicBezTo>
                    <a:pt x="917756" y="1474709"/>
                    <a:pt x="877533" y="1437549"/>
                    <a:pt x="922716" y="1444922"/>
                  </a:cubicBezTo>
                  <a:cubicBezTo>
                    <a:pt x="967899" y="1452295"/>
                    <a:pt x="978199" y="1487211"/>
                    <a:pt x="986593" y="1531334"/>
                  </a:cubicBezTo>
                  <a:cubicBezTo>
                    <a:pt x="994987" y="1575457"/>
                    <a:pt x="997847" y="1588092"/>
                    <a:pt x="1031660" y="1602428"/>
                  </a:cubicBezTo>
                  <a:cubicBezTo>
                    <a:pt x="1065473" y="1616764"/>
                    <a:pt x="1084799" y="1689209"/>
                    <a:pt x="1101606" y="1693947"/>
                  </a:cubicBezTo>
                  <a:cubicBezTo>
                    <a:pt x="1118413" y="1698685"/>
                    <a:pt x="1122245" y="1642451"/>
                    <a:pt x="1132504" y="1630856"/>
                  </a:cubicBezTo>
                  <a:cubicBezTo>
                    <a:pt x="1142764" y="1619261"/>
                    <a:pt x="1150870" y="1620579"/>
                    <a:pt x="1163163" y="1624376"/>
                  </a:cubicBezTo>
                  <a:cubicBezTo>
                    <a:pt x="1175456" y="1628173"/>
                    <a:pt x="1193483" y="1655537"/>
                    <a:pt x="1206262" y="1653639"/>
                  </a:cubicBezTo>
                  <a:cubicBezTo>
                    <a:pt x="1219041" y="1651741"/>
                    <a:pt x="1231104" y="1618991"/>
                    <a:pt x="1239837" y="1612985"/>
                  </a:cubicBezTo>
                  <a:cubicBezTo>
                    <a:pt x="1248570" y="1606979"/>
                    <a:pt x="1249848" y="1605753"/>
                    <a:pt x="1258658" y="1617602"/>
                  </a:cubicBezTo>
                  <a:cubicBezTo>
                    <a:pt x="1267468" y="1629451"/>
                    <a:pt x="1277600" y="1676911"/>
                    <a:pt x="1292700" y="1684079"/>
                  </a:cubicBezTo>
                  <a:cubicBezTo>
                    <a:pt x="1307800" y="1691247"/>
                    <a:pt x="1331158" y="1673875"/>
                    <a:pt x="1349256" y="1660610"/>
                  </a:cubicBezTo>
                  <a:cubicBezTo>
                    <a:pt x="1367354" y="1647345"/>
                    <a:pt x="1384153" y="1616600"/>
                    <a:pt x="1401288" y="1604489"/>
                  </a:cubicBezTo>
                  <a:cubicBezTo>
                    <a:pt x="1418423" y="1592378"/>
                    <a:pt x="1440656" y="1581400"/>
                    <a:pt x="1452065" y="1587946"/>
                  </a:cubicBezTo>
                  <a:cubicBezTo>
                    <a:pt x="1463474" y="1594493"/>
                    <a:pt x="1455148" y="1638744"/>
                    <a:pt x="1469744" y="1643768"/>
                  </a:cubicBezTo>
                  <a:cubicBezTo>
                    <a:pt x="1484340" y="1648792"/>
                    <a:pt x="1522860" y="1636829"/>
                    <a:pt x="1539639" y="1618090"/>
                  </a:cubicBezTo>
                  <a:cubicBezTo>
                    <a:pt x="1556418" y="1599351"/>
                    <a:pt x="1551715" y="1560817"/>
                    <a:pt x="1570417" y="1531334"/>
                  </a:cubicBezTo>
                  <a:cubicBezTo>
                    <a:pt x="1589119" y="1501851"/>
                    <a:pt x="1630849" y="1461404"/>
                    <a:pt x="1651853" y="1441192"/>
                  </a:cubicBezTo>
                  <a:cubicBezTo>
                    <a:pt x="1672857" y="1420980"/>
                    <a:pt x="1684284" y="1414701"/>
                    <a:pt x="1696444" y="1410062"/>
                  </a:cubicBezTo>
                  <a:cubicBezTo>
                    <a:pt x="1708604" y="1405423"/>
                    <a:pt x="1715288" y="1414151"/>
                    <a:pt x="1724813" y="1413357"/>
                  </a:cubicBezTo>
                  <a:cubicBezTo>
                    <a:pt x="1734338" y="1412563"/>
                    <a:pt x="1800049" y="1393888"/>
                    <a:pt x="1814608" y="1402749"/>
                  </a:cubicBezTo>
                  <a:cubicBezTo>
                    <a:pt x="1829167" y="1411610"/>
                    <a:pt x="1800439" y="1451583"/>
                    <a:pt x="1812167" y="1466525"/>
                  </a:cubicBezTo>
                  <a:cubicBezTo>
                    <a:pt x="1823895" y="1481467"/>
                    <a:pt x="1875015" y="1494412"/>
                    <a:pt x="1884978" y="1492399"/>
                  </a:cubicBezTo>
                  <a:cubicBezTo>
                    <a:pt x="1894941" y="1490386"/>
                    <a:pt x="1875872" y="1469619"/>
                    <a:pt x="1871943" y="1454448"/>
                  </a:cubicBezTo>
                  <a:cubicBezTo>
                    <a:pt x="1868014" y="1439277"/>
                    <a:pt x="1862753" y="1422690"/>
                    <a:pt x="1861403" y="1401373"/>
                  </a:cubicBezTo>
                  <a:cubicBezTo>
                    <a:pt x="1860053" y="1380056"/>
                    <a:pt x="1874420" y="1342585"/>
                    <a:pt x="1863844" y="1326546"/>
                  </a:cubicBezTo>
                  <a:cubicBezTo>
                    <a:pt x="1853268" y="1310507"/>
                    <a:pt x="1817293" y="1315401"/>
                    <a:pt x="1797946" y="1305140"/>
                  </a:cubicBezTo>
                  <a:cubicBezTo>
                    <a:pt x="1778599" y="1294879"/>
                    <a:pt x="1757844" y="1286443"/>
                    <a:pt x="1747763" y="1264979"/>
                  </a:cubicBezTo>
                  <a:cubicBezTo>
                    <a:pt x="1737682" y="1243515"/>
                    <a:pt x="1744713" y="1214055"/>
                    <a:pt x="1737459" y="1176356"/>
                  </a:cubicBezTo>
                  <a:cubicBezTo>
                    <a:pt x="1730205" y="1138657"/>
                    <a:pt x="1722576" y="1072799"/>
                    <a:pt x="1704241" y="1038783"/>
                  </a:cubicBezTo>
                  <a:cubicBezTo>
                    <a:pt x="1685906" y="1004767"/>
                    <a:pt x="1645781" y="992444"/>
                    <a:pt x="1627446" y="972257"/>
                  </a:cubicBezTo>
                  <a:cubicBezTo>
                    <a:pt x="1609111" y="952070"/>
                    <a:pt x="1608109" y="934272"/>
                    <a:pt x="1594228" y="917660"/>
                  </a:cubicBezTo>
                  <a:cubicBezTo>
                    <a:pt x="1580347" y="901048"/>
                    <a:pt x="1564491" y="884551"/>
                    <a:pt x="1544162" y="872587"/>
                  </a:cubicBezTo>
                  <a:cubicBezTo>
                    <a:pt x="1523833" y="860623"/>
                    <a:pt x="1488086" y="854102"/>
                    <a:pt x="1472251" y="845878"/>
                  </a:cubicBezTo>
                  <a:cubicBezTo>
                    <a:pt x="1456416" y="837654"/>
                    <a:pt x="1448356" y="833425"/>
                    <a:pt x="1449150" y="823245"/>
                  </a:cubicBezTo>
                  <a:cubicBezTo>
                    <a:pt x="1449944" y="813066"/>
                    <a:pt x="1475485" y="797190"/>
                    <a:pt x="1477013" y="784801"/>
                  </a:cubicBezTo>
                  <a:cubicBezTo>
                    <a:pt x="1478541" y="772412"/>
                    <a:pt x="1460641" y="758860"/>
                    <a:pt x="1458319" y="748910"/>
                  </a:cubicBezTo>
                  <a:cubicBezTo>
                    <a:pt x="1455997" y="738960"/>
                    <a:pt x="1458122" y="729244"/>
                    <a:pt x="1463081" y="725098"/>
                  </a:cubicBezTo>
                  <a:cubicBezTo>
                    <a:pt x="1468040" y="720952"/>
                    <a:pt x="1472995" y="717685"/>
                    <a:pt x="1488076" y="724035"/>
                  </a:cubicBezTo>
                  <a:cubicBezTo>
                    <a:pt x="1503157" y="730385"/>
                    <a:pt x="1559142" y="746933"/>
                    <a:pt x="1580416" y="740220"/>
                  </a:cubicBezTo>
                  <a:cubicBezTo>
                    <a:pt x="1601690" y="733507"/>
                    <a:pt x="1608575" y="718683"/>
                    <a:pt x="1615719" y="683758"/>
                  </a:cubicBezTo>
                  <a:cubicBezTo>
                    <a:pt x="1622863" y="648833"/>
                    <a:pt x="1602880" y="600054"/>
                    <a:pt x="1603753" y="553648"/>
                  </a:cubicBezTo>
                  <a:cubicBezTo>
                    <a:pt x="1604626" y="507242"/>
                    <a:pt x="1630114" y="435484"/>
                    <a:pt x="1620956" y="405322"/>
                  </a:cubicBez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788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1" name="Freeform 83"/>
            <p:cNvSpPr>
              <a:spLocks/>
            </p:cNvSpPr>
            <p:nvPr/>
          </p:nvSpPr>
          <p:spPr bwMode="auto">
            <a:xfrm>
              <a:off x="5490741" y="4421499"/>
              <a:ext cx="411739" cy="423486"/>
            </a:xfrm>
            <a:custGeom>
              <a:avLst/>
              <a:gdLst>
                <a:gd name="connsiteX0" fmla="*/ 3440 w 9933"/>
                <a:gd name="connsiteY0" fmla="*/ 9133 h 9898"/>
                <a:gd name="connsiteX1" fmla="*/ 4037 w 9933"/>
                <a:gd name="connsiteY1" fmla="*/ 9439 h 9898"/>
                <a:gd name="connsiteX2" fmla="*/ 4485 w 9933"/>
                <a:gd name="connsiteY2" fmla="*/ 9337 h 9898"/>
                <a:gd name="connsiteX3" fmla="*/ 5381 w 9933"/>
                <a:gd name="connsiteY3" fmla="*/ 9898 h 9898"/>
                <a:gd name="connsiteX4" fmla="*/ 5829 w 9933"/>
                <a:gd name="connsiteY4" fmla="*/ 9745 h 9898"/>
                <a:gd name="connsiteX5" fmla="*/ 6052 w 9933"/>
                <a:gd name="connsiteY5" fmla="*/ 9847 h 9898"/>
                <a:gd name="connsiteX6" fmla="*/ 6724 w 9933"/>
                <a:gd name="connsiteY6" fmla="*/ 9643 h 9898"/>
                <a:gd name="connsiteX7" fmla="*/ 6873 w 9933"/>
                <a:gd name="connsiteY7" fmla="*/ 9745 h 9898"/>
                <a:gd name="connsiteX8" fmla="*/ 7172 w 9933"/>
                <a:gd name="connsiteY8" fmla="*/ 9490 h 9898"/>
                <a:gd name="connsiteX9" fmla="*/ 7620 w 9933"/>
                <a:gd name="connsiteY9" fmla="*/ 9184 h 9898"/>
                <a:gd name="connsiteX10" fmla="*/ 8142 w 9933"/>
                <a:gd name="connsiteY10" fmla="*/ 9184 h 9898"/>
                <a:gd name="connsiteX11" fmla="*/ 8366 w 9933"/>
                <a:gd name="connsiteY11" fmla="*/ 9337 h 9898"/>
                <a:gd name="connsiteX12" fmla="*/ 8217 w 9933"/>
                <a:gd name="connsiteY12" fmla="*/ 8929 h 9898"/>
                <a:gd name="connsiteX13" fmla="*/ 7769 w 9933"/>
                <a:gd name="connsiteY13" fmla="*/ 8469 h 9898"/>
                <a:gd name="connsiteX14" fmla="*/ 7321 w 9933"/>
                <a:gd name="connsiteY14" fmla="*/ 8010 h 9898"/>
                <a:gd name="connsiteX15" fmla="*/ 6724 w 9933"/>
                <a:gd name="connsiteY15" fmla="*/ 7602 h 9898"/>
                <a:gd name="connsiteX16" fmla="*/ 7097 w 9933"/>
                <a:gd name="connsiteY16" fmla="*/ 7449 h 9898"/>
                <a:gd name="connsiteX17" fmla="*/ 7396 w 9933"/>
                <a:gd name="connsiteY17" fmla="*/ 6633 h 9898"/>
                <a:gd name="connsiteX18" fmla="*/ 7396 w 9933"/>
                <a:gd name="connsiteY18" fmla="*/ 6276 h 9898"/>
                <a:gd name="connsiteX19" fmla="*/ 7769 w 9933"/>
                <a:gd name="connsiteY19" fmla="*/ 6276 h 9898"/>
                <a:gd name="connsiteX20" fmla="*/ 7993 w 9933"/>
                <a:gd name="connsiteY20" fmla="*/ 5612 h 9898"/>
                <a:gd name="connsiteX21" fmla="*/ 8590 w 9933"/>
                <a:gd name="connsiteY21" fmla="*/ 5204 h 9898"/>
                <a:gd name="connsiteX22" fmla="*/ 8814 w 9933"/>
                <a:gd name="connsiteY22" fmla="*/ 4439 h 9898"/>
                <a:gd name="connsiteX23" fmla="*/ 8664 w 9933"/>
                <a:gd name="connsiteY23" fmla="*/ 4031 h 9898"/>
                <a:gd name="connsiteX24" fmla="*/ 9037 w 9933"/>
                <a:gd name="connsiteY24" fmla="*/ 3163 h 9898"/>
                <a:gd name="connsiteX25" fmla="*/ 9336 w 9933"/>
                <a:gd name="connsiteY25" fmla="*/ 2908 h 9898"/>
                <a:gd name="connsiteX26" fmla="*/ 9933 w 9933"/>
                <a:gd name="connsiteY26" fmla="*/ 2500 h 9898"/>
                <a:gd name="connsiteX27" fmla="*/ 9709 w 9933"/>
                <a:gd name="connsiteY27" fmla="*/ 2449 h 9898"/>
                <a:gd name="connsiteX28" fmla="*/ 9336 w 9933"/>
                <a:gd name="connsiteY28" fmla="*/ 2194 h 9898"/>
                <a:gd name="connsiteX29" fmla="*/ 9112 w 9933"/>
                <a:gd name="connsiteY29" fmla="*/ 1429 h 9898"/>
                <a:gd name="connsiteX30" fmla="*/ 9112 w 9933"/>
                <a:gd name="connsiteY30" fmla="*/ 1020 h 9898"/>
                <a:gd name="connsiteX31" fmla="*/ 9037 w 9933"/>
                <a:gd name="connsiteY31" fmla="*/ 510 h 9898"/>
                <a:gd name="connsiteX32" fmla="*/ 8814 w 9933"/>
                <a:gd name="connsiteY32" fmla="*/ 357 h 9898"/>
                <a:gd name="connsiteX33" fmla="*/ 8440 w 9933"/>
                <a:gd name="connsiteY33" fmla="*/ 153 h 9898"/>
                <a:gd name="connsiteX34" fmla="*/ 8217 w 9933"/>
                <a:gd name="connsiteY34" fmla="*/ 0 h 9898"/>
                <a:gd name="connsiteX35" fmla="*/ 7769 w 9933"/>
                <a:gd name="connsiteY35" fmla="*/ 204 h 9898"/>
                <a:gd name="connsiteX36" fmla="*/ 7321 w 9933"/>
                <a:gd name="connsiteY36" fmla="*/ 510 h 9898"/>
                <a:gd name="connsiteX37" fmla="*/ 6724 w 9933"/>
                <a:gd name="connsiteY37" fmla="*/ 510 h 9898"/>
                <a:gd name="connsiteX38" fmla="*/ 5679 w 9933"/>
                <a:gd name="connsiteY38" fmla="*/ 510 h 9898"/>
                <a:gd name="connsiteX39" fmla="*/ 5679 w 9933"/>
                <a:gd name="connsiteY39" fmla="*/ 459 h 9898"/>
                <a:gd name="connsiteX40" fmla="*/ 5605 w 9933"/>
                <a:gd name="connsiteY40" fmla="*/ 510 h 9898"/>
                <a:gd name="connsiteX41" fmla="*/ 1948 w 9933"/>
                <a:gd name="connsiteY41" fmla="*/ 510 h 9898"/>
                <a:gd name="connsiteX42" fmla="*/ 1948 w 9933"/>
                <a:gd name="connsiteY42" fmla="*/ 1582 h 9898"/>
                <a:gd name="connsiteX43" fmla="*/ 1276 w 9933"/>
                <a:gd name="connsiteY43" fmla="*/ 1582 h 9898"/>
                <a:gd name="connsiteX44" fmla="*/ 1276 w 9933"/>
                <a:gd name="connsiteY44" fmla="*/ 1786 h 9898"/>
                <a:gd name="connsiteX45" fmla="*/ 1276 w 9933"/>
                <a:gd name="connsiteY45" fmla="*/ 3622 h 9898"/>
                <a:gd name="connsiteX46" fmla="*/ 1127 w 9933"/>
                <a:gd name="connsiteY46" fmla="*/ 3724 h 9898"/>
                <a:gd name="connsiteX47" fmla="*/ 679 w 9933"/>
                <a:gd name="connsiteY47" fmla="*/ 3929 h 9898"/>
                <a:gd name="connsiteX48" fmla="*/ 605 w 9933"/>
                <a:gd name="connsiteY48" fmla="*/ 4184 h 9898"/>
                <a:gd name="connsiteX49" fmla="*/ 381 w 9933"/>
                <a:gd name="connsiteY49" fmla="*/ 4439 h 9898"/>
                <a:gd name="connsiteX50" fmla="*/ 232 w 9933"/>
                <a:gd name="connsiteY50" fmla="*/ 4847 h 9898"/>
                <a:gd name="connsiteX51" fmla="*/ 8 w 9933"/>
                <a:gd name="connsiteY51" fmla="*/ 5306 h 9898"/>
                <a:gd name="connsiteX52" fmla="*/ 381 w 9933"/>
                <a:gd name="connsiteY52" fmla="*/ 5357 h 9898"/>
                <a:gd name="connsiteX53" fmla="*/ 455 w 9933"/>
                <a:gd name="connsiteY53" fmla="*/ 5765 h 9898"/>
                <a:gd name="connsiteX54" fmla="*/ 679 w 9933"/>
                <a:gd name="connsiteY54" fmla="*/ 6173 h 9898"/>
                <a:gd name="connsiteX55" fmla="*/ 1052 w 9933"/>
                <a:gd name="connsiteY55" fmla="*/ 6990 h 9898"/>
                <a:gd name="connsiteX56" fmla="*/ 1351 w 9933"/>
                <a:gd name="connsiteY56" fmla="*/ 7347 h 9898"/>
                <a:gd name="connsiteX57" fmla="*/ 1948 w 9933"/>
                <a:gd name="connsiteY57" fmla="*/ 7602 h 9898"/>
                <a:gd name="connsiteX58" fmla="*/ 2321 w 9933"/>
                <a:gd name="connsiteY58" fmla="*/ 8010 h 9898"/>
                <a:gd name="connsiteX59" fmla="*/ 2769 w 9933"/>
                <a:gd name="connsiteY59" fmla="*/ 8418 h 9898"/>
                <a:gd name="connsiteX60" fmla="*/ 3067 w 9933"/>
                <a:gd name="connsiteY60" fmla="*/ 8724 h 9898"/>
                <a:gd name="connsiteX61" fmla="*/ 3440 w 9933"/>
                <a:gd name="connsiteY61" fmla="*/ 9133 h 9898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1961 w 10000"/>
                <a:gd name="connsiteY56" fmla="*/ 7680 h 10000"/>
                <a:gd name="connsiteX57" fmla="*/ 2337 w 10000"/>
                <a:gd name="connsiteY57" fmla="*/ 8093 h 10000"/>
                <a:gd name="connsiteX58" fmla="*/ 2788 w 10000"/>
                <a:gd name="connsiteY58" fmla="*/ 8505 h 10000"/>
                <a:gd name="connsiteX59" fmla="*/ 3088 w 10000"/>
                <a:gd name="connsiteY59" fmla="*/ 8814 h 10000"/>
                <a:gd name="connsiteX60" fmla="*/ 3463 w 10000"/>
                <a:gd name="connsiteY60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2788 w 10000"/>
                <a:gd name="connsiteY57" fmla="*/ 8505 h 10000"/>
                <a:gd name="connsiteX58" fmla="*/ 3088 w 10000"/>
                <a:gd name="connsiteY58" fmla="*/ 8814 h 10000"/>
                <a:gd name="connsiteX59" fmla="*/ 3463 w 10000"/>
                <a:gd name="connsiteY59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3088 w 10000"/>
                <a:gd name="connsiteY57" fmla="*/ 8814 h 10000"/>
                <a:gd name="connsiteX58" fmla="*/ 3463 w 10000"/>
                <a:gd name="connsiteY58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088 w 10000"/>
                <a:gd name="connsiteY56" fmla="*/ 8814 h 10000"/>
                <a:gd name="connsiteX57" fmla="*/ 3463 w 10000"/>
                <a:gd name="connsiteY57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463 w 10000"/>
                <a:gd name="connsiteY56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0" fmla="*/ 4064 w 10000"/>
                <a:gd name="connsiteY0" fmla="*/ 9536 h 10000"/>
                <a:gd name="connsiteX1" fmla="*/ 4515 w 10000"/>
                <a:gd name="connsiteY1" fmla="*/ 9433 h 10000"/>
                <a:gd name="connsiteX2" fmla="*/ 5417 w 10000"/>
                <a:gd name="connsiteY2" fmla="*/ 10000 h 10000"/>
                <a:gd name="connsiteX3" fmla="*/ 5868 w 10000"/>
                <a:gd name="connsiteY3" fmla="*/ 9845 h 10000"/>
                <a:gd name="connsiteX4" fmla="*/ 6093 w 10000"/>
                <a:gd name="connsiteY4" fmla="*/ 9948 h 10000"/>
                <a:gd name="connsiteX5" fmla="*/ 6769 w 10000"/>
                <a:gd name="connsiteY5" fmla="*/ 9742 h 10000"/>
                <a:gd name="connsiteX6" fmla="*/ 6919 w 10000"/>
                <a:gd name="connsiteY6" fmla="*/ 9845 h 10000"/>
                <a:gd name="connsiteX7" fmla="*/ 7220 w 10000"/>
                <a:gd name="connsiteY7" fmla="*/ 9588 h 10000"/>
                <a:gd name="connsiteX8" fmla="*/ 7671 w 10000"/>
                <a:gd name="connsiteY8" fmla="*/ 9279 h 10000"/>
                <a:gd name="connsiteX9" fmla="*/ 8197 w 10000"/>
                <a:gd name="connsiteY9" fmla="*/ 9279 h 10000"/>
                <a:gd name="connsiteX10" fmla="*/ 8422 w 10000"/>
                <a:gd name="connsiteY10" fmla="*/ 9433 h 10000"/>
                <a:gd name="connsiteX11" fmla="*/ 8272 w 10000"/>
                <a:gd name="connsiteY11" fmla="*/ 9021 h 10000"/>
                <a:gd name="connsiteX12" fmla="*/ 7821 w 10000"/>
                <a:gd name="connsiteY12" fmla="*/ 8556 h 10000"/>
                <a:gd name="connsiteX13" fmla="*/ 7370 w 10000"/>
                <a:gd name="connsiteY13" fmla="*/ 8093 h 10000"/>
                <a:gd name="connsiteX14" fmla="*/ 6769 w 10000"/>
                <a:gd name="connsiteY14" fmla="*/ 7680 h 10000"/>
                <a:gd name="connsiteX15" fmla="*/ 7145 w 10000"/>
                <a:gd name="connsiteY15" fmla="*/ 7526 h 10000"/>
                <a:gd name="connsiteX16" fmla="*/ 7446 w 10000"/>
                <a:gd name="connsiteY16" fmla="*/ 6701 h 10000"/>
                <a:gd name="connsiteX17" fmla="*/ 7446 w 10000"/>
                <a:gd name="connsiteY17" fmla="*/ 6341 h 10000"/>
                <a:gd name="connsiteX18" fmla="*/ 7821 w 10000"/>
                <a:gd name="connsiteY18" fmla="*/ 6341 h 10000"/>
                <a:gd name="connsiteX19" fmla="*/ 8047 w 10000"/>
                <a:gd name="connsiteY19" fmla="*/ 5670 h 10000"/>
                <a:gd name="connsiteX20" fmla="*/ 8648 w 10000"/>
                <a:gd name="connsiteY20" fmla="*/ 5258 h 10000"/>
                <a:gd name="connsiteX21" fmla="*/ 8873 w 10000"/>
                <a:gd name="connsiteY21" fmla="*/ 4485 h 10000"/>
                <a:gd name="connsiteX22" fmla="*/ 8722 w 10000"/>
                <a:gd name="connsiteY22" fmla="*/ 4073 h 10000"/>
                <a:gd name="connsiteX23" fmla="*/ 9098 w 10000"/>
                <a:gd name="connsiteY23" fmla="*/ 3196 h 10000"/>
                <a:gd name="connsiteX24" fmla="*/ 9399 w 10000"/>
                <a:gd name="connsiteY24" fmla="*/ 2938 h 10000"/>
                <a:gd name="connsiteX25" fmla="*/ 10000 w 10000"/>
                <a:gd name="connsiteY25" fmla="*/ 2526 h 10000"/>
                <a:gd name="connsiteX26" fmla="*/ 9774 w 10000"/>
                <a:gd name="connsiteY26" fmla="*/ 2474 h 10000"/>
                <a:gd name="connsiteX27" fmla="*/ 9399 w 10000"/>
                <a:gd name="connsiteY27" fmla="*/ 2217 h 10000"/>
                <a:gd name="connsiteX28" fmla="*/ 9173 w 10000"/>
                <a:gd name="connsiteY28" fmla="*/ 1444 h 10000"/>
                <a:gd name="connsiteX29" fmla="*/ 9173 w 10000"/>
                <a:gd name="connsiteY29" fmla="*/ 1031 h 10000"/>
                <a:gd name="connsiteX30" fmla="*/ 9098 w 10000"/>
                <a:gd name="connsiteY30" fmla="*/ 515 h 10000"/>
                <a:gd name="connsiteX31" fmla="*/ 8873 w 10000"/>
                <a:gd name="connsiteY31" fmla="*/ 361 h 10000"/>
                <a:gd name="connsiteX32" fmla="*/ 8497 w 10000"/>
                <a:gd name="connsiteY32" fmla="*/ 155 h 10000"/>
                <a:gd name="connsiteX33" fmla="*/ 8272 w 10000"/>
                <a:gd name="connsiteY33" fmla="*/ 0 h 10000"/>
                <a:gd name="connsiteX34" fmla="*/ 7821 w 10000"/>
                <a:gd name="connsiteY34" fmla="*/ 206 h 10000"/>
                <a:gd name="connsiteX35" fmla="*/ 7370 w 10000"/>
                <a:gd name="connsiteY35" fmla="*/ 515 h 10000"/>
                <a:gd name="connsiteX36" fmla="*/ 6769 w 10000"/>
                <a:gd name="connsiteY36" fmla="*/ 515 h 10000"/>
                <a:gd name="connsiteX37" fmla="*/ 5717 w 10000"/>
                <a:gd name="connsiteY37" fmla="*/ 515 h 10000"/>
                <a:gd name="connsiteX38" fmla="*/ 5717 w 10000"/>
                <a:gd name="connsiteY38" fmla="*/ 464 h 10000"/>
                <a:gd name="connsiteX39" fmla="*/ 5643 w 10000"/>
                <a:gd name="connsiteY39" fmla="*/ 515 h 10000"/>
                <a:gd name="connsiteX40" fmla="*/ 1961 w 10000"/>
                <a:gd name="connsiteY40" fmla="*/ 515 h 10000"/>
                <a:gd name="connsiteX41" fmla="*/ 1961 w 10000"/>
                <a:gd name="connsiteY41" fmla="*/ 1598 h 10000"/>
                <a:gd name="connsiteX42" fmla="*/ 1285 w 10000"/>
                <a:gd name="connsiteY42" fmla="*/ 1598 h 10000"/>
                <a:gd name="connsiteX43" fmla="*/ 1285 w 10000"/>
                <a:gd name="connsiteY43" fmla="*/ 1804 h 10000"/>
                <a:gd name="connsiteX44" fmla="*/ 1285 w 10000"/>
                <a:gd name="connsiteY44" fmla="*/ 3659 h 10000"/>
                <a:gd name="connsiteX45" fmla="*/ 1135 w 10000"/>
                <a:gd name="connsiteY45" fmla="*/ 3762 h 10000"/>
                <a:gd name="connsiteX46" fmla="*/ 684 w 10000"/>
                <a:gd name="connsiteY46" fmla="*/ 3969 h 10000"/>
                <a:gd name="connsiteX47" fmla="*/ 609 w 10000"/>
                <a:gd name="connsiteY47" fmla="*/ 4227 h 10000"/>
                <a:gd name="connsiteX48" fmla="*/ 384 w 10000"/>
                <a:gd name="connsiteY48" fmla="*/ 4485 h 10000"/>
                <a:gd name="connsiteX49" fmla="*/ 234 w 10000"/>
                <a:gd name="connsiteY49" fmla="*/ 4897 h 10000"/>
                <a:gd name="connsiteX50" fmla="*/ 8 w 10000"/>
                <a:gd name="connsiteY50" fmla="*/ 5361 h 10000"/>
                <a:gd name="connsiteX51" fmla="*/ 384 w 10000"/>
                <a:gd name="connsiteY51" fmla="*/ 5412 h 10000"/>
                <a:gd name="connsiteX52" fmla="*/ 458 w 10000"/>
                <a:gd name="connsiteY52" fmla="*/ 5824 h 10000"/>
                <a:gd name="connsiteX53" fmla="*/ 684 w 10000"/>
                <a:gd name="connsiteY53" fmla="*/ 6237 h 10000"/>
                <a:gd name="connsiteX54" fmla="*/ 1059 w 10000"/>
                <a:gd name="connsiteY54" fmla="*/ 7062 h 10000"/>
                <a:gd name="connsiteX0" fmla="*/ 4515 w 10000"/>
                <a:gd name="connsiteY0" fmla="*/ 9433 h 10000"/>
                <a:gd name="connsiteX1" fmla="*/ 5417 w 10000"/>
                <a:gd name="connsiteY1" fmla="*/ 10000 h 10000"/>
                <a:gd name="connsiteX2" fmla="*/ 5868 w 10000"/>
                <a:gd name="connsiteY2" fmla="*/ 9845 h 10000"/>
                <a:gd name="connsiteX3" fmla="*/ 6093 w 10000"/>
                <a:gd name="connsiteY3" fmla="*/ 9948 h 10000"/>
                <a:gd name="connsiteX4" fmla="*/ 6769 w 10000"/>
                <a:gd name="connsiteY4" fmla="*/ 9742 h 10000"/>
                <a:gd name="connsiteX5" fmla="*/ 6919 w 10000"/>
                <a:gd name="connsiteY5" fmla="*/ 9845 h 10000"/>
                <a:gd name="connsiteX6" fmla="*/ 7220 w 10000"/>
                <a:gd name="connsiteY6" fmla="*/ 9588 h 10000"/>
                <a:gd name="connsiteX7" fmla="*/ 7671 w 10000"/>
                <a:gd name="connsiteY7" fmla="*/ 9279 h 10000"/>
                <a:gd name="connsiteX8" fmla="*/ 8197 w 10000"/>
                <a:gd name="connsiteY8" fmla="*/ 9279 h 10000"/>
                <a:gd name="connsiteX9" fmla="*/ 8422 w 10000"/>
                <a:gd name="connsiteY9" fmla="*/ 9433 h 10000"/>
                <a:gd name="connsiteX10" fmla="*/ 8272 w 10000"/>
                <a:gd name="connsiteY10" fmla="*/ 9021 h 10000"/>
                <a:gd name="connsiteX11" fmla="*/ 7821 w 10000"/>
                <a:gd name="connsiteY11" fmla="*/ 8556 h 10000"/>
                <a:gd name="connsiteX12" fmla="*/ 7370 w 10000"/>
                <a:gd name="connsiteY12" fmla="*/ 8093 h 10000"/>
                <a:gd name="connsiteX13" fmla="*/ 6769 w 10000"/>
                <a:gd name="connsiteY13" fmla="*/ 7680 h 10000"/>
                <a:gd name="connsiteX14" fmla="*/ 7145 w 10000"/>
                <a:gd name="connsiteY14" fmla="*/ 7526 h 10000"/>
                <a:gd name="connsiteX15" fmla="*/ 7446 w 10000"/>
                <a:gd name="connsiteY15" fmla="*/ 6701 h 10000"/>
                <a:gd name="connsiteX16" fmla="*/ 7446 w 10000"/>
                <a:gd name="connsiteY16" fmla="*/ 6341 h 10000"/>
                <a:gd name="connsiteX17" fmla="*/ 7821 w 10000"/>
                <a:gd name="connsiteY17" fmla="*/ 6341 h 10000"/>
                <a:gd name="connsiteX18" fmla="*/ 8047 w 10000"/>
                <a:gd name="connsiteY18" fmla="*/ 5670 h 10000"/>
                <a:gd name="connsiteX19" fmla="*/ 8648 w 10000"/>
                <a:gd name="connsiteY19" fmla="*/ 5258 h 10000"/>
                <a:gd name="connsiteX20" fmla="*/ 8873 w 10000"/>
                <a:gd name="connsiteY20" fmla="*/ 4485 h 10000"/>
                <a:gd name="connsiteX21" fmla="*/ 8722 w 10000"/>
                <a:gd name="connsiteY21" fmla="*/ 4073 h 10000"/>
                <a:gd name="connsiteX22" fmla="*/ 9098 w 10000"/>
                <a:gd name="connsiteY22" fmla="*/ 3196 h 10000"/>
                <a:gd name="connsiteX23" fmla="*/ 9399 w 10000"/>
                <a:gd name="connsiteY23" fmla="*/ 2938 h 10000"/>
                <a:gd name="connsiteX24" fmla="*/ 10000 w 10000"/>
                <a:gd name="connsiteY24" fmla="*/ 2526 h 10000"/>
                <a:gd name="connsiteX25" fmla="*/ 9774 w 10000"/>
                <a:gd name="connsiteY25" fmla="*/ 2474 h 10000"/>
                <a:gd name="connsiteX26" fmla="*/ 9399 w 10000"/>
                <a:gd name="connsiteY26" fmla="*/ 2217 h 10000"/>
                <a:gd name="connsiteX27" fmla="*/ 9173 w 10000"/>
                <a:gd name="connsiteY27" fmla="*/ 1444 h 10000"/>
                <a:gd name="connsiteX28" fmla="*/ 9173 w 10000"/>
                <a:gd name="connsiteY28" fmla="*/ 1031 h 10000"/>
                <a:gd name="connsiteX29" fmla="*/ 9098 w 10000"/>
                <a:gd name="connsiteY29" fmla="*/ 515 h 10000"/>
                <a:gd name="connsiteX30" fmla="*/ 8873 w 10000"/>
                <a:gd name="connsiteY30" fmla="*/ 361 h 10000"/>
                <a:gd name="connsiteX31" fmla="*/ 8497 w 10000"/>
                <a:gd name="connsiteY31" fmla="*/ 155 h 10000"/>
                <a:gd name="connsiteX32" fmla="*/ 8272 w 10000"/>
                <a:gd name="connsiteY32" fmla="*/ 0 h 10000"/>
                <a:gd name="connsiteX33" fmla="*/ 7821 w 10000"/>
                <a:gd name="connsiteY33" fmla="*/ 206 h 10000"/>
                <a:gd name="connsiteX34" fmla="*/ 7370 w 10000"/>
                <a:gd name="connsiteY34" fmla="*/ 515 h 10000"/>
                <a:gd name="connsiteX35" fmla="*/ 6769 w 10000"/>
                <a:gd name="connsiteY35" fmla="*/ 515 h 10000"/>
                <a:gd name="connsiteX36" fmla="*/ 5717 w 10000"/>
                <a:gd name="connsiteY36" fmla="*/ 515 h 10000"/>
                <a:gd name="connsiteX37" fmla="*/ 5717 w 10000"/>
                <a:gd name="connsiteY37" fmla="*/ 464 h 10000"/>
                <a:gd name="connsiteX38" fmla="*/ 5643 w 10000"/>
                <a:gd name="connsiteY38" fmla="*/ 515 h 10000"/>
                <a:gd name="connsiteX39" fmla="*/ 1961 w 10000"/>
                <a:gd name="connsiteY39" fmla="*/ 515 h 10000"/>
                <a:gd name="connsiteX40" fmla="*/ 1961 w 10000"/>
                <a:gd name="connsiteY40" fmla="*/ 1598 h 10000"/>
                <a:gd name="connsiteX41" fmla="*/ 1285 w 10000"/>
                <a:gd name="connsiteY41" fmla="*/ 1598 h 10000"/>
                <a:gd name="connsiteX42" fmla="*/ 1285 w 10000"/>
                <a:gd name="connsiteY42" fmla="*/ 1804 h 10000"/>
                <a:gd name="connsiteX43" fmla="*/ 1285 w 10000"/>
                <a:gd name="connsiteY43" fmla="*/ 3659 h 10000"/>
                <a:gd name="connsiteX44" fmla="*/ 1135 w 10000"/>
                <a:gd name="connsiteY44" fmla="*/ 3762 h 10000"/>
                <a:gd name="connsiteX45" fmla="*/ 684 w 10000"/>
                <a:gd name="connsiteY45" fmla="*/ 3969 h 10000"/>
                <a:gd name="connsiteX46" fmla="*/ 609 w 10000"/>
                <a:gd name="connsiteY46" fmla="*/ 4227 h 10000"/>
                <a:gd name="connsiteX47" fmla="*/ 384 w 10000"/>
                <a:gd name="connsiteY47" fmla="*/ 4485 h 10000"/>
                <a:gd name="connsiteX48" fmla="*/ 234 w 10000"/>
                <a:gd name="connsiteY48" fmla="*/ 4897 h 10000"/>
                <a:gd name="connsiteX49" fmla="*/ 8 w 10000"/>
                <a:gd name="connsiteY49" fmla="*/ 5361 h 10000"/>
                <a:gd name="connsiteX50" fmla="*/ 384 w 10000"/>
                <a:gd name="connsiteY50" fmla="*/ 5412 h 10000"/>
                <a:gd name="connsiteX51" fmla="*/ 458 w 10000"/>
                <a:gd name="connsiteY51" fmla="*/ 5824 h 10000"/>
                <a:gd name="connsiteX52" fmla="*/ 684 w 10000"/>
                <a:gd name="connsiteY52" fmla="*/ 6237 h 10000"/>
                <a:gd name="connsiteX53" fmla="*/ 1059 w 10000"/>
                <a:gd name="connsiteY53" fmla="*/ 7062 h 10000"/>
                <a:gd name="connsiteX0" fmla="*/ 5417 w 10000"/>
                <a:gd name="connsiteY0" fmla="*/ 10000 h 10000"/>
                <a:gd name="connsiteX1" fmla="*/ 5868 w 10000"/>
                <a:gd name="connsiteY1" fmla="*/ 9845 h 10000"/>
                <a:gd name="connsiteX2" fmla="*/ 6093 w 10000"/>
                <a:gd name="connsiteY2" fmla="*/ 9948 h 10000"/>
                <a:gd name="connsiteX3" fmla="*/ 6769 w 10000"/>
                <a:gd name="connsiteY3" fmla="*/ 9742 h 10000"/>
                <a:gd name="connsiteX4" fmla="*/ 6919 w 10000"/>
                <a:gd name="connsiteY4" fmla="*/ 9845 h 10000"/>
                <a:gd name="connsiteX5" fmla="*/ 7220 w 10000"/>
                <a:gd name="connsiteY5" fmla="*/ 9588 h 10000"/>
                <a:gd name="connsiteX6" fmla="*/ 7671 w 10000"/>
                <a:gd name="connsiteY6" fmla="*/ 9279 h 10000"/>
                <a:gd name="connsiteX7" fmla="*/ 8197 w 10000"/>
                <a:gd name="connsiteY7" fmla="*/ 9279 h 10000"/>
                <a:gd name="connsiteX8" fmla="*/ 8422 w 10000"/>
                <a:gd name="connsiteY8" fmla="*/ 9433 h 10000"/>
                <a:gd name="connsiteX9" fmla="*/ 8272 w 10000"/>
                <a:gd name="connsiteY9" fmla="*/ 9021 h 10000"/>
                <a:gd name="connsiteX10" fmla="*/ 7821 w 10000"/>
                <a:gd name="connsiteY10" fmla="*/ 8556 h 10000"/>
                <a:gd name="connsiteX11" fmla="*/ 7370 w 10000"/>
                <a:gd name="connsiteY11" fmla="*/ 8093 h 10000"/>
                <a:gd name="connsiteX12" fmla="*/ 6769 w 10000"/>
                <a:gd name="connsiteY12" fmla="*/ 7680 h 10000"/>
                <a:gd name="connsiteX13" fmla="*/ 7145 w 10000"/>
                <a:gd name="connsiteY13" fmla="*/ 7526 h 10000"/>
                <a:gd name="connsiteX14" fmla="*/ 7446 w 10000"/>
                <a:gd name="connsiteY14" fmla="*/ 6701 h 10000"/>
                <a:gd name="connsiteX15" fmla="*/ 7446 w 10000"/>
                <a:gd name="connsiteY15" fmla="*/ 6341 h 10000"/>
                <a:gd name="connsiteX16" fmla="*/ 7821 w 10000"/>
                <a:gd name="connsiteY16" fmla="*/ 6341 h 10000"/>
                <a:gd name="connsiteX17" fmla="*/ 8047 w 10000"/>
                <a:gd name="connsiteY17" fmla="*/ 5670 h 10000"/>
                <a:gd name="connsiteX18" fmla="*/ 8648 w 10000"/>
                <a:gd name="connsiteY18" fmla="*/ 5258 h 10000"/>
                <a:gd name="connsiteX19" fmla="*/ 8873 w 10000"/>
                <a:gd name="connsiteY19" fmla="*/ 4485 h 10000"/>
                <a:gd name="connsiteX20" fmla="*/ 8722 w 10000"/>
                <a:gd name="connsiteY20" fmla="*/ 4073 h 10000"/>
                <a:gd name="connsiteX21" fmla="*/ 9098 w 10000"/>
                <a:gd name="connsiteY21" fmla="*/ 3196 h 10000"/>
                <a:gd name="connsiteX22" fmla="*/ 9399 w 10000"/>
                <a:gd name="connsiteY22" fmla="*/ 2938 h 10000"/>
                <a:gd name="connsiteX23" fmla="*/ 10000 w 10000"/>
                <a:gd name="connsiteY23" fmla="*/ 2526 h 10000"/>
                <a:gd name="connsiteX24" fmla="*/ 9774 w 10000"/>
                <a:gd name="connsiteY24" fmla="*/ 2474 h 10000"/>
                <a:gd name="connsiteX25" fmla="*/ 9399 w 10000"/>
                <a:gd name="connsiteY25" fmla="*/ 2217 h 10000"/>
                <a:gd name="connsiteX26" fmla="*/ 9173 w 10000"/>
                <a:gd name="connsiteY26" fmla="*/ 1444 h 10000"/>
                <a:gd name="connsiteX27" fmla="*/ 9173 w 10000"/>
                <a:gd name="connsiteY27" fmla="*/ 1031 h 10000"/>
                <a:gd name="connsiteX28" fmla="*/ 9098 w 10000"/>
                <a:gd name="connsiteY28" fmla="*/ 515 h 10000"/>
                <a:gd name="connsiteX29" fmla="*/ 8873 w 10000"/>
                <a:gd name="connsiteY29" fmla="*/ 361 h 10000"/>
                <a:gd name="connsiteX30" fmla="*/ 8497 w 10000"/>
                <a:gd name="connsiteY30" fmla="*/ 155 h 10000"/>
                <a:gd name="connsiteX31" fmla="*/ 8272 w 10000"/>
                <a:gd name="connsiteY31" fmla="*/ 0 h 10000"/>
                <a:gd name="connsiteX32" fmla="*/ 7821 w 10000"/>
                <a:gd name="connsiteY32" fmla="*/ 206 h 10000"/>
                <a:gd name="connsiteX33" fmla="*/ 7370 w 10000"/>
                <a:gd name="connsiteY33" fmla="*/ 515 h 10000"/>
                <a:gd name="connsiteX34" fmla="*/ 6769 w 10000"/>
                <a:gd name="connsiteY34" fmla="*/ 515 h 10000"/>
                <a:gd name="connsiteX35" fmla="*/ 5717 w 10000"/>
                <a:gd name="connsiteY35" fmla="*/ 515 h 10000"/>
                <a:gd name="connsiteX36" fmla="*/ 5717 w 10000"/>
                <a:gd name="connsiteY36" fmla="*/ 464 h 10000"/>
                <a:gd name="connsiteX37" fmla="*/ 5643 w 10000"/>
                <a:gd name="connsiteY37" fmla="*/ 515 h 10000"/>
                <a:gd name="connsiteX38" fmla="*/ 1961 w 10000"/>
                <a:gd name="connsiteY38" fmla="*/ 515 h 10000"/>
                <a:gd name="connsiteX39" fmla="*/ 1961 w 10000"/>
                <a:gd name="connsiteY39" fmla="*/ 1598 h 10000"/>
                <a:gd name="connsiteX40" fmla="*/ 1285 w 10000"/>
                <a:gd name="connsiteY40" fmla="*/ 1598 h 10000"/>
                <a:gd name="connsiteX41" fmla="*/ 1285 w 10000"/>
                <a:gd name="connsiteY41" fmla="*/ 1804 h 10000"/>
                <a:gd name="connsiteX42" fmla="*/ 1285 w 10000"/>
                <a:gd name="connsiteY42" fmla="*/ 3659 h 10000"/>
                <a:gd name="connsiteX43" fmla="*/ 1135 w 10000"/>
                <a:gd name="connsiteY43" fmla="*/ 3762 h 10000"/>
                <a:gd name="connsiteX44" fmla="*/ 684 w 10000"/>
                <a:gd name="connsiteY44" fmla="*/ 3969 h 10000"/>
                <a:gd name="connsiteX45" fmla="*/ 609 w 10000"/>
                <a:gd name="connsiteY45" fmla="*/ 4227 h 10000"/>
                <a:gd name="connsiteX46" fmla="*/ 384 w 10000"/>
                <a:gd name="connsiteY46" fmla="*/ 4485 h 10000"/>
                <a:gd name="connsiteX47" fmla="*/ 234 w 10000"/>
                <a:gd name="connsiteY47" fmla="*/ 4897 h 10000"/>
                <a:gd name="connsiteX48" fmla="*/ 8 w 10000"/>
                <a:gd name="connsiteY48" fmla="*/ 5361 h 10000"/>
                <a:gd name="connsiteX49" fmla="*/ 384 w 10000"/>
                <a:gd name="connsiteY49" fmla="*/ 5412 h 10000"/>
                <a:gd name="connsiteX50" fmla="*/ 458 w 10000"/>
                <a:gd name="connsiteY50" fmla="*/ 5824 h 10000"/>
                <a:gd name="connsiteX51" fmla="*/ 684 w 10000"/>
                <a:gd name="connsiteY51" fmla="*/ 6237 h 10000"/>
                <a:gd name="connsiteX52" fmla="*/ 1059 w 10000"/>
                <a:gd name="connsiteY52" fmla="*/ 7062 h 10000"/>
                <a:gd name="connsiteX0" fmla="*/ 5868 w 10000"/>
                <a:gd name="connsiteY0" fmla="*/ 9845 h 9986"/>
                <a:gd name="connsiteX1" fmla="*/ 6093 w 10000"/>
                <a:gd name="connsiteY1" fmla="*/ 9948 h 9986"/>
                <a:gd name="connsiteX2" fmla="*/ 6769 w 10000"/>
                <a:gd name="connsiteY2" fmla="*/ 9742 h 9986"/>
                <a:gd name="connsiteX3" fmla="*/ 6919 w 10000"/>
                <a:gd name="connsiteY3" fmla="*/ 9845 h 9986"/>
                <a:gd name="connsiteX4" fmla="*/ 7220 w 10000"/>
                <a:gd name="connsiteY4" fmla="*/ 9588 h 9986"/>
                <a:gd name="connsiteX5" fmla="*/ 7671 w 10000"/>
                <a:gd name="connsiteY5" fmla="*/ 9279 h 9986"/>
                <a:gd name="connsiteX6" fmla="*/ 8197 w 10000"/>
                <a:gd name="connsiteY6" fmla="*/ 9279 h 9986"/>
                <a:gd name="connsiteX7" fmla="*/ 8422 w 10000"/>
                <a:gd name="connsiteY7" fmla="*/ 9433 h 9986"/>
                <a:gd name="connsiteX8" fmla="*/ 8272 w 10000"/>
                <a:gd name="connsiteY8" fmla="*/ 9021 h 9986"/>
                <a:gd name="connsiteX9" fmla="*/ 7821 w 10000"/>
                <a:gd name="connsiteY9" fmla="*/ 8556 h 9986"/>
                <a:gd name="connsiteX10" fmla="*/ 7370 w 10000"/>
                <a:gd name="connsiteY10" fmla="*/ 8093 h 9986"/>
                <a:gd name="connsiteX11" fmla="*/ 6769 w 10000"/>
                <a:gd name="connsiteY11" fmla="*/ 7680 h 9986"/>
                <a:gd name="connsiteX12" fmla="*/ 7145 w 10000"/>
                <a:gd name="connsiteY12" fmla="*/ 7526 h 9986"/>
                <a:gd name="connsiteX13" fmla="*/ 7446 w 10000"/>
                <a:gd name="connsiteY13" fmla="*/ 6701 h 9986"/>
                <a:gd name="connsiteX14" fmla="*/ 7446 w 10000"/>
                <a:gd name="connsiteY14" fmla="*/ 6341 h 9986"/>
                <a:gd name="connsiteX15" fmla="*/ 7821 w 10000"/>
                <a:gd name="connsiteY15" fmla="*/ 6341 h 9986"/>
                <a:gd name="connsiteX16" fmla="*/ 8047 w 10000"/>
                <a:gd name="connsiteY16" fmla="*/ 5670 h 9986"/>
                <a:gd name="connsiteX17" fmla="*/ 8648 w 10000"/>
                <a:gd name="connsiteY17" fmla="*/ 5258 h 9986"/>
                <a:gd name="connsiteX18" fmla="*/ 8873 w 10000"/>
                <a:gd name="connsiteY18" fmla="*/ 4485 h 9986"/>
                <a:gd name="connsiteX19" fmla="*/ 8722 w 10000"/>
                <a:gd name="connsiteY19" fmla="*/ 4073 h 9986"/>
                <a:gd name="connsiteX20" fmla="*/ 9098 w 10000"/>
                <a:gd name="connsiteY20" fmla="*/ 3196 h 9986"/>
                <a:gd name="connsiteX21" fmla="*/ 9399 w 10000"/>
                <a:gd name="connsiteY21" fmla="*/ 2938 h 9986"/>
                <a:gd name="connsiteX22" fmla="*/ 10000 w 10000"/>
                <a:gd name="connsiteY22" fmla="*/ 2526 h 9986"/>
                <a:gd name="connsiteX23" fmla="*/ 9774 w 10000"/>
                <a:gd name="connsiteY23" fmla="*/ 2474 h 9986"/>
                <a:gd name="connsiteX24" fmla="*/ 9399 w 10000"/>
                <a:gd name="connsiteY24" fmla="*/ 2217 h 9986"/>
                <a:gd name="connsiteX25" fmla="*/ 9173 w 10000"/>
                <a:gd name="connsiteY25" fmla="*/ 1444 h 9986"/>
                <a:gd name="connsiteX26" fmla="*/ 9173 w 10000"/>
                <a:gd name="connsiteY26" fmla="*/ 1031 h 9986"/>
                <a:gd name="connsiteX27" fmla="*/ 9098 w 10000"/>
                <a:gd name="connsiteY27" fmla="*/ 515 h 9986"/>
                <a:gd name="connsiteX28" fmla="*/ 8873 w 10000"/>
                <a:gd name="connsiteY28" fmla="*/ 361 h 9986"/>
                <a:gd name="connsiteX29" fmla="*/ 8497 w 10000"/>
                <a:gd name="connsiteY29" fmla="*/ 155 h 9986"/>
                <a:gd name="connsiteX30" fmla="*/ 8272 w 10000"/>
                <a:gd name="connsiteY30" fmla="*/ 0 h 9986"/>
                <a:gd name="connsiteX31" fmla="*/ 7821 w 10000"/>
                <a:gd name="connsiteY31" fmla="*/ 206 h 9986"/>
                <a:gd name="connsiteX32" fmla="*/ 7370 w 10000"/>
                <a:gd name="connsiteY32" fmla="*/ 515 h 9986"/>
                <a:gd name="connsiteX33" fmla="*/ 6769 w 10000"/>
                <a:gd name="connsiteY33" fmla="*/ 515 h 9986"/>
                <a:gd name="connsiteX34" fmla="*/ 5717 w 10000"/>
                <a:gd name="connsiteY34" fmla="*/ 515 h 9986"/>
                <a:gd name="connsiteX35" fmla="*/ 5717 w 10000"/>
                <a:gd name="connsiteY35" fmla="*/ 464 h 9986"/>
                <a:gd name="connsiteX36" fmla="*/ 5643 w 10000"/>
                <a:gd name="connsiteY36" fmla="*/ 515 h 9986"/>
                <a:gd name="connsiteX37" fmla="*/ 1961 w 10000"/>
                <a:gd name="connsiteY37" fmla="*/ 515 h 9986"/>
                <a:gd name="connsiteX38" fmla="*/ 1961 w 10000"/>
                <a:gd name="connsiteY38" fmla="*/ 1598 h 9986"/>
                <a:gd name="connsiteX39" fmla="*/ 1285 w 10000"/>
                <a:gd name="connsiteY39" fmla="*/ 1598 h 9986"/>
                <a:gd name="connsiteX40" fmla="*/ 1285 w 10000"/>
                <a:gd name="connsiteY40" fmla="*/ 1804 h 9986"/>
                <a:gd name="connsiteX41" fmla="*/ 1285 w 10000"/>
                <a:gd name="connsiteY41" fmla="*/ 3659 h 9986"/>
                <a:gd name="connsiteX42" fmla="*/ 1135 w 10000"/>
                <a:gd name="connsiteY42" fmla="*/ 3762 h 9986"/>
                <a:gd name="connsiteX43" fmla="*/ 684 w 10000"/>
                <a:gd name="connsiteY43" fmla="*/ 3969 h 9986"/>
                <a:gd name="connsiteX44" fmla="*/ 609 w 10000"/>
                <a:gd name="connsiteY44" fmla="*/ 4227 h 9986"/>
                <a:gd name="connsiteX45" fmla="*/ 384 w 10000"/>
                <a:gd name="connsiteY45" fmla="*/ 4485 h 9986"/>
                <a:gd name="connsiteX46" fmla="*/ 234 w 10000"/>
                <a:gd name="connsiteY46" fmla="*/ 4897 h 9986"/>
                <a:gd name="connsiteX47" fmla="*/ 8 w 10000"/>
                <a:gd name="connsiteY47" fmla="*/ 5361 h 9986"/>
                <a:gd name="connsiteX48" fmla="*/ 384 w 10000"/>
                <a:gd name="connsiteY48" fmla="*/ 5412 h 9986"/>
                <a:gd name="connsiteX49" fmla="*/ 458 w 10000"/>
                <a:gd name="connsiteY49" fmla="*/ 5824 h 9986"/>
                <a:gd name="connsiteX50" fmla="*/ 684 w 10000"/>
                <a:gd name="connsiteY50" fmla="*/ 6237 h 9986"/>
                <a:gd name="connsiteX51" fmla="*/ 1059 w 10000"/>
                <a:gd name="connsiteY51" fmla="*/ 7062 h 9986"/>
                <a:gd name="connsiteX0" fmla="*/ 6093 w 10000"/>
                <a:gd name="connsiteY0" fmla="*/ 9962 h 10000"/>
                <a:gd name="connsiteX1" fmla="*/ 6769 w 10000"/>
                <a:gd name="connsiteY1" fmla="*/ 9756 h 10000"/>
                <a:gd name="connsiteX2" fmla="*/ 6919 w 10000"/>
                <a:gd name="connsiteY2" fmla="*/ 9859 h 10000"/>
                <a:gd name="connsiteX3" fmla="*/ 7220 w 10000"/>
                <a:gd name="connsiteY3" fmla="*/ 9601 h 10000"/>
                <a:gd name="connsiteX4" fmla="*/ 7671 w 10000"/>
                <a:gd name="connsiteY4" fmla="*/ 9292 h 10000"/>
                <a:gd name="connsiteX5" fmla="*/ 8197 w 10000"/>
                <a:gd name="connsiteY5" fmla="*/ 9292 h 10000"/>
                <a:gd name="connsiteX6" fmla="*/ 8422 w 10000"/>
                <a:gd name="connsiteY6" fmla="*/ 9446 h 10000"/>
                <a:gd name="connsiteX7" fmla="*/ 8272 w 10000"/>
                <a:gd name="connsiteY7" fmla="*/ 9034 h 10000"/>
                <a:gd name="connsiteX8" fmla="*/ 7821 w 10000"/>
                <a:gd name="connsiteY8" fmla="*/ 8568 h 10000"/>
                <a:gd name="connsiteX9" fmla="*/ 7370 w 10000"/>
                <a:gd name="connsiteY9" fmla="*/ 8104 h 10000"/>
                <a:gd name="connsiteX10" fmla="*/ 6769 w 10000"/>
                <a:gd name="connsiteY10" fmla="*/ 7691 h 10000"/>
                <a:gd name="connsiteX11" fmla="*/ 7145 w 10000"/>
                <a:gd name="connsiteY11" fmla="*/ 7537 h 10000"/>
                <a:gd name="connsiteX12" fmla="*/ 7446 w 10000"/>
                <a:gd name="connsiteY12" fmla="*/ 6710 h 10000"/>
                <a:gd name="connsiteX13" fmla="*/ 7446 w 10000"/>
                <a:gd name="connsiteY13" fmla="*/ 6350 h 10000"/>
                <a:gd name="connsiteX14" fmla="*/ 7821 w 10000"/>
                <a:gd name="connsiteY14" fmla="*/ 6350 h 10000"/>
                <a:gd name="connsiteX15" fmla="*/ 8047 w 10000"/>
                <a:gd name="connsiteY15" fmla="*/ 5678 h 10000"/>
                <a:gd name="connsiteX16" fmla="*/ 8648 w 10000"/>
                <a:gd name="connsiteY16" fmla="*/ 5265 h 10000"/>
                <a:gd name="connsiteX17" fmla="*/ 8873 w 10000"/>
                <a:gd name="connsiteY17" fmla="*/ 4491 h 10000"/>
                <a:gd name="connsiteX18" fmla="*/ 8722 w 10000"/>
                <a:gd name="connsiteY18" fmla="*/ 4079 h 10000"/>
                <a:gd name="connsiteX19" fmla="*/ 9098 w 10000"/>
                <a:gd name="connsiteY19" fmla="*/ 3200 h 10000"/>
                <a:gd name="connsiteX20" fmla="*/ 9399 w 10000"/>
                <a:gd name="connsiteY20" fmla="*/ 2942 h 10000"/>
                <a:gd name="connsiteX21" fmla="*/ 10000 w 10000"/>
                <a:gd name="connsiteY21" fmla="*/ 2530 h 10000"/>
                <a:gd name="connsiteX22" fmla="*/ 9774 w 10000"/>
                <a:gd name="connsiteY22" fmla="*/ 2477 h 10000"/>
                <a:gd name="connsiteX23" fmla="*/ 9399 w 10000"/>
                <a:gd name="connsiteY23" fmla="*/ 2220 h 10000"/>
                <a:gd name="connsiteX24" fmla="*/ 9173 w 10000"/>
                <a:gd name="connsiteY24" fmla="*/ 1446 h 10000"/>
                <a:gd name="connsiteX25" fmla="*/ 9173 w 10000"/>
                <a:gd name="connsiteY25" fmla="*/ 1032 h 10000"/>
                <a:gd name="connsiteX26" fmla="*/ 9098 w 10000"/>
                <a:gd name="connsiteY26" fmla="*/ 516 h 10000"/>
                <a:gd name="connsiteX27" fmla="*/ 8873 w 10000"/>
                <a:gd name="connsiteY27" fmla="*/ 362 h 10000"/>
                <a:gd name="connsiteX28" fmla="*/ 8497 w 10000"/>
                <a:gd name="connsiteY28" fmla="*/ 155 h 10000"/>
                <a:gd name="connsiteX29" fmla="*/ 8272 w 10000"/>
                <a:gd name="connsiteY29" fmla="*/ 0 h 10000"/>
                <a:gd name="connsiteX30" fmla="*/ 7821 w 10000"/>
                <a:gd name="connsiteY30" fmla="*/ 206 h 10000"/>
                <a:gd name="connsiteX31" fmla="*/ 7370 w 10000"/>
                <a:gd name="connsiteY31" fmla="*/ 516 h 10000"/>
                <a:gd name="connsiteX32" fmla="*/ 6769 w 10000"/>
                <a:gd name="connsiteY32" fmla="*/ 516 h 10000"/>
                <a:gd name="connsiteX33" fmla="*/ 5717 w 10000"/>
                <a:gd name="connsiteY33" fmla="*/ 516 h 10000"/>
                <a:gd name="connsiteX34" fmla="*/ 5717 w 10000"/>
                <a:gd name="connsiteY34" fmla="*/ 465 h 10000"/>
                <a:gd name="connsiteX35" fmla="*/ 5643 w 10000"/>
                <a:gd name="connsiteY35" fmla="*/ 516 h 10000"/>
                <a:gd name="connsiteX36" fmla="*/ 1961 w 10000"/>
                <a:gd name="connsiteY36" fmla="*/ 516 h 10000"/>
                <a:gd name="connsiteX37" fmla="*/ 1961 w 10000"/>
                <a:gd name="connsiteY37" fmla="*/ 1600 h 10000"/>
                <a:gd name="connsiteX38" fmla="*/ 1285 w 10000"/>
                <a:gd name="connsiteY38" fmla="*/ 1600 h 10000"/>
                <a:gd name="connsiteX39" fmla="*/ 1285 w 10000"/>
                <a:gd name="connsiteY39" fmla="*/ 1807 h 10000"/>
                <a:gd name="connsiteX40" fmla="*/ 1285 w 10000"/>
                <a:gd name="connsiteY40" fmla="*/ 3664 h 10000"/>
                <a:gd name="connsiteX41" fmla="*/ 1135 w 10000"/>
                <a:gd name="connsiteY41" fmla="*/ 3767 h 10000"/>
                <a:gd name="connsiteX42" fmla="*/ 684 w 10000"/>
                <a:gd name="connsiteY42" fmla="*/ 3975 h 10000"/>
                <a:gd name="connsiteX43" fmla="*/ 609 w 10000"/>
                <a:gd name="connsiteY43" fmla="*/ 4233 h 10000"/>
                <a:gd name="connsiteX44" fmla="*/ 384 w 10000"/>
                <a:gd name="connsiteY44" fmla="*/ 4491 h 10000"/>
                <a:gd name="connsiteX45" fmla="*/ 234 w 10000"/>
                <a:gd name="connsiteY45" fmla="*/ 4904 h 10000"/>
                <a:gd name="connsiteX46" fmla="*/ 8 w 10000"/>
                <a:gd name="connsiteY46" fmla="*/ 5369 h 10000"/>
                <a:gd name="connsiteX47" fmla="*/ 384 w 10000"/>
                <a:gd name="connsiteY47" fmla="*/ 5420 h 10000"/>
                <a:gd name="connsiteX48" fmla="*/ 458 w 10000"/>
                <a:gd name="connsiteY48" fmla="*/ 5832 h 10000"/>
                <a:gd name="connsiteX49" fmla="*/ 684 w 10000"/>
                <a:gd name="connsiteY49" fmla="*/ 6246 h 10000"/>
                <a:gd name="connsiteX50" fmla="*/ 1059 w 10000"/>
                <a:gd name="connsiteY50" fmla="*/ 7072 h 10000"/>
                <a:gd name="connsiteX0" fmla="*/ 6769 w 10000"/>
                <a:gd name="connsiteY0" fmla="*/ 9756 h 9859"/>
                <a:gd name="connsiteX1" fmla="*/ 6919 w 10000"/>
                <a:gd name="connsiteY1" fmla="*/ 9859 h 9859"/>
                <a:gd name="connsiteX2" fmla="*/ 7220 w 10000"/>
                <a:gd name="connsiteY2" fmla="*/ 9601 h 9859"/>
                <a:gd name="connsiteX3" fmla="*/ 7671 w 10000"/>
                <a:gd name="connsiteY3" fmla="*/ 9292 h 9859"/>
                <a:gd name="connsiteX4" fmla="*/ 8197 w 10000"/>
                <a:gd name="connsiteY4" fmla="*/ 9292 h 9859"/>
                <a:gd name="connsiteX5" fmla="*/ 8422 w 10000"/>
                <a:gd name="connsiteY5" fmla="*/ 9446 h 9859"/>
                <a:gd name="connsiteX6" fmla="*/ 8272 w 10000"/>
                <a:gd name="connsiteY6" fmla="*/ 9034 h 9859"/>
                <a:gd name="connsiteX7" fmla="*/ 7821 w 10000"/>
                <a:gd name="connsiteY7" fmla="*/ 8568 h 9859"/>
                <a:gd name="connsiteX8" fmla="*/ 7370 w 10000"/>
                <a:gd name="connsiteY8" fmla="*/ 8104 h 9859"/>
                <a:gd name="connsiteX9" fmla="*/ 6769 w 10000"/>
                <a:gd name="connsiteY9" fmla="*/ 7691 h 9859"/>
                <a:gd name="connsiteX10" fmla="*/ 7145 w 10000"/>
                <a:gd name="connsiteY10" fmla="*/ 7537 h 9859"/>
                <a:gd name="connsiteX11" fmla="*/ 7446 w 10000"/>
                <a:gd name="connsiteY11" fmla="*/ 6710 h 9859"/>
                <a:gd name="connsiteX12" fmla="*/ 7446 w 10000"/>
                <a:gd name="connsiteY12" fmla="*/ 6350 h 9859"/>
                <a:gd name="connsiteX13" fmla="*/ 7821 w 10000"/>
                <a:gd name="connsiteY13" fmla="*/ 6350 h 9859"/>
                <a:gd name="connsiteX14" fmla="*/ 8047 w 10000"/>
                <a:gd name="connsiteY14" fmla="*/ 5678 h 9859"/>
                <a:gd name="connsiteX15" fmla="*/ 8648 w 10000"/>
                <a:gd name="connsiteY15" fmla="*/ 5265 h 9859"/>
                <a:gd name="connsiteX16" fmla="*/ 8873 w 10000"/>
                <a:gd name="connsiteY16" fmla="*/ 4491 h 9859"/>
                <a:gd name="connsiteX17" fmla="*/ 8722 w 10000"/>
                <a:gd name="connsiteY17" fmla="*/ 4079 h 9859"/>
                <a:gd name="connsiteX18" fmla="*/ 9098 w 10000"/>
                <a:gd name="connsiteY18" fmla="*/ 3200 h 9859"/>
                <a:gd name="connsiteX19" fmla="*/ 9399 w 10000"/>
                <a:gd name="connsiteY19" fmla="*/ 2942 h 9859"/>
                <a:gd name="connsiteX20" fmla="*/ 10000 w 10000"/>
                <a:gd name="connsiteY20" fmla="*/ 2530 h 9859"/>
                <a:gd name="connsiteX21" fmla="*/ 9774 w 10000"/>
                <a:gd name="connsiteY21" fmla="*/ 2477 h 9859"/>
                <a:gd name="connsiteX22" fmla="*/ 9399 w 10000"/>
                <a:gd name="connsiteY22" fmla="*/ 2220 h 9859"/>
                <a:gd name="connsiteX23" fmla="*/ 9173 w 10000"/>
                <a:gd name="connsiteY23" fmla="*/ 1446 h 9859"/>
                <a:gd name="connsiteX24" fmla="*/ 9173 w 10000"/>
                <a:gd name="connsiteY24" fmla="*/ 1032 h 9859"/>
                <a:gd name="connsiteX25" fmla="*/ 9098 w 10000"/>
                <a:gd name="connsiteY25" fmla="*/ 516 h 9859"/>
                <a:gd name="connsiteX26" fmla="*/ 8873 w 10000"/>
                <a:gd name="connsiteY26" fmla="*/ 362 h 9859"/>
                <a:gd name="connsiteX27" fmla="*/ 8497 w 10000"/>
                <a:gd name="connsiteY27" fmla="*/ 155 h 9859"/>
                <a:gd name="connsiteX28" fmla="*/ 8272 w 10000"/>
                <a:gd name="connsiteY28" fmla="*/ 0 h 9859"/>
                <a:gd name="connsiteX29" fmla="*/ 7821 w 10000"/>
                <a:gd name="connsiteY29" fmla="*/ 206 h 9859"/>
                <a:gd name="connsiteX30" fmla="*/ 7370 w 10000"/>
                <a:gd name="connsiteY30" fmla="*/ 516 h 9859"/>
                <a:gd name="connsiteX31" fmla="*/ 6769 w 10000"/>
                <a:gd name="connsiteY31" fmla="*/ 516 h 9859"/>
                <a:gd name="connsiteX32" fmla="*/ 5717 w 10000"/>
                <a:gd name="connsiteY32" fmla="*/ 516 h 9859"/>
                <a:gd name="connsiteX33" fmla="*/ 5717 w 10000"/>
                <a:gd name="connsiteY33" fmla="*/ 465 h 9859"/>
                <a:gd name="connsiteX34" fmla="*/ 5643 w 10000"/>
                <a:gd name="connsiteY34" fmla="*/ 516 h 9859"/>
                <a:gd name="connsiteX35" fmla="*/ 1961 w 10000"/>
                <a:gd name="connsiteY35" fmla="*/ 516 h 9859"/>
                <a:gd name="connsiteX36" fmla="*/ 1961 w 10000"/>
                <a:gd name="connsiteY36" fmla="*/ 1600 h 9859"/>
                <a:gd name="connsiteX37" fmla="*/ 1285 w 10000"/>
                <a:gd name="connsiteY37" fmla="*/ 1600 h 9859"/>
                <a:gd name="connsiteX38" fmla="*/ 1285 w 10000"/>
                <a:gd name="connsiteY38" fmla="*/ 1807 h 9859"/>
                <a:gd name="connsiteX39" fmla="*/ 1285 w 10000"/>
                <a:gd name="connsiteY39" fmla="*/ 3664 h 9859"/>
                <a:gd name="connsiteX40" fmla="*/ 1135 w 10000"/>
                <a:gd name="connsiteY40" fmla="*/ 3767 h 9859"/>
                <a:gd name="connsiteX41" fmla="*/ 684 w 10000"/>
                <a:gd name="connsiteY41" fmla="*/ 3975 h 9859"/>
                <a:gd name="connsiteX42" fmla="*/ 609 w 10000"/>
                <a:gd name="connsiteY42" fmla="*/ 4233 h 9859"/>
                <a:gd name="connsiteX43" fmla="*/ 384 w 10000"/>
                <a:gd name="connsiteY43" fmla="*/ 4491 h 9859"/>
                <a:gd name="connsiteX44" fmla="*/ 234 w 10000"/>
                <a:gd name="connsiteY44" fmla="*/ 4904 h 9859"/>
                <a:gd name="connsiteX45" fmla="*/ 8 w 10000"/>
                <a:gd name="connsiteY45" fmla="*/ 5369 h 9859"/>
                <a:gd name="connsiteX46" fmla="*/ 384 w 10000"/>
                <a:gd name="connsiteY46" fmla="*/ 5420 h 9859"/>
                <a:gd name="connsiteX47" fmla="*/ 458 w 10000"/>
                <a:gd name="connsiteY47" fmla="*/ 5832 h 9859"/>
                <a:gd name="connsiteX48" fmla="*/ 684 w 10000"/>
                <a:gd name="connsiteY48" fmla="*/ 6246 h 9859"/>
                <a:gd name="connsiteX49" fmla="*/ 1059 w 10000"/>
                <a:gd name="connsiteY49" fmla="*/ 7072 h 9859"/>
                <a:gd name="connsiteX0" fmla="*/ 6919 w 10000"/>
                <a:gd name="connsiteY0" fmla="*/ 10000 h 10000"/>
                <a:gd name="connsiteX1" fmla="*/ 7220 w 10000"/>
                <a:gd name="connsiteY1" fmla="*/ 9738 h 10000"/>
                <a:gd name="connsiteX2" fmla="*/ 7671 w 10000"/>
                <a:gd name="connsiteY2" fmla="*/ 9425 h 10000"/>
                <a:gd name="connsiteX3" fmla="*/ 8197 w 10000"/>
                <a:gd name="connsiteY3" fmla="*/ 9425 h 10000"/>
                <a:gd name="connsiteX4" fmla="*/ 8422 w 10000"/>
                <a:gd name="connsiteY4" fmla="*/ 9581 h 10000"/>
                <a:gd name="connsiteX5" fmla="*/ 8272 w 10000"/>
                <a:gd name="connsiteY5" fmla="*/ 9163 h 10000"/>
                <a:gd name="connsiteX6" fmla="*/ 7821 w 10000"/>
                <a:gd name="connsiteY6" fmla="*/ 8691 h 10000"/>
                <a:gd name="connsiteX7" fmla="*/ 7370 w 10000"/>
                <a:gd name="connsiteY7" fmla="*/ 8220 h 10000"/>
                <a:gd name="connsiteX8" fmla="*/ 6769 w 10000"/>
                <a:gd name="connsiteY8" fmla="*/ 7801 h 10000"/>
                <a:gd name="connsiteX9" fmla="*/ 7145 w 10000"/>
                <a:gd name="connsiteY9" fmla="*/ 7645 h 10000"/>
                <a:gd name="connsiteX10" fmla="*/ 7446 w 10000"/>
                <a:gd name="connsiteY10" fmla="*/ 6806 h 10000"/>
                <a:gd name="connsiteX11" fmla="*/ 7446 w 10000"/>
                <a:gd name="connsiteY11" fmla="*/ 6441 h 10000"/>
                <a:gd name="connsiteX12" fmla="*/ 7821 w 10000"/>
                <a:gd name="connsiteY12" fmla="*/ 6441 h 10000"/>
                <a:gd name="connsiteX13" fmla="*/ 8047 w 10000"/>
                <a:gd name="connsiteY13" fmla="*/ 5759 h 10000"/>
                <a:gd name="connsiteX14" fmla="*/ 8648 w 10000"/>
                <a:gd name="connsiteY14" fmla="*/ 5340 h 10000"/>
                <a:gd name="connsiteX15" fmla="*/ 8873 w 10000"/>
                <a:gd name="connsiteY15" fmla="*/ 4555 h 10000"/>
                <a:gd name="connsiteX16" fmla="*/ 8722 w 10000"/>
                <a:gd name="connsiteY16" fmla="*/ 4137 h 10000"/>
                <a:gd name="connsiteX17" fmla="*/ 9098 w 10000"/>
                <a:gd name="connsiteY17" fmla="*/ 3246 h 10000"/>
                <a:gd name="connsiteX18" fmla="*/ 9399 w 10000"/>
                <a:gd name="connsiteY18" fmla="*/ 2984 h 10000"/>
                <a:gd name="connsiteX19" fmla="*/ 10000 w 10000"/>
                <a:gd name="connsiteY19" fmla="*/ 2566 h 10000"/>
                <a:gd name="connsiteX20" fmla="*/ 9774 w 10000"/>
                <a:gd name="connsiteY20" fmla="*/ 2512 h 10000"/>
                <a:gd name="connsiteX21" fmla="*/ 9399 w 10000"/>
                <a:gd name="connsiteY21" fmla="*/ 2252 h 10000"/>
                <a:gd name="connsiteX22" fmla="*/ 9173 w 10000"/>
                <a:gd name="connsiteY22" fmla="*/ 1467 h 10000"/>
                <a:gd name="connsiteX23" fmla="*/ 9173 w 10000"/>
                <a:gd name="connsiteY23" fmla="*/ 1047 h 10000"/>
                <a:gd name="connsiteX24" fmla="*/ 9098 w 10000"/>
                <a:gd name="connsiteY24" fmla="*/ 523 h 10000"/>
                <a:gd name="connsiteX25" fmla="*/ 8873 w 10000"/>
                <a:gd name="connsiteY25" fmla="*/ 367 h 10000"/>
                <a:gd name="connsiteX26" fmla="*/ 8497 w 10000"/>
                <a:gd name="connsiteY26" fmla="*/ 157 h 10000"/>
                <a:gd name="connsiteX27" fmla="*/ 8272 w 10000"/>
                <a:gd name="connsiteY27" fmla="*/ 0 h 10000"/>
                <a:gd name="connsiteX28" fmla="*/ 7821 w 10000"/>
                <a:gd name="connsiteY28" fmla="*/ 209 h 10000"/>
                <a:gd name="connsiteX29" fmla="*/ 7370 w 10000"/>
                <a:gd name="connsiteY29" fmla="*/ 523 h 10000"/>
                <a:gd name="connsiteX30" fmla="*/ 6769 w 10000"/>
                <a:gd name="connsiteY30" fmla="*/ 523 h 10000"/>
                <a:gd name="connsiteX31" fmla="*/ 5717 w 10000"/>
                <a:gd name="connsiteY31" fmla="*/ 523 h 10000"/>
                <a:gd name="connsiteX32" fmla="*/ 5717 w 10000"/>
                <a:gd name="connsiteY32" fmla="*/ 472 h 10000"/>
                <a:gd name="connsiteX33" fmla="*/ 5643 w 10000"/>
                <a:gd name="connsiteY33" fmla="*/ 523 h 10000"/>
                <a:gd name="connsiteX34" fmla="*/ 1961 w 10000"/>
                <a:gd name="connsiteY34" fmla="*/ 523 h 10000"/>
                <a:gd name="connsiteX35" fmla="*/ 1961 w 10000"/>
                <a:gd name="connsiteY35" fmla="*/ 1623 h 10000"/>
                <a:gd name="connsiteX36" fmla="*/ 1285 w 10000"/>
                <a:gd name="connsiteY36" fmla="*/ 1623 h 10000"/>
                <a:gd name="connsiteX37" fmla="*/ 1285 w 10000"/>
                <a:gd name="connsiteY37" fmla="*/ 1833 h 10000"/>
                <a:gd name="connsiteX38" fmla="*/ 1285 w 10000"/>
                <a:gd name="connsiteY38" fmla="*/ 3716 h 10000"/>
                <a:gd name="connsiteX39" fmla="*/ 1135 w 10000"/>
                <a:gd name="connsiteY39" fmla="*/ 3821 h 10000"/>
                <a:gd name="connsiteX40" fmla="*/ 684 w 10000"/>
                <a:gd name="connsiteY40" fmla="*/ 4032 h 10000"/>
                <a:gd name="connsiteX41" fmla="*/ 609 w 10000"/>
                <a:gd name="connsiteY41" fmla="*/ 4294 h 10000"/>
                <a:gd name="connsiteX42" fmla="*/ 384 w 10000"/>
                <a:gd name="connsiteY42" fmla="*/ 4555 h 10000"/>
                <a:gd name="connsiteX43" fmla="*/ 234 w 10000"/>
                <a:gd name="connsiteY43" fmla="*/ 4974 h 10000"/>
                <a:gd name="connsiteX44" fmla="*/ 8 w 10000"/>
                <a:gd name="connsiteY44" fmla="*/ 5446 h 10000"/>
                <a:gd name="connsiteX45" fmla="*/ 384 w 10000"/>
                <a:gd name="connsiteY45" fmla="*/ 5498 h 10000"/>
                <a:gd name="connsiteX46" fmla="*/ 458 w 10000"/>
                <a:gd name="connsiteY46" fmla="*/ 5915 h 10000"/>
                <a:gd name="connsiteX47" fmla="*/ 684 w 10000"/>
                <a:gd name="connsiteY47" fmla="*/ 6335 h 10000"/>
                <a:gd name="connsiteX48" fmla="*/ 1059 w 10000"/>
                <a:gd name="connsiteY48" fmla="*/ 7173 h 10000"/>
                <a:gd name="connsiteX0" fmla="*/ 7220 w 10000"/>
                <a:gd name="connsiteY0" fmla="*/ 9738 h 9738"/>
                <a:gd name="connsiteX1" fmla="*/ 7671 w 10000"/>
                <a:gd name="connsiteY1" fmla="*/ 9425 h 9738"/>
                <a:gd name="connsiteX2" fmla="*/ 8197 w 10000"/>
                <a:gd name="connsiteY2" fmla="*/ 9425 h 9738"/>
                <a:gd name="connsiteX3" fmla="*/ 8422 w 10000"/>
                <a:gd name="connsiteY3" fmla="*/ 9581 h 9738"/>
                <a:gd name="connsiteX4" fmla="*/ 8272 w 10000"/>
                <a:gd name="connsiteY4" fmla="*/ 9163 h 9738"/>
                <a:gd name="connsiteX5" fmla="*/ 7821 w 10000"/>
                <a:gd name="connsiteY5" fmla="*/ 8691 h 9738"/>
                <a:gd name="connsiteX6" fmla="*/ 7370 w 10000"/>
                <a:gd name="connsiteY6" fmla="*/ 8220 h 9738"/>
                <a:gd name="connsiteX7" fmla="*/ 6769 w 10000"/>
                <a:gd name="connsiteY7" fmla="*/ 7801 h 9738"/>
                <a:gd name="connsiteX8" fmla="*/ 7145 w 10000"/>
                <a:gd name="connsiteY8" fmla="*/ 7645 h 9738"/>
                <a:gd name="connsiteX9" fmla="*/ 7446 w 10000"/>
                <a:gd name="connsiteY9" fmla="*/ 6806 h 9738"/>
                <a:gd name="connsiteX10" fmla="*/ 7446 w 10000"/>
                <a:gd name="connsiteY10" fmla="*/ 6441 h 9738"/>
                <a:gd name="connsiteX11" fmla="*/ 7821 w 10000"/>
                <a:gd name="connsiteY11" fmla="*/ 6441 h 9738"/>
                <a:gd name="connsiteX12" fmla="*/ 8047 w 10000"/>
                <a:gd name="connsiteY12" fmla="*/ 5759 h 9738"/>
                <a:gd name="connsiteX13" fmla="*/ 8648 w 10000"/>
                <a:gd name="connsiteY13" fmla="*/ 5340 h 9738"/>
                <a:gd name="connsiteX14" fmla="*/ 8873 w 10000"/>
                <a:gd name="connsiteY14" fmla="*/ 4555 h 9738"/>
                <a:gd name="connsiteX15" fmla="*/ 8722 w 10000"/>
                <a:gd name="connsiteY15" fmla="*/ 4137 h 9738"/>
                <a:gd name="connsiteX16" fmla="*/ 9098 w 10000"/>
                <a:gd name="connsiteY16" fmla="*/ 3246 h 9738"/>
                <a:gd name="connsiteX17" fmla="*/ 9399 w 10000"/>
                <a:gd name="connsiteY17" fmla="*/ 2984 h 9738"/>
                <a:gd name="connsiteX18" fmla="*/ 10000 w 10000"/>
                <a:gd name="connsiteY18" fmla="*/ 2566 h 9738"/>
                <a:gd name="connsiteX19" fmla="*/ 9774 w 10000"/>
                <a:gd name="connsiteY19" fmla="*/ 2512 h 9738"/>
                <a:gd name="connsiteX20" fmla="*/ 9399 w 10000"/>
                <a:gd name="connsiteY20" fmla="*/ 2252 h 9738"/>
                <a:gd name="connsiteX21" fmla="*/ 9173 w 10000"/>
                <a:gd name="connsiteY21" fmla="*/ 1467 h 9738"/>
                <a:gd name="connsiteX22" fmla="*/ 9173 w 10000"/>
                <a:gd name="connsiteY22" fmla="*/ 1047 h 9738"/>
                <a:gd name="connsiteX23" fmla="*/ 9098 w 10000"/>
                <a:gd name="connsiteY23" fmla="*/ 523 h 9738"/>
                <a:gd name="connsiteX24" fmla="*/ 8873 w 10000"/>
                <a:gd name="connsiteY24" fmla="*/ 367 h 9738"/>
                <a:gd name="connsiteX25" fmla="*/ 8497 w 10000"/>
                <a:gd name="connsiteY25" fmla="*/ 157 h 9738"/>
                <a:gd name="connsiteX26" fmla="*/ 8272 w 10000"/>
                <a:gd name="connsiteY26" fmla="*/ 0 h 9738"/>
                <a:gd name="connsiteX27" fmla="*/ 7821 w 10000"/>
                <a:gd name="connsiteY27" fmla="*/ 209 h 9738"/>
                <a:gd name="connsiteX28" fmla="*/ 7370 w 10000"/>
                <a:gd name="connsiteY28" fmla="*/ 523 h 9738"/>
                <a:gd name="connsiteX29" fmla="*/ 6769 w 10000"/>
                <a:gd name="connsiteY29" fmla="*/ 523 h 9738"/>
                <a:gd name="connsiteX30" fmla="*/ 5717 w 10000"/>
                <a:gd name="connsiteY30" fmla="*/ 523 h 9738"/>
                <a:gd name="connsiteX31" fmla="*/ 5717 w 10000"/>
                <a:gd name="connsiteY31" fmla="*/ 472 h 9738"/>
                <a:gd name="connsiteX32" fmla="*/ 5643 w 10000"/>
                <a:gd name="connsiteY32" fmla="*/ 523 h 9738"/>
                <a:gd name="connsiteX33" fmla="*/ 1961 w 10000"/>
                <a:gd name="connsiteY33" fmla="*/ 523 h 9738"/>
                <a:gd name="connsiteX34" fmla="*/ 1961 w 10000"/>
                <a:gd name="connsiteY34" fmla="*/ 1623 h 9738"/>
                <a:gd name="connsiteX35" fmla="*/ 1285 w 10000"/>
                <a:gd name="connsiteY35" fmla="*/ 1623 h 9738"/>
                <a:gd name="connsiteX36" fmla="*/ 1285 w 10000"/>
                <a:gd name="connsiteY36" fmla="*/ 1833 h 9738"/>
                <a:gd name="connsiteX37" fmla="*/ 1285 w 10000"/>
                <a:gd name="connsiteY37" fmla="*/ 3716 h 9738"/>
                <a:gd name="connsiteX38" fmla="*/ 1135 w 10000"/>
                <a:gd name="connsiteY38" fmla="*/ 3821 h 9738"/>
                <a:gd name="connsiteX39" fmla="*/ 684 w 10000"/>
                <a:gd name="connsiteY39" fmla="*/ 4032 h 9738"/>
                <a:gd name="connsiteX40" fmla="*/ 609 w 10000"/>
                <a:gd name="connsiteY40" fmla="*/ 4294 h 9738"/>
                <a:gd name="connsiteX41" fmla="*/ 384 w 10000"/>
                <a:gd name="connsiteY41" fmla="*/ 4555 h 9738"/>
                <a:gd name="connsiteX42" fmla="*/ 234 w 10000"/>
                <a:gd name="connsiteY42" fmla="*/ 4974 h 9738"/>
                <a:gd name="connsiteX43" fmla="*/ 8 w 10000"/>
                <a:gd name="connsiteY43" fmla="*/ 5446 h 9738"/>
                <a:gd name="connsiteX44" fmla="*/ 384 w 10000"/>
                <a:gd name="connsiteY44" fmla="*/ 5498 h 9738"/>
                <a:gd name="connsiteX45" fmla="*/ 458 w 10000"/>
                <a:gd name="connsiteY45" fmla="*/ 5915 h 9738"/>
                <a:gd name="connsiteX46" fmla="*/ 684 w 10000"/>
                <a:gd name="connsiteY46" fmla="*/ 6335 h 9738"/>
                <a:gd name="connsiteX47" fmla="*/ 1059 w 10000"/>
                <a:gd name="connsiteY47" fmla="*/ 7173 h 9738"/>
                <a:gd name="connsiteX0" fmla="*/ 7671 w 10000"/>
                <a:gd name="connsiteY0" fmla="*/ 9679 h 9839"/>
                <a:gd name="connsiteX1" fmla="*/ 8197 w 10000"/>
                <a:gd name="connsiteY1" fmla="*/ 9679 h 9839"/>
                <a:gd name="connsiteX2" fmla="*/ 8422 w 10000"/>
                <a:gd name="connsiteY2" fmla="*/ 9839 h 9839"/>
                <a:gd name="connsiteX3" fmla="*/ 8272 w 10000"/>
                <a:gd name="connsiteY3" fmla="*/ 9410 h 9839"/>
                <a:gd name="connsiteX4" fmla="*/ 7821 w 10000"/>
                <a:gd name="connsiteY4" fmla="*/ 8925 h 9839"/>
                <a:gd name="connsiteX5" fmla="*/ 7370 w 10000"/>
                <a:gd name="connsiteY5" fmla="*/ 8441 h 9839"/>
                <a:gd name="connsiteX6" fmla="*/ 6769 w 10000"/>
                <a:gd name="connsiteY6" fmla="*/ 8011 h 9839"/>
                <a:gd name="connsiteX7" fmla="*/ 7145 w 10000"/>
                <a:gd name="connsiteY7" fmla="*/ 7851 h 9839"/>
                <a:gd name="connsiteX8" fmla="*/ 7446 w 10000"/>
                <a:gd name="connsiteY8" fmla="*/ 6989 h 9839"/>
                <a:gd name="connsiteX9" fmla="*/ 7446 w 10000"/>
                <a:gd name="connsiteY9" fmla="*/ 6614 h 9839"/>
                <a:gd name="connsiteX10" fmla="*/ 7821 w 10000"/>
                <a:gd name="connsiteY10" fmla="*/ 6614 h 9839"/>
                <a:gd name="connsiteX11" fmla="*/ 8047 w 10000"/>
                <a:gd name="connsiteY11" fmla="*/ 5914 h 9839"/>
                <a:gd name="connsiteX12" fmla="*/ 8648 w 10000"/>
                <a:gd name="connsiteY12" fmla="*/ 5484 h 9839"/>
                <a:gd name="connsiteX13" fmla="*/ 8873 w 10000"/>
                <a:gd name="connsiteY13" fmla="*/ 4678 h 9839"/>
                <a:gd name="connsiteX14" fmla="*/ 8722 w 10000"/>
                <a:gd name="connsiteY14" fmla="*/ 4248 h 9839"/>
                <a:gd name="connsiteX15" fmla="*/ 9098 w 10000"/>
                <a:gd name="connsiteY15" fmla="*/ 3333 h 9839"/>
                <a:gd name="connsiteX16" fmla="*/ 9399 w 10000"/>
                <a:gd name="connsiteY16" fmla="*/ 3064 h 9839"/>
                <a:gd name="connsiteX17" fmla="*/ 10000 w 10000"/>
                <a:gd name="connsiteY17" fmla="*/ 2635 h 9839"/>
                <a:gd name="connsiteX18" fmla="*/ 9774 w 10000"/>
                <a:gd name="connsiteY18" fmla="*/ 2580 h 9839"/>
                <a:gd name="connsiteX19" fmla="*/ 9399 w 10000"/>
                <a:gd name="connsiteY19" fmla="*/ 2313 h 9839"/>
                <a:gd name="connsiteX20" fmla="*/ 9173 w 10000"/>
                <a:gd name="connsiteY20" fmla="*/ 1506 h 9839"/>
                <a:gd name="connsiteX21" fmla="*/ 9173 w 10000"/>
                <a:gd name="connsiteY21" fmla="*/ 1075 h 9839"/>
                <a:gd name="connsiteX22" fmla="*/ 9098 w 10000"/>
                <a:gd name="connsiteY22" fmla="*/ 537 h 9839"/>
                <a:gd name="connsiteX23" fmla="*/ 8873 w 10000"/>
                <a:gd name="connsiteY23" fmla="*/ 377 h 9839"/>
                <a:gd name="connsiteX24" fmla="*/ 8497 w 10000"/>
                <a:gd name="connsiteY24" fmla="*/ 161 h 9839"/>
                <a:gd name="connsiteX25" fmla="*/ 8272 w 10000"/>
                <a:gd name="connsiteY25" fmla="*/ 0 h 9839"/>
                <a:gd name="connsiteX26" fmla="*/ 7821 w 10000"/>
                <a:gd name="connsiteY26" fmla="*/ 215 h 9839"/>
                <a:gd name="connsiteX27" fmla="*/ 7370 w 10000"/>
                <a:gd name="connsiteY27" fmla="*/ 537 h 9839"/>
                <a:gd name="connsiteX28" fmla="*/ 6769 w 10000"/>
                <a:gd name="connsiteY28" fmla="*/ 537 h 9839"/>
                <a:gd name="connsiteX29" fmla="*/ 5717 w 10000"/>
                <a:gd name="connsiteY29" fmla="*/ 537 h 9839"/>
                <a:gd name="connsiteX30" fmla="*/ 5717 w 10000"/>
                <a:gd name="connsiteY30" fmla="*/ 485 h 9839"/>
                <a:gd name="connsiteX31" fmla="*/ 5643 w 10000"/>
                <a:gd name="connsiteY31" fmla="*/ 537 h 9839"/>
                <a:gd name="connsiteX32" fmla="*/ 1961 w 10000"/>
                <a:gd name="connsiteY32" fmla="*/ 537 h 9839"/>
                <a:gd name="connsiteX33" fmla="*/ 1961 w 10000"/>
                <a:gd name="connsiteY33" fmla="*/ 1667 h 9839"/>
                <a:gd name="connsiteX34" fmla="*/ 1285 w 10000"/>
                <a:gd name="connsiteY34" fmla="*/ 1667 h 9839"/>
                <a:gd name="connsiteX35" fmla="*/ 1285 w 10000"/>
                <a:gd name="connsiteY35" fmla="*/ 1882 h 9839"/>
                <a:gd name="connsiteX36" fmla="*/ 1285 w 10000"/>
                <a:gd name="connsiteY36" fmla="*/ 3816 h 9839"/>
                <a:gd name="connsiteX37" fmla="*/ 1135 w 10000"/>
                <a:gd name="connsiteY37" fmla="*/ 3924 h 9839"/>
                <a:gd name="connsiteX38" fmla="*/ 684 w 10000"/>
                <a:gd name="connsiteY38" fmla="*/ 4140 h 9839"/>
                <a:gd name="connsiteX39" fmla="*/ 609 w 10000"/>
                <a:gd name="connsiteY39" fmla="*/ 4410 h 9839"/>
                <a:gd name="connsiteX40" fmla="*/ 384 w 10000"/>
                <a:gd name="connsiteY40" fmla="*/ 4678 h 9839"/>
                <a:gd name="connsiteX41" fmla="*/ 234 w 10000"/>
                <a:gd name="connsiteY41" fmla="*/ 5108 h 9839"/>
                <a:gd name="connsiteX42" fmla="*/ 8 w 10000"/>
                <a:gd name="connsiteY42" fmla="*/ 5593 h 9839"/>
                <a:gd name="connsiteX43" fmla="*/ 384 w 10000"/>
                <a:gd name="connsiteY43" fmla="*/ 5646 h 9839"/>
                <a:gd name="connsiteX44" fmla="*/ 458 w 10000"/>
                <a:gd name="connsiteY44" fmla="*/ 6074 h 9839"/>
                <a:gd name="connsiteX45" fmla="*/ 684 w 10000"/>
                <a:gd name="connsiteY45" fmla="*/ 6505 h 9839"/>
                <a:gd name="connsiteX46" fmla="*/ 1059 w 10000"/>
                <a:gd name="connsiteY46" fmla="*/ 7366 h 9839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145 w 10000"/>
                <a:gd name="connsiteY6" fmla="*/ 7979 h 10000"/>
                <a:gd name="connsiteX7" fmla="*/ 7446 w 10000"/>
                <a:gd name="connsiteY7" fmla="*/ 7103 h 10000"/>
                <a:gd name="connsiteX8" fmla="*/ 7446 w 10000"/>
                <a:gd name="connsiteY8" fmla="*/ 6722 h 10000"/>
                <a:gd name="connsiteX9" fmla="*/ 7821 w 10000"/>
                <a:gd name="connsiteY9" fmla="*/ 6722 h 10000"/>
                <a:gd name="connsiteX10" fmla="*/ 8047 w 10000"/>
                <a:gd name="connsiteY10" fmla="*/ 6011 h 10000"/>
                <a:gd name="connsiteX11" fmla="*/ 8648 w 10000"/>
                <a:gd name="connsiteY11" fmla="*/ 5574 h 10000"/>
                <a:gd name="connsiteX12" fmla="*/ 8873 w 10000"/>
                <a:gd name="connsiteY12" fmla="*/ 4755 h 10000"/>
                <a:gd name="connsiteX13" fmla="*/ 8722 w 10000"/>
                <a:gd name="connsiteY13" fmla="*/ 4318 h 10000"/>
                <a:gd name="connsiteX14" fmla="*/ 9098 w 10000"/>
                <a:gd name="connsiteY14" fmla="*/ 3388 h 10000"/>
                <a:gd name="connsiteX15" fmla="*/ 9399 w 10000"/>
                <a:gd name="connsiteY15" fmla="*/ 3114 h 10000"/>
                <a:gd name="connsiteX16" fmla="*/ 10000 w 10000"/>
                <a:gd name="connsiteY16" fmla="*/ 2678 h 10000"/>
                <a:gd name="connsiteX17" fmla="*/ 9774 w 10000"/>
                <a:gd name="connsiteY17" fmla="*/ 2622 h 10000"/>
                <a:gd name="connsiteX18" fmla="*/ 9399 w 10000"/>
                <a:gd name="connsiteY18" fmla="*/ 2351 h 10000"/>
                <a:gd name="connsiteX19" fmla="*/ 9173 w 10000"/>
                <a:gd name="connsiteY19" fmla="*/ 1531 h 10000"/>
                <a:gd name="connsiteX20" fmla="*/ 9173 w 10000"/>
                <a:gd name="connsiteY20" fmla="*/ 1093 h 10000"/>
                <a:gd name="connsiteX21" fmla="*/ 9098 w 10000"/>
                <a:gd name="connsiteY21" fmla="*/ 546 h 10000"/>
                <a:gd name="connsiteX22" fmla="*/ 8873 w 10000"/>
                <a:gd name="connsiteY22" fmla="*/ 383 h 10000"/>
                <a:gd name="connsiteX23" fmla="*/ 8497 w 10000"/>
                <a:gd name="connsiteY23" fmla="*/ 164 h 10000"/>
                <a:gd name="connsiteX24" fmla="*/ 8272 w 10000"/>
                <a:gd name="connsiteY24" fmla="*/ 0 h 10000"/>
                <a:gd name="connsiteX25" fmla="*/ 7821 w 10000"/>
                <a:gd name="connsiteY25" fmla="*/ 219 h 10000"/>
                <a:gd name="connsiteX26" fmla="*/ 7370 w 10000"/>
                <a:gd name="connsiteY26" fmla="*/ 546 h 10000"/>
                <a:gd name="connsiteX27" fmla="*/ 6769 w 10000"/>
                <a:gd name="connsiteY27" fmla="*/ 546 h 10000"/>
                <a:gd name="connsiteX28" fmla="*/ 5717 w 10000"/>
                <a:gd name="connsiteY28" fmla="*/ 546 h 10000"/>
                <a:gd name="connsiteX29" fmla="*/ 5717 w 10000"/>
                <a:gd name="connsiteY29" fmla="*/ 493 h 10000"/>
                <a:gd name="connsiteX30" fmla="*/ 5643 w 10000"/>
                <a:gd name="connsiteY30" fmla="*/ 546 h 10000"/>
                <a:gd name="connsiteX31" fmla="*/ 1961 w 10000"/>
                <a:gd name="connsiteY31" fmla="*/ 546 h 10000"/>
                <a:gd name="connsiteX32" fmla="*/ 1961 w 10000"/>
                <a:gd name="connsiteY32" fmla="*/ 1694 h 10000"/>
                <a:gd name="connsiteX33" fmla="*/ 1285 w 10000"/>
                <a:gd name="connsiteY33" fmla="*/ 1694 h 10000"/>
                <a:gd name="connsiteX34" fmla="*/ 1285 w 10000"/>
                <a:gd name="connsiteY34" fmla="*/ 1913 h 10000"/>
                <a:gd name="connsiteX35" fmla="*/ 1285 w 10000"/>
                <a:gd name="connsiteY35" fmla="*/ 3878 h 10000"/>
                <a:gd name="connsiteX36" fmla="*/ 1135 w 10000"/>
                <a:gd name="connsiteY36" fmla="*/ 3988 h 10000"/>
                <a:gd name="connsiteX37" fmla="*/ 684 w 10000"/>
                <a:gd name="connsiteY37" fmla="*/ 4208 h 10000"/>
                <a:gd name="connsiteX38" fmla="*/ 609 w 10000"/>
                <a:gd name="connsiteY38" fmla="*/ 4482 h 10000"/>
                <a:gd name="connsiteX39" fmla="*/ 384 w 10000"/>
                <a:gd name="connsiteY39" fmla="*/ 4755 h 10000"/>
                <a:gd name="connsiteX40" fmla="*/ 234 w 10000"/>
                <a:gd name="connsiteY40" fmla="*/ 5192 h 10000"/>
                <a:gd name="connsiteX41" fmla="*/ 8 w 10000"/>
                <a:gd name="connsiteY41" fmla="*/ 5685 h 10000"/>
                <a:gd name="connsiteX42" fmla="*/ 384 w 10000"/>
                <a:gd name="connsiteY42" fmla="*/ 5738 h 10000"/>
                <a:gd name="connsiteX43" fmla="*/ 458 w 10000"/>
                <a:gd name="connsiteY43" fmla="*/ 6173 h 10000"/>
                <a:gd name="connsiteX44" fmla="*/ 684 w 10000"/>
                <a:gd name="connsiteY44" fmla="*/ 6611 h 10000"/>
                <a:gd name="connsiteX45" fmla="*/ 1059 w 10000"/>
                <a:gd name="connsiteY45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446 w 10000"/>
                <a:gd name="connsiteY6" fmla="*/ 7103 h 10000"/>
                <a:gd name="connsiteX7" fmla="*/ 7446 w 10000"/>
                <a:gd name="connsiteY7" fmla="*/ 6722 h 10000"/>
                <a:gd name="connsiteX8" fmla="*/ 7821 w 10000"/>
                <a:gd name="connsiteY8" fmla="*/ 6722 h 10000"/>
                <a:gd name="connsiteX9" fmla="*/ 8047 w 10000"/>
                <a:gd name="connsiteY9" fmla="*/ 6011 h 10000"/>
                <a:gd name="connsiteX10" fmla="*/ 8648 w 10000"/>
                <a:gd name="connsiteY10" fmla="*/ 5574 h 10000"/>
                <a:gd name="connsiteX11" fmla="*/ 8873 w 10000"/>
                <a:gd name="connsiteY11" fmla="*/ 4755 h 10000"/>
                <a:gd name="connsiteX12" fmla="*/ 8722 w 10000"/>
                <a:gd name="connsiteY12" fmla="*/ 4318 h 10000"/>
                <a:gd name="connsiteX13" fmla="*/ 9098 w 10000"/>
                <a:gd name="connsiteY13" fmla="*/ 3388 h 10000"/>
                <a:gd name="connsiteX14" fmla="*/ 9399 w 10000"/>
                <a:gd name="connsiteY14" fmla="*/ 3114 h 10000"/>
                <a:gd name="connsiteX15" fmla="*/ 10000 w 10000"/>
                <a:gd name="connsiteY15" fmla="*/ 2678 h 10000"/>
                <a:gd name="connsiteX16" fmla="*/ 9774 w 10000"/>
                <a:gd name="connsiteY16" fmla="*/ 2622 h 10000"/>
                <a:gd name="connsiteX17" fmla="*/ 9399 w 10000"/>
                <a:gd name="connsiteY17" fmla="*/ 2351 h 10000"/>
                <a:gd name="connsiteX18" fmla="*/ 9173 w 10000"/>
                <a:gd name="connsiteY18" fmla="*/ 1531 h 10000"/>
                <a:gd name="connsiteX19" fmla="*/ 9173 w 10000"/>
                <a:gd name="connsiteY19" fmla="*/ 1093 h 10000"/>
                <a:gd name="connsiteX20" fmla="*/ 9098 w 10000"/>
                <a:gd name="connsiteY20" fmla="*/ 546 h 10000"/>
                <a:gd name="connsiteX21" fmla="*/ 8873 w 10000"/>
                <a:gd name="connsiteY21" fmla="*/ 383 h 10000"/>
                <a:gd name="connsiteX22" fmla="*/ 8497 w 10000"/>
                <a:gd name="connsiteY22" fmla="*/ 164 h 10000"/>
                <a:gd name="connsiteX23" fmla="*/ 8272 w 10000"/>
                <a:gd name="connsiteY23" fmla="*/ 0 h 10000"/>
                <a:gd name="connsiteX24" fmla="*/ 7821 w 10000"/>
                <a:gd name="connsiteY24" fmla="*/ 219 h 10000"/>
                <a:gd name="connsiteX25" fmla="*/ 7370 w 10000"/>
                <a:gd name="connsiteY25" fmla="*/ 546 h 10000"/>
                <a:gd name="connsiteX26" fmla="*/ 6769 w 10000"/>
                <a:gd name="connsiteY26" fmla="*/ 546 h 10000"/>
                <a:gd name="connsiteX27" fmla="*/ 5717 w 10000"/>
                <a:gd name="connsiteY27" fmla="*/ 546 h 10000"/>
                <a:gd name="connsiteX28" fmla="*/ 5717 w 10000"/>
                <a:gd name="connsiteY28" fmla="*/ 493 h 10000"/>
                <a:gd name="connsiteX29" fmla="*/ 5643 w 10000"/>
                <a:gd name="connsiteY29" fmla="*/ 546 h 10000"/>
                <a:gd name="connsiteX30" fmla="*/ 1961 w 10000"/>
                <a:gd name="connsiteY30" fmla="*/ 546 h 10000"/>
                <a:gd name="connsiteX31" fmla="*/ 1961 w 10000"/>
                <a:gd name="connsiteY31" fmla="*/ 1694 h 10000"/>
                <a:gd name="connsiteX32" fmla="*/ 1285 w 10000"/>
                <a:gd name="connsiteY32" fmla="*/ 1694 h 10000"/>
                <a:gd name="connsiteX33" fmla="*/ 1285 w 10000"/>
                <a:gd name="connsiteY33" fmla="*/ 1913 h 10000"/>
                <a:gd name="connsiteX34" fmla="*/ 1285 w 10000"/>
                <a:gd name="connsiteY34" fmla="*/ 3878 h 10000"/>
                <a:gd name="connsiteX35" fmla="*/ 1135 w 10000"/>
                <a:gd name="connsiteY35" fmla="*/ 3988 h 10000"/>
                <a:gd name="connsiteX36" fmla="*/ 684 w 10000"/>
                <a:gd name="connsiteY36" fmla="*/ 4208 h 10000"/>
                <a:gd name="connsiteX37" fmla="*/ 609 w 10000"/>
                <a:gd name="connsiteY37" fmla="*/ 4482 h 10000"/>
                <a:gd name="connsiteX38" fmla="*/ 384 w 10000"/>
                <a:gd name="connsiteY38" fmla="*/ 4755 h 10000"/>
                <a:gd name="connsiteX39" fmla="*/ 234 w 10000"/>
                <a:gd name="connsiteY39" fmla="*/ 5192 h 10000"/>
                <a:gd name="connsiteX40" fmla="*/ 8 w 10000"/>
                <a:gd name="connsiteY40" fmla="*/ 5685 h 10000"/>
                <a:gd name="connsiteX41" fmla="*/ 384 w 10000"/>
                <a:gd name="connsiteY41" fmla="*/ 5738 h 10000"/>
                <a:gd name="connsiteX42" fmla="*/ 458 w 10000"/>
                <a:gd name="connsiteY42" fmla="*/ 6173 h 10000"/>
                <a:gd name="connsiteX43" fmla="*/ 684 w 10000"/>
                <a:gd name="connsiteY43" fmla="*/ 6611 h 10000"/>
                <a:gd name="connsiteX44" fmla="*/ 1059 w 10000"/>
                <a:gd name="connsiteY44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7446 w 10000"/>
                <a:gd name="connsiteY5" fmla="*/ 7103 h 10000"/>
                <a:gd name="connsiteX6" fmla="*/ 7446 w 10000"/>
                <a:gd name="connsiteY6" fmla="*/ 6722 h 10000"/>
                <a:gd name="connsiteX7" fmla="*/ 7821 w 10000"/>
                <a:gd name="connsiteY7" fmla="*/ 6722 h 10000"/>
                <a:gd name="connsiteX8" fmla="*/ 8047 w 10000"/>
                <a:gd name="connsiteY8" fmla="*/ 6011 h 10000"/>
                <a:gd name="connsiteX9" fmla="*/ 8648 w 10000"/>
                <a:gd name="connsiteY9" fmla="*/ 5574 h 10000"/>
                <a:gd name="connsiteX10" fmla="*/ 8873 w 10000"/>
                <a:gd name="connsiteY10" fmla="*/ 4755 h 10000"/>
                <a:gd name="connsiteX11" fmla="*/ 8722 w 10000"/>
                <a:gd name="connsiteY11" fmla="*/ 4318 h 10000"/>
                <a:gd name="connsiteX12" fmla="*/ 9098 w 10000"/>
                <a:gd name="connsiteY12" fmla="*/ 3388 h 10000"/>
                <a:gd name="connsiteX13" fmla="*/ 9399 w 10000"/>
                <a:gd name="connsiteY13" fmla="*/ 3114 h 10000"/>
                <a:gd name="connsiteX14" fmla="*/ 10000 w 10000"/>
                <a:gd name="connsiteY14" fmla="*/ 2678 h 10000"/>
                <a:gd name="connsiteX15" fmla="*/ 9774 w 10000"/>
                <a:gd name="connsiteY15" fmla="*/ 2622 h 10000"/>
                <a:gd name="connsiteX16" fmla="*/ 9399 w 10000"/>
                <a:gd name="connsiteY16" fmla="*/ 2351 h 10000"/>
                <a:gd name="connsiteX17" fmla="*/ 9173 w 10000"/>
                <a:gd name="connsiteY17" fmla="*/ 1531 h 10000"/>
                <a:gd name="connsiteX18" fmla="*/ 9173 w 10000"/>
                <a:gd name="connsiteY18" fmla="*/ 1093 h 10000"/>
                <a:gd name="connsiteX19" fmla="*/ 9098 w 10000"/>
                <a:gd name="connsiteY19" fmla="*/ 546 h 10000"/>
                <a:gd name="connsiteX20" fmla="*/ 8873 w 10000"/>
                <a:gd name="connsiteY20" fmla="*/ 383 h 10000"/>
                <a:gd name="connsiteX21" fmla="*/ 8497 w 10000"/>
                <a:gd name="connsiteY21" fmla="*/ 164 h 10000"/>
                <a:gd name="connsiteX22" fmla="*/ 8272 w 10000"/>
                <a:gd name="connsiteY22" fmla="*/ 0 h 10000"/>
                <a:gd name="connsiteX23" fmla="*/ 7821 w 10000"/>
                <a:gd name="connsiteY23" fmla="*/ 219 h 10000"/>
                <a:gd name="connsiteX24" fmla="*/ 7370 w 10000"/>
                <a:gd name="connsiteY24" fmla="*/ 546 h 10000"/>
                <a:gd name="connsiteX25" fmla="*/ 6769 w 10000"/>
                <a:gd name="connsiteY25" fmla="*/ 546 h 10000"/>
                <a:gd name="connsiteX26" fmla="*/ 5717 w 10000"/>
                <a:gd name="connsiteY26" fmla="*/ 546 h 10000"/>
                <a:gd name="connsiteX27" fmla="*/ 5717 w 10000"/>
                <a:gd name="connsiteY27" fmla="*/ 493 h 10000"/>
                <a:gd name="connsiteX28" fmla="*/ 5643 w 10000"/>
                <a:gd name="connsiteY28" fmla="*/ 546 h 10000"/>
                <a:gd name="connsiteX29" fmla="*/ 1961 w 10000"/>
                <a:gd name="connsiteY29" fmla="*/ 546 h 10000"/>
                <a:gd name="connsiteX30" fmla="*/ 1961 w 10000"/>
                <a:gd name="connsiteY30" fmla="*/ 1694 h 10000"/>
                <a:gd name="connsiteX31" fmla="*/ 1285 w 10000"/>
                <a:gd name="connsiteY31" fmla="*/ 1694 h 10000"/>
                <a:gd name="connsiteX32" fmla="*/ 1285 w 10000"/>
                <a:gd name="connsiteY32" fmla="*/ 1913 h 10000"/>
                <a:gd name="connsiteX33" fmla="*/ 1285 w 10000"/>
                <a:gd name="connsiteY33" fmla="*/ 3878 h 10000"/>
                <a:gd name="connsiteX34" fmla="*/ 1135 w 10000"/>
                <a:gd name="connsiteY34" fmla="*/ 3988 h 10000"/>
                <a:gd name="connsiteX35" fmla="*/ 684 w 10000"/>
                <a:gd name="connsiteY35" fmla="*/ 4208 h 10000"/>
                <a:gd name="connsiteX36" fmla="*/ 609 w 10000"/>
                <a:gd name="connsiteY36" fmla="*/ 4482 h 10000"/>
                <a:gd name="connsiteX37" fmla="*/ 384 w 10000"/>
                <a:gd name="connsiteY37" fmla="*/ 4755 h 10000"/>
                <a:gd name="connsiteX38" fmla="*/ 234 w 10000"/>
                <a:gd name="connsiteY38" fmla="*/ 5192 h 10000"/>
                <a:gd name="connsiteX39" fmla="*/ 8 w 10000"/>
                <a:gd name="connsiteY39" fmla="*/ 5685 h 10000"/>
                <a:gd name="connsiteX40" fmla="*/ 384 w 10000"/>
                <a:gd name="connsiteY40" fmla="*/ 5738 h 10000"/>
                <a:gd name="connsiteX41" fmla="*/ 458 w 10000"/>
                <a:gd name="connsiteY41" fmla="*/ 6173 h 10000"/>
                <a:gd name="connsiteX42" fmla="*/ 684 w 10000"/>
                <a:gd name="connsiteY42" fmla="*/ 6611 h 10000"/>
                <a:gd name="connsiteX43" fmla="*/ 1059 w 10000"/>
                <a:gd name="connsiteY43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446 w 10000"/>
                <a:gd name="connsiteY4" fmla="*/ 7103 h 10000"/>
                <a:gd name="connsiteX5" fmla="*/ 7446 w 10000"/>
                <a:gd name="connsiteY5" fmla="*/ 6722 h 10000"/>
                <a:gd name="connsiteX6" fmla="*/ 7821 w 10000"/>
                <a:gd name="connsiteY6" fmla="*/ 6722 h 10000"/>
                <a:gd name="connsiteX7" fmla="*/ 8047 w 10000"/>
                <a:gd name="connsiteY7" fmla="*/ 6011 h 10000"/>
                <a:gd name="connsiteX8" fmla="*/ 8648 w 10000"/>
                <a:gd name="connsiteY8" fmla="*/ 5574 h 10000"/>
                <a:gd name="connsiteX9" fmla="*/ 8873 w 10000"/>
                <a:gd name="connsiteY9" fmla="*/ 4755 h 10000"/>
                <a:gd name="connsiteX10" fmla="*/ 8722 w 10000"/>
                <a:gd name="connsiteY10" fmla="*/ 4318 h 10000"/>
                <a:gd name="connsiteX11" fmla="*/ 9098 w 10000"/>
                <a:gd name="connsiteY11" fmla="*/ 3388 h 10000"/>
                <a:gd name="connsiteX12" fmla="*/ 9399 w 10000"/>
                <a:gd name="connsiteY12" fmla="*/ 3114 h 10000"/>
                <a:gd name="connsiteX13" fmla="*/ 10000 w 10000"/>
                <a:gd name="connsiteY13" fmla="*/ 2678 h 10000"/>
                <a:gd name="connsiteX14" fmla="*/ 9774 w 10000"/>
                <a:gd name="connsiteY14" fmla="*/ 2622 h 10000"/>
                <a:gd name="connsiteX15" fmla="*/ 9399 w 10000"/>
                <a:gd name="connsiteY15" fmla="*/ 2351 h 10000"/>
                <a:gd name="connsiteX16" fmla="*/ 9173 w 10000"/>
                <a:gd name="connsiteY16" fmla="*/ 1531 h 10000"/>
                <a:gd name="connsiteX17" fmla="*/ 9173 w 10000"/>
                <a:gd name="connsiteY17" fmla="*/ 1093 h 10000"/>
                <a:gd name="connsiteX18" fmla="*/ 9098 w 10000"/>
                <a:gd name="connsiteY18" fmla="*/ 546 h 10000"/>
                <a:gd name="connsiteX19" fmla="*/ 8873 w 10000"/>
                <a:gd name="connsiteY19" fmla="*/ 383 h 10000"/>
                <a:gd name="connsiteX20" fmla="*/ 8497 w 10000"/>
                <a:gd name="connsiteY20" fmla="*/ 164 h 10000"/>
                <a:gd name="connsiteX21" fmla="*/ 8272 w 10000"/>
                <a:gd name="connsiteY21" fmla="*/ 0 h 10000"/>
                <a:gd name="connsiteX22" fmla="*/ 7821 w 10000"/>
                <a:gd name="connsiteY22" fmla="*/ 219 h 10000"/>
                <a:gd name="connsiteX23" fmla="*/ 7370 w 10000"/>
                <a:gd name="connsiteY23" fmla="*/ 546 h 10000"/>
                <a:gd name="connsiteX24" fmla="*/ 6769 w 10000"/>
                <a:gd name="connsiteY24" fmla="*/ 546 h 10000"/>
                <a:gd name="connsiteX25" fmla="*/ 5717 w 10000"/>
                <a:gd name="connsiteY25" fmla="*/ 546 h 10000"/>
                <a:gd name="connsiteX26" fmla="*/ 5717 w 10000"/>
                <a:gd name="connsiteY26" fmla="*/ 493 h 10000"/>
                <a:gd name="connsiteX27" fmla="*/ 5643 w 10000"/>
                <a:gd name="connsiteY27" fmla="*/ 546 h 10000"/>
                <a:gd name="connsiteX28" fmla="*/ 1961 w 10000"/>
                <a:gd name="connsiteY28" fmla="*/ 546 h 10000"/>
                <a:gd name="connsiteX29" fmla="*/ 1961 w 10000"/>
                <a:gd name="connsiteY29" fmla="*/ 1694 h 10000"/>
                <a:gd name="connsiteX30" fmla="*/ 1285 w 10000"/>
                <a:gd name="connsiteY30" fmla="*/ 1694 h 10000"/>
                <a:gd name="connsiteX31" fmla="*/ 1285 w 10000"/>
                <a:gd name="connsiteY31" fmla="*/ 1913 h 10000"/>
                <a:gd name="connsiteX32" fmla="*/ 1285 w 10000"/>
                <a:gd name="connsiteY32" fmla="*/ 3878 h 10000"/>
                <a:gd name="connsiteX33" fmla="*/ 1135 w 10000"/>
                <a:gd name="connsiteY33" fmla="*/ 3988 h 10000"/>
                <a:gd name="connsiteX34" fmla="*/ 684 w 10000"/>
                <a:gd name="connsiteY34" fmla="*/ 4208 h 10000"/>
                <a:gd name="connsiteX35" fmla="*/ 609 w 10000"/>
                <a:gd name="connsiteY35" fmla="*/ 4482 h 10000"/>
                <a:gd name="connsiteX36" fmla="*/ 384 w 10000"/>
                <a:gd name="connsiteY36" fmla="*/ 4755 h 10000"/>
                <a:gd name="connsiteX37" fmla="*/ 234 w 10000"/>
                <a:gd name="connsiteY37" fmla="*/ 5192 h 10000"/>
                <a:gd name="connsiteX38" fmla="*/ 8 w 10000"/>
                <a:gd name="connsiteY38" fmla="*/ 5685 h 10000"/>
                <a:gd name="connsiteX39" fmla="*/ 384 w 10000"/>
                <a:gd name="connsiteY39" fmla="*/ 5738 h 10000"/>
                <a:gd name="connsiteX40" fmla="*/ 458 w 10000"/>
                <a:gd name="connsiteY40" fmla="*/ 6173 h 10000"/>
                <a:gd name="connsiteX41" fmla="*/ 684 w 10000"/>
                <a:gd name="connsiteY41" fmla="*/ 6611 h 10000"/>
                <a:gd name="connsiteX42" fmla="*/ 1059 w 10000"/>
                <a:gd name="connsiteY42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446 w 10000"/>
                <a:gd name="connsiteY3" fmla="*/ 7103 h 10000"/>
                <a:gd name="connsiteX4" fmla="*/ 7446 w 10000"/>
                <a:gd name="connsiteY4" fmla="*/ 6722 h 10000"/>
                <a:gd name="connsiteX5" fmla="*/ 7821 w 10000"/>
                <a:gd name="connsiteY5" fmla="*/ 6722 h 10000"/>
                <a:gd name="connsiteX6" fmla="*/ 8047 w 10000"/>
                <a:gd name="connsiteY6" fmla="*/ 6011 h 10000"/>
                <a:gd name="connsiteX7" fmla="*/ 8648 w 10000"/>
                <a:gd name="connsiteY7" fmla="*/ 5574 h 10000"/>
                <a:gd name="connsiteX8" fmla="*/ 8873 w 10000"/>
                <a:gd name="connsiteY8" fmla="*/ 4755 h 10000"/>
                <a:gd name="connsiteX9" fmla="*/ 8722 w 10000"/>
                <a:gd name="connsiteY9" fmla="*/ 4318 h 10000"/>
                <a:gd name="connsiteX10" fmla="*/ 9098 w 10000"/>
                <a:gd name="connsiteY10" fmla="*/ 3388 h 10000"/>
                <a:gd name="connsiteX11" fmla="*/ 9399 w 10000"/>
                <a:gd name="connsiteY11" fmla="*/ 3114 h 10000"/>
                <a:gd name="connsiteX12" fmla="*/ 10000 w 10000"/>
                <a:gd name="connsiteY12" fmla="*/ 2678 h 10000"/>
                <a:gd name="connsiteX13" fmla="*/ 9774 w 10000"/>
                <a:gd name="connsiteY13" fmla="*/ 2622 h 10000"/>
                <a:gd name="connsiteX14" fmla="*/ 9399 w 10000"/>
                <a:gd name="connsiteY14" fmla="*/ 2351 h 10000"/>
                <a:gd name="connsiteX15" fmla="*/ 9173 w 10000"/>
                <a:gd name="connsiteY15" fmla="*/ 1531 h 10000"/>
                <a:gd name="connsiteX16" fmla="*/ 9173 w 10000"/>
                <a:gd name="connsiteY16" fmla="*/ 1093 h 10000"/>
                <a:gd name="connsiteX17" fmla="*/ 9098 w 10000"/>
                <a:gd name="connsiteY17" fmla="*/ 546 h 10000"/>
                <a:gd name="connsiteX18" fmla="*/ 8873 w 10000"/>
                <a:gd name="connsiteY18" fmla="*/ 383 h 10000"/>
                <a:gd name="connsiteX19" fmla="*/ 8497 w 10000"/>
                <a:gd name="connsiteY19" fmla="*/ 164 h 10000"/>
                <a:gd name="connsiteX20" fmla="*/ 8272 w 10000"/>
                <a:gd name="connsiteY20" fmla="*/ 0 h 10000"/>
                <a:gd name="connsiteX21" fmla="*/ 7821 w 10000"/>
                <a:gd name="connsiteY21" fmla="*/ 219 h 10000"/>
                <a:gd name="connsiteX22" fmla="*/ 7370 w 10000"/>
                <a:gd name="connsiteY22" fmla="*/ 546 h 10000"/>
                <a:gd name="connsiteX23" fmla="*/ 6769 w 10000"/>
                <a:gd name="connsiteY23" fmla="*/ 546 h 10000"/>
                <a:gd name="connsiteX24" fmla="*/ 5717 w 10000"/>
                <a:gd name="connsiteY24" fmla="*/ 546 h 10000"/>
                <a:gd name="connsiteX25" fmla="*/ 5717 w 10000"/>
                <a:gd name="connsiteY25" fmla="*/ 493 h 10000"/>
                <a:gd name="connsiteX26" fmla="*/ 5643 w 10000"/>
                <a:gd name="connsiteY26" fmla="*/ 546 h 10000"/>
                <a:gd name="connsiteX27" fmla="*/ 1961 w 10000"/>
                <a:gd name="connsiteY27" fmla="*/ 546 h 10000"/>
                <a:gd name="connsiteX28" fmla="*/ 1961 w 10000"/>
                <a:gd name="connsiteY28" fmla="*/ 1694 h 10000"/>
                <a:gd name="connsiteX29" fmla="*/ 1285 w 10000"/>
                <a:gd name="connsiteY29" fmla="*/ 1694 h 10000"/>
                <a:gd name="connsiteX30" fmla="*/ 1285 w 10000"/>
                <a:gd name="connsiteY30" fmla="*/ 1913 h 10000"/>
                <a:gd name="connsiteX31" fmla="*/ 1285 w 10000"/>
                <a:gd name="connsiteY31" fmla="*/ 3878 h 10000"/>
                <a:gd name="connsiteX32" fmla="*/ 1135 w 10000"/>
                <a:gd name="connsiteY32" fmla="*/ 3988 h 10000"/>
                <a:gd name="connsiteX33" fmla="*/ 684 w 10000"/>
                <a:gd name="connsiteY33" fmla="*/ 4208 h 10000"/>
                <a:gd name="connsiteX34" fmla="*/ 609 w 10000"/>
                <a:gd name="connsiteY34" fmla="*/ 4482 h 10000"/>
                <a:gd name="connsiteX35" fmla="*/ 384 w 10000"/>
                <a:gd name="connsiteY35" fmla="*/ 4755 h 10000"/>
                <a:gd name="connsiteX36" fmla="*/ 234 w 10000"/>
                <a:gd name="connsiteY36" fmla="*/ 5192 h 10000"/>
                <a:gd name="connsiteX37" fmla="*/ 8 w 10000"/>
                <a:gd name="connsiteY37" fmla="*/ 5685 h 10000"/>
                <a:gd name="connsiteX38" fmla="*/ 384 w 10000"/>
                <a:gd name="connsiteY38" fmla="*/ 5738 h 10000"/>
                <a:gd name="connsiteX39" fmla="*/ 458 w 10000"/>
                <a:gd name="connsiteY39" fmla="*/ 6173 h 10000"/>
                <a:gd name="connsiteX40" fmla="*/ 684 w 10000"/>
                <a:gd name="connsiteY40" fmla="*/ 6611 h 10000"/>
                <a:gd name="connsiteX41" fmla="*/ 1059 w 10000"/>
                <a:gd name="connsiteY41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7446 w 10000"/>
                <a:gd name="connsiteY2" fmla="*/ 7103 h 10000"/>
                <a:gd name="connsiteX3" fmla="*/ 7446 w 10000"/>
                <a:gd name="connsiteY3" fmla="*/ 6722 h 10000"/>
                <a:gd name="connsiteX4" fmla="*/ 7821 w 10000"/>
                <a:gd name="connsiteY4" fmla="*/ 6722 h 10000"/>
                <a:gd name="connsiteX5" fmla="*/ 8047 w 10000"/>
                <a:gd name="connsiteY5" fmla="*/ 6011 h 10000"/>
                <a:gd name="connsiteX6" fmla="*/ 8648 w 10000"/>
                <a:gd name="connsiteY6" fmla="*/ 5574 h 10000"/>
                <a:gd name="connsiteX7" fmla="*/ 8873 w 10000"/>
                <a:gd name="connsiteY7" fmla="*/ 4755 h 10000"/>
                <a:gd name="connsiteX8" fmla="*/ 8722 w 10000"/>
                <a:gd name="connsiteY8" fmla="*/ 4318 h 10000"/>
                <a:gd name="connsiteX9" fmla="*/ 9098 w 10000"/>
                <a:gd name="connsiteY9" fmla="*/ 3388 h 10000"/>
                <a:gd name="connsiteX10" fmla="*/ 9399 w 10000"/>
                <a:gd name="connsiteY10" fmla="*/ 3114 h 10000"/>
                <a:gd name="connsiteX11" fmla="*/ 10000 w 10000"/>
                <a:gd name="connsiteY11" fmla="*/ 2678 h 10000"/>
                <a:gd name="connsiteX12" fmla="*/ 9774 w 10000"/>
                <a:gd name="connsiteY12" fmla="*/ 2622 h 10000"/>
                <a:gd name="connsiteX13" fmla="*/ 9399 w 10000"/>
                <a:gd name="connsiteY13" fmla="*/ 2351 h 10000"/>
                <a:gd name="connsiteX14" fmla="*/ 9173 w 10000"/>
                <a:gd name="connsiteY14" fmla="*/ 1531 h 10000"/>
                <a:gd name="connsiteX15" fmla="*/ 9173 w 10000"/>
                <a:gd name="connsiteY15" fmla="*/ 1093 h 10000"/>
                <a:gd name="connsiteX16" fmla="*/ 9098 w 10000"/>
                <a:gd name="connsiteY16" fmla="*/ 546 h 10000"/>
                <a:gd name="connsiteX17" fmla="*/ 8873 w 10000"/>
                <a:gd name="connsiteY17" fmla="*/ 383 h 10000"/>
                <a:gd name="connsiteX18" fmla="*/ 8497 w 10000"/>
                <a:gd name="connsiteY18" fmla="*/ 164 h 10000"/>
                <a:gd name="connsiteX19" fmla="*/ 8272 w 10000"/>
                <a:gd name="connsiteY19" fmla="*/ 0 h 10000"/>
                <a:gd name="connsiteX20" fmla="*/ 7821 w 10000"/>
                <a:gd name="connsiteY20" fmla="*/ 219 h 10000"/>
                <a:gd name="connsiteX21" fmla="*/ 7370 w 10000"/>
                <a:gd name="connsiteY21" fmla="*/ 546 h 10000"/>
                <a:gd name="connsiteX22" fmla="*/ 6769 w 10000"/>
                <a:gd name="connsiteY22" fmla="*/ 546 h 10000"/>
                <a:gd name="connsiteX23" fmla="*/ 5717 w 10000"/>
                <a:gd name="connsiteY23" fmla="*/ 546 h 10000"/>
                <a:gd name="connsiteX24" fmla="*/ 5717 w 10000"/>
                <a:gd name="connsiteY24" fmla="*/ 493 h 10000"/>
                <a:gd name="connsiteX25" fmla="*/ 5643 w 10000"/>
                <a:gd name="connsiteY25" fmla="*/ 546 h 10000"/>
                <a:gd name="connsiteX26" fmla="*/ 1961 w 10000"/>
                <a:gd name="connsiteY26" fmla="*/ 546 h 10000"/>
                <a:gd name="connsiteX27" fmla="*/ 1961 w 10000"/>
                <a:gd name="connsiteY27" fmla="*/ 1694 h 10000"/>
                <a:gd name="connsiteX28" fmla="*/ 1285 w 10000"/>
                <a:gd name="connsiteY28" fmla="*/ 1694 h 10000"/>
                <a:gd name="connsiteX29" fmla="*/ 1285 w 10000"/>
                <a:gd name="connsiteY29" fmla="*/ 1913 h 10000"/>
                <a:gd name="connsiteX30" fmla="*/ 1285 w 10000"/>
                <a:gd name="connsiteY30" fmla="*/ 3878 h 10000"/>
                <a:gd name="connsiteX31" fmla="*/ 1135 w 10000"/>
                <a:gd name="connsiteY31" fmla="*/ 3988 h 10000"/>
                <a:gd name="connsiteX32" fmla="*/ 684 w 10000"/>
                <a:gd name="connsiteY32" fmla="*/ 4208 h 10000"/>
                <a:gd name="connsiteX33" fmla="*/ 609 w 10000"/>
                <a:gd name="connsiteY33" fmla="*/ 4482 h 10000"/>
                <a:gd name="connsiteX34" fmla="*/ 384 w 10000"/>
                <a:gd name="connsiteY34" fmla="*/ 4755 h 10000"/>
                <a:gd name="connsiteX35" fmla="*/ 234 w 10000"/>
                <a:gd name="connsiteY35" fmla="*/ 5192 h 10000"/>
                <a:gd name="connsiteX36" fmla="*/ 8 w 10000"/>
                <a:gd name="connsiteY36" fmla="*/ 5685 h 10000"/>
                <a:gd name="connsiteX37" fmla="*/ 384 w 10000"/>
                <a:gd name="connsiteY37" fmla="*/ 5738 h 10000"/>
                <a:gd name="connsiteX38" fmla="*/ 458 w 10000"/>
                <a:gd name="connsiteY38" fmla="*/ 6173 h 10000"/>
                <a:gd name="connsiteX39" fmla="*/ 684 w 10000"/>
                <a:gd name="connsiteY39" fmla="*/ 6611 h 10000"/>
                <a:gd name="connsiteX40" fmla="*/ 1059 w 10000"/>
                <a:gd name="connsiteY40" fmla="*/ 7487 h 10000"/>
                <a:gd name="connsiteX0" fmla="*/ 8197 w 10000"/>
                <a:gd name="connsiteY0" fmla="*/ 9837 h 9837"/>
                <a:gd name="connsiteX1" fmla="*/ 7446 w 10000"/>
                <a:gd name="connsiteY1" fmla="*/ 7103 h 9837"/>
                <a:gd name="connsiteX2" fmla="*/ 7446 w 10000"/>
                <a:gd name="connsiteY2" fmla="*/ 6722 h 9837"/>
                <a:gd name="connsiteX3" fmla="*/ 7821 w 10000"/>
                <a:gd name="connsiteY3" fmla="*/ 6722 h 9837"/>
                <a:gd name="connsiteX4" fmla="*/ 8047 w 10000"/>
                <a:gd name="connsiteY4" fmla="*/ 6011 h 9837"/>
                <a:gd name="connsiteX5" fmla="*/ 8648 w 10000"/>
                <a:gd name="connsiteY5" fmla="*/ 5574 h 9837"/>
                <a:gd name="connsiteX6" fmla="*/ 8873 w 10000"/>
                <a:gd name="connsiteY6" fmla="*/ 4755 h 9837"/>
                <a:gd name="connsiteX7" fmla="*/ 8722 w 10000"/>
                <a:gd name="connsiteY7" fmla="*/ 4318 h 9837"/>
                <a:gd name="connsiteX8" fmla="*/ 9098 w 10000"/>
                <a:gd name="connsiteY8" fmla="*/ 3388 h 9837"/>
                <a:gd name="connsiteX9" fmla="*/ 9399 w 10000"/>
                <a:gd name="connsiteY9" fmla="*/ 3114 h 9837"/>
                <a:gd name="connsiteX10" fmla="*/ 10000 w 10000"/>
                <a:gd name="connsiteY10" fmla="*/ 2678 h 9837"/>
                <a:gd name="connsiteX11" fmla="*/ 9774 w 10000"/>
                <a:gd name="connsiteY11" fmla="*/ 2622 h 9837"/>
                <a:gd name="connsiteX12" fmla="*/ 9399 w 10000"/>
                <a:gd name="connsiteY12" fmla="*/ 2351 h 9837"/>
                <a:gd name="connsiteX13" fmla="*/ 9173 w 10000"/>
                <a:gd name="connsiteY13" fmla="*/ 1531 h 9837"/>
                <a:gd name="connsiteX14" fmla="*/ 9173 w 10000"/>
                <a:gd name="connsiteY14" fmla="*/ 1093 h 9837"/>
                <a:gd name="connsiteX15" fmla="*/ 9098 w 10000"/>
                <a:gd name="connsiteY15" fmla="*/ 546 h 9837"/>
                <a:gd name="connsiteX16" fmla="*/ 8873 w 10000"/>
                <a:gd name="connsiteY16" fmla="*/ 383 h 9837"/>
                <a:gd name="connsiteX17" fmla="*/ 8497 w 10000"/>
                <a:gd name="connsiteY17" fmla="*/ 164 h 9837"/>
                <a:gd name="connsiteX18" fmla="*/ 8272 w 10000"/>
                <a:gd name="connsiteY18" fmla="*/ 0 h 9837"/>
                <a:gd name="connsiteX19" fmla="*/ 7821 w 10000"/>
                <a:gd name="connsiteY19" fmla="*/ 219 h 9837"/>
                <a:gd name="connsiteX20" fmla="*/ 7370 w 10000"/>
                <a:gd name="connsiteY20" fmla="*/ 546 h 9837"/>
                <a:gd name="connsiteX21" fmla="*/ 6769 w 10000"/>
                <a:gd name="connsiteY21" fmla="*/ 546 h 9837"/>
                <a:gd name="connsiteX22" fmla="*/ 5717 w 10000"/>
                <a:gd name="connsiteY22" fmla="*/ 546 h 9837"/>
                <a:gd name="connsiteX23" fmla="*/ 5717 w 10000"/>
                <a:gd name="connsiteY23" fmla="*/ 493 h 9837"/>
                <a:gd name="connsiteX24" fmla="*/ 5643 w 10000"/>
                <a:gd name="connsiteY24" fmla="*/ 546 h 9837"/>
                <a:gd name="connsiteX25" fmla="*/ 1961 w 10000"/>
                <a:gd name="connsiteY25" fmla="*/ 546 h 9837"/>
                <a:gd name="connsiteX26" fmla="*/ 1961 w 10000"/>
                <a:gd name="connsiteY26" fmla="*/ 1694 h 9837"/>
                <a:gd name="connsiteX27" fmla="*/ 1285 w 10000"/>
                <a:gd name="connsiteY27" fmla="*/ 1694 h 9837"/>
                <a:gd name="connsiteX28" fmla="*/ 1285 w 10000"/>
                <a:gd name="connsiteY28" fmla="*/ 1913 h 9837"/>
                <a:gd name="connsiteX29" fmla="*/ 1285 w 10000"/>
                <a:gd name="connsiteY29" fmla="*/ 3878 h 9837"/>
                <a:gd name="connsiteX30" fmla="*/ 1135 w 10000"/>
                <a:gd name="connsiteY30" fmla="*/ 3988 h 9837"/>
                <a:gd name="connsiteX31" fmla="*/ 684 w 10000"/>
                <a:gd name="connsiteY31" fmla="*/ 4208 h 9837"/>
                <a:gd name="connsiteX32" fmla="*/ 609 w 10000"/>
                <a:gd name="connsiteY32" fmla="*/ 4482 h 9837"/>
                <a:gd name="connsiteX33" fmla="*/ 384 w 10000"/>
                <a:gd name="connsiteY33" fmla="*/ 4755 h 9837"/>
                <a:gd name="connsiteX34" fmla="*/ 234 w 10000"/>
                <a:gd name="connsiteY34" fmla="*/ 5192 h 9837"/>
                <a:gd name="connsiteX35" fmla="*/ 8 w 10000"/>
                <a:gd name="connsiteY35" fmla="*/ 5685 h 9837"/>
                <a:gd name="connsiteX36" fmla="*/ 384 w 10000"/>
                <a:gd name="connsiteY36" fmla="*/ 5738 h 9837"/>
                <a:gd name="connsiteX37" fmla="*/ 458 w 10000"/>
                <a:gd name="connsiteY37" fmla="*/ 6173 h 9837"/>
                <a:gd name="connsiteX38" fmla="*/ 684 w 10000"/>
                <a:gd name="connsiteY38" fmla="*/ 6611 h 9837"/>
                <a:gd name="connsiteX39" fmla="*/ 1059 w 10000"/>
                <a:gd name="connsiteY39" fmla="*/ 7487 h 9837"/>
                <a:gd name="connsiteX0" fmla="*/ 7446 w 10000"/>
                <a:gd name="connsiteY0" fmla="*/ 7221 h 7611"/>
                <a:gd name="connsiteX1" fmla="*/ 7446 w 10000"/>
                <a:gd name="connsiteY1" fmla="*/ 6833 h 7611"/>
                <a:gd name="connsiteX2" fmla="*/ 7821 w 10000"/>
                <a:gd name="connsiteY2" fmla="*/ 6833 h 7611"/>
                <a:gd name="connsiteX3" fmla="*/ 8047 w 10000"/>
                <a:gd name="connsiteY3" fmla="*/ 6111 h 7611"/>
                <a:gd name="connsiteX4" fmla="*/ 8648 w 10000"/>
                <a:gd name="connsiteY4" fmla="*/ 5666 h 7611"/>
                <a:gd name="connsiteX5" fmla="*/ 8873 w 10000"/>
                <a:gd name="connsiteY5" fmla="*/ 4834 h 7611"/>
                <a:gd name="connsiteX6" fmla="*/ 8722 w 10000"/>
                <a:gd name="connsiteY6" fmla="*/ 4390 h 7611"/>
                <a:gd name="connsiteX7" fmla="*/ 9098 w 10000"/>
                <a:gd name="connsiteY7" fmla="*/ 3444 h 7611"/>
                <a:gd name="connsiteX8" fmla="*/ 9399 w 10000"/>
                <a:gd name="connsiteY8" fmla="*/ 3166 h 7611"/>
                <a:gd name="connsiteX9" fmla="*/ 10000 w 10000"/>
                <a:gd name="connsiteY9" fmla="*/ 2722 h 7611"/>
                <a:gd name="connsiteX10" fmla="*/ 9774 w 10000"/>
                <a:gd name="connsiteY10" fmla="*/ 2665 h 7611"/>
                <a:gd name="connsiteX11" fmla="*/ 9399 w 10000"/>
                <a:gd name="connsiteY11" fmla="*/ 2390 h 7611"/>
                <a:gd name="connsiteX12" fmla="*/ 9173 w 10000"/>
                <a:gd name="connsiteY12" fmla="*/ 1556 h 7611"/>
                <a:gd name="connsiteX13" fmla="*/ 9173 w 10000"/>
                <a:gd name="connsiteY13" fmla="*/ 1111 h 7611"/>
                <a:gd name="connsiteX14" fmla="*/ 9098 w 10000"/>
                <a:gd name="connsiteY14" fmla="*/ 555 h 7611"/>
                <a:gd name="connsiteX15" fmla="*/ 8873 w 10000"/>
                <a:gd name="connsiteY15" fmla="*/ 389 h 7611"/>
                <a:gd name="connsiteX16" fmla="*/ 8497 w 10000"/>
                <a:gd name="connsiteY16" fmla="*/ 167 h 7611"/>
                <a:gd name="connsiteX17" fmla="*/ 8272 w 10000"/>
                <a:gd name="connsiteY17" fmla="*/ 0 h 7611"/>
                <a:gd name="connsiteX18" fmla="*/ 7821 w 10000"/>
                <a:gd name="connsiteY18" fmla="*/ 223 h 7611"/>
                <a:gd name="connsiteX19" fmla="*/ 7370 w 10000"/>
                <a:gd name="connsiteY19" fmla="*/ 555 h 7611"/>
                <a:gd name="connsiteX20" fmla="*/ 6769 w 10000"/>
                <a:gd name="connsiteY20" fmla="*/ 555 h 7611"/>
                <a:gd name="connsiteX21" fmla="*/ 5717 w 10000"/>
                <a:gd name="connsiteY21" fmla="*/ 555 h 7611"/>
                <a:gd name="connsiteX22" fmla="*/ 5717 w 10000"/>
                <a:gd name="connsiteY22" fmla="*/ 501 h 7611"/>
                <a:gd name="connsiteX23" fmla="*/ 5643 w 10000"/>
                <a:gd name="connsiteY23" fmla="*/ 555 h 7611"/>
                <a:gd name="connsiteX24" fmla="*/ 1961 w 10000"/>
                <a:gd name="connsiteY24" fmla="*/ 555 h 7611"/>
                <a:gd name="connsiteX25" fmla="*/ 1961 w 10000"/>
                <a:gd name="connsiteY25" fmla="*/ 1722 h 7611"/>
                <a:gd name="connsiteX26" fmla="*/ 1285 w 10000"/>
                <a:gd name="connsiteY26" fmla="*/ 1722 h 7611"/>
                <a:gd name="connsiteX27" fmla="*/ 1285 w 10000"/>
                <a:gd name="connsiteY27" fmla="*/ 1945 h 7611"/>
                <a:gd name="connsiteX28" fmla="*/ 1285 w 10000"/>
                <a:gd name="connsiteY28" fmla="*/ 3942 h 7611"/>
                <a:gd name="connsiteX29" fmla="*/ 1135 w 10000"/>
                <a:gd name="connsiteY29" fmla="*/ 4054 h 7611"/>
                <a:gd name="connsiteX30" fmla="*/ 684 w 10000"/>
                <a:gd name="connsiteY30" fmla="*/ 4278 h 7611"/>
                <a:gd name="connsiteX31" fmla="*/ 609 w 10000"/>
                <a:gd name="connsiteY31" fmla="*/ 4556 h 7611"/>
                <a:gd name="connsiteX32" fmla="*/ 384 w 10000"/>
                <a:gd name="connsiteY32" fmla="*/ 4834 h 7611"/>
                <a:gd name="connsiteX33" fmla="*/ 234 w 10000"/>
                <a:gd name="connsiteY33" fmla="*/ 5278 h 7611"/>
                <a:gd name="connsiteX34" fmla="*/ 8 w 10000"/>
                <a:gd name="connsiteY34" fmla="*/ 5779 h 7611"/>
                <a:gd name="connsiteX35" fmla="*/ 384 w 10000"/>
                <a:gd name="connsiteY35" fmla="*/ 5833 h 7611"/>
                <a:gd name="connsiteX36" fmla="*/ 458 w 10000"/>
                <a:gd name="connsiteY36" fmla="*/ 6275 h 7611"/>
                <a:gd name="connsiteX37" fmla="*/ 684 w 10000"/>
                <a:gd name="connsiteY37" fmla="*/ 6721 h 7611"/>
                <a:gd name="connsiteX38" fmla="*/ 1059 w 10000"/>
                <a:gd name="connsiteY38" fmla="*/ 7611 h 7611"/>
                <a:gd name="connsiteX0" fmla="*/ 7446 w 10000"/>
                <a:gd name="connsiteY0" fmla="*/ 9488 h 10068"/>
                <a:gd name="connsiteX1" fmla="*/ 7446 w 10000"/>
                <a:gd name="connsiteY1" fmla="*/ 8978 h 10068"/>
                <a:gd name="connsiteX2" fmla="*/ 7821 w 10000"/>
                <a:gd name="connsiteY2" fmla="*/ 8978 h 10068"/>
                <a:gd name="connsiteX3" fmla="*/ 8047 w 10000"/>
                <a:gd name="connsiteY3" fmla="*/ 8029 h 10068"/>
                <a:gd name="connsiteX4" fmla="*/ 8648 w 10000"/>
                <a:gd name="connsiteY4" fmla="*/ 7444 h 10068"/>
                <a:gd name="connsiteX5" fmla="*/ 8873 w 10000"/>
                <a:gd name="connsiteY5" fmla="*/ 6351 h 10068"/>
                <a:gd name="connsiteX6" fmla="*/ 8722 w 10000"/>
                <a:gd name="connsiteY6" fmla="*/ 5768 h 10068"/>
                <a:gd name="connsiteX7" fmla="*/ 9098 w 10000"/>
                <a:gd name="connsiteY7" fmla="*/ 4525 h 10068"/>
                <a:gd name="connsiteX8" fmla="*/ 9399 w 10000"/>
                <a:gd name="connsiteY8" fmla="*/ 4160 h 10068"/>
                <a:gd name="connsiteX9" fmla="*/ 10000 w 10000"/>
                <a:gd name="connsiteY9" fmla="*/ 3576 h 10068"/>
                <a:gd name="connsiteX10" fmla="*/ 9774 w 10000"/>
                <a:gd name="connsiteY10" fmla="*/ 3502 h 10068"/>
                <a:gd name="connsiteX11" fmla="*/ 9399 w 10000"/>
                <a:gd name="connsiteY11" fmla="*/ 3140 h 10068"/>
                <a:gd name="connsiteX12" fmla="*/ 9173 w 10000"/>
                <a:gd name="connsiteY12" fmla="*/ 2044 h 10068"/>
                <a:gd name="connsiteX13" fmla="*/ 9173 w 10000"/>
                <a:gd name="connsiteY13" fmla="*/ 1460 h 10068"/>
                <a:gd name="connsiteX14" fmla="*/ 9098 w 10000"/>
                <a:gd name="connsiteY14" fmla="*/ 729 h 10068"/>
                <a:gd name="connsiteX15" fmla="*/ 8873 w 10000"/>
                <a:gd name="connsiteY15" fmla="*/ 511 h 10068"/>
                <a:gd name="connsiteX16" fmla="*/ 8497 w 10000"/>
                <a:gd name="connsiteY16" fmla="*/ 219 h 10068"/>
                <a:gd name="connsiteX17" fmla="*/ 8272 w 10000"/>
                <a:gd name="connsiteY17" fmla="*/ 0 h 10068"/>
                <a:gd name="connsiteX18" fmla="*/ 7821 w 10000"/>
                <a:gd name="connsiteY18" fmla="*/ 293 h 10068"/>
                <a:gd name="connsiteX19" fmla="*/ 7370 w 10000"/>
                <a:gd name="connsiteY19" fmla="*/ 729 h 10068"/>
                <a:gd name="connsiteX20" fmla="*/ 6769 w 10000"/>
                <a:gd name="connsiteY20" fmla="*/ 729 h 10068"/>
                <a:gd name="connsiteX21" fmla="*/ 5717 w 10000"/>
                <a:gd name="connsiteY21" fmla="*/ 729 h 10068"/>
                <a:gd name="connsiteX22" fmla="*/ 5717 w 10000"/>
                <a:gd name="connsiteY22" fmla="*/ 658 h 10068"/>
                <a:gd name="connsiteX23" fmla="*/ 5643 w 10000"/>
                <a:gd name="connsiteY23" fmla="*/ 729 h 10068"/>
                <a:gd name="connsiteX24" fmla="*/ 1961 w 10000"/>
                <a:gd name="connsiteY24" fmla="*/ 729 h 10068"/>
                <a:gd name="connsiteX25" fmla="*/ 1961 w 10000"/>
                <a:gd name="connsiteY25" fmla="*/ 2263 h 10068"/>
                <a:gd name="connsiteX26" fmla="*/ 1285 w 10000"/>
                <a:gd name="connsiteY26" fmla="*/ 2263 h 10068"/>
                <a:gd name="connsiteX27" fmla="*/ 1285 w 10000"/>
                <a:gd name="connsiteY27" fmla="*/ 2556 h 10068"/>
                <a:gd name="connsiteX28" fmla="*/ 1285 w 10000"/>
                <a:gd name="connsiteY28" fmla="*/ 5179 h 10068"/>
                <a:gd name="connsiteX29" fmla="*/ 1135 w 10000"/>
                <a:gd name="connsiteY29" fmla="*/ 5327 h 10068"/>
                <a:gd name="connsiteX30" fmla="*/ 684 w 10000"/>
                <a:gd name="connsiteY30" fmla="*/ 5621 h 10068"/>
                <a:gd name="connsiteX31" fmla="*/ 609 w 10000"/>
                <a:gd name="connsiteY31" fmla="*/ 5986 h 10068"/>
                <a:gd name="connsiteX32" fmla="*/ 384 w 10000"/>
                <a:gd name="connsiteY32" fmla="*/ 6351 h 10068"/>
                <a:gd name="connsiteX33" fmla="*/ 234 w 10000"/>
                <a:gd name="connsiteY33" fmla="*/ 6935 h 10068"/>
                <a:gd name="connsiteX34" fmla="*/ 8 w 10000"/>
                <a:gd name="connsiteY34" fmla="*/ 7593 h 10068"/>
                <a:gd name="connsiteX35" fmla="*/ 384 w 10000"/>
                <a:gd name="connsiteY35" fmla="*/ 7664 h 10068"/>
                <a:gd name="connsiteX36" fmla="*/ 458 w 10000"/>
                <a:gd name="connsiteY36" fmla="*/ 8245 h 10068"/>
                <a:gd name="connsiteX37" fmla="*/ 684 w 10000"/>
                <a:gd name="connsiteY37" fmla="*/ 8831 h 10068"/>
                <a:gd name="connsiteX38" fmla="*/ 1059 w 10000"/>
                <a:gd name="connsiteY38" fmla="*/ 10000 h 10068"/>
                <a:gd name="connsiteX39" fmla="*/ 1058 w 10000"/>
                <a:gd name="connsiteY39" fmla="*/ 9928 h 10068"/>
                <a:gd name="connsiteX0" fmla="*/ 7446 w 10000"/>
                <a:gd name="connsiteY0" fmla="*/ 9488 h 10035"/>
                <a:gd name="connsiteX1" fmla="*/ 7446 w 10000"/>
                <a:gd name="connsiteY1" fmla="*/ 8978 h 10035"/>
                <a:gd name="connsiteX2" fmla="*/ 7821 w 10000"/>
                <a:gd name="connsiteY2" fmla="*/ 8978 h 10035"/>
                <a:gd name="connsiteX3" fmla="*/ 8047 w 10000"/>
                <a:gd name="connsiteY3" fmla="*/ 8029 h 10035"/>
                <a:gd name="connsiteX4" fmla="*/ 8648 w 10000"/>
                <a:gd name="connsiteY4" fmla="*/ 7444 h 10035"/>
                <a:gd name="connsiteX5" fmla="*/ 8873 w 10000"/>
                <a:gd name="connsiteY5" fmla="*/ 6351 h 10035"/>
                <a:gd name="connsiteX6" fmla="*/ 8722 w 10000"/>
                <a:gd name="connsiteY6" fmla="*/ 5768 h 10035"/>
                <a:gd name="connsiteX7" fmla="*/ 9098 w 10000"/>
                <a:gd name="connsiteY7" fmla="*/ 4525 h 10035"/>
                <a:gd name="connsiteX8" fmla="*/ 9399 w 10000"/>
                <a:gd name="connsiteY8" fmla="*/ 4160 h 10035"/>
                <a:gd name="connsiteX9" fmla="*/ 10000 w 10000"/>
                <a:gd name="connsiteY9" fmla="*/ 3576 h 10035"/>
                <a:gd name="connsiteX10" fmla="*/ 9774 w 10000"/>
                <a:gd name="connsiteY10" fmla="*/ 3502 h 10035"/>
                <a:gd name="connsiteX11" fmla="*/ 9399 w 10000"/>
                <a:gd name="connsiteY11" fmla="*/ 3140 h 10035"/>
                <a:gd name="connsiteX12" fmla="*/ 9173 w 10000"/>
                <a:gd name="connsiteY12" fmla="*/ 2044 h 10035"/>
                <a:gd name="connsiteX13" fmla="*/ 9173 w 10000"/>
                <a:gd name="connsiteY13" fmla="*/ 1460 h 10035"/>
                <a:gd name="connsiteX14" fmla="*/ 9098 w 10000"/>
                <a:gd name="connsiteY14" fmla="*/ 729 h 10035"/>
                <a:gd name="connsiteX15" fmla="*/ 8873 w 10000"/>
                <a:gd name="connsiteY15" fmla="*/ 511 h 10035"/>
                <a:gd name="connsiteX16" fmla="*/ 8497 w 10000"/>
                <a:gd name="connsiteY16" fmla="*/ 219 h 10035"/>
                <a:gd name="connsiteX17" fmla="*/ 8272 w 10000"/>
                <a:gd name="connsiteY17" fmla="*/ 0 h 10035"/>
                <a:gd name="connsiteX18" fmla="*/ 7821 w 10000"/>
                <a:gd name="connsiteY18" fmla="*/ 293 h 10035"/>
                <a:gd name="connsiteX19" fmla="*/ 7370 w 10000"/>
                <a:gd name="connsiteY19" fmla="*/ 729 h 10035"/>
                <a:gd name="connsiteX20" fmla="*/ 6769 w 10000"/>
                <a:gd name="connsiteY20" fmla="*/ 729 h 10035"/>
                <a:gd name="connsiteX21" fmla="*/ 5717 w 10000"/>
                <a:gd name="connsiteY21" fmla="*/ 729 h 10035"/>
                <a:gd name="connsiteX22" fmla="*/ 5717 w 10000"/>
                <a:gd name="connsiteY22" fmla="*/ 658 h 10035"/>
                <a:gd name="connsiteX23" fmla="*/ 5643 w 10000"/>
                <a:gd name="connsiteY23" fmla="*/ 729 h 10035"/>
                <a:gd name="connsiteX24" fmla="*/ 1961 w 10000"/>
                <a:gd name="connsiteY24" fmla="*/ 729 h 10035"/>
                <a:gd name="connsiteX25" fmla="*/ 1961 w 10000"/>
                <a:gd name="connsiteY25" fmla="*/ 2263 h 10035"/>
                <a:gd name="connsiteX26" fmla="*/ 1285 w 10000"/>
                <a:gd name="connsiteY26" fmla="*/ 2263 h 10035"/>
                <a:gd name="connsiteX27" fmla="*/ 1285 w 10000"/>
                <a:gd name="connsiteY27" fmla="*/ 2556 h 10035"/>
                <a:gd name="connsiteX28" fmla="*/ 1285 w 10000"/>
                <a:gd name="connsiteY28" fmla="*/ 5179 h 10035"/>
                <a:gd name="connsiteX29" fmla="*/ 1135 w 10000"/>
                <a:gd name="connsiteY29" fmla="*/ 5327 h 10035"/>
                <a:gd name="connsiteX30" fmla="*/ 684 w 10000"/>
                <a:gd name="connsiteY30" fmla="*/ 5621 h 10035"/>
                <a:gd name="connsiteX31" fmla="*/ 609 w 10000"/>
                <a:gd name="connsiteY31" fmla="*/ 5986 h 10035"/>
                <a:gd name="connsiteX32" fmla="*/ 384 w 10000"/>
                <a:gd name="connsiteY32" fmla="*/ 6351 h 10035"/>
                <a:gd name="connsiteX33" fmla="*/ 234 w 10000"/>
                <a:gd name="connsiteY33" fmla="*/ 6935 h 10035"/>
                <a:gd name="connsiteX34" fmla="*/ 8 w 10000"/>
                <a:gd name="connsiteY34" fmla="*/ 7593 h 10035"/>
                <a:gd name="connsiteX35" fmla="*/ 384 w 10000"/>
                <a:gd name="connsiteY35" fmla="*/ 7664 h 10035"/>
                <a:gd name="connsiteX36" fmla="*/ 458 w 10000"/>
                <a:gd name="connsiteY36" fmla="*/ 8245 h 10035"/>
                <a:gd name="connsiteX37" fmla="*/ 684 w 10000"/>
                <a:gd name="connsiteY37" fmla="*/ 8831 h 10035"/>
                <a:gd name="connsiteX38" fmla="*/ 1059 w 10000"/>
                <a:gd name="connsiteY38" fmla="*/ 10000 h 10035"/>
                <a:gd name="connsiteX39" fmla="*/ 1750 w 10000"/>
                <a:gd name="connsiteY39" fmla="*/ 9592 h 10035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0" fmla="*/ 7446 w 10000"/>
                <a:gd name="connsiteY0" fmla="*/ 9488 h 10127"/>
                <a:gd name="connsiteX1" fmla="*/ 7446 w 10000"/>
                <a:gd name="connsiteY1" fmla="*/ 8978 h 10127"/>
                <a:gd name="connsiteX2" fmla="*/ 7821 w 10000"/>
                <a:gd name="connsiteY2" fmla="*/ 8978 h 10127"/>
                <a:gd name="connsiteX3" fmla="*/ 8047 w 10000"/>
                <a:gd name="connsiteY3" fmla="*/ 8029 h 10127"/>
                <a:gd name="connsiteX4" fmla="*/ 8648 w 10000"/>
                <a:gd name="connsiteY4" fmla="*/ 7444 h 10127"/>
                <a:gd name="connsiteX5" fmla="*/ 8873 w 10000"/>
                <a:gd name="connsiteY5" fmla="*/ 6351 h 10127"/>
                <a:gd name="connsiteX6" fmla="*/ 8722 w 10000"/>
                <a:gd name="connsiteY6" fmla="*/ 5768 h 10127"/>
                <a:gd name="connsiteX7" fmla="*/ 9098 w 10000"/>
                <a:gd name="connsiteY7" fmla="*/ 4525 h 10127"/>
                <a:gd name="connsiteX8" fmla="*/ 9399 w 10000"/>
                <a:gd name="connsiteY8" fmla="*/ 4160 h 10127"/>
                <a:gd name="connsiteX9" fmla="*/ 10000 w 10000"/>
                <a:gd name="connsiteY9" fmla="*/ 3576 h 10127"/>
                <a:gd name="connsiteX10" fmla="*/ 9774 w 10000"/>
                <a:gd name="connsiteY10" fmla="*/ 3502 h 10127"/>
                <a:gd name="connsiteX11" fmla="*/ 9399 w 10000"/>
                <a:gd name="connsiteY11" fmla="*/ 3140 h 10127"/>
                <a:gd name="connsiteX12" fmla="*/ 9173 w 10000"/>
                <a:gd name="connsiteY12" fmla="*/ 2044 h 10127"/>
                <a:gd name="connsiteX13" fmla="*/ 9173 w 10000"/>
                <a:gd name="connsiteY13" fmla="*/ 1460 h 10127"/>
                <a:gd name="connsiteX14" fmla="*/ 9098 w 10000"/>
                <a:gd name="connsiteY14" fmla="*/ 729 h 10127"/>
                <a:gd name="connsiteX15" fmla="*/ 8873 w 10000"/>
                <a:gd name="connsiteY15" fmla="*/ 511 h 10127"/>
                <a:gd name="connsiteX16" fmla="*/ 8497 w 10000"/>
                <a:gd name="connsiteY16" fmla="*/ 219 h 10127"/>
                <a:gd name="connsiteX17" fmla="*/ 8272 w 10000"/>
                <a:gd name="connsiteY17" fmla="*/ 0 h 10127"/>
                <a:gd name="connsiteX18" fmla="*/ 7821 w 10000"/>
                <a:gd name="connsiteY18" fmla="*/ 293 h 10127"/>
                <a:gd name="connsiteX19" fmla="*/ 7370 w 10000"/>
                <a:gd name="connsiteY19" fmla="*/ 729 h 10127"/>
                <a:gd name="connsiteX20" fmla="*/ 6769 w 10000"/>
                <a:gd name="connsiteY20" fmla="*/ 729 h 10127"/>
                <a:gd name="connsiteX21" fmla="*/ 5717 w 10000"/>
                <a:gd name="connsiteY21" fmla="*/ 729 h 10127"/>
                <a:gd name="connsiteX22" fmla="*/ 5717 w 10000"/>
                <a:gd name="connsiteY22" fmla="*/ 658 h 10127"/>
                <a:gd name="connsiteX23" fmla="*/ 5643 w 10000"/>
                <a:gd name="connsiteY23" fmla="*/ 729 h 10127"/>
                <a:gd name="connsiteX24" fmla="*/ 1961 w 10000"/>
                <a:gd name="connsiteY24" fmla="*/ 729 h 10127"/>
                <a:gd name="connsiteX25" fmla="*/ 1961 w 10000"/>
                <a:gd name="connsiteY25" fmla="*/ 2263 h 10127"/>
                <a:gd name="connsiteX26" fmla="*/ 1285 w 10000"/>
                <a:gd name="connsiteY26" fmla="*/ 2263 h 10127"/>
                <a:gd name="connsiteX27" fmla="*/ 1285 w 10000"/>
                <a:gd name="connsiteY27" fmla="*/ 2556 h 10127"/>
                <a:gd name="connsiteX28" fmla="*/ 1285 w 10000"/>
                <a:gd name="connsiteY28" fmla="*/ 5179 h 10127"/>
                <a:gd name="connsiteX29" fmla="*/ 1135 w 10000"/>
                <a:gd name="connsiteY29" fmla="*/ 5327 h 10127"/>
                <a:gd name="connsiteX30" fmla="*/ 684 w 10000"/>
                <a:gd name="connsiteY30" fmla="*/ 5621 h 10127"/>
                <a:gd name="connsiteX31" fmla="*/ 609 w 10000"/>
                <a:gd name="connsiteY31" fmla="*/ 5986 h 10127"/>
                <a:gd name="connsiteX32" fmla="*/ 384 w 10000"/>
                <a:gd name="connsiteY32" fmla="*/ 6351 h 10127"/>
                <a:gd name="connsiteX33" fmla="*/ 234 w 10000"/>
                <a:gd name="connsiteY33" fmla="*/ 6935 h 10127"/>
                <a:gd name="connsiteX34" fmla="*/ 8 w 10000"/>
                <a:gd name="connsiteY34" fmla="*/ 7593 h 10127"/>
                <a:gd name="connsiteX35" fmla="*/ 384 w 10000"/>
                <a:gd name="connsiteY35" fmla="*/ 7664 h 10127"/>
                <a:gd name="connsiteX36" fmla="*/ 458 w 10000"/>
                <a:gd name="connsiteY36" fmla="*/ 8245 h 10127"/>
                <a:gd name="connsiteX37" fmla="*/ 684 w 10000"/>
                <a:gd name="connsiteY37" fmla="*/ 8831 h 10127"/>
                <a:gd name="connsiteX38" fmla="*/ 1059 w 10000"/>
                <a:gd name="connsiteY38" fmla="*/ 10000 h 10127"/>
                <a:gd name="connsiteX39" fmla="*/ 1840 w 10000"/>
                <a:gd name="connsiteY39" fmla="*/ 10103 h 10127"/>
                <a:gd name="connsiteX40" fmla="*/ 1827 w 10000"/>
                <a:gd name="connsiteY40" fmla="*/ 10127 h 10127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3453 w 10000"/>
                <a:gd name="connsiteY41" fmla="*/ 9915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4414 w 10000"/>
                <a:gd name="connsiteY43" fmla="*/ 9791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515 w 10000"/>
                <a:gd name="connsiteY44" fmla="*/ 9654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411 w 10000"/>
                <a:gd name="connsiteY44" fmla="*/ 9517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988 w 10000"/>
                <a:gd name="connsiteY44" fmla="*/ 921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881 w 10000"/>
                <a:gd name="connsiteY44" fmla="*/ 9296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69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524 w 10000"/>
                <a:gd name="connsiteY42" fmla="*/ 8107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82 w 10000"/>
                <a:gd name="connsiteY41" fmla="*/ 7982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07 w 10000"/>
                <a:gd name="connsiteY39" fmla="*/ 8693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65 w 10000"/>
                <a:gd name="connsiteY39" fmla="*/ 8712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160"/>
                <a:gd name="connsiteX1" fmla="*/ 7446 w 10000"/>
                <a:gd name="connsiteY1" fmla="*/ 8978 h 10160"/>
                <a:gd name="connsiteX2" fmla="*/ 7821 w 10000"/>
                <a:gd name="connsiteY2" fmla="*/ 8978 h 10160"/>
                <a:gd name="connsiteX3" fmla="*/ 8047 w 10000"/>
                <a:gd name="connsiteY3" fmla="*/ 8029 h 10160"/>
                <a:gd name="connsiteX4" fmla="*/ 8648 w 10000"/>
                <a:gd name="connsiteY4" fmla="*/ 7444 h 10160"/>
                <a:gd name="connsiteX5" fmla="*/ 8873 w 10000"/>
                <a:gd name="connsiteY5" fmla="*/ 6351 h 10160"/>
                <a:gd name="connsiteX6" fmla="*/ 8722 w 10000"/>
                <a:gd name="connsiteY6" fmla="*/ 5768 h 10160"/>
                <a:gd name="connsiteX7" fmla="*/ 9098 w 10000"/>
                <a:gd name="connsiteY7" fmla="*/ 4525 h 10160"/>
                <a:gd name="connsiteX8" fmla="*/ 9399 w 10000"/>
                <a:gd name="connsiteY8" fmla="*/ 4160 h 10160"/>
                <a:gd name="connsiteX9" fmla="*/ 10000 w 10000"/>
                <a:gd name="connsiteY9" fmla="*/ 3576 h 10160"/>
                <a:gd name="connsiteX10" fmla="*/ 9774 w 10000"/>
                <a:gd name="connsiteY10" fmla="*/ 3502 h 10160"/>
                <a:gd name="connsiteX11" fmla="*/ 9399 w 10000"/>
                <a:gd name="connsiteY11" fmla="*/ 3140 h 10160"/>
                <a:gd name="connsiteX12" fmla="*/ 9173 w 10000"/>
                <a:gd name="connsiteY12" fmla="*/ 2044 h 10160"/>
                <a:gd name="connsiteX13" fmla="*/ 9173 w 10000"/>
                <a:gd name="connsiteY13" fmla="*/ 1460 h 10160"/>
                <a:gd name="connsiteX14" fmla="*/ 9098 w 10000"/>
                <a:gd name="connsiteY14" fmla="*/ 729 h 10160"/>
                <a:gd name="connsiteX15" fmla="*/ 8873 w 10000"/>
                <a:gd name="connsiteY15" fmla="*/ 511 h 10160"/>
                <a:gd name="connsiteX16" fmla="*/ 8497 w 10000"/>
                <a:gd name="connsiteY16" fmla="*/ 219 h 10160"/>
                <a:gd name="connsiteX17" fmla="*/ 8272 w 10000"/>
                <a:gd name="connsiteY17" fmla="*/ 0 h 10160"/>
                <a:gd name="connsiteX18" fmla="*/ 7821 w 10000"/>
                <a:gd name="connsiteY18" fmla="*/ 293 h 10160"/>
                <a:gd name="connsiteX19" fmla="*/ 7370 w 10000"/>
                <a:gd name="connsiteY19" fmla="*/ 729 h 10160"/>
                <a:gd name="connsiteX20" fmla="*/ 6769 w 10000"/>
                <a:gd name="connsiteY20" fmla="*/ 729 h 10160"/>
                <a:gd name="connsiteX21" fmla="*/ 5717 w 10000"/>
                <a:gd name="connsiteY21" fmla="*/ 729 h 10160"/>
                <a:gd name="connsiteX22" fmla="*/ 5717 w 10000"/>
                <a:gd name="connsiteY22" fmla="*/ 658 h 10160"/>
                <a:gd name="connsiteX23" fmla="*/ 5643 w 10000"/>
                <a:gd name="connsiteY23" fmla="*/ 729 h 10160"/>
                <a:gd name="connsiteX24" fmla="*/ 1961 w 10000"/>
                <a:gd name="connsiteY24" fmla="*/ 729 h 10160"/>
                <a:gd name="connsiteX25" fmla="*/ 1961 w 10000"/>
                <a:gd name="connsiteY25" fmla="*/ 2263 h 10160"/>
                <a:gd name="connsiteX26" fmla="*/ 1285 w 10000"/>
                <a:gd name="connsiteY26" fmla="*/ 2263 h 10160"/>
                <a:gd name="connsiteX27" fmla="*/ 1285 w 10000"/>
                <a:gd name="connsiteY27" fmla="*/ 2556 h 10160"/>
                <a:gd name="connsiteX28" fmla="*/ 1285 w 10000"/>
                <a:gd name="connsiteY28" fmla="*/ 5179 h 10160"/>
                <a:gd name="connsiteX29" fmla="*/ 1135 w 10000"/>
                <a:gd name="connsiteY29" fmla="*/ 5327 h 10160"/>
                <a:gd name="connsiteX30" fmla="*/ 684 w 10000"/>
                <a:gd name="connsiteY30" fmla="*/ 5621 h 10160"/>
                <a:gd name="connsiteX31" fmla="*/ 609 w 10000"/>
                <a:gd name="connsiteY31" fmla="*/ 5986 h 10160"/>
                <a:gd name="connsiteX32" fmla="*/ 384 w 10000"/>
                <a:gd name="connsiteY32" fmla="*/ 6351 h 10160"/>
                <a:gd name="connsiteX33" fmla="*/ 234 w 10000"/>
                <a:gd name="connsiteY33" fmla="*/ 6935 h 10160"/>
                <a:gd name="connsiteX34" fmla="*/ 8 w 10000"/>
                <a:gd name="connsiteY34" fmla="*/ 7593 h 10160"/>
                <a:gd name="connsiteX35" fmla="*/ 384 w 10000"/>
                <a:gd name="connsiteY35" fmla="*/ 7664 h 10160"/>
                <a:gd name="connsiteX36" fmla="*/ 458 w 10000"/>
                <a:gd name="connsiteY36" fmla="*/ 8245 h 10160"/>
                <a:gd name="connsiteX37" fmla="*/ 684 w 10000"/>
                <a:gd name="connsiteY37" fmla="*/ 8831 h 10160"/>
                <a:gd name="connsiteX38" fmla="*/ 1059 w 10000"/>
                <a:gd name="connsiteY38" fmla="*/ 10000 h 10160"/>
                <a:gd name="connsiteX39" fmla="*/ 1058 w 10000"/>
                <a:gd name="connsiteY39" fmla="*/ 10012 h 10160"/>
                <a:gd name="connsiteX40" fmla="*/ 5865 w 10000"/>
                <a:gd name="connsiteY40" fmla="*/ 8712 h 10160"/>
                <a:gd name="connsiteX41" fmla="*/ 6040 w 10000"/>
                <a:gd name="connsiteY41" fmla="*/ 8368 h 10160"/>
                <a:gd name="connsiteX42" fmla="*/ 6382 w 10000"/>
                <a:gd name="connsiteY42" fmla="*/ 7982 h 10160"/>
                <a:gd name="connsiteX43" fmla="*/ 6428 w 10000"/>
                <a:gd name="connsiteY43" fmla="*/ 8181 h 10160"/>
                <a:gd name="connsiteX44" fmla="*/ 6444 w 10000"/>
                <a:gd name="connsiteY44" fmla="*/ 8428 h 10160"/>
                <a:gd name="connsiteX45" fmla="*/ 6766 w 10000"/>
                <a:gd name="connsiteY45" fmla="*/ 9268 h 10160"/>
                <a:gd name="connsiteX0" fmla="*/ 7446 w 10000"/>
                <a:gd name="connsiteY0" fmla="*/ 9488 h 10258"/>
                <a:gd name="connsiteX1" fmla="*/ 7446 w 10000"/>
                <a:gd name="connsiteY1" fmla="*/ 8978 h 10258"/>
                <a:gd name="connsiteX2" fmla="*/ 7821 w 10000"/>
                <a:gd name="connsiteY2" fmla="*/ 8978 h 10258"/>
                <a:gd name="connsiteX3" fmla="*/ 8047 w 10000"/>
                <a:gd name="connsiteY3" fmla="*/ 8029 h 10258"/>
                <a:gd name="connsiteX4" fmla="*/ 8648 w 10000"/>
                <a:gd name="connsiteY4" fmla="*/ 7444 h 10258"/>
                <a:gd name="connsiteX5" fmla="*/ 8873 w 10000"/>
                <a:gd name="connsiteY5" fmla="*/ 6351 h 10258"/>
                <a:gd name="connsiteX6" fmla="*/ 8722 w 10000"/>
                <a:gd name="connsiteY6" fmla="*/ 5768 h 10258"/>
                <a:gd name="connsiteX7" fmla="*/ 9098 w 10000"/>
                <a:gd name="connsiteY7" fmla="*/ 4525 h 10258"/>
                <a:gd name="connsiteX8" fmla="*/ 9399 w 10000"/>
                <a:gd name="connsiteY8" fmla="*/ 4160 h 10258"/>
                <a:gd name="connsiteX9" fmla="*/ 10000 w 10000"/>
                <a:gd name="connsiteY9" fmla="*/ 3576 h 10258"/>
                <a:gd name="connsiteX10" fmla="*/ 9774 w 10000"/>
                <a:gd name="connsiteY10" fmla="*/ 3502 h 10258"/>
                <a:gd name="connsiteX11" fmla="*/ 9399 w 10000"/>
                <a:gd name="connsiteY11" fmla="*/ 3140 h 10258"/>
                <a:gd name="connsiteX12" fmla="*/ 9173 w 10000"/>
                <a:gd name="connsiteY12" fmla="*/ 2044 h 10258"/>
                <a:gd name="connsiteX13" fmla="*/ 9173 w 10000"/>
                <a:gd name="connsiteY13" fmla="*/ 1460 h 10258"/>
                <a:gd name="connsiteX14" fmla="*/ 9098 w 10000"/>
                <a:gd name="connsiteY14" fmla="*/ 729 h 10258"/>
                <a:gd name="connsiteX15" fmla="*/ 8873 w 10000"/>
                <a:gd name="connsiteY15" fmla="*/ 511 h 10258"/>
                <a:gd name="connsiteX16" fmla="*/ 8497 w 10000"/>
                <a:gd name="connsiteY16" fmla="*/ 219 h 10258"/>
                <a:gd name="connsiteX17" fmla="*/ 8272 w 10000"/>
                <a:gd name="connsiteY17" fmla="*/ 0 h 10258"/>
                <a:gd name="connsiteX18" fmla="*/ 7821 w 10000"/>
                <a:gd name="connsiteY18" fmla="*/ 293 h 10258"/>
                <a:gd name="connsiteX19" fmla="*/ 7370 w 10000"/>
                <a:gd name="connsiteY19" fmla="*/ 729 h 10258"/>
                <a:gd name="connsiteX20" fmla="*/ 6769 w 10000"/>
                <a:gd name="connsiteY20" fmla="*/ 729 h 10258"/>
                <a:gd name="connsiteX21" fmla="*/ 5717 w 10000"/>
                <a:gd name="connsiteY21" fmla="*/ 729 h 10258"/>
                <a:gd name="connsiteX22" fmla="*/ 5717 w 10000"/>
                <a:gd name="connsiteY22" fmla="*/ 658 h 10258"/>
                <a:gd name="connsiteX23" fmla="*/ 5643 w 10000"/>
                <a:gd name="connsiteY23" fmla="*/ 729 h 10258"/>
                <a:gd name="connsiteX24" fmla="*/ 1961 w 10000"/>
                <a:gd name="connsiteY24" fmla="*/ 729 h 10258"/>
                <a:gd name="connsiteX25" fmla="*/ 1961 w 10000"/>
                <a:gd name="connsiteY25" fmla="*/ 2263 h 10258"/>
                <a:gd name="connsiteX26" fmla="*/ 1285 w 10000"/>
                <a:gd name="connsiteY26" fmla="*/ 2263 h 10258"/>
                <a:gd name="connsiteX27" fmla="*/ 1285 w 10000"/>
                <a:gd name="connsiteY27" fmla="*/ 2556 h 10258"/>
                <a:gd name="connsiteX28" fmla="*/ 1285 w 10000"/>
                <a:gd name="connsiteY28" fmla="*/ 5179 h 10258"/>
                <a:gd name="connsiteX29" fmla="*/ 1135 w 10000"/>
                <a:gd name="connsiteY29" fmla="*/ 5327 h 10258"/>
                <a:gd name="connsiteX30" fmla="*/ 684 w 10000"/>
                <a:gd name="connsiteY30" fmla="*/ 5621 h 10258"/>
                <a:gd name="connsiteX31" fmla="*/ 609 w 10000"/>
                <a:gd name="connsiteY31" fmla="*/ 5986 h 10258"/>
                <a:gd name="connsiteX32" fmla="*/ 384 w 10000"/>
                <a:gd name="connsiteY32" fmla="*/ 6351 h 10258"/>
                <a:gd name="connsiteX33" fmla="*/ 234 w 10000"/>
                <a:gd name="connsiteY33" fmla="*/ 6935 h 10258"/>
                <a:gd name="connsiteX34" fmla="*/ 8 w 10000"/>
                <a:gd name="connsiteY34" fmla="*/ 7593 h 10258"/>
                <a:gd name="connsiteX35" fmla="*/ 384 w 10000"/>
                <a:gd name="connsiteY35" fmla="*/ 7664 h 10258"/>
                <a:gd name="connsiteX36" fmla="*/ 458 w 10000"/>
                <a:gd name="connsiteY36" fmla="*/ 8245 h 10258"/>
                <a:gd name="connsiteX37" fmla="*/ 684 w 10000"/>
                <a:gd name="connsiteY37" fmla="*/ 8831 h 10258"/>
                <a:gd name="connsiteX38" fmla="*/ 1059 w 10000"/>
                <a:gd name="connsiteY38" fmla="*/ 10000 h 10258"/>
                <a:gd name="connsiteX39" fmla="*/ 1903 w 10000"/>
                <a:gd name="connsiteY39" fmla="*/ 10161 h 10258"/>
                <a:gd name="connsiteX40" fmla="*/ 5865 w 10000"/>
                <a:gd name="connsiteY40" fmla="*/ 8712 h 10258"/>
                <a:gd name="connsiteX41" fmla="*/ 6040 w 10000"/>
                <a:gd name="connsiteY41" fmla="*/ 8368 h 10258"/>
                <a:gd name="connsiteX42" fmla="*/ 6382 w 10000"/>
                <a:gd name="connsiteY42" fmla="*/ 7982 h 10258"/>
                <a:gd name="connsiteX43" fmla="*/ 6428 w 10000"/>
                <a:gd name="connsiteY43" fmla="*/ 8181 h 10258"/>
                <a:gd name="connsiteX44" fmla="*/ 6444 w 10000"/>
                <a:gd name="connsiteY44" fmla="*/ 8428 h 10258"/>
                <a:gd name="connsiteX45" fmla="*/ 6766 w 10000"/>
                <a:gd name="connsiteY45" fmla="*/ 9268 h 10258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2335 w 10000"/>
                <a:gd name="connsiteY39" fmla="*/ 9619 h 10056"/>
                <a:gd name="connsiteX40" fmla="*/ 5865 w 10000"/>
                <a:gd name="connsiteY40" fmla="*/ 8712 h 10056"/>
                <a:gd name="connsiteX41" fmla="*/ 6040 w 10000"/>
                <a:gd name="connsiteY41" fmla="*/ 8368 h 10056"/>
                <a:gd name="connsiteX42" fmla="*/ 6382 w 10000"/>
                <a:gd name="connsiteY42" fmla="*/ 7982 h 10056"/>
                <a:gd name="connsiteX43" fmla="*/ 6428 w 10000"/>
                <a:gd name="connsiteY43" fmla="*/ 8181 h 10056"/>
                <a:gd name="connsiteX44" fmla="*/ 6444 w 10000"/>
                <a:gd name="connsiteY44" fmla="*/ 8428 h 10056"/>
                <a:gd name="connsiteX45" fmla="*/ 6766 w 10000"/>
                <a:gd name="connsiteY45" fmla="*/ 9268 h 1005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143"/>
                <a:gd name="connsiteX1" fmla="*/ 7446 w 10000"/>
                <a:gd name="connsiteY1" fmla="*/ 8978 h 10143"/>
                <a:gd name="connsiteX2" fmla="*/ 7821 w 10000"/>
                <a:gd name="connsiteY2" fmla="*/ 8978 h 10143"/>
                <a:gd name="connsiteX3" fmla="*/ 8047 w 10000"/>
                <a:gd name="connsiteY3" fmla="*/ 8029 h 10143"/>
                <a:gd name="connsiteX4" fmla="*/ 8648 w 10000"/>
                <a:gd name="connsiteY4" fmla="*/ 7444 h 10143"/>
                <a:gd name="connsiteX5" fmla="*/ 8873 w 10000"/>
                <a:gd name="connsiteY5" fmla="*/ 6351 h 10143"/>
                <a:gd name="connsiteX6" fmla="*/ 8722 w 10000"/>
                <a:gd name="connsiteY6" fmla="*/ 5768 h 10143"/>
                <a:gd name="connsiteX7" fmla="*/ 9098 w 10000"/>
                <a:gd name="connsiteY7" fmla="*/ 4525 h 10143"/>
                <a:gd name="connsiteX8" fmla="*/ 9399 w 10000"/>
                <a:gd name="connsiteY8" fmla="*/ 4160 h 10143"/>
                <a:gd name="connsiteX9" fmla="*/ 10000 w 10000"/>
                <a:gd name="connsiteY9" fmla="*/ 3576 h 10143"/>
                <a:gd name="connsiteX10" fmla="*/ 9774 w 10000"/>
                <a:gd name="connsiteY10" fmla="*/ 3502 h 10143"/>
                <a:gd name="connsiteX11" fmla="*/ 9399 w 10000"/>
                <a:gd name="connsiteY11" fmla="*/ 3140 h 10143"/>
                <a:gd name="connsiteX12" fmla="*/ 9173 w 10000"/>
                <a:gd name="connsiteY12" fmla="*/ 2044 h 10143"/>
                <a:gd name="connsiteX13" fmla="*/ 9173 w 10000"/>
                <a:gd name="connsiteY13" fmla="*/ 1460 h 10143"/>
                <a:gd name="connsiteX14" fmla="*/ 9098 w 10000"/>
                <a:gd name="connsiteY14" fmla="*/ 729 h 10143"/>
                <a:gd name="connsiteX15" fmla="*/ 8873 w 10000"/>
                <a:gd name="connsiteY15" fmla="*/ 511 h 10143"/>
                <a:gd name="connsiteX16" fmla="*/ 8497 w 10000"/>
                <a:gd name="connsiteY16" fmla="*/ 219 h 10143"/>
                <a:gd name="connsiteX17" fmla="*/ 8272 w 10000"/>
                <a:gd name="connsiteY17" fmla="*/ 0 h 10143"/>
                <a:gd name="connsiteX18" fmla="*/ 7821 w 10000"/>
                <a:gd name="connsiteY18" fmla="*/ 293 h 10143"/>
                <a:gd name="connsiteX19" fmla="*/ 7370 w 10000"/>
                <a:gd name="connsiteY19" fmla="*/ 729 h 10143"/>
                <a:gd name="connsiteX20" fmla="*/ 6769 w 10000"/>
                <a:gd name="connsiteY20" fmla="*/ 729 h 10143"/>
                <a:gd name="connsiteX21" fmla="*/ 5717 w 10000"/>
                <a:gd name="connsiteY21" fmla="*/ 729 h 10143"/>
                <a:gd name="connsiteX22" fmla="*/ 5717 w 10000"/>
                <a:gd name="connsiteY22" fmla="*/ 658 h 10143"/>
                <a:gd name="connsiteX23" fmla="*/ 5643 w 10000"/>
                <a:gd name="connsiteY23" fmla="*/ 729 h 10143"/>
                <a:gd name="connsiteX24" fmla="*/ 1961 w 10000"/>
                <a:gd name="connsiteY24" fmla="*/ 729 h 10143"/>
                <a:gd name="connsiteX25" fmla="*/ 1961 w 10000"/>
                <a:gd name="connsiteY25" fmla="*/ 2263 h 10143"/>
                <a:gd name="connsiteX26" fmla="*/ 1285 w 10000"/>
                <a:gd name="connsiteY26" fmla="*/ 2263 h 10143"/>
                <a:gd name="connsiteX27" fmla="*/ 1285 w 10000"/>
                <a:gd name="connsiteY27" fmla="*/ 2556 h 10143"/>
                <a:gd name="connsiteX28" fmla="*/ 1285 w 10000"/>
                <a:gd name="connsiteY28" fmla="*/ 5179 h 10143"/>
                <a:gd name="connsiteX29" fmla="*/ 1135 w 10000"/>
                <a:gd name="connsiteY29" fmla="*/ 5327 h 10143"/>
                <a:gd name="connsiteX30" fmla="*/ 684 w 10000"/>
                <a:gd name="connsiteY30" fmla="*/ 5621 h 10143"/>
                <a:gd name="connsiteX31" fmla="*/ 609 w 10000"/>
                <a:gd name="connsiteY31" fmla="*/ 5986 h 10143"/>
                <a:gd name="connsiteX32" fmla="*/ 384 w 10000"/>
                <a:gd name="connsiteY32" fmla="*/ 6351 h 10143"/>
                <a:gd name="connsiteX33" fmla="*/ 234 w 10000"/>
                <a:gd name="connsiteY33" fmla="*/ 6935 h 10143"/>
                <a:gd name="connsiteX34" fmla="*/ 8 w 10000"/>
                <a:gd name="connsiteY34" fmla="*/ 7593 h 10143"/>
                <a:gd name="connsiteX35" fmla="*/ 384 w 10000"/>
                <a:gd name="connsiteY35" fmla="*/ 7664 h 10143"/>
                <a:gd name="connsiteX36" fmla="*/ 458 w 10000"/>
                <a:gd name="connsiteY36" fmla="*/ 8245 h 10143"/>
                <a:gd name="connsiteX37" fmla="*/ 684 w 10000"/>
                <a:gd name="connsiteY37" fmla="*/ 8831 h 10143"/>
                <a:gd name="connsiteX38" fmla="*/ 1059 w 10000"/>
                <a:gd name="connsiteY38" fmla="*/ 10000 h 10143"/>
                <a:gd name="connsiteX39" fmla="*/ 1068 w 10000"/>
                <a:gd name="connsiteY39" fmla="*/ 10012 h 10143"/>
                <a:gd name="connsiteX40" fmla="*/ 5428 w 10000"/>
                <a:gd name="connsiteY40" fmla="*/ 8984 h 10143"/>
                <a:gd name="connsiteX41" fmla="*/ 5884 w 10000"/>
                <a:gd name="connsiteY41" fmla="*/ 8740 h 10143"/>
                <a:gd name="connsiteX42" fmla="*/ 6040 w 10000"/>
                <a:gd name="connsiteY42" fmla="*/ 8368 h 10143"/>
                <a:gd name="connsiteX43" fmla="*/ 6382 w 10000"/>
                <a:gd name="connsiteY43" fmla="*/ 7982 h 10143"/>
                <a:gd name="connsiteX44" fmla="*/ 6428 w 10000"/>
                <a:gd name="connsiteY44" fmla="*/ 8181 h 10143"/>
                <a:gd name="connsiteX45" fmla="*/ 6444 w 10000"/>
                <a:gd name="connsiteY45" fmla="*/ 8428 h 10143"/>
                <a:gd name="connsiteX46" fmla="*/ 6766 w 10000"/>
                <a:gd name="connsiteY46" fmla="*/ 9268 h 10143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4958 w 10000"/>
                <a:gd name="connsiteY40" fmla="*/ 9255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57 w 10000"/>
                <a:gd name="connsiteY41" fmla="*/ 8984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3"/>
                <a:gd name="connsiteX1" fmla="*/ 7446 w 10000"/>
                <a:gd name="connsiteY1" fmla="*/ 8978 h 10033"/>
                <a:gd name="connsiteX2" fmla="*/ 7821 w 10000"/>
                <a:gd name="connsiteY2" fmla="*/ 8978 h 10033"/>
                <a:gd name="connsiteX3" fmla="*/ 8047 w 10000"/>
                <a:gd name="connsiteY3" fmla="*/ 8029 h 10033"/>
                <a:gd name="connsiteX4" fmla="*/ 8648 w 10000"/>
                <a:gd name="connsiteY4" fmla="*/ 7444 h 10033"/>
                <a:gd name="connsiteX5" fmla="*/ 8873 w 10000"/>
                <a:gd name="connsiteY5" fmla="*/ 6351 h 10033"/>
                <a:gd name="connsiteX6" fmla="*/ 8722 w 10000"/>
                <a:gd name="connsiteY6" fmla="*/ 5768 h 10033"/>
                <a:gd name="connsiteX7" fmla="*/ 9098 w 10000"/>
                <a:gd name="connsiteY7" fmla="*/ 4525 h 10033"/>
                <a:gd name="connsiteX8" fmla="*/ 9399 w 10000"/>
                <a:gd name="connsiteY8" fmla="*/ 4160 h 10033"/>
                <a:gd name="connsiteX9" fmla="*/ 10000 w 10000"/>
                <a:gd name="connsiteY9" fmla="*/ 3576 h 10033"/>
                <a:gd name="connsiteX10" fmla="*/ 9774 w 10000"/>
                <a:gd name="connsiteY10" fmla="*/ 3502 h 10033"/>
                <a:gd name="connsiteX11" fmla="*/ 9399 w 10000"/>
                <a:gd name="connsiteY11" fmla="*/ 3140 h 10033"/>
                <a:gd name="connsiteX12" fmla="*/ 9173 w 10000"/>
                <a:gd name="connsiteY12" fmla="*/ 2044 h 10033"/>
                <a:gd name="connsiteX13" fmla="*/ 9173 w 10000"/>
                <a:gd name="connsiteY13" fmla="*/ 1460 h 10033"/>
                <a:gd name="connsiteX14" fmla="*/ 9098 w 10000"/>
                <a:gd name="connsiteY14" fmla="*/ 729 h 10033"/>
                <a:gd name="connsiteX15" fmla="*/ 8873 w 10000"/>
                <a:gd name="connsiteY15" fmla="*/ 511 h 10033"/>
                <a:gd name="connsiteX16" fmla="*/ 8497 w 10000"/>
                <a:gd name="connsiteY16" fmla="*/ 219 h 10033"/>
                <a:gd name="connsiteX17" fmla="*/ 8272 w 10000"/>
                <a:gd name="connsiteY17" fmla="*/ 0 h 10033"/>
                <a:gd name="connsiteX18" fmla="*/ 7821 w 10000"/>
                <a:gd name="connsiteY18" fmla="*/ 293 h 10033"/>
                <a:gd name="connsiteX19" fmla="*/ 7370 w 10000"/>
                <a:gd name="connsiteY19" fmla="*/ 729 h 10033"/>
                <a:gd name="connsiteX20" fmla="*/ 6769 w 10000"/>
                <a:gd name="connsiteY20" fmla="*/ 729 h 10033"/>
                <a:gd name="connsiteX21" fmla="*/ 5717 w 10000"/>
                <a:gd name="connsiteY21" fmla="*/ 729 h 10033"/>
                <a:gd name="connsiteX22" fmla="*/ 5717 w 10000"/>
                <a:gd name="connsiteY22" fmla="*/ 658 h 10033"/>
                <a:gd name="connsiteX23" fmla="*/ 5643 w 10000"/>
                <a:gd name="connsiteY23" fmla="*/ 729 h 10033"/>
                <a:gd name="connsiteX24" fmla="*/ 1961 w 10000"/>
                <a:gd name="connsiteY24" fmla="*/ 729 h 10033"/>
                <a:gd name="connsiteX25" fmla="*/ 1961 w 10000"/>
                <a:gd name="connsiteY25" fmla="*/ 2263 h 10033"/>
                <a:gd name="connsiteX26" fmla="*/ 1285 w 10000"/>
                <a:gd name="connsiteY26" fmla="*/ 2263 h 10033"/>
                <a:gd name="connsiteX27" fmla="*/ 1285 w 10000"/>
                <a:gd name="connsiteY27" fmla="*/ 2556 h 10033"/>
                <a:gd name="connsiteX28" fmla="*/ 1285 w 10000"/>
                <a:gd name="connsiteY28" fmla="*/ 5179 h 10033"/>
                <a:gd name="connsiteX29" fmla="*/ 1135 w 10000"/>
                <a:gd name="connsiteY29" fmla="*/ 5327 h 10033"/>
                <a:gd name="connsiteX30" fmla="*/ 684 w 10000"/>
                <a:gd name="connsiteY30" fmla="*/ 5621 h 10033"/>
                <a:gd name="connsiteX31" fmla="*/ 609 w 10000"/>
                <a:gd name="connsiteY31" fmla="*/ 5986 h 10033"/>
                <a:gd name="connsiteX32" fmla="*/ 384 w 10000"/>
                <a:gd name="connsiteY32" fmla="*/ 6351 h 10033"/>
                <a:gd name="connsiteX33" fmla="*/ 234 w 10000"/>
                <a:gd name="connsiteY33" fmla="*/ 6935 h 10033"/>
                <a:gd name="connsiteX34" fmla="*/ 8 w 10000"/>
                <a:gd name="connsiteY34" fmla="*/ 7593 h 10033"/>
                <a:gd name="connsiteX35" fmla="*/ 384 w 10000"/>
                <a:gd name="connsiteY35" fmla="*/ 7664 h 10033"/>
                <a:gd name="connsiteX36" fmla="*/ 458 w 10000"/>
                <a:gd name="connsiteY36" fmla="*/ 8245 h 10033"/>
                <a:gd name="connsiteX37" fmla="*/ 684 w 10000"/>
                <a:gd name="connsiteY37" fmla="*/ 8831 h 10033"/>
                <a:gd name="connsiteX38" fmla="*/ 1059 w 10000"/>
                <a:gd name="connsiteY38" fmla="*/ 10000 h 10033"/>
                <a:gd name="connsiteX39" fmla="*/ 4373 w 10000"/>
                <a:gd name="connsiteY39" fmla="*/ 9293 h 10033"/>
                <a:gd name="connsiteX40" fmla="*/ 5064 w 10000"/>
                <a:gd name="connsiteY40" fmla="*/ 9311 h 10033"/>
                <a:gd name="connsiteX41" fmla="*/ 5457 w 10000"/>
                <a:gd name="connsiteY41" fmla="*/ 8984 h 10033"/>
                <a:gd name="connsiteX42" fmla="*/ 5884 w 10000"/>
                <a:gd name="connsiteY42" fmla="*/ 8740 h 10033"/>
                <a:gd name="connsiteX43" fmla="*/ 6040 w 10000"/>
                <a:gd name="connsiteY43" fmla="*/ 8368 h 10033"/>
                <a:gd name="connsiteX44" fmla="*/ 6382 w 10000"/>
                <a:gd name="connsiteY44" fmla="*/ 7982 h 10033"/>
                <a:gd name="connsiteX45" fmla="*/ 6428 w 10000"/>
                <a:gd name="connsiteY45" fmla="*/ 8181 h 10033"/>
                <a:gd name="connsiteX46" fmla="*/ 6444 w 10000"/>
                <a:gd name="connsiteY46" fmla="*/ 8428 h 10033"/>
                <a:gd name="connsiteX47" fmla="*/ 6766 w 10000"/>
                <a:gd name="connsiteY47" fmla="*/ 9268 h 10033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3729 w 10000"/>
                <a:gd name="connsiteY39" fmla="*/ 9526 h 10015"/>
                <a:gd name="connsiteX40" fmla="*/ 4373 w 10000"/>
                <a:gd name="connsiteY40" fmla="*/ 9293 h 10015"/>
                <a:gd name="connsiteX41" fmla="*/ 5064 w 10000"/>
                <a:gd name="connsiteY41" fmla="*/ 9311 h 10015"/>
                <a:gd name="connsiteX42" fmla="*/ 5457 w 10000"/>
                <a:gd name="connsiteY42" fmla="*/ 8984 h 10015"/>
                <a:gd name="connsiteX43" fmla="*/ 5884 w 10000"/>
                <a:gd name="connsiteY43" fmla="*/ 8740 h 10015"/>
                <a:gd name="connsiteX44" fmla="*/ 6040 w 10000"/>
                <a:gd name="connsiteY44" fmla="*/ 8368 h 10015"/>
                <a:gd name="connsiteX45" fmla="*/ 6382 w 10000"/>
                <a:gd name="connsiteY45" fmla="*/ 7982 h 10015"/>
                <a:gd name="connsiteX46" fmla="*/ 6428 w 10000"/>
                <a:gd name="connsiteY46" fmla="*/ 8181 h 10015"/>
                <a:gd name="connsiteX47" fmla="*/ 6444 w 10000"/>
                <a:gd name="connsiteY47" fmla="*/ 8428 h 10015"/>
                <a:gd name="connsiteX48" fmla="*/ 6766 w 10000"/>
                <a:gd name="connsiteY48" fmla="*/ 9268 h 10015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09 w 10000"/>
                <a:gd name="connsiteY40" fmla="*/ 9592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19 w 10000"/>
                <a:gd name="connsiteY40" fmla="*/ 9620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4219 w 10000"/>
                <a:gd name="connsiteY40" fmla="*/ 9620 h 10031"/>
                <a:gd name="connsiteX41" fmla="*/ 4373 w 10000"/>
                <a:gd name="connsiteY41" fmla="*/ 9293 h 10031"/>
                <a:gd name="connsiteX42" fmla="*/ 5064 w 10000"/>
                <a:gd name="connsiteY42" fmla="*/ 9311 h 10031"/>
                <a:gd name="connsiteX43" fmla="*/ 5457 w 10000"/>
                <a:gd name="connsiteY43" fmla="*/ 8984 h 10031"/>
                <a:gd name="connsiteX44" fmla="*/ 5884 w 10000"/>
                <a:gd name="connsiteY44" fmla="*/ 8740 h 10031"/>
                <a:gd name="connsiteX45" fmla="*/ 6040 w 10000"/>
                <a:gd name="connsiteY45" fmla="*/ 8368 h 10031"/>
                <a:gd name="connsiteX46" fmla="*/ 6382 w 10000"/>
                <a:gd name="connsiteY46" fmla="*/ 7982 h 10031"/>
                <a:gd name="connsiteX47" fmla="*/ 6428 w 10000"/>
                <a:gd name="connsiteY47" fmla="*/ 8181 h 10031"/>
                <a:gd name="connsiteX48" fmla="*/ 6444 w 10000"/>
                <a:gd name="connsiteY48" fmla="*/ 8428 h 10031"/>
                <a:gd name="connsiteX49" fmla="*/ 6766 w 10000"/>
                <a:gd name="connsiteY49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863 w 10000"/>
                <a:gd name="connsiteY40" fmla="*/ 9788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479 w 10000"/>
                <a:gd name="connsiteY40" fmla="*/ 9452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4219 w 10000"/>
                <a:gd name="connsiteY41" fmla="*/ 9620 h 10008"/>
                <a:gd name="connsiteX42" fmla="*/ 4373 w 10000"/>
                <a:gd name="connsiteY42" fmla="*/ 9293 h 10008"/>
                <a:gd name="connsiteX43" fmla="*/ 5064 w 10000"/>
                <a:gd name="connsiteY43" fmla="*/ 9311 h 10008"/>
                <a:gd name="connsiteX44" fmla="*/ 5457 w 10000"/>
                <a:gd name="connsiteY44" fmla="*/ 8984 h 10008"/>
                <a:gd name="connsiteX45" fmla="*/ 5884 w 10000"/>
                <a:gd name="connsiteY45" fmla="*/ 8740 h 10008"/>
                <a:gd name="connsiteX46" fmla="*/ 6040 w 10000"/>
                <a:gd name="connsiteY46" fmla="*/ 8368 h 10008"/>
                <a:gd name="connsiteX47" fmla="*/ 6382 w 10000"/>
                <a:gd name="connsiteY47" fmla="*/ 7982 h 10008"/>
                <a:gd name="connsiteX48" fmla="*/ 6428 w 10000"/>
                <a:gd name="connsiteY48" fmla="*/ 8181 h 10008"/>
                <a:gd name="connsiteX49" fmla="*/ 6444 w 10000"/>
                <a:gd name="connsiteY49" fmla="*/ 8428 h 10008"/>
                <a:gd name="connsiteX50" fmla="*/ 6766 w 10000"/>
                <a:gd name="connsiteY50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52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27 w 10000"/>
                <a:gd name="connsiteY40" fmla="*/ 9433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38 w 10000"/>
                <a:gd name="connsiteY40" fmla="*/ 9601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00 w 10000"/>
                <a:gd name="connsiteY40" fmla="*/ 9227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11 w 10000"/>
                <a:gd name="connsiteY40" fmla="*/ 9629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09 w 10000"/>
                <a:gd name="connsiteY40" fmla="*/ 9601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853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val 5555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66 w 10000"/>
                <a:gd name="connsiteY40" fmla="*/ 9433 h 10015"/>
                <a:gd name="connsiteX41" fmla="*/ 2721 w 10000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4"/>
                <a:gd name="connsiteX1" fmla="*/ 7446 w 10000"/>
                <a:gd name="connsiteY1" fmla="*/ 8978 h 10014"/>
                <a:gd name="connsiteX2" fmla="*/ 7821 w 10000"/>
                <a:gd name="connsiteY2" fmla="*/ 8978 h 10014"/>
                <a:gd name="connsiteX3" fmla="*/ 8047 w 10000"/>
                <a:gd name="connsiteY3" fmla="*/ 8029 h 10014"/>
                <a:gd name="connsiteX4" fmla="*/ 8648 w 10000"/>
                <a:gd name="connsiteY4" fmla="*/ 7444 h 10014"/>
                <a:gd name="connsiteX5" fmla="*/ 8873 w 10000"/>
                <a:gd name="connsiteY5" fmla="*/ 6351 h 10014"/>
                <a:gd name="connsiteX6" fmla="*/ 8722 w 10000"/>
                <a:gd name="connsiteY6" fmla="*/ 5768 h 10014"/>
                <a:gd name="connsiteX7" fmla="*/ 9098 w 10000"/>
                <a:gd name="connsiteY7" fmla="*/ 4525 h 10014"/>
                <a:gd name="connsiteX8" fmla="*/ 9399 w 10000"/>
                <a:gd name="connsiteY8" fmla="*/ 4160 h 10014"/>
                <a:gd name="connsiteX9" fmla="*/ 10000 w 10000"/>
                <a:gd name="connsiteY9" fmla="*/ 3576 h 10014"/>
                <a:gd name="connsiteX10" fmla="*/ 9774 w 10000"/>
                <a:gd name="connsiteY10" fmla="*/ 3502 h 10014"/>
                <a:gd name="connsiteX11" fmla="*/ 9399 w 10000"/>
                <a:gd name="connsiteY11" fmla="*/ 3140 h 10014"/>
                <a:gd name="connsiteX12" fmla="*/ 9173 w 10000"/>
                <a:gd name="connsiteY12" fmla="*/ 2044 h 10014"/>
                <a:gd name="connsiteX13" fmla="*/ 9173 w 10000"/>
                <a:gd name="connsiteY13" fmla="*/ 1460 h 10014"/>
                <a:gd name="connsiteX14" fmla="*/ 9098 w 10000"/>
                <a:gd name="connsiteY14" fmla="*/ 729 h 10014"/>
                <a:gd name="connsiteX15" fmla="*/ 8873 w 10000"/>
                <a:gd name="connsiteY15" fmla="*/ 511 h 10014"/>
                <a:gd name="connsiteX16" fmla="*/ 8497 w 10000"/>
                <a:gd name="connsiteY16" fmla="*/ 219 h 10014"/>
                <a:gd name="connsiteX17" fmla="*/ 8272 w 10000"/>
                <a:gd name="connsiteY17" fmla="*/ 0 h 10014"/>
                <a:gd name="connsiteX18" fmla="*/ 7821 w 10000"/>
                <a:gd name="connsiteY18" fmla="*/ 293 h 10014"/>
                <a:gd name="connsiteX19" fmla="*/ 7370 w 10000"/>
                <a:gd name="connsiteY19" fmla="*/ 729 h 10014"/>
                <a:gd name="connsiteX20" fmla="*/ 6769 w 10000"/>
                <a:gd name="connsiteY20" fmla="*/ 729 h 10014"/>
                <a:gd name="connsiteX21" fmla="*/ 5717 w 10000"/>
                <a:gd name="connsiteY21" fmla="*/ 729 h 10014"/>
                <a:gd name="connsiteX22" fmla="*/ 5717 w 10000"/>
                <a:gd name="connsiteY22" fmla="*/ 658 h 10014"/>
                <a:gd name="connsiteX23" fmla="*/ 5643 w 10000"/>
                <a:gd name="connsiteY23" fmla="*/ 729 h 10014"/>
                <a:gd name="connsiteX24" fmla="*/ 1961 w 10000"/>
                <a:gd name="connsiteY24" fmla="*/ 729 h 10014"/>
                <a:gd name="connsiteX25" fmla="*/ 1961 w 10000"/>
                <a:gd name="connsiteY25" fmla="*/ 2263 h 10014"/>
                <a:gd name="connsiteX26" fmla="*/ 1285 w 10000"/>
                <a:gd name="connsiteY26" fmla="*/ 2263 h 10014"/>
                <a:gd name="connsiteX27" fmla="*/ 1285 w 10000"/>
                <a:gd name="connsiteY27" fmla="*/ 2556 h 10014"/>
                <a:gd name="connsiteX28" fmla="*/ 1285 w 10000"/>
                <a:gd name="connsiteY28" fmla="*/ 5179 h 10014"/>
                <a:gd name="connsiteX29" fmla="*/ 1135 w 10000"/>
                <a:gd name="connsiteY29" fmla="*/ 5327 h 10014"/>
                <a:gd name="connsiteX30" fmla="*/ 684 w 10000"/>
                <a:gd name="connsiteY30" fmla="*/ 5621 h 10014"/>
                <a:gd name="connsiteX31" fmla="*/ 609 w 10000"/>
                <a:gd name="connsiteY31" fmla="*/ 5986 h 10014"/>
                <a:gd name="connsiteX32" fmla="*/ 384 w 10000"/>
                <a:gd name="connsiteY32" fmla="*/ 6351 h 10014"/>
                <a:gd name="connsiteX33" fmla="*/ 234 w 10000"/>
                <a:gd name="connsiteY33" fmla="*/ 6935 h 10014"/>
                <a:gd name="connsiteX34" fmla="*/ 8 w 10000"/>
                <a:gd name="connsiteY34" fmla="*/ 7593 h 10014"/>
                <a:gd name="connsiteX35" fmla="*/ 384 w 10000"/>
                <a:gd name="connsiteY35" fmla="*/ 7664 h 10014"/>
                <a:gd name="connsiteX36" fmla="*/ 458 w 10000"/>
                <a:gd name="connsiteY36" fmla="*/ 8245 h 10014"/>
                <a:gd name="connsiteX37" fmla="*/ 684 w 10000"/>
                <a:gd name="connsiteY37" fmla="*/ 8831 h 10014"/>
                <a:gd name="connsiteX38" fmla="*/ 1059 w 10000"/>
                <a:gd name="connsiteY38" fmla="*/ 10000 h 10014"/>
                <a:gd name="connsiteX39" fmla="*/ 2394 w 10000"/>
                <a:gd name="connsiteY39" fmla="*/ 9237 h 10014"/>
                <a:gd name="connsiteX40" fmla="*/ 2566 w 10000"/>
                <a:gd name="connsiteY40" fmla="*/ 9433 h 10014"/>
                <a:gd name="connsiteX41" fmla="*/ 2721 w 10000"/>
                <a:gd name="connsiteY41" fmla="*/ 9592 h 10014"/>
                <a:gd name="connsiteX42" fmla="*/ 2979 w 10000"/>
                <a:gd name="connsiteY42" fmla="*/ 9527 h 10014"/>
                <a:gd name="connsiteX43" fmla="*/ 3757 w 10000"/>
                <a:gd name="connsiteY43" fmla="*/ 9508 h 10014"/>
                <a:gd name="connsiteX44" fmla="*/ 3863 w 10000"/>
                <a:gd name="connsiteY44" fmla="*/ 9778 h 10014"/>
                <a:gd name="connsiteX45" fmla="*/ 4219 w 10000"/>
                <a:gd name="connsiteY45" fmla="*/ 9620 h 10014"/>
                <a:gd name="connsiteX46" fmla="*/ 4373 w 10000"/>
                <a:gd name="connsiteY46" fmla="*/ 9293 h 10014"/>
                <a:gd name="connsiteX47" fmla="*/ 5064 w 10000"/>
                <a:gd name="connsiteY47" fmla="*/ 9311 h 10014"/>
                <a:gd name="connsiteX48" fmla="*/ 5457 w 10000"/>
                <a:gd name="connsiteY48" fmla="*/ 8984 h 10014"/>
                <a:gd name="connsiteX49" fmla="*/ 5884 w 10000"/>
                <a:gd name="connsiteY49" fmla="*/ 8740 h 10014"/>
                <a:gd name="connsiteX50" fmla="*/ 6040 w 10000"/>
                <a:gd name="connsiteY50" fmla="*/ 8368 h 10014"/>
                <a:gd name="connsiteX51" fmla="*/ 6382 w 10000"/>
                <a:gd name="connsiteY51" fmla="*/ 7982 h 10014"/>
                <a:gd name="connsiteX52" fmla="*/ 6428 w 10000"/>
                <a:gd name="connsiteY52" fmla="*/ 8181 h 10014"/>
                <a:gd name="connsiteX53" fmla="*/ 6444 w 10000"/>
                <a:gd name="connsiteY53" fmla="*/ 8428 h 10014"/>
                <a:gd name="connsiteX54" fmla="*/ 6766 w 10000"/>
                <a:gd name="connsiteY54" fmla="*/ 9268 h 10014"/>
                <a:gd name="connsiteX0" fmla="*/ 7446 w 10000"/>
                <a:gd name="connsiteY0" fmla="val 5000"/>
                <a:gd name="connsiteX1" fmla="*/ 7446 w 10000"/>
                <a:gd name="connsiteY1" fmla="*/ 8978 h 10009"/>
                <a:gd name="connsiteX2" fmla="*/ 7821 w 10000"/>
                <a:gd name="connsiteY2" fmla="*/ 8978 h 10009"/>
                <a:gd name="connsiteX3" fmla="*/ 8047 w 10000"/>
                <a:gd name="connsiteY3" fmla="*/ 8029 h 10009"/>
                <a:gd name="connsiteX4" fmla="*/ 8648 w 10000"/>
                <a:gd name="connsiteY4" fmla="*/ 7444 h 10009"/>
                <a:gd name="connsiteX5" fmla="*/ 8873 w 10000"/>
                <a:gd name="connsiteY5" fmla="*/ 6351 h 10009"/>
                <a:gd name="connsiteX6" fmla="*/ 8722 w 10000"/>
                <a:gd name="connsiteY6" fmla="*/ 5768 h 10009"/>
                <a:gd name="connsiteX7" fmla="*/ 9098 w 10000"/>
                <a:gd name="connsiteY7" fmla="*/ 4525 h 10009"/>
                <a:gd name="connsiteX8" fmla="*/ 9399 w 10000"/>
                <a:gd name="connsiteY8" fmla="*/ 4160 h 10009"/>
                <a:gd name="connsiteX9" fmla="*/ 10000 w 10000"/>
                <a:gd name="connsiteY9" fmla="*/ 3576 h 10009"/>
                <a:gd name="connsiteX10" fmla="*/ 9774 w 10000"/>
                <a:gd name="connsiteY10" fmla="*/ 3502 h 10009"/>
                <a:gd name="connsiteX11" fmla="*/ 9399 w 10000"/>
                <a:gd name="connsiteY11" fmla="*/ 3140 h 10009"/>
                <a:gd name="connsiteX12" fmla="*/ 9173 w 10000"/>
                <a:gd name="connsiteY12" fmla="*/ 2044 h 10009"/>
                <a:gd name="connsiteX13" fmla="*/ 9173 w 10000"/>
                <a:gd name="connsiteY13" fmla="*/ 1460 h 10009"/>
                <a:gd name="connsiteX14" fmla="*/ 9098 w 10000"/>
                <a:gd name="connsiteY14" fmla="*/ 729 h 10009"/>
                <a:gd name="connsiteX15" fmla="*/ 8873 w 10000"/>
                <a:gd name="connsiteY15" fmla="*/ 511 h 10009"/>
                <a:gd name="connsiteX16" fmla="*/ 8497 w 10000"/>
                <a:gd name="connsiteY16" fmla="*/ 219 h 10009"/>
                <a:gd name="connsiteX17" fmla="*/ 8272 w 10000"/>
                <a:gd name="connsiteY17" fmla="*/ 0 h 10009"/>
                <a:gd name="connsiteX18" fmla="*/ 7821 w 10000"/>
                <a:gd name="connsiteY18" fmla="*/ 293 h 10009"/>
                <a:gd name="connsiteX19" fmla="*/ 7370 w 10000"/>
                <a:gd name="connsiteY19" fmla="*/ 729 h 10009"/>
                <a:gd name="connsiteX20" fmla="*/ 6769 w 10000"/>
                <a:gd name="connsiteY20" fmla="*/ 729 h 10009"/>
                <a:gd name="connsiteX21" fmla="*/ 5717 w 10000"/>
                <a:gd name="connsiteY21" fmla="*/ 729 h 10009"/>
                <a:gd name="connsiteX22" fmla="*/ 5717 w 10000"/>
                <a:gd name="connsiteY22" fmla="*/ 658 h 10009"/>
                <a:gd name="connsiteX23" fmla="*/ 5643 w 10000"/>
                <a:gd name="connsiteY23" fmla="*/ 729 h 10009"/>
                <a:gd name="connsiteX24" fmla="*/ 1961 w 10000"/>
                <a:gd name="connsiteY24" fmla="*/ 729 h 10009"/>
                <a:gd name="connsiteX25" fmla="*/ 1961 w 10000"/>
                <a:gd name="connsiteY25" fmla="*/ 2263 h 10009"/>
                <a:gd name="connsiteX26" fmla="*/ 1285 w 10000"/>
                <a:gd name="connsiteY26" fmla="*/ 2263 h 10009"/>
                <a:gd name="connsiteX27" fmla="*/ 1285 w 10000"/>
                <a:gd name="connsiteY27" fmla="*/ 2556 h 10009"/>
                <a:gd name="connsiteX28" fmla="*/ 1285 w 10000"/>
                <a:gd name="connsiteY28" fmla="*/ 5179 h 10009"/>
                <a:gd name="connsiteX29" fmla="*/ 1135 w 10000"/>
                <a:gd name="connsiteY29" fmla="*/ 5327 h 10009"/>
                <a:gd name="connsiteX30" fmla="*/ 684 w 10000"/>
                <a:gd name="connsiteY30" fmla="*/ 5621 h 10009"/>
                <a:gd name="connsiteX31" fmla="*/ 609 w 10000"/>
                <a:gd name="connsiteY31" fmla="*/ 5986 h 10009"/>
                <a:gd name="connsiteX32" fmla="*/ 384 w 10000"/>
                <a:gd name="connsiteY32" fmla="*/ 6351 h 10009"/>
                <a:gd name="connsiteX33" fmla="*/ 234 w 10000"/>
                <a:gd name="connsiteY33" fmla="*/ 6935 h 10009"/>
                <a:gd name="connsiteX34" fmla="*/ 8 w 10000"/>
                <a:gd name="connsiteY34" fmla="*/ 7593 h 10009"/>
                <a:gd name="connsiteX35" fmla="*/ 384 w 10000"/>
                <a:gd name="connsiteY35" fmla="*/ 7664 h 10009"/>
                <a:gd name="connsiteX36" fmla="*/ 458 w 10000"/>
                <a:gd name="connsiteY36" fmla="*/ 8245 h 10009"/>
                <a:gd name="connsiteX37" fmla="*/ 684 w 10000"/>
                <a:gd name="connsiteY37" fmla="*/ 8831 h 10009"/>
                <a:gd name="connsiteX38" fmla="*/ 1059 w 10000"/>
                <a:gd name="connsiteY38" fmla="*/ 10000 h 10009"/>
                <a:gd name="connsiteX39" fmla="*/ 2394 w 10000"/>
                <a:gd name="connsiteY39" fmla="*/ 9237 h 10009"/>
                <a:gd name="connsiteX40" fmla="*/ 2566 w 10000"/>
                <a:gd name="connsiteY40" fmla="*/ 9433 h 10009"/>
                <a:gd name="connsiteX41" fmla="*/ 2721 w 10000"/>
                <a:gd name="connsiteY41" fmla="*/ 9592 h 10009"/>
                <a:gd name="connsiteX42" fmla="*/ 2979 w 10000"/>
                <a:gd name="connsiteY42" fmla="*/ 9527 h 10009"/>
                <a:gd name="connsiteX43" fmla="*/ 3757 w 10000"/>
                <a:gd name="connsiteY43" fmla="*/ 9508 h 10009"/>
                <a:gd name="connsiteX44" fmla="*/ 3863 w 10000"/>
                <a:gd name="connsiteY44" fmla="*/ 9778 h 10009"/>
                <a:gd name="connsiteX45" fmla="*/ 4219 w 10000"/>
                <a:gd name="connsiteY45" fmla="*/ 9620 h 10009"/>
                <a:gd name="connsiteX46" fmla="*/ 4373 w 10000"/>
                <a:gd name="connsiteY46" fmla="*/ 9293 h 10009"/>
                <a:gd name="connsiteX47" fmla="*/ 5064 w 10000"/>
                <a:gd name="connsiteY47" fmla="*/ 9311 h 10009"/>
                <a:gd name="connsiteX48" fmla="*/ 5457 w 10000"/>
                <a:gd name="connsiteY48" fmla="*/ 8984 h 10009"/>
                <a:gd name="connsiteX49" fmla="*/ 5884 w 10000"/>
                <a:gd name="connsiteY49" fmla="*/ 8740 h 10009"/>
                <a:gd name="connsiteX50" fmla="*/ 6040 w 10000"/>
                <a:gd name="connsiteY50" fmla="*/ 8368 h 10009"/>
                <a:gd name="connsiteX51" fmla="*/ 6382 w 10000"/>
                <a:gd name="connsiteY51" fmla="*/ 7982 h 10009"/>
                <a:gd name="connsiteX52" fmla="*/ 6428 w 10000"/>
                <a:gd name="connsiteY52" fmla="*/ 8181 h 10009"/>
                <a:gd name="connsiteX53" fmla="*/ 6444 w 10000"/>
                <a:gd name="connsiteY53" fmla="*/ 8428 h 10009"/>
                <a:gd name="connsiteX54" fmla="*/ 6766 w 10000"/>
                <a:gd name="connsiteY54" fmla="*/ 9268 h 10009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1817 w 10000"/>
                <a:gd name="connsiteY39" fmla="*/ 906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28"/>
                <a:gd name="connsiteX1" fmla="*/ 7446 w 10000"/>
                <a:gd name="connsiteY1" fmla="*/ 8978 h 10028"/>
                <a:gd name="connsiteX2" fmla="*/ 7821 w 10000"/>
                <a:gd name="connsiteY2" fmla="*/ 8978 h 10028"/>
                <a:gd name="connsiteX3" fmla="*/ 8047 w 10000"/>
                <a:gd name="connsiteY3" fmla="*/ 8029 h 10028"/>
                <a:gd name="connsiteX4" fmla="*/ 8648 w 10000"/>
                <a:gd name="connsiteY4" fmla="*/ 7444 h 10028"/>
                <a:gd name="connsiteX5" fmla="*/ 8873 w 10000"/>
                <a:gd name="connsiteY5" fmla="*/ 6351 h 10028"/>
                <a:gd name="connsiteX6" fmla="*/ 8722 w 10000"/>
                <a:gd name="connsiteY6" fmla="*/ 5768 h 10028"/>
                <a:gd name="connsiteX7" fmla="*/ 9098 w 10000"/>
                <a:gd name="connsiteY7" fmla="*/ 4525 h 10028"/>
                <a:gd name="connsiteX8" fmla="*/ 9399 w 10000"/>
                <a:gd name="connsiteY8" fmla="*/ 4160 h 10028"/>
                <a:gd name="connsiteX9" fmla="*/ 10000 w 10000"/>
                <a:gd name="connsiteY9" fmla="*/ 3576 h 10028"/>
                <a:gd name="connsiteX10" fmla="*/ 9774 w 10000"/>
                <a:gd name="connsiteY10" fmla="*/ 3502 h 10028"/>
                <a:gd name="connsiteX11" fmla="*/ 9399 w 10000"/>
                <a:gd name="connsiteY11" fmla="*/ 3140 h 10028"/>
                <a:gd name="connsiteX12" fmla="*/ 9173 w 10000"/>
                <a:gd name="connsiteY12" fmla="*/ 2044 h 10028"/>
                <a:gd name="connsiteX13" fmla="*/ 9173 w 10000"/>
                <a:gd name="connsiteY13" fmla="*/ 1460 h 10028"/>
                <a:gd name="connsiteX14" fmla="*/ 9098 w 10000"/>
                <a:gd name="connsiteY14" fmla="*/ 729 h 10028"/>
                <a:gd name="connsiteX15" fmla="*/ 8873 w 10000"/>
                <a:gd name="connsiteY15" fmla="*/ 511 h 10028"/>
                <a:gd name="connsiteX16" fmla="*/ 8497 w 10000"/>
                <a:gd name="connsiteY16" fmla="*/ 219 h 10028"/>
                <a:gd name="connsiteX17" fmla="*/ 8272 w 10000"/>
                <a:gd name="connsiteY17" fmla="*/ 0 h 10028"/>
                <a:gd name="connsiteX18" fmla="*/ 7821 w 10000"/>
                <a:gd name="connsiteY18" fmla="*/ 293 h 10028"/>
                <a:gd name="connsiteX19" fmla="*/ 7370 w 10000"/>
                <a:gd name="connsiteY19" fmla="*/ 729 h 10028"/>
                <a:gd name="connsiteX20" fmla="*/ 6769 w 10000"/>
                <a:gd name="connsiteY20" fmla="*/ 729 h 10028"/>
                <a:gd name="connsiteX21" fmla="*/ 5717 w 10000"/>
                <a:gd name="connsiteY21" fmla="*/ 729 h 10028"/>
                <a:gd name="connsiteX22" fmla="*/ 5717 w 10000"/>
                <a:gd name="connsiteY22" fmla="*/ 658 h 10028"/>
                <a:gd name="connsiteX23" fmla="*/ 5643 w 10000"/>
                <a:gd name="connsiteY23" fmla="*/ 729 h 10028"/>
                <a:gd name="connsiteX24" fmla="*/ 1961 w 10000"/>
                <a:gd name="connsiteY24" fmla="*/ 729 h 10028"/>
                <a:gd name="connsiteX25" fmla="*/ 1961 w 10000"/>
                <a:gd name="connsiteY25" fmla="*/ 2263 h 10028"/>
                <a:gd name="connsiteX26" fmla="*/ 1285 w 10000"/>
                <a:gd name="connsiteY26" fmla="*/ 2263 h 10028"/>
                <a:gd name="connsiteX27" fmla="*/ 1285 w 10000"/>
                <a:gd name="connsiteY27" fmla="*/ 2556 h 10028"/>
                <a:gd name="connsiteX28" fmla="*/ 1285 w 10000"/>
                <a:gd name="connsiteY28" fmla="*/ 5179 h 10028"/>
                <a:gd name="connsiteX29" fmla="*/ 1135 w 10000"/>
                <a:gd name="connsiteY29" fmla="*/ 5327 h 10028"/>
                <a:gd name="connsiteX30" fmla="*/ 684 w 10000"/>
                <a:gd name="connsiteY30" fmla="*/ 5621 h 10028"/>
                <a:gd name="connsiteX31" fmla="*/ 609 w 10000"/>
                <a:gd name="connsiteY31" fmla="*/ 5986 h 10028"/>
                <a:gd name="connsiteX32" fmla="*/ 384 w 10000"/>
                <a:gd name="connsiteY32" fmla="*/ 6351 h 10028"/>
                <a:gd name="connsiteX33" fmla="*/ 234 w 10000"/>
                <a:gd name="connsiteY33" fmla="*/ 6935 h 10028"/>
                <a:gd name="connsiteX34" fmla="*/ 8 w 10000"/>
                <a:gd name="connsiteY34" fmla="*/ 7593 h 10028"/>
                <a:gd name="connsiteX35" fmla="*/ 384 w 10000"/>
                <a:gd name="connsiteY35" fmla="*/ 7664 h 10028"/>
                <a:gd name="connsiteX36" fmla="*/ 458 w 10000"/>
                <a:gd name="connsiteY36" fmla="*/ 8245 h 10028"/>
                <a:gd name="connsiteX37" fmla="*/ 684 w 10000"/>
                <a:gd name="connsiteY37" fmla="*/ 8831 h 10028"/>
                <a:gd name="connsiteX38" fmla="*/ 1059 w 10000"/>
                <a:gd name="connsiteY38" fmla="*/ 10000 h 10028"/>
                <a:gd name="connsiteX39" fmla="*/ 1817 w 10000"/>
                <a:gd name="connsiteY39" fmla="*/ 9069 h 10028"/>
                <a:gd name="connsiteX40" fmla="*/ 2566 w 10000"/>
                <a:gd name="connsiteY40" fmla="*/ 9433 h 10028"/>
                <a:gd name="connsiteX41" fmla="*/ 2605 w 10000"/>
                <a:gd name="connsiteY41" fmla="*/ 9461 h 10028"/>
                <a:gd name="connsiteX42" fmla="*/ 2721 w 10000"/>
                <a:gd name="connsiteY42" fmla="*/ 9592 h 10028"/>
                <a:gd name="connsiteX43" fmla="*/ 2979 w 10000"/>
                <a:gd name="connsiteY43" fmla="*/ 9527 h 10028"/>
                <a:gd name="connsiteX44" fmla="*/ 3757 w 10000"/>
                <a:gd name="connsiteY44" fmla="*/ 9508 h 10028"/>
                <a:gd name="connsiteX45" fmla="*/ 3863 w 10000"/>
                <a:gd name="connsiteY45" fmla="*/ 9778 h 10028"/>
                <a:gd name="connsiteX46" fmla="*/ 4219 w 10000"/>
                <a:gd name="connsiteY46" fmla="*/ 9620 h 10028"/>
                <a:gd name="connsiteX47" fmla="*/ 4373 w 10000"/>
                <a:gd name="connsiteY47" fmla="*/ 9293 h 10028"/>
                <a:gd name="connsiteX48" fmla="*/ 5064 w 10000"/>
                <a:gd name="connsiteY48" fmla="*/ 9311 h 10028"/>
                <a:gd name="connsiteX49" fmla="*/ 5457 w 10000"/>
                <a:gd name="connsiteY49" fmla="*/ 8984 h 10028"/>
                <a:gd name="connsiteX50" fmla="*/ 5884 w 10000"/>
                <a:gd name="connsiteY50" fmla="*/ 8740 h 10028"/>
                <a:gd name="connsiteX51" fmla="*/ 6040 w 10000"/>
                <a:gd name="connsiteY51" fmla="*/ 8368 h 10028"/>
                <a:gd name="connsiteX52" fmla="*/ 6382 w 10000"/>
                <a:gd name="connsiteY52" fmla="*/ 7982 h 10028"/>
                <a:gd name="connsiteX53" fmla="*/ 6428 w 10000"/>
                <a:gd name="connsiteY53" fmla="*/ 8181 h 10028"/>
                <a:gd name="connsiteX54" fmla="*/ 6444 w 10000"/>
                <a:gd name="connsiteY54" fmla="*/ 8428 h 10028"/>
                <a:gd name="connsiteX55" fmla="*/ 6766 w 10000"/>
                <a:gd name="connsiteY55" fmla="*/ 9268 h 10028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50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47 w 10000"/>
                <a:gd name="connsiteY41" fmla="*/ 9256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01 w 10000"/>
                <a:gd name="connsiteY41" fmla="*/ 9069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000" h="10000">
                  <a:moveTo>
                    <a:pt x="7446" y="9488"/>
                  </a:moveTo>
                  <a:cubicBezTo>
                    <a:pt x="7596" y="9168"/>
                    <a:pt x="7370" y="9271"/>
                    <a:pt x="7446" y="8978"/>
                  </a:cubicBezTo>
                  <a:cubicBezTo>
                    <a:pt x="7671" y="8613"/>
                    <a:pt x="7671" y="9051"/>
                    <a:pt x="7821" y="8978"/>
                  </a:cubicBezTo>
                  <a:cubicBezTo>
                    <a:pt x="7896" y="8831"/>
                    <a:pt x="7821" y="8245"/>
                    <a:pt x="8047" y="8029"/>
                  </a:cubicBezTo>
                  <a:cubicBezTo>
                    <a:pt x="8272" y="7956"/>
                    <a:pt x="8197" y="7444"/>
                    <a:pt x="8648" y="7444"/>
                  </a:cubicBezTo>
                  <a:cubicBezTo>
                    <a:pt x="8497" y="7153"/>
                    <a:pt x="8722" y="7006"/>
                    <a:pt x="8873" y="6351"/>
                  </a:cubicBezTo>
                  <a:cubicBezTo>
                    <a:pt x="8873" y="6131"/>
                    <a:pt x="8648" y="5912"/>
                    <a:pt x="8722" y="5768"/>
                  </a:cubicBezTo>
                  <a:cubicBezTo>
                    <a:pt x="8873" y="5547"/>
                    <a:pt x="9098" y="5179"/>
                    <a:pt x="9098" y="4525"/>
                  </a:cubicBezTo>
                  <a:cubicBezTo>
                    <a:pt x="8948" y="4086"/>
                    <a:pt x="9173" y="4599"/>
                    <a:pt x="9399" y="4160"/>
                  </a:cubicBezTo>
                  <a:cubicBezTo>
                    <a:pt x="9549" y="3942"/>
                    <a:pt x="9774" y="4306"/>
                    <a:pt x="10000" y="3576"/>
                  </a:cubicBezTo>
                  <a:cubicBezTo>
                    <a:pt x="10000" y="3502"/>
                    <a:pt x="9850" y="3357"/>
                    <a:pt x="9774" y="3502"/>
                  </a:cubicBezTo>
                  <a:cubicBezTo>
                    <a:pt x="9624" y="3502"/>
                    <a:pt x="9624" y="3140"/>
                    <a:pt x="9399" y="3140"/>
                  </a:cubicBezTo>
                  <a:cubicBezTo>
                    <a:pt x="9323" y="3285"/>
                    <a:pt x="9098" y="2117"/>
                    <a:pt x="9173" y="2044"/>
                  </a:cubicBezTo>
                  <a:cubicBezTo>
                    <a:pt x="9323" y="1678"/>
                    <a:pt x="8948" y="1460"/>
                    <a:pt x="9173" y="1460"/>
                  </a:cubicBezTo>
                  <a:cubicBezTo>
                    <a:pt x="9399" y="1533"/>
                    <a:pt x="9098" y="1311"/>
                    <a:pt x="9098" y="729"/>
                  </a:cubicBezTo>
                  <a:cubicBezTo>
                    <a:pt x="8948" y="658"/>
                    <a:pt x="8948" y="511"/>
                    <a:pt x="8873" y="511"/>
                  </a:cubicBezTo>
                  <a:cubicBezTo>
                    <a:pt x="8648" y="511"/>
                    <a:pt x="8722" y="219"/>
                    <a:pt x="8497" y="219"/>
                  </a:cubicBezTo>
                  <a:cubicBezTo>
                    <a:pt x="8422" y="219"/>
                    <a:pt x="8272" y="74"/>
                    <a:pt x="8272" y="0"/>
                  </a:cubicBezTo>
                  <a:cubicBezTo>
                    <a:pt x="8047" y="293"/>
                    <a:pt x="7896" y="0"/>
                    <a:pt x="7821" y="293"/>
                  </a:cubicBezTo>
                  <a:cubicBezTo>
                    <a:pt x="7671" y="658"/>
                    <a:pt x="7446" y="511"/>
                    <a:pt x="7370" y="729"/>
                  </a:cubicBezTo>
                  <a:cubicBezTo>
                    <a:pt x="7220" y="1021"/>
                    <a:pt x="6995" y="1094"/>
                    <a:pt x="6769" y="729"/>
                  </a:cubicBezTo>
                  <a:lnTo>
                    <a:pt x="5717" y="729"/>
                  </a:lnTo>
                  <a:lnTo>
                    <a:pt x="5717" y="658"/>
                  </a:lnTo>
                  <a:cubicBezTo>
                    <a:pt x="5692" y="681"/>
                    <a:pt x="5668" y="707"/>
                    <a:pt x="5643" y="729"/>
                  </a:cubicBezTo>
                  <a:lnTo>
                    <a:pt x="1961" y="729"/>
                  </a:lnTo>
                  <a:lnTo>
                    <a:pt x="1961" y="2263"/>
                  </a:lnTo>
                  <a:lnTo>
                    <a:pt x="1285" y="2263"/>
                  </a:lnTo>
                  <a:lnTo>
                    <a:pt x="1285" y="2556"/>
                  </a:lnTo>
                  <a:lnTo>
                    <a:pt x="1285" y="5179"/>
                  </a:lnTo>
                  <a:lnTo>
                    <a:pt x="1135" y="5327"/>
                  </a:lnTo>
                  <a:cubicBezTo>
                    <a:pt x="909" y="5327"/>
                    <a:pt x="684" y="5327"/>
                    <a:pt x="684" y="5621"/>
                  </a:cubicBezTo>
                  <a:cubicBezTo>
                    <a:pt x="684" y="5986"/>
                    <a:pt x="458" y="5768"/>
                    <a:pt x="609" y="5986"/>
                  </a:cubicBezTo>
                  <a:cubicBezTo>
                    <a:pt x="609" y="6351"/>
                    <a:pt x="234" y="5986"/>
                    <a:pt x="384" y="6351"/>
                  </a:cubicBezTo>
                  <a:cubicBezTo>
                    <a:pt x="609" y="6642"/>
                    <a:pt x="8" y="6568"/>
                    <a:pt x="234" y="6935"/>
                  </a:cubicBezTo>
                  <a:cubicBezTo>
                    <a:pt x="458" y="7225"/>
                    <a:pt x="-67" y="7225"/>
                    <a:pt x="8" y="7593"/>
                  </a:cubicBezTo>
                  <a:cubicBezTo>
                    <a:pt x="158" y="7664"/>
                    <a:pt x="384" y="7371"/>
                    <a:pt x="384" y="7664"/>
                  </a:cubicBezTo>
                  <a:cubicBezTo>
                    <a:pt x="384" y="8029"/>
                    <a:pt x="458" y="7956"/>
                    <a:pt x="458" y="8245"/>
                  </a:cubicBezTo>
                  <a:cubicBezTo>
                    <a:pt x="458" y="8613"/>
                    <a:pt x="835" y="8392"/>
                    <a:pt x="684" y="8831"/>
                  </a:cubicBezTo>
                  <a:cubicBezTo>
                    <a:pt x="765" y="8992"/>
                    <a:pt x="920" y="9042"/>
                    <a:pt x="982" y="9237"/>
                  </a:cubicBezTo>
                  <a:cubicBezTo>
                    <a:pt x="1044" y="9432"/>
                    <a:pt x="1186" y="9449"/>
                    <a:pt x="1059" y="10000"/>
                  </a:cubicBezTo>
                  <a:cubicBezTo>
                    <a:pt x="1163" y="9440"/>
                    <a:pt x="1836" y="9946"/>
                    <a:pt x="1578" y="9153"/>
                  </a:cubicBezTo>
                  <a:cubicBezTo>
                    <a:pt x="1379" y="8778"/>
                    <a:pt x="2034" y="8798"/>
                    <a:pt x="2076" y="8799"/>
                  </a:cubicBezTo>
                  <a:cubicBezTo>
                    <a:pt x="2250" y="8835"/>
                    <a:pt x="2175" y="8947"/>
                    <a:pt x="2250" y="9060"/>
                  </a:cubicBezTo>
                  <a:cubicBezTo>
                    <a:pt x="2287" y="9201"/>
                    <a:pt x="2570" y="9088"/>
                    <a:pt x="2605" y="9461"/>
                  </a:cubicBezTo>
                  <a:cubicBezTo>
                    <a:pt x="2688" y="9582"/>
                    <a:pt x="2654" y="9583"/>
                    <a:pt x="2721" y="9592"/>
                  </a:cubicBezTo>
                  <a:cubicBezTo>
                    <a:pt x="2788" y="9601"/>
                    <a:pt x="2834" y="9598"/>
                    <a:pt x="2979" y="9527"/>
                  </a:cubicBezTo>
                  <a:cubicBezTo>
                    <a:pt x="3195" y="9495"/>
                    <a:pt x="3447" y="9466"/>
                    <a:pt x="3757" y="9508"/>
                  </a:cubicBezTo>
                  <a:cubicBezTo>
                    <a:pt x="3870" y="9662"/>
                    <a:pt x="3740" y="9750"/>
                    <a:pt x="3863" y="9778"/>
                  </a:cubicBezTo>
                  <a:cubicBezTo>
                    <a:pt x="3938" y="9834"/>
                    <a:pt x="4239" y="9749"/>
                    <a:pt x="4219" y="9620"/>
                  </a:cubicBezTo>
                  <a:cubicBezTo>
                    <a:pt x="4362" y="9594"/>
                    <a:pt x="4191" y="9348"/>
                    <a:pt x="4373" y="9293"/>
                  </a:cubicBezTo>
                  <a:cubicBezTo>
                    <a:pt x="4851" y="9186"/>
                    <a:pt x="4698" y="9336"/>
                    <a:pt x="5064" y="9311"/>
                  </a:cubicBezTo>
                  <a:cubicBezTo>
                    <a:pt x="5266" y="9314"/>
                    <a:pt x="5218" y="8965"/>
                    <a:pt x="5457" y="8984"/>
                  </a:cubicBezTo>
                  <a:cubicBezTo>
                    <a:pt x="5797" y="9049"/>
                    <a:pt x="6015" y="9089"/>
                    <a:pt x="5884" y="8740"/>
                  </a:cubicBezTo>
                  <a:cubicBezTo>
                    <a:pt x="5964" y="8593"/>
                    <a:pt x="6043" y="8363"/>
                    <a:pt x="6040" y="8368"/>
                  </a:cubicBezTo>
                  <a:cubicBezTo>
                    <a:pt x="6032" y="8083"/>
                    <a:pt x="6101" y="8080"/>
                    <a:pt x="6382" y="7982"/>
                  </a:cubicBezTo>
                  <a:cubicBezTo>
                    <a:pt x="6464" y="8031"/>
                    <a:pt x="6373" y="8102"/>
                    <a:pt x="6428" y="8181"/>
                  </a:cubicBezTo>
                  <a:cubicBezTo>
                    <a:pt x="6437" y="8304"/>
                    <a:pt x="6435" y="8305"/>
                    <a:pt x="6444" y="8428"/>
                  </a:cubicBezTo>
                  <a:cubicBezTo>
                    <a:pt x="6530" y="9042"/>
                    <a:pt x="6771" y="9273"/>
                    <a:pt x="6766" y="9268"/>
                  </a:cubicBezTo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 sz="78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>
            <a:noAutofit/>
          </a:bodyPr>
          <a:lstStyle/>
          <a:p>
            <a:r>
              <a:rPr lang="uk-UA" sz="1800" dirty="0" smtClean="0"/>
              <a:t>Додаток 1: базові принципи </a:t>
            </a:r>
            <a:r>
              <a:rPr lang="uk-UA" sz="1800" dirty="0"/>
              <a:t>протидії </a:t>
            </a:r>
            <a:r>
              <a:rPr lang="en-US" sz="1800" dirty="0"/>
              <a:t>BEPS</a:t>
            </a:r>
            <a:endParaRPr lang="uk-UA" sz="1800" dirty="0"/>
          </a:p>
        </p:txBody>
      </p:sp>
      <p:sp>
        <p:nvSpPr>
          <p:cNvPr id="319" name="Rectangle 76"/>
          <p:cNvSpPr/>
          <p:nvPr/>
        </p:nvSpPr>
        <p:spPr>
          <a:xfrm>
            <a:off x="3170932" y="3472248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2" name="Rectangle 79"/>
          <p:cNvSpPr/>
          <p:nvPr/>
        </p:nvSpPr>
        <p:spPr>
          <a:xfrm>
            <a:off x="7261687" y="3485921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1" name="Rectangle 83"/>
          <p:cNvSpPr/>
          <p:nvPr/>
        </p:nvSpPr>
        <p:spPr>
          <a:xfrm>
            <a:off x="1468081" y="5579370"/>
            <a:ext cx="32615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uk-UA" sz="9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ходи, передбачені в законопроекті </a:t>
            </a:r>
            <a:endParaRPr lang="en-US" sz="9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fontAlgn="base"/>
            <a:r>
              <a:rPr lang="uk-UA" sz="9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Про впровадження заходів з протидії БЕПС»</a:t>
            </a:r>
            <a:endParaRPr lang="en-US" sz="9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42" name="Rectangle 79"/>
          <p:cNvSpPr/>
          <p:nvPr/>
        </p:nvSpPr>
        <p:spPr>
          <a:xfrm>
            <a:off x="8262000" y="1782761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4" name="Rectangle 78"/>
          <p:cNvSpPr/>
          <p:nvPr/>
        </p:nvSpPr>
        <p:spPr>
          <a:xfrm>
            <a:off x="2698869" y="3185167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5" name="Rectangle 78"/>
          <p:cNvSpPr/>
          <p:nvPr/>
        </p:nvSpPr>
        <p:spPr>
          <a:xfrm>
            <a:off x="2698869" y="3888048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6" name="Rectangle 78"/>
          <p:cNvSpPr/>
          <p:nvPr/>
        </p:nvSpPr>
        <p:spPr>
          <a:xfrm>
            <a:off x="8247343" y="3148208"/>
            <a:ext cx="365806" cy="369332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sym typeface="Wingdings" pitchFamily="2" charset="2"/>
              </a:rPr>
              <a:t>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8" name="Rounded Rectangle 26"/>
          <p:cNvSpPr>
            <a:spLocks noChangeArrowheads="1"/>
          </p:cNvSpPr>
          <p:nvPr/>
        </p:nvSpPr>
        <p:spPr bwMode="auto">
          <a:xfrm>
            <a:off x="999437" y="1759019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</a:pP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Врегулюва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питань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оподаткува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цифрової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економіки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9" name="Rounded Rectangle 26"/>
          <p:cNvSpPr>
            <a:spLocks noChangeArrowheads="1"/>
          </p:cNvSpPr>
          <p:nvPr/>
        </p:nvSpPr>
        <p:spPr bwMode="auto">
          <a:xfrm>
            <a:off x="999437" y="2461019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Усуне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розбіжностей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оподаткуванні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гібридних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інструментів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0" name="Rounded Rectangle 26"/>
          <p:cNvSpPr>
            <a:spLocks noChangeArrowheads="1"/>
          </p:cNvSpPr>
          <p:nvPr/>
        </p:nvSpPr>
        <p:spPr bwMode="auto">
          <a:xfrm>
            <a:off x="999437" y="3163019"/>
            <a:ext cx="1485000" cy="594000"/>
          </a:xfrm>
          <a:prstGeom prst="rect">
            <a:avLst/>
          </a:prstGeom>
          <a:solidFill>
            <a:srgbClr val="F6BC1C"/>
          </a:solidFill>
          <a:ln w="28575">
            <a:noFill/>
            <a:headEnd/>
            <a:tailEnd/>
          </a:ln>
          <a:effectLst>
            <a:outerShdw blurRad="50800" dist="50800" dir="5400000" algn="ctr" rotWithShape="0">
              <a:srgbClr val="FEC903"/>
            </a:outerShdw>
          </a:effectLst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9000" tIns="54000" rIns="54000" bIns="54000" anchor="ctr"/>
          <a:lstStyle>
            <a:lvl1pPr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rgbClr val="5F5F5F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spcAft>
                <a:spcPts val="600"/>
              </a:spcAft>
              <a:buClr>
                <a:srgbClr val="A50E29"/>
              </a:buClr>
              <a:buFont typeface="Wingdings" pitchFamily="2" charset="2"/>
              <a:defRPr sz="1200">
                <a:solidFill>
                  <a:srgbClr val="A50E29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buChar char="•"/>
              <a:defRPr sz="1000">
                <a:solidFill>
                  <a:srgbClr val="5F5F5F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buChar char="•"/>
              <a:defRPr sz="1000">
                <a:solidFill>
                  <a:srgbClr val="5F5F5F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uk-UA" sz="825" b="1" dirty="0">
                <a:solidFill>
                  <a:schemeClr val="bg1"/>
                </a:solidFill>
              </a:rPr>
              <a:t>Посилення правил щодо </a:t>
            </a:r>
            <a:r>
              <a:rPr lang="en-US" sz="825" b="1" dirty="0">
                <a:solidFill>
                  <a:schemeClr val="bg1"/>
                </a:solidFill>
              </a:rPr>
              <a:t>KIK</a:t>
            </a:r>
          </a:p>
        </p:txBody>
      </p:sp>
      <p:sp>
        <p:nvSpPr>
          <p:cNvPr id="351" name="Rounded Rectangle 26"/>
          <p:cNvSpPr>
            <a:spLocks noChangeArrowheads="1"/>
          </p:cNvSpPr>
          <p:nvPr/>
        </p:nvSpPr>
        <p:spPr bwMode="auto">
          <a:xfrm>
            <a:off x="999437" y="3865019"/>
            <a:ext cx="1485000" cy="594000"/>
          </a:xfrm>
          <a:prstGeom prst="rect">
            <a:avLst/>
          </a:prstGeom>
          <a:solidFill>
            <a:srgbClr val="F6BC1C"/>
          </a:solidFill>
          <a:ln w="28575">
            <a:noFill/>
            <a:headEnd/>
            <a:tailEnd/>
          </a:ln>
          <a:effectLst>
            <a:outerShdw blurRad="50800" dist="50800" dir="5400000" algn="ctr" rotWithShape="0">
              <a:srgbClr val="FEC903"/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9000" tIns="54000" rIns="54000" bIns="54000" anchor="ctr"/>
          <a:lstStyle>
            <a:lvl1pPr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rgbClr val="5F5F5F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600"/>
              </a:spcBef>
              <a:spcAft>
                <a:spcPts val="600"/>
              </a:spcAft>
              <a:buClr>
                <a:srgbClr val="A50E29"/>
              </a:buClr>
              <a:buFont typeface="Wingdings" pitchFamily="2" charset="2"/>
              <a:defRPr sz="1200">
                <a:solidFill>
                  <a:srgbClr val="A50E29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buChar char="•"/>
              <a:defRPr sz="1000">
                <a:solidFill>
                  <a:srgbClr val="5F5F5F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buChar char="•"/>
              <a:defRPr sz="1000">
                <a:solidFill>
                  <a:srgbClr val="5F5F5F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A50E29"/>
              </a:buClr>
              <a:buFont typeface="Arial" charset="0"/>
              <a:defRPr sz="1000">
                <a:solidFill>
                  <a:schemeClr val="accent1"/>
                </a:solidFill>
                <a:latin typeface="Arial" charset="0"/>
              </a:defRPr>
            </a:lvl9pPr>
          </a:lstStyle>
          <a:p>
            <a:pPr>
              <a:spcAft>
                <a:spcPts val="0"/>
              </a:spcAft>
              <a:defRPr/>
            </a:pP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меження процентних та інших фінансових витрат </a:t>
            </a:r>
            <a:endParaRPr lang="en-US" sz="8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2" name="Rounded Rectangle 26"/>
          <p:cNvSpPr>
            <a:spLocks noChangeArrowheads="1"/>
          </p:cNvSpPr>
          <p:nvPr/>
        </p:nvSpPr>
        <p:spPr bwMode="auto">
          <a:xfrm>
            <a:off x="999437" y="4567019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rgbClr val="FF0000"/>
            </a:solidFill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uk-UA" sz="825" b="1" dirty="0">
                <a:latin typeface="Arial" panose="020B0604020202020204" pitchFamily="34" charset="0"/>
                <a:cs typeface="Arial" panose="020B0604020202020204" pitchFamily="34" charset="0"/>
              </a:rPr>
              <a:t>Протидія шкідливим податковим режимам </a:t>
            </a:r>
            <a:endParaRPr lang="en-US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5" name="Овал 354"/>
          <p:cNvSpPr/>
          <p:nvPr/>
        </p:nvSpPr>
        <p:spPr bwMode="auto">
          <a:xfrm>
            <a:off x="918437" y="178601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</a:t>
            </a:r>
          </a:p>
        </p:txBody>
      </p:sp>
      <p:sp>
        <p:nvSpPr>
          <p:cNvPr id="356" name="Овал 355"/>
          <p:cNvSpPr/>
          <p:nvPr/>
        </p:nvSpPr>
        <p:spPr bwMode="auto">
          <a:xfrm>
            <a:off x="918437" y="248801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2</a:t>
            </a:r>
          </a:p>
        </p:txBody>
      </p:sp>
      <p:sp>
        <p:nvSpPr>
          <p:cNvPr id="357" name="Овал 356"/>
          <p:cNvSpPr/>
          <p:nvPr/>
        </p:nvSpPr>
        <p:spPr bwMode="auto">
          <a:xfrm>
            <a:off x="918437" y="319001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3</a:t>
            </a:r>
          </a:p>
        </p:txBody>
      </p:sp>
      <p:sp>
        <p:nvSpPr>
          <p:cNvPr id="358" name="Овал 357"/>
          <p:cNvSpPr/>
          <p:nvPr/>
        </p:nvSpPr>
        <p:spPr bwMode="auto">
          <a:xfrm>
            <a:off x="918437" y="389201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4</a:t>
            </a:r>
          </a:p>
        </p:txBody>
      </p:sp>
      <p:sp>
        <p:nvSpPr>
          <p:cNvPr id="359" name="Овал 358"/>
          <p:cNvSpPr/>
          <p:nvPr/>
        </p:nvSpPr>
        <p:spPr bwMode="auto">
          <a:xfrm>
            <a:off x="918437" y="459401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5</a:t>
            </a:r>
          </a:p>
        </p:txBody>
      </p:sp>
      <p:sp>
        <p:nvSpPr>
          <p:cNvPr id="360" name="Rounded Rectangle 26"/>
          <p:cNvSpPr>
            <a:spLocks noChangeArrowheads="1"/>
          </p:cNvSpPr>
          <p:nvPr/>
        </p:nvSpPr>
        <p:spPr bwMode="auto">
          <a:xfrm>
            <a:off x="3838521" y="1775112"/>
            <a:ext cx="1485000" cy="594000"/>
          </a:xfrm>
          <a:prstGeom prst="rect">
            <a:avLst/>
          </a:prstGeom>
          <a:solidFill>
            <a:srgbClr val="F6BC1C"/>
          </a:solidFill>
          <a:ln w="28575">
            <a:solidFill>
              <a:srgbClr val="FF0000"/>
            </a:solidFill>
            <a:headEnd/>
            <a:tailEnd/>
          </a:ln>
          <a:effectLst>
            <a:outerShdw blurRad="50800" dist="50800" dir="5400000" algn="ctr" rotWithShape="0">
              <a:srgbClr val="FEC903"/>
            </a:outerShdw>
          </a:effectLst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buClr>
                <a:srgbClr val="A50E29"/>
              </a:buClr>
              <a:defRPr/>
            </a:pP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дія зловживанню пільгами двосторонніх угод </a:t>
            </a:r>
            <a:endParaRPr lang="en-US" sz="8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1" name="Rounded Rectangle 26"/>
          <p:cNvSpPr>
            <a:spLocks noChangeArrowheads="1"/>
          </p:cNvSpPr>
          <p:nvPr/>
        </p:nvSpPr>
        <p:spPr bwMode="auto">
          <a:xfrm>
            <a:off x="3838521" y="2477112"/>
            <a:ext cx="1485000" cy="594000"/>
          </a:xfrm>
          <a:prstGeom prst="rect">
            <a:avLst/>
          </a:prstGeom>
          <a:solidFill>
            <a:srgbClr val="F6BC1C"/>
          </a:solidFill>
          <a:ln w="28575">
            <a:noFill/>
            <a:headEnd/>
            <a:tailEnd/>
          </a:ln>
          <a:effectLst>
            <a:outerShdw blurRad="50800" dist="50800" dir="5400000" algn="ctr" rotWithShape="0">
              <a:srgbClr val="FEC903"/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buClr>
                <a:srgbClr val="A50E29"/>
              </a:buClr>
              <a:defRPr/>
            </a:pP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дія штучному уникненню статусу постійного представництва </a:t>
            </a:r>
            <a:endParaRPr lang="en-US" sz="8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2" name="Rounded Rectangle 26"/>
          <p:cNvSpPr>
            <a:spLocks noChangeArrowheads="1"/>
          </p:cNvSpPr>
          <p:nvPr/>
        </p:nvSpPr>
        <p:spPr bwMode="auto">
          <a:xfrm>
            <a:off x="3838346" y="3179112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Удосконале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правил Трансфертного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Ціноутворе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– ТЦ (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нематеріальні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активи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3" name="Rounded Rectangle 26"/>
          <p:cNvSpPr>
            <a:spLocks noChangeArrowheads="1"/>
          </p:cNvSpPr>
          <p:nvPr/>
        </p:nvSpPr>
        <p:spPr bwMode="auto">
          <a:xfrm>
            <a:off x="3838521" y="3881112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Удосконале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правил ТЦ (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ризики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капітал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6" name="Овал 365"/>
          <p:cNvSpPr/>
          <p:nvPr/>
        </p:nvSpPr>
        <p:spPr bwMode="auto">
          <a:xfrm>
            <a:off x="3757521" y="1802112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6</a:t>
            </a:r>
          </a:p>
        </p:txBody>
      </p:sp>
      <p:sp>
        <p:nvSpPr>
          <p:cNvPr id="367" name="Овал 366"/>
          <p:cNvSpPr/>
          <p:nvPr/>
        </p:nvSpPr>
        <p:spPr bwMode="auto">
          <a:xfrm>
            <a:off x="3755114" y="2507879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7</a:t>
            </a:r>
          </a:p>
        </p:txBody>
      </p:sp>
      <p:sp>
        <p:nvSpPr>
          <p:cNvPr id="368" name="Овал 367"/>
          <p:cNvSpPr/>
          <p:nvPr/>
        </p:nvSpPr>
        <p:spPr bwMode="auto">
          <a:xfrm>
            <a:off x="3757521" y="3205170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8</a:t>
            </a:r>
          </a:p>
        </p:txBody>
      </p:sp>
      <p:sp>
        <p:nvSpPr>
          <p:cNvPr id="369" name="Овал 368"/>
          <p:cNvSpPr/>
          <p:nvPr/>
        </p:nvSpPr>
        <p:spPr bwMode="auto">
          <a:xfrm>
            <a:off x="3757521" y="3908112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9</a:t>
            </a:r>
          </a:p>
        </p:txBody>
      </p:sp>
      <p:sp>
        <p:nvSpPr>
          <p:cNvPr id="370" name="Rounded Rectangle 26"/>
          <p:cNvSpPr>
            <a:spLocks noChangeArrowheads="1"/>
          </p:cNvSpPr>
          <p:nvPr/>
        </p:nvSpPr>
        <p:spPr bwMode="auto">
          <a:xfrm>
            <a:off x="3845276" y="4565605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Удосконалення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правил ТЦ (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інші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ризикові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 err="1">
                <a:latin typeface="Arial" panose="020B0604020202020204" pitchFamily="34" charset="0"/>
                <a:cs typeface="Arial" panose="020B0604020202020204" pitchFamily="34" charset="0"/>
              </a:rPr>
              <a:t>операції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  <p:sp>
        <p:nvSpPr>
          <p:cNvPr id="371" name="Овал 370"/>
          <p:cNvSpPr/>
          <p:nvPr/>
        </p:nvSpPr>
        <p:spPr bwMode="auto">
          <a:xfrm>
            <a:off x="3757521" y="4610958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0</a:t>
            </a:r>
          </a:p>
        </p:txBody>
      </p:sp>
      <p:sp>
        <p:nvSpPr>
          <p:cNvPr id="372" name="Rounded Rectangle 26"/>
          <p:cNvSpPr>
            <a:spLocks noChangeArrowheads="1"/>
          </p:cNvSpPr>
          <p:nvPr/>
        </p:nvSpPr>
        <p:spPr bwMode="auto">
          <a:xfrm>
            <a:off x="6798060" y="4541156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uk-UA" sz="825" b="1" dirty="0">
                <a:latin typeface="Arial" panose="020B0604020202020204" pitchFamily="34" charset="0"/>
                <a:cs typeface="Arial" panose="020B0604020202020204" pitchFamily="34" charset="0"/>
              </a:rPr>
              <a:t>Розробка багатостороннього інструмента </a:t>
            </a:r>
            <a:endParaRPr lang="en-US" sz="825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3" name="Rounded Rectangle 26"/>
          <p:cNvSpPr>
            <a:spLocks noChangeArrowheads="1"/>
          </p:cNvSpPr>
          <p:nvPr/>
        </p:nvSpPr>
        <p:spPr bwMode="auto">
          <a:xfrm>
            <a:off x="6798411" y="2435156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ru-RU" sz="7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криття інформації про</a:t>
            </a:r>
            <a:r>
              <a:rPr lang="en-US" sz="7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ізми</a:t>
            </a:r>
            <a:r>
              <a:rPr lang="ru-RU" sz="7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ткового</a:t>
            </a:r>
            <a:r>
              <a:rPr lang="en-US" sz="75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ування</a:t>
            </a:r>
            <a:endParaRPr lang="en-US" sz="75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4" name="Rounded Rectangle 26"/>
          <p:cNvSpPr>
            <a:spLocks noChangeArrowheads="1"/>
          </p:cNvSpPr>
          <p:nvPr/>
        </p:nvSpPr>
        <p:spPr bwMode="auto">
          <a:xfrm>
            <a:off x="6798060" y="3139461"/>
            <a:ext cx="1485000" cy="594000"/>
          </a:xfrm>
          <a:prstGeom prst="rect">
            <a:avLst/>
          </a:prstGeom>
          <a:solidFill>
            <a:srgbClr val="F6BC1C"/>
          </a:solidFill>
          <a:ln w="28575">
            <a:solidFill>
              <a:srgbClr val="FF0000"/>
            </a:solidFill>
            <a:headEnd/>
            <a:tailEnd/>
          </a:ln>
          <a:effectLst>
            <a:outerShdw blurRad="50800" dist="50800" dir="5400000" algn="ctr" rotWithShape="0">
              <a:srgbClr val="FEC903"/>
            </a:outerShdw>
          </a:effectLst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buClr>
                <a:srgbClr val="A50E29"/>
              </a:buClr>
              <a:defRPr/>
            </a:pP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ії щодо ТЦ-</a:t>
            </a:r>
          </a:p>
          <a:p>
            <a:pPr eaLnBrk="0" hangingPunct="0">
              <a:buClr>
                <a:srgbClr val="A50E29"/>
              </a:buClr>
              <a:defRPr/>
            </a:pP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ії та </a:t>
            </a: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криття</a:t>
            </a: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формації в розрізі країн</a:t>
            </a:r>
            <a:endParaRPr lang="en-US" sz="8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5" name="Rounded Rectangle 26"/>
          <p:cNvSpPr>
            <a:spLocks noChangeArrowheads="1"/>
          </p:cNvSpPr>
          <p:nvPr/>
        </p:nvSpPr>
        <p:spPr bwMode="auto">
          <a:xfrm>
            <a:off x="6798411" y="3839156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rgbClr val="FF0000"/>
            </a:solidFill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buClr>
                <a:srgbClr val="A50E29"/>
              </a:buClr>
              <a:buFont typeface="Arial" charset="0"/>
              <a:buNone/>
            </a:pPr>
            <a:r>
              <a:rPr lang="uk-UA" sz="825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сконалення процедури взаємного узгодження (вирішення спорів по конвенціям)</a:t>
            </a:r>
            <a:endParaRPr lang="en-US" sz="825" b="1" dirty="0">
              <a:solidFill>
                <a:schemeClr val="tx1">
                  <a:lumMod val="90000"/>
                  <a:lumOff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7" name="Овал 376"/>
          <p:cNvSpPr/>
          <p:nvPr/>
        </p:nvSpPr>
        <p:spPr bwMode="auto">
          <a:xfrm>
            <a:off x="6717411" y="2462156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2</a:t>
            </a:r>
          </a:p>
        </p:txBody>
      </p:sp>
      <p:sp>
        <p:nvSpPr>
          <p:cNvPr id="378" name="Овал 377"/>
          <p:cNvSpPr/>
          <p:nvPr/>
        </p:nvSpPr>
        <p:spPr bwMode="auto">
          <a:xfrm>
            <a:off x="6717411" y="3164156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3</a:t>
            </a:r>
          </a:p>
        </p:txBody>
      </p:sp>
      <p:sp>
        <p:nvSpPr>
          <p:cNvPr id="379" name="Овал 378"/>
          <p:cNvSpPr/>
          <p:nvPr/>
        </p:nvSpPr>
        <p:spPr bwMode="auto">
          <a:xfrm>
            <a:off x="6717411" y="3866156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4</a:t>
            </a:r>
          </a:p>
        </p:txBody>
      </p:sp>
      <p:sp>
        <p:nvSpPr>
          <p:cNvPr id="380" name="Овал 379"/>
          <p:cNvSpPr/>
          <p:nvPr/>
        </p:nvSpPr>
        <p:spPr bwMode="auto">
          <a:xfrm>
            <a:off x="6717411" y="4568156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itchFamily="34" charset="0"/>
                <a:ea typeface="MS PGothic" pitchFamily="34" charset="-128"/>
              </a:rPr>
              <a:t>15</a:t>
            </a:r>
          </a:p>
        </p:txBody>
      </p:sp>
      <p:sp>
        <p:nvSpPr>
          <p:cNvPr id="381" name="Rounded Rectangle 26"/>
          <p:cNvSpPr>
            <a:spLocks noChangeArrowheads="1"/>
          </p:cNvSpPr>
          <p:nvPr/>
        </p:nvSpPr>
        <p:spPr bwMode="auto">
          <a:xfrm>
            <a:off x="6818240" y="1760166"/>
            <a:ext cx="1485000" cy="59400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uk-UA" sz="825" b="1" dirty="0">
                <a:latin typeface="Arial" panose="020B0604020202020204" pitchFamily="34" charset="0"/>
                <a:cs typeface="Arial" panose="020B0604020202020204" pitchFamily="34" charset="0"/>
              </a:rPr>
              <a:t>Збір/аналіз даних щодо </a:t>
            </a:r>
            <a:r>
              <a:rPr lang="en-US" sz="825" b="1" dirty="0">
                <a:latin typeface="Arial" panose="020B0604020202020204" pitchFamily="34" charset="0"/>
                <a:cs typeface="Arial" panose="020B0604020202020204" pitchFamily="34" charset="0"/>
              </a:rPr>
              <a:t>BEPS </a:t>
            </a:r>
          </a:p>
        </p:txBody>
      </p:sp>
      <p:sp>
        <p:nvSpPr>
          <p:cNvPr id="382" name="Овал 381"/>
          <p:cNvSpPr/>
          <p:nvPr/>
        </p:nvSpPr>
        <p:spPr bwMode="auto">
          <a:xfrm>
            <a:off x="6701154" y="1794183"/>
            <a:ext cx="216000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050" b="1" dirty="0"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302" name="Прямоугольник 301"/>
          <p:cNvSpPr/>
          <p:nvPr/>
        </p:nvSpPr>
        <p:spPr bwMode="auto">
          <a:xfrm>
            <a:off x="4759510" y="5627634"/>
            <a:ext cx="472662" cy="25002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47" name="Rectangle 83"/>
          <p:cNvSpPr/>
          <p:nvPr/>
        </p:nvSpPr>
        <p:spPr>
          <a:xfrm>
            <a:off x="5268062" y="5582718"/>
            <a:ext cx="32615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uk-UA" sz="9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</a:t>
            </a:r>
            <a:r>
              <a:rPr lang="uk-UA" sz="9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.з</a:t>
            </a:r>
            <a:r>
              <a:rPr lang="uk-UA" sz="9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«мінімальний пакет». Наразі реалізовано дію №5, інші (№6, 13,14) – в процесі реалізації</a:t>
            </a:r>
            <a:endParaRPr lang="en-US" sz="9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83" name="Прямоугольник 382"/>
          <p:cNvSpPr/>
          <p:nvPr/>
        </p:nvSpPr>
        <p:spPr bwMode="auto">
          <a:xfrm>
            <a:off x="1001778" y="5627484"/>
            <a:ext cx="472662" cy="250020"/>
          </a:xfrm>
          <a:prstGeom prst="rect">
            <a:avLst/>
          </a:prstGeom>
          <a:solidFill>
            <a:srgbClr val="F6BC1C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43" name="Rounded Rectangle 26"/>
          <p:cNvSpPr>
            <a:spLocks noChangeArrowheads="1"/>
          </p:cNvSpPr>
          <p:nvPr/>
        </p:nvSpPr>
        <p:spPr bwMode="auto">
          <a:xfrm>
            <a:off x="999437" y="5262717"/>
            <a:ext cx="7247906" cy="240190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89000" tIns="54000" rIns="54000" bIns="54000" anchor="ctr"/>
          <a:lstStyle/>
          <a:p>
            <a:pPr eaLnBrk="0" hangingPunct="0">
              <a:spcAft>
                <a:spcPts val="450"/>
              </a:spcAft>
              <a:buClr>
                <a:srgbClr val="A50E29"/>
              </a:buClr>
              <a:buFont typeface="Arial" charset="0"/>
            </a:pPr>
            <a:r>
              <a:rPr lang="uk-UA" sz="825" b="1" dirty="0">
                <a:latin typeface="Arial" panose="020B0604020202020204" pitchFamily="34" charset="0"/>
                <a:cs typeface="Arial" panose="020B0604020202020204" pitchFamily="34" charset="0"/>
              </a:rPr>
              <a:t>ДОДАТКОВО: </a:t>
            </a:r>
            <a:r>
              <a:rPr lang="ru-RU" sz="825" b="1" dirty="0">
                <a:latin typeface="Arial" panose="020B0604020202020204" pitchFamily="34" charset="0"/>
                <a:cs typeface="Arial" panose="020B0604020202020204" pitchFamily="34" charset="0"/>
              </a:rPr>
              <a:t> ПРИЄДНАННЯ УКРАЇНИ ДО БАГАТОСТОРОННЬОГО ОБМІНУ ПОДАТКОВОЮ ІНФОРМАЦІЄЮ В РАМКАХ </a:t>
            </a:r>
            <a:r>
              <a:rPr lang="en-US" sz="825" b="1" dirty="0">
                <a:latin typeface="Arial" panose="020B0604020202020204" pitchFamily="34" charset="0"/>
                <a:cs typeface="Arial" panose="020B0604020202020204" pitchFamily="34" charset="0"/>
              </a:rPr>
              <a:t>CRS MCAA</a:t>
            </a:r>
            <a:endParaRPr lang="ru-RU" sz="825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55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Додаток 2: повноваження регулятора щодо запровадження заходів захисту в деяких країнах-членах ЄС</a:t>
            </a:r>
            <a:endParaRPr lang="uk-UA" sz="1800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4737920" y="1417597"/>
            <a:ext cx="3980600" cy="2911403"/>
            <a:chOff x="2234020" y="1417597"/>
            <a:chExt cx="6484500" cy="4742750"/>
          </a:xfrm>
        </p:grpSpPr>
        <p:sp>
          <p:nvSpPr>
            <p:cNvPr id="30" name="Freeform 100"/>
            <p:cNvSpPr>
              <a:spLocks noEditPoints="1"/>
            </p:cNvSpPr>
            <p:nvPr/>
          </p:nvSpPr>
          <p:spPr bwMode="auto">
            <a:xfrm>
              <a:off x="5079224" y="3717886"/>
              <a:ext cx="247509" cy="124400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5331317" y="5197357"/>
              <a:ext cx="178756" cy="179936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4" name="Freeform 84"/>
            <p:cNvSpPr>
              <a:spLocks/>
            </p:cNvSpPr>
            <p:nvPr/>
          </p:nvSpPr>
          <p:spPr bwMode="auto">
            <a:xfrm>
              <a:off x="5184645" y="5188472"/>
              <a:ext cx="184485" cy="204371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5" name="Freeform 193"/>
            <p:cNvSpPr>
              <a:spLocks/>
            </p:cNvSpPr>
            <p:nvPr/>
          </p:nvSpPr>
          <p:spPr bwMode="auto">
            <a:xfrm>
              <a:off x="5400070" y="5285104"/>
              <a:ext cx="252093" cy="21436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4953179" y="4425412"/>
              <a:ext cx="464079" cy="251022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673585" y="4800833"/>
              <a:ext cx="277301" cy="203261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8" name="Freeform 197"/>
            <p:cNvSpPr>
              <a:spLocks noEditPoints="1"/>
            </p:cNvSpPr>
            <p:nvPr/>
          </p:nvSpPr>
          <p:spPr bwMode="auto">
            <a:xfrm>
              <a:off x="4691919" y="4844150"/>
              <a:ext cx="539707" cy="48649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6753346" y="5844904"/>
              <a:ext cx="225737" cy="12662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5167457" y="4854147"/>
              <a:ext cx="442307" cy="456504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4007833" y="4715308"/>
              <a:ext cx="411368" cy="251022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2" name="Freeform 51"/>
            <p:cNvSpPr>
              <a:spLocks/>
            </p:cNvSpPr>
            <p:nvPr/>
          </p:nvSpPr>
          <p:spPr bwMode="auto">
            <a:xfrm>
              <a:off x="5125060" y="3328025"/>
              <a:ext cx="515644" cy="308778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897031" y="4996319"/>
              <a:ext cx="374701" cy="320997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4" name="Freeform 63"/>
            <p:cNvSpPr>
              <a:spLocks noEditPoints="1"/>
            </p:cNvSpPr>
            <p:nvPr/>
          </p:nvSpPr>
          <p:spPr bwMode="auto">
            <a:xfrm>
              <a:off x="4211799" y="3482415"/>
              <a:ext cx="335741" cy="385418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5" name="Freeform 144"/>
            <p:cNvSpPr>
              <a:spLocks noEditPoints="1"/>
            </p:cNvSpPr>
            <p:nvPr/>
          </p:nvSpPr>
          <p:spPr bwMode="auto">
            <a:xfrm>
              <a:off x="3837098" y="3977793"/>
              <a:ext cx="323136" cy="366536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6" name="Freeform 217"/>
            <p:cNvSpPr>
              <a:spLocks/>
            </p:cNvSpPr>
            <p:nvPr/>
          </p:nvSpPr>
          <p:spPr bwMode="auto">
            <a:xfrm>
              <a:off x="7523373" y="4858590"/>
              <a:ext cx="401056" cy="274346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7" name="Freeform 219"/>
            <p:cNvSpPr>
              <a:spLocks/>
            </p:cNvSpPr>
            <p:nvPr/>
          </p:nvSpPr>
          <p:spPr bwMode="auto">
            <a:xfrm>
              <a:off x="4913073" y="4535372"/>
              <a:ext cx="570645" cy="39208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372569" y="3510183"/>
              <a:ext cx="684087" cy="62200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9" name="Freeform 17"/>
            <p:cNvSpPr>
              <a:spLocks/>
            </p:cNvSpPr>
            <p:nvPr/>
          </p:nvSpPr>
          <p:spPr bwMode="auto">
            <a:xfrm>
              <a:off x="5773624" y="4436519"/>
              <a:ext cx="368972" cy="350986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3762616" y="4243254"/>
              <a:ext cx="307094" cy="251022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4534935" y="4298790"/>
              <a:ext cx="570645" cy="306557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7140651" y="4708643"/>
              <a:ext cx="690961" cy="246579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5141102" y="3529065"/>
              <a:ext cx="430849" cy="322107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5138810" y="3115880"/>
              <a:ext cx="418244" cy="276568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6" name="Freeform 195"/>
            <p:cNvSpPr>
              <a:spLocks/>
            </p:cNvSpPr>
            <p:nvPr/>
          </p:nvSpPr>
          <p:spPr bwMode="auto">
            <a:xfrm>
              <a:off x="5531844" y="4974104"/>
              <a:ext cx="579812" cy="423182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7" name="Freeform 212"/>
            <p:cNvSpPr>
              <a:spLocks noEditPoints="1"/>
            </p:cNvSpPr>
            <p:nvPr/>
          </p:nvSpPr>
          <p:spPr bwMode="auto">
            <a:xfrm>
              <a:off x="7687234" y="4706421"/>
              <a:ext cx="648565" cy="514261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8" name="Freeform 221"/>
            <p:cNvSpPr>
              <a:spLocks noEditPoints="1"/>
            </p:cNvSpPr>
            <p:nvPr/>
          </p:nvSpPr>
          <p:spPr bwMode="auto">
            <a:xfrm>
              <a:off x="4321802" y="4545369"/>
              <a:ext cx="662315" cy="326550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3098008" y="4282129"/>
              <a:ext cx="1235252" cy="1240668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2234020" y="2552747"/>
              <a:ext cx="566062" cy="456504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1" name="Freeform 19"/>
            <p:cNvSpPr>
              <a:spLocks/>
            </p:cNvSpPr>
            <p:nvPr/>
          </p:nvSpPr>
          <p:spPr bwMode="auto">
            <a:xfrm>
              <a:off x="4675877" y="3800079"/>
              <a:ext cx="836488" cy="680867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2757685" y="3634583"/>
              <a:ext cx="394181" cy="433178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2377254" y="5216239"/>
              <a:ext cx="422828" cy="639772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4" name="Freeform 78"/>
            <p:cNvSpPr>
              <a:spLocks noEditPoints="1"/>
            </p:cNvSpPr>
            <p:nvPr/>
          </p:nvSpPr>
          <p:spPr bwMode="auto">
            <a:xfrm>
              <a:off x="4031896" y="3833401"/>
              <a:ext cx="741380" cy="951882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5" name="Freeform 80"/>
            <p:cNvSpPr>
              <a:spLocks noEditPoints="1"/>
            </p:cNvSpPr>
            <p:nvPr/>
          </p:nvSpPr>
          <p:spPr bwMode="auto">
            <a:xfrm>
              <a:off x="4065127" y="4800833"/>
              <a:ext cx="1168791" cy="1292872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6" name="Freeform 86"/>
            <p:cNvSpPr>
              <a:spLocks/>
            </p:cNvSpPr>
            <p:nvPr/>
          </p:nvSpPr>
          <p:spPr bwMode="auto">
            <a:xfrm>
              <a:off x="5282045" y="4485390"/>
              <a:ext cx="876593" cy="61311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7" name="Freeform 90"/>
            <p:cNvSpPr>
              <a:spLocks/>
            </p:cNvSpPr>
            <p:nvPr/>
          </p:nvSpPr>
          <p:spPr bwMode="auto">
            <a:xfrm>
              <a:off x="5397778" y="3827847"/>
              <a:ext cx="1459843" cy="984093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8" name="Freeform 92"/>
            <p:cNvSpPr>
              <a:spLocks noEditPoints="1"/>
            </p:cNvSpPr>
            <p:nvPr/>
          </p:nvSpPr>
          <p:spPr bwMode="auto">
            <a:xfrm>
              <a:off x="4421493" y="2014051"/>
              <a:ext cx="670336" cy="1766036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9" name="Freeform 96"/>
            <p:cNvSpPr>
              <a:spLocks noEditPoints="1"/>
            </p:cNvSpPr>
            <p:nvPr/>
          </p:nvSpPr>
          <p:spPr bwMode="auto">
            <a:xfrm>
              <a:off x="4012416" y="1698608"/>
              <a:ext cx="1278795" cy="175159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0" name="Freeform 102"/>
            <p:cNvSpPr>
              <a:spLocks noEditPoints="1"/>
            </p:cNvSpPr>
            <p:nvPr/>
          </p:nvSpPr>
          <p:spPr bwMode="auto">
            <a:xfrm>
              <a:off x="5202979" y="1417597"/>
              <a:ext cx="3515541" cy="3440993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1" name="Freeform 109"/>
            <p:cNvSpPr>
              <a:spLocks noEditPoints="1"/>
            </p:cNvSpPr>
            <p:nvPr/>
          </p:nvSpPr>
          <p:spPr bwMode="auto">
            <a:xfrm>
              <a:off x="3018944" y="3060344"/>
              <a:ext cx="692108" cy="126843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2" name="Freeform 139"/>
            <p:cNvSpPr>
              <a:spLocks noEditPoints="1"/>
            </p:cNvSpPr>
            <p:nvPr/>
          </p:nvSpPr>
          <p:spPr bwMode="auto">
            <a:xfrm>
              <a:off x="2545698" y="5024086"/>
              <a:ext cx="1269628" cy="1011861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3" name="Freeform 146"/>
            <p:cNvSpPr>
              <a:spLocks noEditPoints="1"/>
            </p:cNvSpPr>
            <p:nvPr/>
          </p:nvSpPr>
          <p:spPr bwMode="auto">
            <a:xfrm>
              <a:off x="5359964" y="5285104"/>
              <a:ext cx="969409" cy="875243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4" name="Freeform 210"/>
            <p:cNvSpPr>
              <a:spLocks noEditPoints="1"/>
            </p:cNvSpPr>
            <p:nvPr/>
          </p:nvSpPr>
          <p:spPr bwMode="auto">
            <a:xfrm>
              <a:off x="5956964" y="4906351"/>
              <a:ext cx="1887255" cy="984093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5" name="Freeform 223"/>
            <p:cNvSpPr>
              <a:spLocks noEditPoints="1"/>
            </p:cNvSpPr>
            <p:nvPr/>
          </p:nvSpPr>
          <p:spPr bwMode="auto">
            <a:xfrm>
              <a:off x="4837446" y="1831893"/>
              <a:ext cx="752839" cy="1332857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6" name="Freeform 235"/>
            <p:cNvSpPr>
              <a:spLocks noEditPoints="1"/>
            </p:cNvSpPr>
            <p:nvPr/>
          </p:nvSpPr>
          <p:spPr bwMode="auto">
            <a:xfrm>
              <a:off x="7499310" y="3113658"/>
              <a:ext cx="1219210" cy="1500575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792163" y="1273355"/>
            <a:ext cx="3780000" cy="413535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uk-UA" sz="12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ДИРЕКТИВА РАДИ 88/361/ЄЕС: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uk-UA" sz="1200" b="1" dirty="0"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AutoNum type="arabicPeriod"/>
            </a:pPr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УМОВИ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«У 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випадках, коли короткотермінові рухи капіталу виключної величини вносять значну напругу на ринки іноземних валют та ведуть до серйозних розладів у здійсненні грошової та валютної політик будь-якої держави-члена, що зокрема відображається на значних змінах внутрішньої 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ліквідності..» </a:t>
            </a:r>
          </a:p>
          <a:p>
            <a:pPr algn="just">
              <a:spcAft>
                <a:spcPts val="0"/>
              </a:spcAft>
            </a:pP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2. ПОВНОВАЖЕННЯ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Країна-член ЄС має право вживати 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захисні 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заходи (за попереднім погодженням з Єврокомісією) або самостійно, за 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умови термінової потреби, 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із завчасним попередженням Єврокомісії, строком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до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6 місяців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. </a:t>
            </a:r>
          </a:p>
          <a:p>
            <a:pPr algn="just">
              <a:spcAft>
                <a:spcPts val="0"/>
              </a:spcAft>
            </a:pP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uk-UA" sz="1200" dirty="0" smtClean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. ОСОБЛИВОСТІ: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Після 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проведення консультацій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Єврокомісія </a:t>
            </a:r>
            <a:r>
              <a:rPr lang="uk-UA" sz="1200" b="1" dirty="0">
                <a:latin typeface="Calibri" panose="020F0502020204030204" pitchFamily="34" charset="0"/>
                <a:ea typeface="Times New Roman" panose="02020603050405020304" pitchFamily="18" charset="0"/>
              </a:rPr>
              <a:t>має вирішити, чи може відповідна держава-член продовжувати застосовувати такі заходи,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чи вона повинна внести до них зміни, або скасувати їх зовсім. </a:t>
            </a:r>
            <a:endParaRPr lang="uk-UA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</a:t>
            </a:r>
            <a:fld id="{53400EF4-D14B-4B3E-8643-5A6D23594193}" type="slidenum">
              <a:rPr lang="uk-UA" sz="110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pPr algn="r"/>
              <a:t>18</a:t>
            </a:fld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78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92164" y="1144177"/>
            <a:ext cx="3780000" cy="5214248"/>
          </a:xfrm>
          <a:prstGeom prst="rect">
            <a:avLst/>
          </a:prstGeom>
        </p:spPr>
        <p:txBody>
          <a:bodyPr wrap="square" lIns="72000" rIns="72000" numCol="1" spcCol="360000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ЗАКОН ПРО ВАЛЮТНЕ РЕГУЛЮВАННЯ</a:t>
            </a:r>
          </a:p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n-US" sz="1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Currency regulation law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)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</a:t>
            </a: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1. УМОВИ</a:t>
            </a:r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кщо «…труднощі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пов'язані з платіжним балансом або стабільністю польської валюти, не будуть подолані або пов'язані з ними ризики перестануть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існувати».</a:t>
            </a:r>
          </a:p>
          <a:p>
            <a:pPr algn="just">
              <a:spcAft>
                <a:spcPts val="0"/>
              </a:spcAft>
            </a:pPr>
            <a:endParaRPr lang="uk-UA" sz="1200" b="1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2. ПОВНОВАЖЕННЯ:</a:t>
            </a:r>
          </a:p>
          <a:p>
            <a:pPr algn="just" defTabSz="917575">
              <a:spcAft>
                <a:spcPts val="0"/>
              </a:spcAft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проваджувати особливі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меження щодо валютних операцій з іншими країнами, якщо вони будуть необхідні для того, щоб: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 defTabSz="917575">
              <a:spcBef>
                <a:spcPts val="535"/>
              </a:spcBef>
              <a:spcAft>
                <a:spcPts val="0"/>
              </a:spcAft>
              <a:buFont typeface="+mj-lt"/>
              <a:buAutoNum type="arabicParenR"/>
              <a:tabLst>
                <a:tab pos="3051175" algn="l"/>
                <a:tab pos="3675063" algn="l"/>
              </a:tabLst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иконати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ішення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ів міжнародних організацій, до яких входить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льща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 defTabSz="917575">
              <a:spcBef>
                <a:spcPts val="535"/>
              </a:spcBef>
              <a:spcAft>
                <a:spcPts val="0"/>
              </a:spcAft>
              <a:buFont typeface="+mj-lt"/>
              <a:buAutoNum type="arabicParenR"/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езпечити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успільний порядок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бо суспільну безпеку;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 defTabSz="917575">
              <a:spcBef>
                <a:spcPts val="535"/>
              </a:spcBef>
              <a:spcAft>
                <a:spcPts val="0"/>
              </a:spcAft>
              <a:buFont typeface="+mj-lt"/>
              <a:buAutoNum type="arabicParenR"/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езпечити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більний стан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латіжного балансу, якщо баланс порушується або раптово знижується чи знаходиться під загрозою;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 defTabSz="917575">
              <a:spcBef>
                <a:spcPts val="535"/>
              </a:spcBef>
              <a:spcAft>
                <a:spcPts val="0"/>
              </a:spcAft>
              <a:buFont typeface="+mj-lt"/>
              <a:buAutoNum type="arabicParenR"/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безпечити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більність польської валюти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разі різких коливань її обмінного курсу, або якщо така стабільність знаходиться під загрозою.</a:t>
            </a:r>
            <a:endParaRPr lang="uk-UA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 defTabSz="917575">
              <a:spcAft>
                <a:spcPts val="0"/>
              </a:spcAft>
              <a:tabLst>
                <a:tab pos="3051175" algn="l"/>
                <a:tab pos="3675063" algn="l"/>
              </a:tabLst>
            </a:pPr>
            <a:endParaRPr lang="uk-UA" sz="1200" dirty="0" smtClean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917575">
              <a:tabLst>
                <a:tab pos="3051175" algn="l"/>
                <a:tab pos="3675063" algn="l"/>
              </a:tabLst>
            </a:pPr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. ОСОБЛИВОСТІ: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</a:p>
          <a:p>
            <a:pPr algn="just" defTabSz="917575">
              <a:spcBef>
                <a:spcPts val="535"/>
              </a:spcBef>
              <a:spcAft>
                <a:spcPts val="0"/>
              </a:spcAft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меження запроваджуються на строк не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вше, ніж протягом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 місяців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 моменту їх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провадження.</a:t>
            </a:r>
            <a:endParaRPr lang="uk-UA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Польща</a:t>
            </a:r>
            <a:endParaRPr lang="uk-UA" sz="1800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4737920" y="1417597"/>
            <a:ext cx="3980600" cy="2911403"/>
            <a:chOff x="2234020" y="1417597"/>
            <a:chExt cx="6484500" cy="4742750"/>
          </a:xfrm>
        </p:grpSpPr>
        <p:sp>
          <p:nvSpPr>
            <p:cNvPr id="30" name="Freeform 100"/>
            <p:cNvSpPr>
              <a:spLocks noEditPoints="1"/>
            </p:cNvSpPr>
            <p:nvPr/>
          </p:nvSpPr>
          <p:spPr bwMode="auto">
            <a:xfrm>
              <a:off x="5079224" y="3717886"/>
              <a:ext cx="247509" cy="124400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5331317" y="5197357"/>
              <a:ext cx="178756" cy="179936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4" name="Freeform 84"/>
            <p:cNvSpPr>
              <a:spLocks/>
            </p:cNvSpPr>
            <p:nvPr/>
          </p:nvSpPr>
          <p:spPr bwMode="auto">
            <a:xfrm>
              <a:off x="5184645" y="5188472"/>
              <a:ext cx="184485" cy="204371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5" name="Freeform 193"/>
            <p:cNvSpPr>
              <a:spLocks/>
            </p:cNvSpPr>
            <p:nvPr/>
          </p:nvSpPr>
          <p:spPr bwMode="auto">
            <a:xfrm>
              <a:off x="5400070" y="5285104"/>
              <a:ext cx="252093" cy="21436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4953179" y="4425412"/>
              <a:ext cx="464079" cy="251022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673585" y="4800833"/>
              <a:ext cx="277301" cy="203261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8" name="Freeform 197"/>
            <p:cNvSpPr>
              <a:spLocks noEditPoints="1"/>
            </p:cNvSpPr>
            <p:nvPr/>
          </p:nvSpPr>
          <p:spPr bwMode="auto">
            <a:xfrm>
              <a:off x="4691919" y="4844150"/>
              <a:ext cx="539707" cy="48649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6753346" y="5844904"/>
              <a:ext cx="225737" cy="12662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5167457" y="4854147"/>
              <a:ext cx="442307" cy="456504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4007833" y="4715308"/>
              <a:ext cx="411368" cy="251022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2" name="Freeform 51"/>
            <p:cNvSpPr>
              <a:spLocks/>
            </p:cNvSpPr>
            <p:nvPr/>
          </p:nvSpPr>
          <p:spPr bwMode="auto">
            <a:xfrm>
              <a:off x="5125060" y="3328025"/>
              <a:ext cx="515644" cy="308778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897031" y="4996319"/>
              <a:ext cx="374701" cy="320997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4" name="Freeform 63"/>
            <p:cNvSpPr>
              <a:spLocks noEditPoints="1"/>
            </p:cNvSpPr>
            <p:nvPr/>
          </p:nvSpPr>
          <p:spPr bwMode="auto">
            <a:xfrm>
              <a:off x="4211799" y="3482415"/>
              <a:ext cx="335741" cy="385418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5" name="Freeform 144"/>
            <p:cNvSpPr>
              <a:spLocks noEditPoints="1"/>
            </p:cNvSpPr>
            <p:nvPr/>
          </p:nvSpPr>
          <p:spPr bwMode="auto">
            <a:xfrm>
              <a:off x="3837098" y="3977793"/>
              <a:ext cx="323136" cy="366536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6" name="Freeform 217"/>
            <p:cNvSpPr>
              <a:spLocks/>
            </p:cNvSpPr>
            <p:nvPr/>
          </p:nvSpPr>
          <p:spPr bwMode="auto">
            <a:xfrm>
              <a:off x="7523373" y="4858590"/>
              <a:ext cx="401056" cy="274346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7" name="Freeform 219"/>
            <p:cNvSpPr>
              <a:spLocks/>
            </p:cNvSpPr>
            <p:nvPr/>
          </p:nvSpPr>
          <p:spPr bwMode="auto">
            <a:xfrm>
              <a:off x="4913073" y="4535372"/>
              <a:ext cx="570645" cy="39208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372569" y="3510183"/>
              <a:ext cx="684087" cy="62200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9" name="Freeform 17"/>
            <p:cNvSpPr>
              <a:spLocks/>
            </p:cNvSpPr>
            <p:nvPr/>
          </p:nvSpPr>
          <p:spPr bwMode="auto">
            <a:xfrm>
              <a:off x="5773624" y="4436519"/>
              <a:ext cx="368972" cy="350986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3762616" y="4243254"/>
              <a:ext cx="307094" cy="251022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4534935" y="4298790"/>
              <a:ext cx="570645" cy="306557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7140651" y="4708643"/>
              <a:ext cx="690961" cy="246579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5141102" y="3529065"/>
              <a:ext cx="430849" cy="322107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5138810" y="3115880"/>
              <a:ext cx="418244" cy="276568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6" name="Freeform 195"/>
            <p:cNvSpPr>
              <a:spLocks/>
            </p:cNvSpPr>
            <p:nvPr/>
          </p:nvSpPr>
          <p:spPr bwMode="auto">
            <a:xfrm>
              <a:off x="5531844" y="4974104"/>
              <a:ext cx="579812" cy="423182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7" name="Freeform 212"/>
            <p:cNvSpPr>
              <a:spLocks noEditPoints="1"/>
            </p:cNvSpPr>
            <p:nvPr/>
          </p:nvSpPr>
          <p:spPr bwMode="auto">
            <a:xfrm>
              <a:off x="7687234" y="4706421"/>
              <a:ext cx="648565" cy="514261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8" name="Freeform 221"/>
            <p:cNvSpPr>
              <a:spLocks noEditPoints="1"/>
            </p:cNvSpPr>
            <p:nvPr/>
          </p:nvSpPr>
          <p:spPr bwMode="auto">
            <a:xfrm>
              <a:off x="4321802" y="4545369"/>
              <a:ext cx="662315" cy="326550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3098008" y="4282129"/>
              <a:ext cx="1235252" cy="1240668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2234020" y="2552747"/>
              <a:ext cx="566062" cy="456504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1" name="Freeform 19"/>
            <p:cNvSpPr>
              <a:spLocks/>
            </p:cNvSpPr>
            <p:nvPr/>
          </p:nvSpPr>
          <p:spPr bwMode="auto">
            <a:xfrm>
              <a:off x="4675877" y="3800079"/>
              <a:ext cx="836488" cy="680867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2757685" y="3634583"/>
              <a:ext cx="394181" cy="433178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2377254" y="5216239"/>
              <a:ext cx="422828" cy="639772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4" name="Freeform 78"/>
            <p:cNvSpPr>
              <a:spLocks noEditPoints="1"/>
            </p:cNvSpPr>
            <p:nvPr/>
          </p:nvSpPr>
          <p:spPr bwMode="auto">
            <a:xfrm>
              <a:off x="4031896" y="3833401"/>
              <a:ext cx="741380" cy="951882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5" name="Freeform 80"/>
            <p:cNvSpPr>
              <a:spLocks noEditPoints="1"/>
            </p:cNvSpPr>
            <p:nvPr/>
          </p:nvSpPr>
          <p:spPr bwMode="auto">
            <a:xfrm>
              <a:off x="4065127" y="4800833"/>
              <a:ext cx="1168791" cy="1292872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6" name="Freeform 86"/>
            <p:cNvSpPr>
              <a:spLocks/>
            </p:cNvSpPr>
            <p:nvPr/>
          </p:nvSpPr>
          <p:spPr bwMode="auto">
            <a:xfrm>
              <a:off x="5282045" y="4485390"/>
              <a:ext cx="876593" cy="61311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7" name="Freeform 90"/>
            <p:cNvSpPr>
              <a:spLocks/>
            </p:cNvSpPr>
            <p:nvPr/>
          </p:nvSpPr>
          <p:spPr bwMode="auto">
            <a:xfrm>
              <a:off x="5397778" y="3827847"/>
              <a:ext cx="1459843" cy="984093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8" name="Freeform 92"/>
            <p:cNvSpPr>
              <a:spLocks noEditPoints="1"/>
            </p:cNvSpPr>
            <p:nvPr/>
          </p:nvSpPr>
          <p:spPr bwMode="auto">
            <a:xfrm>
              <a:off x="4421493" y="2014051"/>
              <a:ext cx="670336" cy="1766036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9" name="Freeform 96"/>
            <p:cNvSpPr>
              <a:spLocks noEditPoints="1"/>
            </p:cNvSpPr>
            <p:nvPr/>
          </p:nvSpPr>
          <p:spPr bwMode="auto">
            <a:xfrm>
              <a:off x="4012416" y="1698608"/>
              <a:ext cx="1278795" cy="175159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0" name="Freeform 102"/>
            <p:cNvSpPr>
              <a:spLocks noEditPoints="1"/>
            </p:cNvSpPr>
            <p:nvPr/>
          </p:nvSpPr>
          <p:spPr bwMode="auto">
            <a:xfrm>
              <a:off x="5202979" y="1417597"/>
              <a:ext cx="3515541" cy="3440993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1" name="Freeform 109"/>
            <p:cNvSpPr>
              <a:spLocks noEditPoints="1"/>
            </p:cNvSpPr>
            <p:nvPr/>
          </p:nvSpPr>
          <p:spPr bwMode="auto">
            <a:xfrm>
              <a:off x="3018944" y="3060344"/>
              <a:ext cx="692108" cy="126843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2" name="Freeform 139"/>
            <p:cNvSpPr>
              <a:spLocks noEditPoints="1"/>
            </p:cNvSpPr>
            <p:nvPr/>
          </p:nvSpPr>
          <p:spPr bwMode="auto">
            <a:xfrm>
              <a:off x="2545698" y="5024086"/>
              <a:ext cx="1269628" cy="1011861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3" name="Freeform 146"/>
            <p:cNvSpPr>
              <a:spLocks noEditPoints="1"/>
            </p:cNvSpPr>
            <p:nvPr/>
          </p:nvSpPr>
          <p:spPr bwMode="auto">
            <a:xfrm>
              <a:off x="5359964" y="5285104"/>
              <a:ext cx="969409" cy="875243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4" name="Freeform 210"/>
            <p:cNvSpPr>
              <a:spLocks noEditPoints="1"/>
            </p:cNvSpPr>
            <p:nvPr/>
          </p:nvSpPr>
          <p:spPr bwMode="auto">
            <a:xfrm>
              <a:off x="5956964" y="4906351"/>
              <a:ext cx="1887255" cy="984093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5" name="Freeform 223"/>
            <p:cNvSpPr>
              <a:spLocks noEditPoints="1"/>
            </p:cNvSpPr>
            <p:nvPr/>
          </p:nvSpPr>
          <p:spPr bwMode="auto">
            <a:xfrm>
              <a:off x="4837446" y="1831893"/>
              <a:ext cx="752839" cy="1332857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6" name="Freeform 235"/>
            <p:cNvSpPr>
              <a:spLocks noEditPoints="1"/>
            </p:cNvSpPr>
            <p:nvPr/>
          </p:nvSpPr>
          <p:spPr bwMode="auto">
            <a:xfrm>
              <a:off x="7499310" y="3113658"/>
              <a:ext cx="1219210" cy="1500575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</p:grp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6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03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uk-UA" sz="1800" dirty="0"/>
              <a:t>Коротке резюме</a:t>
            </a:r>
          </a:p>
        </p:txBody>
      </p:sp>
      <p:sp>
        <p:nvSpPr>
          <p:cNvPr id="5" name="Rectangle 13"/>
          <p:cNvSpPr/>
          <p:nvPr/>
        </p:nvSpPr>
        <p:spPr bwMode="auto">
          <a:xfrm>
            <a:off x="675000" y="1559250"/>
            <a:ext cx="1026000" cy="426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6" name="Rectangle 16"/>
          <p:cNvSpPr/>
          <p:nvPr/>
        </p:nvSpPr>
        <p:spPr bwMode="auto">
          <a:xfrm>
            <a:off x="1080000" y="2822555"/>
            <a:ext cx="1512000" cy="675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782241">
              <a:defRPr/>
            </a:pPr>
            <a:r>
              <a:rPr lang="uk-UA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онований шлях розвитку</a:t>
            </a:r>
          </a:p>
        </p:txBody>
      </p:sp>
      <p:sp>
        <p:nvSpPr>
          <p:cNvPr id="8" name="Rectangle 12"/>
          <p:cNvSpPr/>
          <p:nvPr/>
        </p:nvSpPr>
        <p:spPr bwMode="auto">
          <a:xfrm>
            <a:off x="1080000" y="1748250"/>
            <a:ext cx="1512000" cy="675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782241">
              <a:defRPr/>
            </a:pPr>
            <a:r>
              <a:rPr lang="uk-UA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чний стан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2700000" y="1780405"/>
            <a:ext cx="6192779" cy="68545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61606" tIns="0" rIns="61606" bIns="61606">
            <a:spAutoFit/>
          </a:bodyPr>
          <a:lstStyle/>
          <a:p>
            <a:pPr marL="171450" indent="-171450" defTabSz="78224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Нормативно-законодавча база: 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застаріла та переобтяжена</a:t>
            </a:r>
          </a:p>
          <a:p>
            <a:pPr marL="171450" indent="-171450" defTabSz="78224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Угода про асоціацію з ЄС: 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Україна має адаптувати валютне законодавство до норм ЄС.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2870946" y="2959094"/>
            <a:ext cx="6021832" cy="43615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61606" tIns="0" rIns="61606" bIns="61606">
            <a:spAutoFit/>
          </a:bodyPr>
          <a:lstStyle>
            <a:defPPr>
              <a:defRPr lang="uk-UA"/>
            </a:defPPr>
            <a:lvl1pPr marL="228600" indent="-228600" defTabSz="1042988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uk-UA" sz="1350" b="1" dirty="0"/>
              <a:t>Прийняти Закон «Про валюту», </a:t>
            </a:r>
            <a:r>
              <a:rPr lang="uk-UA" sz="1350" dirty="0"/>
              <a:t>що відповідатиме нормам ЄС та встановлюватиме свободу руху капіталу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1890000" y="2632208"/>
            <a:ext cx="6993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16"/>
          <p:cNvSpPr/>
          <p:nvPr/>
        </p:nvSpPr>
        <p:spPr bwMode="auto">
          <a:xfrm>
            <a:off x="1080000" y="3935250"/>
            <a:ext cx="1512000" cy="675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782241">
              <a:defRPr/>
            </a:pPr>
            <a:r>
              <a:rPr lang="uk-UA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ередній прогрес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2690221" y="3826539"/>
            <a:ext cx="6192779" cy="89743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61606" tIns="0" rIns="61606" bIns="61606">
            <a:spAutoFit/>
          </a:bodyPr>
          <a:lstStyle>
            <a:defPPr>
              <a:defRPr lang="uk-UA"/>
            </a:defPPr>
            <a:lvl1pPr marL="228600" indent="-228600" defTabSz="1042988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4000"/>
              </a:lnSpc>
              <a:buFont typeface="Wingdings" panose="05000000000000000000" pitchFamily="2" charset="2"/>
              <a:buChar char="ü"/>
            </a:pPr>
            <a:r>
              <a:rPr lang="uk-UA" sz="1350" b="1" dirty="0"/>
              <a:t>Затверджено концепцію </a:t>
            </a:r>
            <a:r>
              <a:rPr lang="uk-UA" sz="1350" dirty="0"/>
              <a:t>лібералізації валютного регулювання</a:t>
            </a:r>
          </a:p>
          <a:p>
            <a:pPr>
              <a:lnSpc>
                <a:spcPct val="114000"/>
              </a:lnSpc>
              <a:buFont typeface="Wingdings" panose="05000000000000000000" pitchFamily="2" charset="2"/>
              <a:buChar char="ü"/>
            </a:pPr>
            <a:r>
              <a:rPr lang="uk-UA" sz="1350" b="1" dirty="0"/>
              <a:t>Підготовлено </a:t>
            </a:r>
            <a:r>
              <a:rPr lang="uk-UA" sz="1350" dirty="0" smtClean="0"/>
              <a:t>на базі цієї концепції </a:t>
            </a:r>
            <a:r>
              <a:rPr lang="uk-UA" sz="1350" b="1" dirty="0" smtClean="0"/>
              <a:t>проект </a:t>
            </a:r>
            <a:r>
              <a:rPr lang="uk-UA" sz="1350" b="1" dirty="0"/>
              <a:t>нового </a:t>
            </a:r>
            <a:r>
              <a:rPr lang="uk-UA" sz="1350" b="1" dirty="0" smtClean="0"/>
              <a:t>закону</a:t>
            </a:r>
          </a:p>
          <a:p>
            <a:pPr>
              <a:lnSpc>
                <a:spcPct val="114000"/>
              </a:lnSpc>
              <a:buFont typeface="Wingdings" panose="05000000000000000000" pitchFamily="2" charset="2"/>
              <a:buChar char="ü"/>
            </a:pPr>
            <a:r>
              <a:rPr lang="uk-UA" sz="1350" b="1" dirty="0" smtClean="0"/>
              <a:t>Проект </a:t>
            </a:r>
            <a:r>
              <a:rPr lang="uk-UA" sz="1350" dirty="0"/>
              <a:t>Закону України «Про валюту</a:t>
            </a:r>
            <a:r>
              <a:rPr lang="uk-UA" sz="1350" dirty="0" smtClean="0"/>
              <a:t>» прийнято у першому читанні</a:t>
            </a:r>
            <a:endParaRPr lang="uk-UA" sz="1350" b="1" dirty="0"/>
          </a:p>
        </p:txBody>
      </p:sp>
      <p:sp>
        <p:nvSpPr>
          <p:cNvPr id="14" name="Rectangle 16"/>
          <p:cNvSpPr/>
          <p:nvPr/>
        </p:nvSpPr>
        <p:spPr bwMode="auto">
          <a:xfrm>
            <a:off x="1080000" y="4934250"/>
            <a:ext cx="1512000" cy="675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782241">
              <a:defRPr/>
            </a:pPr>
            <a:r>
              <a:rPr lang="uk-UA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</a:t>
            </a: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2870946" y="5015251"/>
            <a:ext cx="6021833" cy="53592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61606" tIns="0" rIns="61606" bIns="61606">
            <a:spAutoFit/>
          </a:bodyPr>
          <a:lstStyle>
            <a:defPPr>
              <a:defRPr lang="uk-UA"/>
            </a:defPPr>
            <a:lvl1pPr indent="0" defTabSz="1042988">
              <a:lnSpc>
                <a:spcPct val="114000"/>
              </a:lnSpc>
              <a:spcBef>
                <a:spcPct val="30000"/>
              </a:spcBef>
              <a:buFont typeface="Arial" panose="020B0604020202020204" pitchFamily="34" charset="0"/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uk-UA" sz="1350" b="1" dirty="0" smtClean="0"/>
              <a:t>Підтримати </a:t>
            </a:r>
            <a:r>
              <a:rPr lang="uk-UA" sz="1350" b="1" dirty="0"/>
              <a:t>проект </a:t>
            </a:r>
            <a:r>
              <a:rPr lang="uk-UA" sz="1350" dirty="0"/>
              <a:t>Закону України «Про валюту</a:t>
            </a:r>
            <a:r>
              <a:rPr lang="uk-UA" sz="1350" dirty="0" smtClean="0"/>
              <a:t>» та рекомендувати </a:t>
            </a:r>
            <a:r>
              <a:rPr lang="uk-UA" sz="1350" dirty="0"/>
              <a:t>до </a:t>
            </a:r>
            <a:r>
              <a:rPr lang="uk-UA" sz="1350" dirty="0" smtClean="0"/>
              <a:t>затвердження його </a:t>
            </a:r>
            <a:r>
              <a:rPr lang="uk-UA" sz="1350" dirty="0"/>
              <a:t>у </a:t>
            </a:r>
            <a:r>
              <a:rPr lang="uk-UA" sz="1350" dirty="0" smtClean="0"/>
              <a:t>цілому Верховною </a:t>
            </a:r>
            <a:r>
              <a:rPr lang="uk-UA" sz="1350" dirty="0"/>
              <a:t>Радою Україн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 bwMode="auto">
          <a:xfrm>
            <a:off x="1890000" y="3739633"/>
            <a:ext cx="6993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/>
          <p:nvPr/>
        </p:nvCxnSpPr>
        <p:spPr bwMode="auto">
          <a:xfrm>
            <a:off x="1890000" y="4772250"/>
            <a:ext cx="6993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7562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Румунія</a:t>
            </a:r>
            <a:endParaRPr lang="uk-UA" sz="1800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4737920" y="1417597"/>
            <a:ext cx="3980600" cy="2911403"/>
            <a:chOff x="2234020" y="1417597"/>
            <a:chExt cx="6484500" cy="4742750"/>
          </a:xfrm>
        </p:grpSpPr>
        <p:sp>
          <p:nvSpPr>
            <p:cNvPr id="30" name="Freeform 100"/>
            <p:cNvSpPr>
              <a:spLocks noEditPoints="1"/>
            </p:cNvSpPr>
            <p:nvPr/>
          </p:nvSpPr>
          <p:spPr bwMode="auto">
            <a:xfrm>
              <a:off x="5079224" y="3717886"/>
              <a:ext cx="247509" cy="124400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5331317" y="5197357"/>
              <a:ext cx="178756" cy="179936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4" name="Freeform 84"/>
            <p:cNvSpPr>
              <a:spLocks/>
            </p:cNvSpPr>
            <p:nvPr/>
          </p:nvSpPr>
          <p:spPr bwMode="auto">
            <a:xfrm>
              <a:off x="5184645" y="5188472"/>
              <a:ext cx="184485" cy="204371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5" name="Freeform 193"/>
            <p:cNvSpPr>
              <a:spLocks/>
            </p:cNvSpPr>
            <p:nvPr/>
          </p:nvSpPr>
          <p:spPr bwMode="auto">
            <a:xfrm>
              <a:off x="5400070" y="5285104"/>
              <a:ext cx="252093" cy="21436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4953179" y="4425412"/>
              <a:ext cx="464079" cy="251022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673585" y="4800833"/>
              <a:ext cx="277301" cy="203261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8" name="Freeform 197"/>
            <p:cNvSpPr>
              <a:spLocks noEditPoints="1"/>
            </p:cNvSpPr>
            <p:nvPr/>
          </p:nvSpPr>
          <p:spPr bwMode="auto">
            <a:xfrm>
              <a:off x="4691919" y="4844150"/>
              <a:ext cx="539707" cy="48649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6753346" y="5844904"/>
              <a:ext cx="225737" cy="12662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5167457" y="4854147"/>
              <a:ext cx="442307" cy="456504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4007833" y="4715308"/>
              <a:ext cx="411368" cy="251022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2" name="Freeform 51"/>
            <p:cNvSpPr>
              <a:spLocks/>
            </p:cNvSpPr>
            <p:nvPr/>
          </p:nvSpPr>
          <p:spPr bwMode="auto">
            <a:xfrm>
              <a:off x="5125060" y="3328025"/>
              <a:ext cx="515644" cy="308778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897031" y="4996319"/>
              <a:ext cx="374701" cy="320997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4" name="Freeform 63"/>
            <p:cNvSpPr>
              <a:spLocks noEditPoints="1"/>
            </p:cNvSpPr>
            <p:nvPr/>
          </p:nvSpPr>
          <p:spPr bwMode="auto">
            <a:xfrm>
              <a:off x="4211799" y="3482415"/>
              <a:ext cx="335741" cy="385418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5" name="Freeform 144"/>
            <p:cNvSpPr>
              <a:spLocks noEditPoints="1"/>
            </p:cNvSpPr>
            <p:nvPr/>
          </p:nvSpPr>
          <p:spPr bwMode="auto">
            <a:xfrm>
              <a:off x="3837098" y="3977793"/>
              <a:ext cx="323136" cy="366536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6" name="Freeform 217"/>
            <p:cNvSpPr>
              <a:spLocks/>
            </p:cNvSpPr>
            <p:nvPr/>
          </p:nvSpPr>
          <p:spPr bwMode="auto">
            <a:xfrm>
              <a:off x="7523373" y="4858590"/>
              <a:ext cx="401056" cy="274346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7" name="Freeform 219"/>
            <p:cNvSpPr>
              <a:spLocks/>
            </p:cNvSpPr>
            <p:nvPr/>
          </p:nvSpPr>
          <p:spPr bwMode="auto">
            <a:xfrm>
              <a:off x="4913073" y="4535372"/>
              <a:ext cx="570645" cy="39208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372569" y="3510183"/>
              <a:ext cx="684087" cy="62200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9" name="Freeform 17"/>
            <p:cNvSpPr>
              <a:spLocks/>
            </p:cNvSpPr>
            <p:nvPr/>
          </p:nvSpPr>
          <p:spPr bwMode="auto">
            <a:xfrm>
              <a:off x="5773624" y="4436519"/>
              <a:ext cx="368972" cy="350986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3762616" y="4243254"/>
              <a:ext cx="307094" cy="251022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4534935" y="4298790"/>
              <a:ext cx="570645" cy="306557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7140651" y="4708643"/>
              <a:ext cx="690961" cy="246579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5141102" y="3529065"/>
              <a:ext cx="430849" cy="322107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5138810" y="3115880"/>
              <a:ext cx="418244" cy="276568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6" name="Freeform 195"/>
            <p:cNvSpPr>
              <a:spLocks/>
            </p:cNvSpPr>
            <p:nvPr/>
          </p:nvSpPr>
          <p:spPr bwMode="auto">
            <a:xfrm>
              <a:off x="5531844" y="4974104"/>
              <a:ext cx="579812" cy="423182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7" name="Freeform 212"/>
            <p:cNvSpPr>
              <a:spLocks noEditPoints="1"/>
            </p:cNvSpPr>
            <p:nvPr/>
          </p:nvSpPr>
          <p:spPr bwMode="auto">
            <a:xfrm>
              <a:off x="7687234" y="4706421"/>
              <a:ext cx="648565" cy="514261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8" name="Freeform 221"/>
            <p:cNvSpPr>
              <a:spLocks noEditPoints="1"/>
            </p:cNvSpPr>
            <p:nvPr/>
          </p:nvSpPr>
          <p:spPr bwMode="auto">
            <a:xfrm>
              <a:off x="4321802" y="4545369"/>
              <a:ext cx="662315" cy="326550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3098008" y="4282129"/>
              <a:ext cx="1235252" cy="1240668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2234020" y="2552747"/>
              <a:ext cx="566062" cy="456504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1" name="Freeform 19"/>
            <p:cNvSpPr>
              <a:spLocks/>
            </p:cNvSpPr>
            <p:nvPr/>
          </p:nvSpPr>
          <p:spPr bwMode="auto">
            <a:xfrm>
              <a:off x="4675877" y="3800079"/>
              <a:ext cx="836488" cy="680867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2757685" y="3634583"/>
              <a:ext cx="394181" cy="433178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2377254" y="5216239"/>
              <a:ext cx="422828" cy="639772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4" name="Freeform 78"/>
            <p:cNvSpPr>
              <a:spLocks noEditPoints="1"/>
            </p:cNvSpPr>
            <p:nvPr/>
          </p:nvSpPr>
          <p:spPr bwMode="auto">
            <a:xfrm>
              <a:off x="4031896" y="3833401"/>
              <a:ext cx="741380" cy="951882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5" name="Freeform 80"/>
            <p:cNvSpPr>
              <a:spLocks noEditPoints="1"/>
            </p:cNvSpPr>
            <p:nvPr/>
          </p:nvSpPr>
          <p:spPr bwMode="auto">
            <a:xfrm>
              <a:off x="4065127" y="4800833"/>
              <a:ext cx="1168791" cy="1292872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6" name="Freeform 86"/>
            <p:cNvSpPr>
              <a:spLocks/>
            </p:cNvSpPr>
            <p:nvPr/>
          </p:nvSpPr>
          <p:spPr bwMode="auto">
            <a:xfrm>
              <a:off x="5282045" y="4485390"/>
              <a:ext cx="876593" cy="61311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7" name="Freeform 90"/>
            <p:cNvSpPr>
              <a:spLocks/>
            </p:cNvSpPr>
            <p:nvPr/>
          </p:nvSpPr>
          <p:spPr bwMode="auto">
            <a:xfrm>
              <a:off x="5397778" y="3827847"/>
              <a:ext cx="1459843" cy="984093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8" name="Freeform 92"/>
            <p:cNvSpPr>
              <a:spLocks noEditPoints="1"/>
            </p:cNvSpPr>
            <p:nvPr/>
          </p:nvSpPr>
          <p:spPr bwMode="auto">
            <a:xfrm>
              <a:off x="4421493" y="2014051"/>
              <a:ext cx="670336" cy="1766036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9" name="Freeform 96"/>
            <p:cNvSpPr>
              <a:spLocks noEditPoints="1"/>
            </p:cNvSpPr>
            <p:nvPr/>
          </p:nvSpPr>
          <p:spPr bwMode="auto">
            <a:xfrm>
              <a:off x="4012416" y="1698608"/>
              <a:ext cx="1278795" cy="175159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0" name="Freeform 102"/>
            <p:cNvSpPr>
              <a:spLocks noEditPoints="1"/>
            </p:cNvSpPr>
            <p:nvPr/>
          </p:nvSpPr>
          <p:spPr bwMode="auto">
            <a:xfrm>
              <a:off x="5202979" y="1417597"/>
              <a:ext cx="3515541" cy="3440993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1" name="Freeform 109"/>
            <p:cNvSpPr>
              <a:spLocks noEditPoints="1"/>
            </p:cNvSpPr>
            <p:nvPr/>
          </p:nvSpPr>
          <p:spPr bwMode="auto">
            <a:xfrm>
              <a:off x="3018944" y="3060344"/>
              <a:ext cx="692108" cy="126843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2" name="Freeform 139"/>
            <p:cNvSpPr>
              <a:spLocks noEditPoints="1"/>
            </p:cNvSpPr>
            <p:nvPr/>
          </p:nvSpPr>
          <p:spPr bwMode="auto">
            <a:xfrm>
              <a:off x="2545698" y="5024086"/>
              <a:ext cx="1269628" cy="1011861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3" name="Freeform 146"/>
            <p:cNvSpPr>
              <a:spLocks noEditPoints="1"/>
            </p:cNvSpPr>
            <p:nvPr/>
          </p:nvSpPr>
          <p:spPr bwMode="auto">
            <a:xfrm>
              <a:off x="5359964" y="5285104"/>
              <a:ext cx="969409" cy="875243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4" name="Freeform 210"/>
            <p:cNvSpPr>
              <a:spLocks noEditPoints="1"/>
            </p:cNvSpPr>
            <p:nvPr/>
          </p:nvSpPr>
          <p:spPr bwMode="auto">
            <a:xfrm>
              <a:off x="5956964" y="4906351"/>
              <a:ext cx="1887255" cy="984093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5" name="Freeform 223"/>
            <p:cNvSpPr>
              <a:spLocks noEditPoints="1"/>
            </p:cNvSpPr>
            <p:nvPr/>
          </p:nvSpPr>
          <p:spPr bwMode="auto">
            <a:xfrm>
              <a:off x="4837446" y="1831893"/>
              <a:ext cx="752839" cy="1332857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6" name="Freeform 235"/>
            <p:cNvSpPr>
              <a:spLocks noEditPoints="1"/>
            </p:cNvSpPr>
            <p:nvPr/>
          </p:nvSpPr>
          <p:spPr bwMode="auto">
            <a:xfrm>
              <a:off x="7499310" y="3113658"/>
              <a:ext cx="1219210" cy="1500575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99196" y="1269000"/>
            <a:ext cx="8019324" cy="6370975"/>
          </a:xfrm>
          <a:prstGeom prst="rect">
            <a:avLst/>
          </a:prstGeom>
        </p:spPr>
        <p:txBody>
          <a:bodyPr wrap="square" numCol="2" spcCol="360000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РЕГЛАМЕНТ №4/2005</a:t>
            </a:r>
          </a:p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ПРО РЕЖИМ ПРОВЕДЕННЯ ВАЛЮТНИХ ОПЕРАЦІЙ</a:t>
            </a:r>
          </a:p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n-US" sz="1200" b="1" dirty="0">
                <a:solidFill>
                  <a:srgbClr val="FF0000"/>
                </a:solidFill>
                <a:latin typeface="Calibri" panose="020F0502020204030204" pitchFamily="34" charset="0"/>
              </a:rPr>
              <a:t>Regulation on foreign exchange regime</a:t>
            </a:r>
            <a:r>
              <a:rPr lang="uk-UA" sz="1200" b="1" dirty="0">
                <a:solidFill>
                  <a:srgbClr val="FF0000"/>
                </a:solidFill>
                <a:latin typeface="Calibri" panose="020F0502020204030204" pitchFamily="34" charset="0"/>
              </a:rPr>
              <a:t>)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</a:t>
            </a: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457200" algn="just">
              <a:spcAft>
                <a:spcPts val="0"/>
              </a:spcAft>
            </a:pPr>
            <a:r>
              <a:rPr lang="uk-UA" sz="12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1. УМОВИ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Якщо короткострокові потоки капіталу значних обсягів спричиняють суттєвий вплив на валютний ринок та призводять до значних перешкод у здійсненні монетарної політики та політики обмінного курсу, що відображається, зокрема, у значних коливаннях у внутрішній ліквідності та значних </a:t>
            </a:r>
            <a:r>
              <a:rPr lang="uk-UA" sz="1200" dirty="0" err="1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исбалансах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латіжного балансу…»</a:t>
            </a:r>
          </a:p>
          <a:p>
            <a:pPr algn="just">
              <a:spcAft>
                <a:spcPts val="0"/>
              </a:spcAft>
            </a:pPr>
            <a:endParaRPr lang="uk-UA" sz="1200" dirty="0" smtClean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2. ПОВНОВАЖЕННЯ: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обов'язати резидентів та нерезидентів повідомляти Національний банк Румунії (НБР),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 10 днів до проведення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про намір здійснити короткострокові капітальні транзакції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тановлювати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меження та ліміти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короткострокові капітальні транзакції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берігати частину іноземної валюти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рахунках в НБР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тановлювати комісію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 ініціювання міжбанківських валютних транзакцій для здійснення капітальних транзакцій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іднімати ставку резервування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 необхідного рівня;</a:t>
            </a:r>
          </a:p>
          <a:p>
            <a:pPr marL="228600" indent="-228600" algn="just"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тановлювати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рокові обмеження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короткострокові капітальні транзакції;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становлювати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меження на ініціювання короткострокових капітальних транзакцій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28600" indent="-228600" algn="just"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проваджувати додаткові заходи для моніторингу капітальних транзакцій та/або контролю валютних опе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цій.</a:t>
            </a: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917575">
              <a:tabLst>
                <a:tab pos="3051175" algn="l"/>
                <a:tab pos="3675063" algn="l"/>
              </a:tabLst>
            </a:pPr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. ОСОБЛИВОСТІ: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</a:p>
          <a:p>
            <a:pPr algn="just" defTabSz="917575">
              <a:spcBef>
                <a:spcPts val="535"/>
              </a:spcBef>
              <a:spcAft>
                <a:spcPts val="0"/>
              </a:spcAft>
              <a:tabLst>
                <a:tab pos="3051175" algn="l"/>
                <a:tab pos="3675063" algn="l"/>
              </a:tabLs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Період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ії заходів захисту зазвичай не має перевищувати </a:t>
            </a:r>
            <a:r>
              <a:rPr lang="uk-UA" sz="12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ісяців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7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218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Чехія</a:t>
            </a:r>
            <a:endParaRPr lang="uk-UA" sz="1800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4737920" y="1417597"/>
            <a:ext cx="3980600" cy="2911403"/>
            <a:chOff x="2234020" y="1417597"/>
            <a:chExt cx="6484500" cy="4742750"/>
          </a:xfrm>
        </p:grpSpPr>
        <p:sp>
          <p:nvSpPr>
            <p:cNvPr id="30" name="Freeform 100"/>
            <p:cNvSpPr>
              <a:spLocks noEditPoints="1"/>
            </p:cNvSpPr>
            <p:nvPr/>
          </p:nvSpPr>
          <p:spPr bwMode="auto">
            <a:xfrm>
              <a:off x="5079224" y="3717886"/>
              <a:ext cx="247509" cy="124400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5331317" y="5197357"/>
              <a:ext cx="178756" cy="179936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4" name="Freeform 84"/>
            <p:cNvSpPr>
              <a:spLocks/>
            </p:cNvSpPr>
            <p:nvPr/>
          </p:nvSpPr>
          <p:spPr bwMode="auto">
            <a:xfrm>
              <a:off x="5184645" y="5188472"/>
              <a:ext cx="184485" cy="204371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5" name="Freeform 193"/>
            <p:cNvSpPr>
              <a:spLocks/>
            </p:cNvSpPr>
            <p:nvPr/>
          </p:nvSpPr>
          <p:spPr bwMode="auto">
            <a:xfrm>
              <a:off x="5400070" y="5285104"/>
              <a:ext cx="252093" cy="21436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4953179" y="4425412"/>
              <a:ext cx="464079" cy="251022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673585" y="4800833"/>
              <a:ext cx="277301" cy="203261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8" name="Freeform 197"/>
            <p:cNvSpPr>
              <a:spLocks noEditPoints="1"/>
            </p:cNvSpPr>
            <p:nvPr/>
          </p:nvSpPr>
          <p:spPr bwMode="auto">
            <a:xfrm>
              <a:off x="4691919" y="4844150"/>
              <a:ext cx="539707" cy="48649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6753346" y="5844904"/>
              <a:ext cx="225737" cy="12662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5167457" y="4854147"/>
              <a:ext cx="442307" cy="456504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4007833" y="4715308"/>
              <a:ext cx="411368" cy="251022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2" name="Freeform 51"/>
            <p:cNvSpPr>
              <a:spLocks/>
            </p:cNvSpPr>
            <p:nvPr/>
          </p:nvSpPr>
          <p:spPr bwMode="auto">
            <a:xfrm>
              <a:off x="5125060" y="3328025"/>
              <a:ext cx="515644" cy="308778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897031" y="4996319"/>
              <a:ext cx="374701" cy="320997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4" name="Freeform 63"/>
            <p:cNvSpPr>
              <a:spLocks noEditPoints="1"/>
            </p:cNvSpPr>
            <p:nvPr/>
          </p:nvSpPr>
          <p:spPr bwMode="auto">
            <a:xfrm>
              <a:off x="4211799" y="3482415"/>
              <a:ext cx="335741" cy="385418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5" name="Freeform 144"/>
            <p:cNvSpPr>
              <a:spLocks noEditPoints="1"/>
            </p:cNvSpPr>
            <p:nvPr/>
          </p:nvSpPr>
          <p:spPr bwMode="auto">
            <a:xfrm>
              <a:off x="3837098" y="3977793"/>
              <a:ext cx="323136" cy="366536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6" name="Freeform 217"/>
            <p:cNvSpPr>
              <a:spLocks/>
            </p:cNvSpPr>
            <p:nvPr/>
          </p:nvSpPr>
          <p:spPr bwMode="auto">
            <a:xfrm>
              <a:off x="7523373" y="4858590"/>
              <a:ext cx="401056" cy="274346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7" name="Freeform 219"/>
            <p:cNvSpPr>
              <a:spLocks/>
            </p:cNvSpPr>
            <p:nvPr/>
          </p:nvSpPr>
          <p:spPr bwMode="auto">
            <a:xfrm>
              <a:off x="4913073" y="4535372"/>
              <a:ext cx="570645" cy="39208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372569" y="3510183"/>
              <a:ext cx="684087" cy="62200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9" name="Freeform 17"/>
            <p:cNvSpPr>
              <a:spLocks/>
            </p:cNvSpPr>
            <p:nvPr/>
          </p:nvSpPr>
          <p:spPr bwMode="auto">
            <a:xfrm>
              <a:off x="5773624" y="4436519"/>
              <a:ext cx="368972" cy="350986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3762616" y="4243254"/>
              <a:ext cx="307094" cy="251022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4534935" y="4298790"/>
              <a:ext cx="570645" cy="306557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7140651" y="4708643"/>
              <a:ext cx="690961" cy="246579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5141102" y="3529065"/>
              <a:ext cx="430849" cy="322107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5138810" y="3115880"/>
              <a:ext cx="418244" cy="276568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6" name="Freeform 195"/>
            <p:cNvSpPr>
              <a:spLocks/>
            </p:cNvSpPr>
            <p:nvPr/>
          </p:nvSpPr>
          <p:spPr bwMode="auto">
            <a:xfrm>
              <a:off x="5531844" y="4974104"/>
              <a:ext cx="579812" cy="423182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7" name="Freeform 212"/>
            <p:cNvSpPr>
              <a:spLocks noEditPoints="1"/>
            </p:cNvSpPr>
            <p:nvPr/>
          </p:nvSpPr>
          <p:spPr bwMode="auto">
            <a:xfrm>
              <a:off x="7687234" y="4706421"/>
              <a:ext cx="648565" cy="514261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8" name="Freeform 221"/>
            <p:cNvSpPr>
              <a:spLocks noEditPoints="1"/>
            </p:cNvSpPr>
            <p:nvPr/>
          </p:nvSpPr>
          <p:spPr bwMode="auto">
            <a:xfrm>
              <a:off x="4321802" y="4545369"/>
              <a:ext cx="662315" cy="326550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3098008" y="4282129"/>
              <a:ext cx="1235252" cy="1240668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2234020" y="2552747"/>
              <a:ext cx="566062" cy="456504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1" name="Freeform 19"/>
            <p:cNvSpPr>
              <a:spLocks/>
            </p:cNvSpPr>
            <p:nvPr/>
          </p:nvSpPr>
          <p:spPr bwMode="auto">
            <a:xfrm>
              <a:off x="4675877" y="3800079"/>
              <a:ext cx="836488" cy="680867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2757685" y="3634583"/>
              <a:ext cx="394181" cy="433178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2377254" y="5216239"/>
              <a:ext cx="422828" cy="639772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4" name="Freeform 78"/>
            <p:cNvSpPr>
              <a:spLocks noEditPoints="1"/>
            </p:cNvSpPr>
            <p:nvPr/>
          </p:nvSpPr>
          <p:spPr bwMode="auto">
            <a:xfrm>
              <a:off x="4031896" y="3833401"/>
              <a:ext cx="741380" cy="951882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5" name="Freeform 80"/>
            <p:cNvSpPr>
              <a:spLocks noEditPoints="1"/>
            </p:cNvSpPr>
            <p:nvPr/>
          </p:nvSpPr>
          <p:spPr bwMode="auto">
            <a:xfrm>
              <a:off x="4065127" y="4800833"/>
              <a:ext cx="1168791" cy="1292872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6" name="Freeform 86"/>
            <p:cNvSpPr>
              <a:spLocks/>
            </p:cNvSpPr>
            <p:nvPr/>
          </p:nvSpPr>
          <p:spPr bwMode="auto">
            <a:xfrm>
              <a:off x="5282045" y="4485390"/>
              <a:ext cx="876593" cy="61311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7" name="Freeform 90"/>
            <p:cNvSpPr>
              <a:spLocks/>
            </p:cNvSpPr>
            <p:nvPr/>
          </p:nvSpPr>
          <p:spPr bwMode="auto">
            <a:xfrm>
              <a:off x="5397778" y="3827847"/>
              <a:ext cx="1459843" cy="984093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8" name="Freeform 92"/>
            <p:cNvSpPr>
              <a:spLocks noEditPoints="1"/>
            </p:cNvSpPr>
            <p:nvPr/>
          </p:nvSpPr>
          <p:spPr bwMode="auto">
            <a:xfrm>
              <a:off x="4421493" y="2014051"/>
              <a:ext cx="670336" cy="1766036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9" name="Freeform 96"/>
            <p:cNvSpPr>
              <a:spLocks noEditPoints="1"/>
            </p:cNvSpPr>
            <p:nvPr/>
          </p:nvSpPr>
          <p:spPr bwMode="auto">
            <a:xfrm>
              <a:off x="4012416" y="1698608"/>
              <a:ext cx="1278795" cy="175159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0" name="Freeform 102"/>
            <p:cNvSpPr>
              <a:spLocks noEditPoints="1"/>
            </p:cNvSpPr>
            <p:nvPr/>
          </p:nvSpPr>
          <p:spPr bwMode="auto">
            <a:xfrm>
              <a:off x="5202979" y="1417597"/>
              <a:ext cx="3515541" cy="3440993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1" name="Freeform 109"/>
            <p:cNvSpPr>
              <a:spLocks noEditPoints="1"/>
            </p:cNvSpPr>
            <p:nvPr/>
          </p:nvSpPr>
          <p:spPr bwMode="auto">
            <a:xfrm>
              <a:off x="3018944" y="3060344"/>
              <a:ext cx="692108" cy="126843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2" name="Freeform 139"/>
            <p:cNvSpPr>
              <a:spLocks noEditPoints="1"/>
            </p:cNvSpPr>
            <p:nvPr/>
          </p:nvSpPr>
          <p:spPr bwMode="auto">
            <a:xfrm>
              <a:off x="2545698" y="5024086"/>
              <a:ext cx="1269628" cy="1011861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3" name="Freeform 146"/>
            <p:cNvSpPr>
              <a:spLocks noEditPoints="1"/>
            </p:cNvSpPr>
            <p:nvPr/>
          </p:nvSpPr>
          <p:spPr bwMode="auto">
            <a:xfrm>
              <a:off x="5359964" y="5285104"/>
              <a:ext cx="969409" cy="875243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4" name="Freeform 210"/>
            <p:cNvSpPr>
              <a:spLocks noEditPoints="1"/>
            </p:cNvSpPr>
            <p:nvPr/>
          </p:nvSpPr>
          <p:spPr bwMode="auto">
            <a:xfrm>
              <a:off x="5956964" y="4906351"/>
              <a:ext cx="1887255" cy="984093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5" name="Freeform 223"/>
            <p:cNvSpPr>
              <a:spLocks noEditPoints="1"/>
            </p:cNvSpPr>
            <p:nvPr/>
          </p:nvSpPr>
          <p:spPr bwMode="auto">
            <a:xfrm>
              <a:off x="4837446" y="1831893"/>
              <a:ext cx="752839" cy="1332857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6" name="Freeform 235"/>
            <p:cNvSpPr>
              <a:spLocks noEditPoints="1"/>
            </p:cNvSpPr>
            <p:nvPr/>
          </p:nvSpPr>
          <p:spPr bwMode="auto">
            <a:xfrm>
              <a:off x="7499310" y="3113658"/>
              <a:ext cx="1219210" cy="1500575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738847" y="1417597"/>
            <a:ext cx="7973316" cy="5493812"/>
          </a:xfrm>
          <a:prstGeom prst="rect">
            <a:avLst/>
          </a:prstGeom>
        </p:spPr>
        <p:txBody>
          <a:bodyPr wrap="square" numCol="2" spcCol="360000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ЗАКОН ПРО ЗДІЙСНЕННЯ ВАЛЮТНИХ ОПЕРАЦІЙ (</a:t>
            </a:r>
            <a:r>
              <a:rPr lang="en-US" sz="1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Foreign exchange act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)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</a:t>
            </a:r>
            <a:endParaRPr lang="uk-UA" sz="1200" b="1" dirty="0">
              <a:solidFill>
                <a:srgbClr val="FF0000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uk-UA" sz="9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uk-UA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1. УМОВИ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В період надзвичайного стану, коли можливість здійснювати платежі в інші країни напряму та значною мірою знаходяться під загрозою…»</a:t>
            </a:r>
          </a:p>
          <a:p>
            <a:pPr algn="just"/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В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іод надзвичайного стану,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ли внутрішній монетарний баланс Чехії </a:t>
            </a:r>
            <a:r>
              <a:rPr lang="uk-UA" sz="12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пряму та значною мірою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находиться під загрозою…»</a:t>
            </a:r>
          </a:p>
          <a:p>
            <a:pPr algn="just">
              <a:spcAft>
                <a:spcPts val="0"/>
              </a:spcAft>
            </a:pPr>
            <a:endParaRPr lang="uk-UA" sz="12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2. ПОВНОВАЖЕННЯ:</a:t>
            </a:r>
          </a:p>
          <a:p>
            <a:pPr algn="just">
              <a:spcAft>
                <a:spcPts val="0"/>
              </a:spcAft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гулятор валютного ринку має надавати спеціальний дозвіл  на: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римання активів в іноземній валюті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обмін на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ціональну валюту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дійснювати платежі та перекази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 Чехії, включно із розрахунками між банками та їх підрозділами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давати локальні </a:t>
            </a: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інні папери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резидентам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римувати кредити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 нерезидентів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ідкривати рахунки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Чехії нерезидентам із розміщенням іноземної валюти на них;</a:t>
            </a: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r>
              <a:rPr lang="uk-UA" sz="12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казувати іноземну валюту </a:t>
            </a:r>
            <a:r>
              <a:rPr lang="uk-UA" sz="12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Чехію з інших країн між банками та їх підрозділами </a:t>
            </a: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spcAft>
                <a:spcPts val="0"/>
              </a:spcAft>
              <a:buFont typeface="+mj-lt"/>
              <a:buAutoNum type="arabicParenR"/>
            </a:pPr>
            <a:endParaRPr lang="uk-UA" sz="9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uk-UA" sz="1200" b="1" dirty="0" smtClean="0">
              <a:solidFill>
                <a:srgbClr val="91CA64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</a:t>
            </a:r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. ОСОБЛИВОСТІ: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uk-UA" sz="1200" dirty="0" smtClean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/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Уряд має право оголошувати надзвичайний стан на </a:t>
            </a:r>
            <a:r>
              <a:rPr lang="uk-UA" sz="1200" dirty="0">
                <a:latin typeface="Calibri" panose="020F0502020204030204" pitchFamily="34" charset="0"/>
                <a:ea typeface="Times New Roman" panose="02020603050405020304" pitchFamily="18" charset="0"/>
              </a:rPr>
              <a:t>валютному ринку 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усіма наявними засобами медіа строком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до 3-х місяців.</a:t>
            </a:r>
            <a:endParaRPr lang="uk-UA" sz="12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8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62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Хорватія</a:t>
            </a:r>
            <a:endParaRPr lang="uk-UA" sz="1800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4737920" y="1417597"/>
            <a:ext cx="3980600" cy="2911403"/>
            <a:chOff x="2234020" y="1417597"/>
            <a:chExt cx="6484500" cy="4742750"/>
          </a:xfrm>
        </p:grpSpPr>
        <p:sp>
          <p:nvSpPr>
            <p:cNvPr id="30" name="Freeform 100"/>
            <p:cNvSpPr>
              <a:spLocks noEditPoints="1"/>
            </p:cNvSpPr>
            <p:nvPr/>
          </p:nvSpPr>
          <p:spPr bwMode="auto">
            <a:xfrm>
              <a:off x="5079224" y="3717886"/>
              <a:ext cx="247509" cy="124400"/>
            </a:xfrm>
            <a:custGeom>
              <a:avLst/>
              <a:gdLst>
                <a:gd name="T0" fmla="*/ 44 w 104"/>
                <a:gd name="T1" fmla="*/ 1 h 54"/>
                <a:gd name="T2" fmla="*/ 48 w 104"/>
                <a:gd name="T3" fmla="*/ 4 h 54"/>
                <a:gd name="T4" fmla="*/ 51 w 104"/>
                <a:gd name="T5" fmla="*/ 5 h 54"/>
                <a:gd name="T6" fmla="*/ 57 w 104"/>
                <a:gd name="T7" fmla="*/ 8 h 54"/>
                <a:gd name="T8" fmla="*/ 69 w 104"/>
                <a:gd name="T9" fmla="*/ 9 h 54"/>
                <a:gd name="T10" fmla="*/ 71 w 104"/>
                <a:gd name="T11" fmla="*/ 7 h 54"/>
                <a:gd name="T12" fmla="*/ 75 w 104"/>
                <a:gd name="T13" fmla="*/ 6 h 54"/>
                <a:gd name="T14" fmla="*/ 82 w 104"/>
                <a:gd name="T15" fmla="*/ 4 h 54"/>
                <a:gd name="T16" fmla="*/ 85 w 104"/>
                <a:gd name="T17" fmla="*/ 8 h 54"/>
                <a:gd name="T18" fmla="*/ 87 w 104"/>
                <a:gd name="T19" fmla="*/ 8 h 54"/>
                <a:gd name="T20" fmla="*/ 91 w 104"/>
                <a:gd name="T21" fmla="*/ 12 h 54"/>
                <a:gd name="T22" fmla="*/ 94 w 104"/>
                <a:gd name="T23" fmla="*/ 15 h 54"/>
                <a:gd name="T24" fmla="*/ 92 w 104"/>
                <a:gd name="T25" fmla="*/ 22 h 54"/>
                <a:gd name="T26" fmla="*/ 92 w 104"/>
                <a:gd name="T27" fmla="*/ 25 h 54"/>
                <a:gd name="T28" fmla="*/ 92 w 104"/>
                <a:gd name="T29" fmla="*/ 35 h 54"/>
                <a:gd name="T30" fmla="*/ 95 w 104"/>
                <a:gd name="T31" fmla="*/ 39 h 54"/>
                <a:gd name="T32" fmla="*/ 95 w 104"/>
                <a:gd name="T33" fmla="*/ 40 h 54"/>
                <a:gd name="T34" fmla="*/ 99 w 104"/>
                <a:gd name="T35" fmla="*/ 39 h 54"/>
                <a:gd name="T36" fmla="*/ 100 w 104"/>
                <a:gd name="T37" fmla="*/ 38 h 54"/>
                <a:gd name="T38" fmla="*/ 99 w 104"/>
                <a:gd name="T39" fmla="*/ 39 h 54"/>
                <a:gd name="T40" fmla="*/ 90 w 104"/>
                <a:gd name="T41" fmla="*/ 41 h 54"/>
                <a:gd name="T42" fmla="*/ 82 w 104"/>
                <a:gd name="T43" fmla="*/ 46 h 54"/>
                <a:gd name="T44" fmla="*/ 61 w 104"/>
                <a:gd name="T45" fmla="*/ 48 h 54"/>
                <a:gd name="T46" fmla="*/ 46 w 104"/>
                <a:gd name="T47" fmla="*/ 49 h 54"/>
                <a:gd name="T48" fmla="*/ 37 w 104"/>
                <a:gd name="T49" fmla="*/ 51 h 54"/>
                <a:gd name="T50" fmla="*/ 24 w 104"/>
                <a:gd name="T51" fmla="*/ 52 h 54"/>
                <a:gd name="T52" fmla="*/ 17 w 104"/>
                <a:gd name="T53" fmla="*/ 52 h 54"/>
                <a:gd name="T54" fmla="*/ 4 w 104"/>
                <a:gd name="T55" fmla="*/ 53 h 54"/>
                <a:gd name="T56" fmla="*/ 5 w 104"/>
                <a:gd name="T57" fmla="*/ 49 h 54"/>
                <a:gd name="T58" fmla="*/ 13 w 104"/>
                <a:gd name="T59" fmla="*/ 40 h 54"/>
                <a:gd name="T60" fmla="*/ 8 w 104"/>
                <a:gd name="T61" fmla="*/ 38 h 54"/>
                <a:gd name="T62" fmla="*/ 4 w 104"/>
                <a:gd name="T63" fmla="*/ 35 h 54"/>
                <a:gd name="T64" fmla="*/ 9 w 104"/>
                <a:gd name="T65" fmla="*/ 22 h 54"/>
                <a:gd name="T66" fmla="*/ 25 w 104"/>
                <a:gd name="T67" fmla="*/ 25 h 54"/>
                <a:gd name="T68" fmla="*/ 38 w 104"/>
                <a:gd name="T69" fmla="*/ 8 h 54"/>
                <a:gd name="T70" fmla="*/ 40 w 104"/>
                <a:gd name="T71" fmla="*/ 1 h 54"/>
                <a:gd name="T72" fmla="*/ 44 w 104"/>
                <a:gd name="T73" fmla="*/ 1 h 54"/>
                <a:gd name="T74" fmla="*/ 102 w 104"/>
                <a:gd name="T75" fmla="*/ 37 h 54"/>
                <a:gd name="T76" fmla="*/ 102 w 104"/>
                <a:gd name="T77" fmla="*/ 37 h 54"/>
                <a:gd name="T78" fmla="*/ 102 w 104"/>
                <a:gd name="T79" fmla="*/ 37 h 54"/>
                <a:gd name="T80" fmla="*/ 102 w 104"/>
                <a:gd name="T81" fmla="*/ 38 h 54"/>
                <a:gd name="T82" fmla="*/ 102 w 104"/>
                <a:gd name="T83" fmla="*/ 37 h 54"/>
                <a:gd name="T84" fmla="*/ 102 w 104"/>
                <a:gd name="T85" fmla="*/ 37 h 54"/>
                <a:gd name="T86" fmla="*/ 102 w 104"/>
                <a:gd name="T87" fmla="*/ 38 h 54"/>
                <a:gd name="T88" fmla="*/ 102 w 104"/>
                <a:gd name="T89" fmla="*/ 38 h 54"/>
                <a:gd name="T90" fmla="*/ 104 w 104"/>
                <a:gd name="T91" fmla="*/ 42 h 54"/>
                <a:gd name="T92" fmla="*/ 104 w 104"/>
                <a:gd name="T93" fmla="*/ 42 h 54"/>
                <a:gd name="T94" fmla="*/ 102 w 104"/>
                <a:gd name="T95" fmla="*/ 3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54">
                  <a:moveTo>
                    <a:pt x="44" y="1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10"/>
                    <a:pt x="91" y="12"/>
                  </a:cubicBezTo>
                  <a:cubicBezTo>
                    <a:pt x="92" y="14"/>
                    <a:pt x="94" y="15"/>
                    <a:pt x="94" y="15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8"/>
                  </a:cubicBezTo>
                  <a:cubicBezTo>
                    <a:pt x="100" y="39"/>
                    <a:pt x="99" y="39"/>
                    <a:pt x="99" y="39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63" y="48"/>
                    <a:pt x="61" y="48"/>
                  </a:cubicBezTo>
                  <a:cubicBezTo>
                    <a:pt x="60" y="48"/>
                    <a:pt x="48" y="49"/>
                    <a:pt x="46" y="49"/>
                  </a:cubicBezTo>
                  <a:cubicBezTo>
                    <a:pt x="45" y="50"/>
                    <a:pt x="39" y="51"/>
                    <a:pt x="37" y="51"/>
                  </a:cubicBezTo>
                  <a:cubicBezTo>
                    <a:pt x="35" y="51"/>
                    <a:pt x="26" y="52"/>
                    <a:pt x="24" y="52"/>
                  </a:cubicBezTo>
                  <a:cubicBezTo>
                    <a:pt x="22" y="52"/>
                    <a:pt x="17" y="52"/>
                    <a:pt x="17" y="52"/>
                  </a:cubicBezTo>
                  <a:cubicBezTo>
                    <a:pt x="17" y="52"/>
                    <a:pt x="7" y="53"/>
                    <a:pt x="4" y="53"/>
                  </a:cubicBezTo>
                  <a:cubicBezTo>
                    <a:pt x="1" y="54"/>
                    <a:pt x="5" y="49"/>
                    <a:pt x="5" y="49"/>
                  </a:cubicBezTo>
                  <a:cubicBezTo>
                    <a:pt x="5" y="49"/>
                    <a:pt x="17" y="39"/>
                    <a:pt x="13" y="40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26"/>
                    <a:pt x="5" y="22"/>
                    <a:pt x="9" y="22"/>
                  </a:cubicBezTo>
                  <a:cubicBezTo>
                    <a:pt x="12" y="22"/>
                    <a:pt x="20" y="25"/>
                    <a:pt x="25" y="25"/>
                  </a:cubicBezTo>
                  <a:cubicBezTo>
                    <a:pt x="43" y="25"/>
                    <a:pt x="39" y="19"/>
                    <a:pt x="38" y="8"/>
                  </a:cubicBezTo>
                  <a:cubicBezTo>
                    <a:pt x="38" y="5"/>
                    <a:pt x="39" y="2"/>
                    <a:pt x="40" y="1"/>
                  </a:cubicBezTo>
                  <a:cubicBezTo>
                    <a:pt x="41" y="0"/>
                    <a:pt x="43" y="2"/>
                    <a:pt x="44" y="1"/>
                  </a:cubicBezTo>
                  <a:close/>
                  <a:moveTo>
                    <a:pt x="102" y="37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7"/>
                  </a:cubicBezTo>
                  <a:close/>
                  <a:moveTo>
                    <a:pt x="102" y="38"/>
                  </a:moveTo>
                  <a:cubicBezTo>
                    <a:pt x="102" y="38"/>
                    <a:pt x="102" y="38"/>
                    <a:pt x="102" y="38"/>
                  </a:cubicBezTo>
                  <a:cubicBezTo>
                    <a:pt x="103" y="39"/>
                    <a:pt x="104" y="41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3" y="39"/>
                    <a:pt x="102" y="3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5331317" y="5197357"/>
              <a:ext cx="178756" cy="179936"/>
            </a:xfrm>
            <a:custGeom>
              <a:avLst/>
              <a:gdLst>
                <a:gd name="T0" fmla="*/ 70 w 75"/>
                <a:gd name="T1" fmla="*/ 49 h 78"/>
                <a:gd name="T2" fmla="*/ 52 w 75"/>
                <a:gd name="T3" fmla="*/ 56 h 78"/>
                <a:gd name="T4" fmla="*/ 40 w 75"/>
                <a:gd name="T5" fmla="*/ 65 h 78"/>
                <a:gd name="T6" fmla="*/ 38 w 75"/>
                <a:gd name="T7" fmla="*/ 77 h 78"/>
                <a:gd name="T8" fmla="*/ 32 w 75"/>
                <a:gd name="T9" fmla="*/ 76 h 78"/>
                <a:gd name="T10" fmla="*/ 31 w 75"/>
                <a:gd name="T11" fmla="*/ 70 h 78"/>
                <a:gd name="T12" fmla="*/ 30 w 75"/>
                <a:gd name="T13" fmla="*/ 66 h 78"/>
                <a:gd name="T14" fmla="*/ 26 w 75"/>
                <a:gd name="T15" fmla="*/ 60 h 78"/>
                <a:gd name="T16" fmla="*/ 21 w 75"/>
                <a:gd name="T17" fmla="*/ 57 h 78"/>
                <a:gd name="T18" fmla="*/ 19 w 75"/>
                <a:gd name="T19" fmla="*/ 57 h 78"/>
                <a:gd name="T20" fmla="*/ 15 w 75"/>
                <a:gd name="T21" fmla="*/ 55 h 78"/>
                <a:gd name="T22" fmla="*/ 13 w 75"/>
                <a:gd name="T23" fmla="*/ 49 h 78"/>
                <a:gd name="T24" fmla="*/ 9 w 75"/>
                <a:gd name="T25" fmla="*/ 46 h 78"/>
                <a:gd name="T26" fmla="*/ 6 w 75"/>
                <a:gd name="T27" fmla="*/ 44 h 78"/>
                <a:gd name="T28" fmla="*/ 1 w 75"/>
                <a:gd name="T29" fmla="*/ 34 h 78"/>
                <a:gd name="T30" fmla="*/ 10 w 75"/>
                <a:gd name="T31" fmla="*/ 29 h 78"/>
                <a:gd name="T32" fmla="*/ 16 w 75"/>
                <a:gd name="T33" fmla="*/ 27 h 78"/>
                <a:gd name="T34" fmla="*/ 20 w 75"/>
                <a:gd name="T35" fmla="*/ 24 h 78"/>
                <a:gd name="T36" fmla="*/ 25 w 75"/>
                <a:gd name="T37" fmla="*/ 15 h 78"/>
                <a:gd name="T38" fmla="*/ 24 w 75"/>
                <a:gd name="T39" fmla="*/ 8 h 78"/>
                <a:gd name="T40" fmla="*/ 25 w 75"/>
                <a:gd name="T41" fmla="*/ 4 h 78"/>
                <a:gd name="T42" fmla="*/ 32 w 75"/>
                <a:gd name="T43" fmla="*/ 2 h 78"/>
                <a:gd name="T44" fmla="*/ 39 w 75"/>
                <a:gd name="T45" fmla="*/ 7 h 78"/>
                <a:gd name="T46" fmla="*/ 47 w 75"/>
                <a:gd name="T47" fmla="*/ 11 h 78"/>
                <a:gd name="T48" fmla="*/ 50 w 75"/>
                <a:gd name="T49" fmla="*/ 17 h 78"/>
                <a:gd name="T50" fmla="*/ 59 w 75"/>
                <a:gd name="T51" fmla="*/ 23 h 78"/>
                <a:gd name="T52" fmla="*/ 67 w 75"/>
                <a:gd name="T53" fmla="*/ 26 h 78"/>
                <a:gd name="T54" fmla="*/ 75 w 75"/>
                <a:gd name="T55" fmla="*/ 26 h 78"/>
                <a:gd name="T56" fmla="*/ 73 w 75"/>
                <a:gd name="T57" fmla="*/ 31 h 78"/>
                <a:gd name="T58" fmla="*/ 70 w 75"/>
                <a:gd name="T59" fmla="*/ 37 h 78"/>
                <a:gd name="T60" fmla="*/ 70 w 75"/>
                <a:gd name="T61" fmla="*/ 43 h 78"/>
                <a:gd name="T62" fmla="*/ 70 w 75"/>
                <a:gd name="T63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5" h="78">
                  <a:moveTo>
                    <a:pt x="71" y="48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66" y="51"/>
                    <a:pt x="61" y="49"/>
                    <a:pt x="60" y="56"/>
                  </a:cubicBezTo>
                  <a:cubicBezTo>
                    <a:pt x="60" y="68"/>
                    <a:pt x="56" y="56"/>
                    <a:pt x="52" y="56"/>
                  </a:cubicBezTo>
                  <a:cubicBezTo>
                    <a:pt x="49" y="56"/>
                    <a:pt x="49" y="58"/>
                    <a:pt x="47" y="60"/>
                  </a:cubicBezTo>
                  <a:cubicBezTo>
                    <a:pt x="44" y="62"/>
                    <a:pt x="41" y="63"/>
                    <a:pt x="40" y="65"/>
                  </a:cubicBezTo>
                  <a:cubicBezTo>
                    <a:pt x="40" y="67"/>
                    <a:pt x="39" y="69"/>
                    <a:pt x="39" y="71"/>
                  </a:cubicBezTo>
                  <a:cubicBezTo>
                    <a:pt x="40" y="74"/>
                    <a:pt x="40" y="77"/>
                    <a:pt x="38" y="77"/>
                  </a:cubicBezTo>
                  <a:cubicBezTo>
                    <a:pt x="37" y="77"/>
                    <a:pt x="34" y="78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0"/>
                    <a:pt x="31" y="70"/>
                    <a:pt x="31" y="69"/>
                  </a:cubicBezTo>
                  <a:cubicBezTo>
                    <a:pt x="30" y="68"/>
                    <a:pt x="30" y="66"/>
                    <a:pt x="30" y="66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7" y="61"/>
                    <a:pt x="26" y="60"/>
                  </a:cubicBezTo>
                  <a:cubicBezTo>
                    <a:pt x="26" y="60"/>
                    <a:pt x="26" y="59"/>
                    <a:pt x="24" y="58"/>
                  </a:cubicBezTo>
                  <a:cubicBezTo>
                    <a:pt x="23" y="58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7" y="40"/>
                    <a:pt x="6" y="38"/>
                  </a:cubicBezTo>
                  <a:cubicBezTo>
                    <a:pt x="4" y="36"/>
                    <a:pt x="0" y="34"/>
                    <a:pt x="1" y="34"/>
                  </a:cubicBezTo>
                  <a:cubicBezTo>
                    <a:pt x="2" y="32"/>
                    <a:pt x="6" y="33"/>
                    <a:pt x="8" y="32"/>
                  </a:cubicBezTo>
                  <a:cubicBezTo>
                    <a:pt x="9" y="32"/>
                    <a:pt x="9" y="30"/>
                    <a:pt x="10" y="29"/>
                  </a:cubicBezTo>
                  <a:cubicBezTo>
                    <a:pt x="11" y="29"/>
                    <a:pt x="13" y="30"/>
                    <a:pt x="13" y="28"/>
                  </a:cubicBezTo>
                  <a:cubicBezTo>
                    <a:pt x="13" y="26"/>
                    <a:pt x="15" y="26"/>
                    <a:pt x="16" y="27"/>
                  </a:cubicBezTo>
                  <a:cubicBezTo>
                    <a:pt x="16" y="27"/>
                    <a:pt x="17" y="27"/>
                    <a:pt x="19" y="25"/>
                  </a:cubicBezTo>
                  <a:cubicBezTo>
                    <a:pt x="22" y="24"/>
                    <a:pt x="20" y="24"/>
                    <a:pt x="20" y="24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9"/>
                    <a:pt x="24" y="8"/>
                  </a:cubicBezTo>
                  <a:cubicBezTo>
                    <a:pt x="22" y="6"/>
                    <a:pt x="23" y="6"/>
                    <a:pt x="23" y="5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3"/>
                    <a:pt x="28" y="3"/>
                    <a:pt x="30" y="1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3" y="5"/>
                    <a:pt x="36" y="6"/>
                  </a:cubicBezTo>
                  <a:cubicBezTo>
                    <a:pt x="38" y="7"/>
                    <a:pt x="39" y="7"/>
                    <a:pt x="39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8" y="12"/>
                  </a:cubicBezTo>
                  <a:cubicBezTo>
                    <a:pt x="49" y="13"/>
                    <a:pt x="50" y="17"/>
                    <a:pt x="50" y="17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63" y="23"/>
                    <a:pt x="65" y="24"/>
                  </a:cubicBezTo>
                  <a:cubicBezTo>
                    <a:pt x="67" y="24"/>
                    <a:pt x="67" y="26"/>
                    <a:pt x="67" y="26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7"/>
                    <a:pt x="74" y="28"/>
                  </a:cubicBezTo>
                  <a:cubicBezTo>
                    <a:pt x="73" y="28"/>
                    <a:pt x="73" y="30"/>
                    <a:pt x="73" y="31"/>
                  </a:cubicBezTo>
                  <a:cubicBezTo>
                    <a:pt x="73" y="33"/>
                    <a:pt x="73" y="34"/>
                    <a:pt x="73" y="35"/>
                  </a:cubicBezTo>
                  <a:cubicBezTo>
                    <a:pt x="72" y="37"/>
                    <a:pt x="71" y="36"/>
                    <a:pt x="70" y="37"/>
                  </a:cubicBezTo>
                  <a:cubicBezTo>
                    <a:pt x="69" y="37"/>
                    <a:pt x="70" y="39"/>
                    <a:pt x="71" y="41"/>
                  </a:cubicBezTo>
                  <a:cubicBezTo>
                    <a:pt x="71" y="42"/>
                    <a:pt x="71" y="42"/>
                    <a:pt x="70" y="43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1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2" name="Freeform 5"/>
            <p:cNvSpPr>
              <a:spLocks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57 w 85"/>
                <a:gd name="T1" fmla="*/ 158 h 160"/>
                <a:gd name="T2" fmla="*/ 58 w 85"/>
                <a:gd name="T3" fmla="*/ 151 h 160"/>
                <a:gd name="T4" fmla="*/ 63 w 85"/>
                <a:gd name="T5" fmla="*/ 149 h 160"/>
                <a:gd name="T6" fmla="*/ 58 w 85"/>
                <a:gd name="T7" fmla="*/ 142 h 160"/>
                <a:gd name="T8" fmla="*/ 61 w 85"/>
                <a:gd name="T9" fmla="*/ 137 h 160"/>
                <a:gd name="T10" fmla="*/ 75 w 85"/>
                <a:gd name="T11" fmla="*/ 124 h 160"/>
                <a:gd name="T12" fmla="*/ 84 w 85"/>
                <a:gd name="T13" fmla="*/ 96 h 160"/>
                <a:gd name="T14" fmla="*/ 79 w 85"/>
                <a:gd name="T15" fmla="*/ 91 h 160"/>
                <a:gd name="T16" fmla="*/ 73 w 85"/>
                <a:gd name="T17" fmla="*/ 88 h 160"/>
                <a:gd name="T18" fmla="*/ 68 w 85"/>
                <a:gd name="T19" fmla="*/ 90 h 160"/>
                <a:gd name="T20" fmla="*/ 68 w 85"/>
                <a:gd name="T21" fmla="*/ 90 h 160"/>
                <a:gd name="T22" fmla="*/ 68 w 85"/>
                <a:gd name="T23" fmla="*/ 90 h 160"/>
                <a:gd name="T24" fmla="*/ 65 w 85"/>
                <a:gd name="T25" fmla="*/ 81 h 160"/>
                <a:gd name="T26" fmla="*/ 59 w 85"/>
                <a:gd name="T27" fmla="*/ 76 h 160"/>
                <a:gd name="T28" fmla="*/ 55 w 85"/>
                <a:gd name="T29" fmla="*/ 68 h 160"/>
                <a:gd name="T30" fmla="*/ 52 w 85"/>
                <a:gd name="T31" fmla="*/ 59 h 160"/>
                <a:gd name="T32" fmla="*/ 56 w 85"/>
                <a:gd name="T33" fmla="*/ 53 h 160"/>
                <a:gd name="T34" fmla="*/ 54 w 85"/>
                <a:gd name="T35" fmla="*/ 43 h 160"/>
                <a:gd name="T36" fmla="*/ 55 w 85"/>
                <a:gd name="T37" fmla="*/ 36 h 160"/>
                <a:gd name="T38" fmla="*/ 53 w 85"/>
                <a:gd name="T39" fmla="*/ 26 h 160"/>
                <a:gd name="T40" fmla="*/ 44 w 85"/>
                <a:gd name="T41" fmla="*/ 17 h 160"/>
                <a:gd name="T42" fmla="*/ 37 w 85"/>
                <a:gd name="T43" fmla="*/ 12 h 160"/>
                <a:gd name="T44" fmla="*/ 31 w 85"/>
                <a:gd name="T45" fmla="*/ 5 h 160"/>
                <a:gd name="T46" fmla="*/ 24 w 85"/>
                <a:gd name="T47" fmla="*/ 7 h 160"/>
                <a:gd name="T48" fmla="*/ 19 w 85"/>
                <a:gd name="T49" fmla="*/ 9 h 160"/>
                <a:gd name="T50" fmla="*/ 17 w 85"/>
                <a:gd name="T51" fmla="*/ 3 h 160"/>
                <a:gd name="T52" fmla="*/ 14 w 85"/>
                <a:gd name="T53" fmla="*/ 0 h 160"/>
                <a:gd name="T54" fmla="*/ 9 w 85"/>
                <a:gd name="T55" fmla="*/ 9 h 160"/>
                <a:gd name="T56" fmla="*/ 5 w 85"/>
                <a:gd name="T57" fmla="*/ 15 h 160"/>
                <a:gd name="T58" fmla="*/ 3 w 85"/>
                <a:gd name="T59" fmla="*/ 21 h 160"/>
                <a:gd name="T60" fmla="*/ 1 w 85"/>
                <a:gd name="T61" fmla="*/ 28 h 160"/>
                <a:gd name="T62" fmla="*/ 5 w 85"/>
                <a:gd name="T63" fmla="*/ 33 h 160"/>
                <a:gd name="T64" fmla="*/ 5 w 85"/>
                <a:gd name="T65" fmla="*/ 39 h 160"/>
                <a:gd name="T66" fmla="*/ 6 w 85"/>
                <a:gd name="T67" fmla="*/ 45 h 160"/>
                <a:gd name="T68" fmla="*/ 14 w 85"/>
                <a:gd name="T69" fmla="*/ 45 h 160"/>
                <a:gd name="T70" fmla="*/ 14 w 85"/>
                <a:gd name="T71" fmla="*/ 54 h 160"/>
                <a:gd name="T72" fmla="*/ 13 w 85"/>
                <a:gd name="T73" fmla="*/ 59 h 160"/>
                <a:gd name="T74" fmla="*/ 14 w 85"/>
                <a:gd name="T75" fmla="*/ 61 h 160"/>
                <a:gd name="T76" fmla="*/ 11 w 85"/>
                <a:gd name="T77" fmla="*/ 67 h 160"/>
                <a:gd name="T78" fmla="*/ 11 w 85"/>
                <a:gd name="T79" fmla="*/ 71 h 160"/>
                <a:gd name="T80" fmla="*/ 14 w 85"/>
                <a:gd name="T81" fmla="*/ 77 h 160"/>
                <a:gd name="T82" fmla="*/ 14 w 85"/>
                <a:gd name="T83" fmla="*/ 87 h 160"/>
                <a:gd name="T84" fmla="*/ 14 w 85"/>
                <a:gd name="T85" fmla="*/ 93 h 160"/>
                <a:gd name="T86" fmla="*/ 13 w 85"/>
                <a:gd name="T87" fmla="*/ 97 h 160"/>
                <a:gd name="T88" fmla="*/ 11 w 85"/>
                <a:gd name="T89" fmla="*/ 101 h 160"/>
                <a:gd name="T90" fmla="*/ 12 w 85"/>
                <a:gd name="T91" fmla="*/ 111 h 160"/>
                <a:gd name="T92" fmla="*/ 19 w 85"/>
                <a:gd name="T93" fmla="*/ 119 h 160"/>
                <a:gd name="T94" fmla="*/ 18 w 85"/>
                <a:gd name="T95" fmla="*/ 126 h 160"/>
                <a:gd name="T96" fmla="*/ 13 w 85"/>
                <a:gd name="T97" fmla="*/ 120 h 160"/>
                <a:gd name="T98" fmla="*/ 14 w 85"/>
                <a:gd name="T99" fmla="*/ 124 h 160"/>
                <a:gd name="T100" fmla="*/ 19 w 85"/>
                <a:gd name="T101" fmla="*/ 131 h 160"/>
                <a:gd name="T102" fmla="*/ 32 w 85"/>
                <a:gd name="T103" fmla="*/ 138 h 160"/>
                <a:gd name="T104" fmla="*/ 38 w 85"/>
                <a:gd name="T105" fmla="*/ 139 h 160"/>
                <a:gd name="T106" fmla="*/ 44 w 85"/>
                <a:gd name="T107" fmla="*/ 151 h 160"/>
                <a:gd name="T108" fmla="*/ 46 w 85"/>
                <a:gd name="T109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" h="160">
                  <a:moveTo>
                    <a:pt x="49" y="158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7" y="158"/>
                    <a:pt x="59" y="156"/>
                    <a:pt x="59" y="156"/>
                  </a:cubicBezTo>
                  <a:cubicBezTo>
                    <a:pt x="59" y="156"/>
                    <a:pt x="59" y="154"/>
                    <a:pt x="59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1"/>
                    <a:pt x="58" y="151"/>
                  </a:cubicBezTo>
                  <a:cubicBezTo>
                    <a:pt x="59" y="151"/>
                    <a:pt x="60" y="150"/>
                    <a:pt x="60" y="151"/>
                  </a:cubicBezTo>
                  <a:cubicBezTo>
                    <a:pt x="61" y="151"/>
                    <a:pt x="60" y="151"/>
                    <a:pt x="61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8"/>
                    <a:pt x="59" y="146"/>
                    <a:pt x="58" y="146"/>
                  </a:cubicBezTo>
                  <a:cubicBezTo>
                    <a:pt x="58" y="145"/>
                    <a:pt x="57" y="144"/>
                    <a:pt x="57" y="144"/>
                  </a:cubicBezTo>
                  <a:cubicBezTo>
                    <a:pt x="57" y="143"/>
                    <a:pt x="58" y="142"/>
                    <a:pt x="58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59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2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0" y="107"/>
                    <a:pt x="84" y="103"/>
                    <a:pt x="84" y="104"/>
                  </a:cubicBezTo>
                  <a:cubicBezTo>
                    <a:pt x="85" y="105"/>
                    <a:pt x="84" y="96"/>
                    <a:pt x="84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1"/>
                    <a:pt x="80" y="91"/>
                    <a:pt x="80" y="91"/>
                  </a:cubicBezTo>
                  <a:cubicBezTo>
                    <a:pt x="80" y="91"/>
                    <a:pt x="80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7" y="88"/>
                    <a:pt x="77" y="88"/>
                    <a:pt x="77" y="88"/>
                  </a:cubicBezTo>
                  <a:cubicBezTo>
                    <a:pt x="77" y="88"/>
                    <a:pt x="76" y="89"/>
                    <a:pt x="75" y="89"/>
                  </a:cubicBezTo>
                  <a:cubicBezTo>
                    <a:pt x="74" y="89"/>
                    <a:pt x="74" y="88"/>
                    <a:pt x="73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88"/>
                    <a:pt x="72" y="88"/>
                    <a:pt x="71" y="88"/>
                  </a:cubicBezTo>
                  <a:cubicBezTo>
                    <a:pt x="70" y="88"/>
                    <a:pt x="69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88"/>
                    <a:pt x="68" y="88"/>
                    <a:pt x="67" y="87"/>
                  </a:cubicBezTo>
                  <a:cubicBezTo>
                    <a:pt x="67" y="86"/>
                    <a:pt x="67" y="84"/>
                    <a:pt x="66" y="83"/>
                  </a:cubicBezTo>
                  <a:cubicBezTo>
                    <a:pt x="65" y="82"/>
                    <a:pt x="65" y="81"/>
                    <a:pt x="65" y="81"/>
                  </a:cubicBezTo>
                  <a:cubicBezTo>
                    <a:pt x="65" y="81"/>
                    <a:pt x="63" y="81"/>
                    <a:pt x="62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1" y="81"/>
                    <a:pt x="60" y="79"/>
                    <a:pt x="61" y="79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6" y="71"/>
                    <a:pt x="56" y="70"/>
                    <a:pt x="56" y="70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68"/>
                    <a:pt x="57" y="67"/>
                    <a:pt x="57" y="66"/>
                  </a:cubicBezTo>
                  <a:cubicBezTo>
                    <a:pt x="57" y="66"/>
                    <a:pt x="58" y="65"/>
                    <a:pt x="57" y="64"/>
                  </a:cubicBezTo>
                  <a:cubicBezTo>
                    <a:pt x="57" y="63"/>
                    <a:pt x="55" y="62"/>
                    <a:pt x="55" y="62"/>
                  </a:cubicBezTo>
                  <a:cubicBezTo>
                    <a:pt x="54" y="61"/>
                    <a:pt x="53" y="60"/>
                    <a:pt x="52" y="59"/>
                  </a:cubicBezTo>
                  <a:cubicBezTo>
                    <a:pt x="52" y="58"/>
                    <a:pt x="52" y="57"/>
                    <a:pt x="52" y="57"/>
                  </a:cubicBezTo>
                  <a:cubicBezTo>
                    <a:pt x="52" y="57"/>
                    <a:pt x="52" y="56"/>
                    <a:pt x="53" y="56"/>
                  </a:cubicBezTo>
                  <a:cubicBezTo>
                    <a:pt x="54" y="55"/>
                    <a:pt x="55" y="55"/>
                    <a:pt x="55" y="54"/>
                  </a:cubicBezTo>
                  <a:cubicBezTo>
                    <a:pt x="55" y="54"/>
                    <a:pt x="56" y="54"/>
                    <a:pt x="56" y="53"/>
                  </a:cubicBezTo>
                  <a:cubicBezTo>
                    <a:pt x="55" y="52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5" y="40"/>
                    <a:pt x="55" y="40"/>
                  </a:cubicBezTo>
                  <a:cubicBezTo>
                    <a:pt x="55" y="39"/>
                    <a:pt x="55" y="37"/>
                    <a:pt x="55" y="37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3" y="28"/>
                    <a:pt x="53" y="26"/>
                    <a:pt x="53" y="26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3"/>
                    <a:pt x="50" y="21"/>
                    <a:pt x="49" y="20"/>
                  </a:cubicBezTo>
                  <a:cubicBezTo>
                    <a:pt x="49" y="20"/>
                    <a:pt x="49" y="19"/>
                    <a:pt x="47" y="18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7" y="6"/>
                    <a:pt x="27" y="6"/>
                  </a:cubicBezTo>
                  <a:cubicBezTo>
                    <a:pt x="27" y="6"/>
                    <a:pt x="24" y="7"/>
                    <a:pt x="24" y="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8"/>
                    <a:pt x="18" y="7"/>
                  </a:cubicBezTo>
                  <a:cubicBezTo>
                    <a:pt x="18" y="7"/>
                    <a:pt x="17" y="6"/>
                    <a:pt x="17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4" y="0"/>
                    <a:pt x="14" y="0"/>
                  </a:cubicBezTo>
                  <a:cubicBezTo>
                    <a:pt x="14" y="0"/>
                    <a:pt x="10" y="4"/>
                    <a:pt x="10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7" y="12"/>
                    <a:pt x="7" y="13"/>
                  </a:cubicBezTo>
                  <a:cubicBezTo>
                    <a:pt x="7" y="13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3" y="21"/>
                    <a:pt x="3" y="2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1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7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5" y="41"/>
                    <a:pt x="5" y="42"/>
                  </a:cubicBezTo>
                  <a:cubicBezTo>
                    <a:pt x="5" y="42"/>
                    <a:pt x="5" y="43"/>
                    <a:pt x="5" y="43"/>
                  </a:cubicBezTo>
                  <a:cubicBezTo>
                    <a:pt x="4" y="43"/>
                    <a:pt x="6" y="45"/>
                    <a:pt x="6" y="45"/>
                  </a:cubicBezTo>
                  <a:cubicBezTo>
                    <a:pt x="6" y="45"/>
                    <a:pt x="7" y="44"/>
                    <a:pt x="8" y="44"/>
                  </a:cubicBezTo>
                  <a:cubicBezTo>
                    <a:pt x="8" y="44"/>
                    <a:pt x="10" y="44"/>
                    <a:pt x="10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7"/>
                    <a:pt x="16" y="58"/>
                  </a:cubicBezTo>
                  <a:cubicBezTo>
                    <a:pt x="15" y="58"/>
                    <a:pt x="14" y="58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4" y="61"/>
                    <a:pt x="14" y="61"/>
                  </a:cubicBezTo>
                  <a:cubicBezTo>
                    <a:pt x="14" y="62"/>
                    <a:pt x="14" y="64"/>
                    <a:pt x="14" y="64"/>
                  </a:cubicBezTo>
                  <a:cubicBezTo>
                    <a:pt x="14" y="64"/>
                    <a:pt x="14" y="65"/>
                    <a:pt x="13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1" y="71"/>
                    <a:pt x="12" y="72"/>
                    <a:pt x="12" y="72"/>
                  </a:cubicBezTo>
                  <a:cubicBezTo>
                    <a:pt x="12" y="72"/>
                    <a:pt x="15" y="74"/>
                    <a:pt x="15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4" y="81"/>
                    <a:pt x="14" y="81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6"/>
                    <a:pt x="14" y="86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3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2" y="100"/>
                  </a:cubicBezTo>
                  <a:cubicBezTo>
                    <a:pt x="12" y="100"/>
                    <a:pt x="11" y="101"/>
                    <a:pt x="11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8" y="126"/>
                  </a:cubicBezTo>
                  <a:cubicBezTo>
                    <a:pt x="18" y="126"/>
                    <a:pt x="18" y="126"/>
                    <a:pt x="17" y="125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1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1"/>
                    <a:pt x="11" y="121"/>
                  </a:cubicBezTo>
                  <a:cubicBezTo>
                    <a:pt x="11" y="122"/>
                    <a:pt x="11" y="122"/>
                    <a:pt x="12" y="123"/>
                  </a:cubicBezTo>
                  <a:cubicBezTo>
                    <a:pt x="13" y="124"/>
                    <a:pt x="13" y="124"/>
                    <a:pt x="14" y="124"/>
                  </a:cubicBezTo>
                  <a:cubicBezTo>
                    <a:pt x="14" y="124"/>
                    <a:pt x="14" y="125"/>
                    <a:pt x="15" y="125"/>
                  </a:cubicBezTo>
                  <a:cubicBezTo>
                    <a:pt x="15" y="126"/>
                    <a:pt x="15" y="128"/>
                    <a:pt x="15" y="128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3" y="139"/>
                    <a:pt x="33" y="139"/>
                  </a:cubicBezTo>
                  <a:cubicBezTo>
                    <a:pt x="33" y="139"/>
                    <a:pt x="34" y="139"/>
                    <a:pt x="35" y="139"/>
                  </a:cubicBezTo>
                  <a:cubicBezTo>
                    <a:pt x="35" y="139"/>
                    <a:pt x="37" y="139"/>
                    <a:pt x="37" y="139"/>
                  </a:cubicBezTo>
                  <a:cubicBezTo>
                    <a:pt x="37" y="139"/>
                    <a:pt x="38" y="138"/>
                    <a:pt x="38" y="139"/>
                  </a:cubicBezTo>
                  <a:cubicBezTo>
                    <a:pt x="38" y="140"/>
                    <a:pt x="41" y="145"/>
                    <a:pt x="41" y="145"/>
                  </a:cubicBezTo>
                  <a:cubicBezTo>
                    <a:pt x="41" y="145"/>
                    <a:pt x="41" y="146"/>
                    <a:pt x="42" y="147"/>
                  </a:cubicBezTo>
                  <a:cubicBezTo>
                    <a:pt x="43" y="148"/>
                    <a:pt x="45" y="149"/>
                    <a:pt x="45" y="149"/>
                  </a:cubicBezTo>
                  <a:cubicBezTo>
                    <a:pt x="45" y="149"/>
                    <a:pt x="44" y="150"/>
                    <a:pt x="44" y="151"/>
                  </a:cubicBezTo>
                  <a:cubicBezTo>
                    <a:pt x="45" y="152"/>
                    <a:pt x="44" y="152"/>
                    <a:pt x="45" y="152"/>
                  </a:cubicBezTo>
                  <a:cubicBezTo>
                    <a:pt x="45" y="153"/>
                    <a:pt x="45" y="153"/>
                    <a:pt x="45" y="153"/>
                  </a:cubicBezTo>
                  <a:cubicBezTo>
                    <a:pt x="45" y="153"/>
                    <a:pt x="45" y="153"/>
                    <a:pt x="45" y="154"/>
                  </a:cubicBezTo>
                  <a:cubicBezTo>
                    <a:pt x="46" y="154"/>
                    <a:pt x="46" y="155"/>
                    <a:pt x="46" y="155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277461" y="5289547"/>
              <a:ext cx="201674" cy="368757"/>
            </a:xfrm>
            <a:custGeom>
              <a:avLst/>
              <a:gdLst>
                <a:gd name="T0" fmla="*/ 45 w 85"/>
                <a:gd name="T1" fmla="*/ 154 h 160"/>
                <a:gd name="T2" fmla="*/ 41 w 85"/>
                <a:gd name="T3" fmla="*/ 145 h 160"/>
                <a:gd name="T4" fmla="*/ 15 w 85"/>
                <a:gd name="T5" fmla="*/ 128 h 160"/>
                <a:gd name="T6" fmla="*/ 14 w 85"/>
                <a:gd name="T7" fmla="*/ 121 h 160"/>
                <a:gd name="T8" fmla="*/ 18 w 85"/>
                <a:gd name="T9" fmla="*/ 119 h 160"/>
                <a:gd name="T10" fmla="*/ 12 w 85"/>
                <a:gd name="T11" fmla="*/ 100 h 160"/>
                <a:gd name="T12" fmla="*/ 14 w 85"/>
                <a:gd name="T13" fmla="*/ 93 h 160"/>
                <a:gd name="T14" fmla="*/ 14 w 85"/>
                <a:gd name="T15" fmla="*/ 77 h 160"/>
                <a:gd name="T16" fmla="*/ 11 w 85"/>
                <a:gd name="T17" fmla="*/ 67 h 160"/>
                <a:gd name="T18" fmla="*/ 13 w 85"/>
                <a:gd name="T19" fmla="*/ 58 h 160"/>
                <a:gd name="T20" fmla="*/ 14 w 85"/>
                <a:gd name="T21" fmla="*/ 46 h 160"/>
                <a:gd name="T22" fmla="*/ 4 w 85"/>
                <a:gd name="T23" fmla="*/ 39 h 160"/>
                <a:gd name="T24" fmla="*/ 0 w 85"/>
                <a:gd name="T25" fmla="*/ 27 h 160"/>
                <a:gd name="T26" fmla="*/ 4 w 85"/>
                <a:gd name="T27" fmla="*/ 15 h 160"/>
                <a:gd name="T28" fmla="*/ 16 w 85"/>
                <a:gd name="T29" fmla="*/ 0 h 160"/>
                <a:gd name="T30" fmla="*/ 19 w 85"/>
                <a:gd name="T31" fmla="*/ 8 h 160"/>
                <a:gd name="T32" fmla="*/ 31 w 85"/>
                <a:gd name="T33" fmla="*/ 4 h 160"/>
                <a:gd name="T34" fmla="*/ 42 w 85"/>
                <a:gd name="T35" fmla="*/ 16 h 160"/>
                <a:gd name="T36" fmla="*/ 54 w 85"/>
                <a:gd name="T37" fmla="*/ 30 h 160"/>
                <a:gd name="T38" fmla="*/ 55 w 85"/>
                <a:gd name="T39" fmla="*/ 48 h 160"/>
                <a:gd name="T40" fmla="*/ 52 w 85"/>
                <a:gd name="T41" fmla="*/ 59 h 160"/>
                <a:gd name="T42" fmla="*/ 57 w 85"/>
                <a:gd name="T43" fmla="*/ 73 h 160"/>
                <a:gd name="T44" fmla="*/ 68 w 85"/>
                <a:gd name="T45" fmla="*/ 87 h 160"/>
                <a:gd name="T46" fmla="*/ 77 w 85"/>
                <a:gd name="T47" fmla="*/ 88 h 160"/>
                <a:gd name="T48" fmla="*/ 80 w 85"/>
                <a:gd name="T49" fmla="*/ 107 h 160"/>
                <a:gd name="T50" fmla="*/ 60 w 85"/>
                <a:gd name="T51" fmla="*/ 140 h 160"/>
                <a:gd name="T52" fmla="*/ 61 w 85"/>
                <a:gd name="T53" fmla="*/ 147 h 160"/>
                <a:gd name="T54" fmla="*/ 59 w 85"/>
                <a:gd name="T55" fmla="*/ 154 h 160"/>
                <a:gd name="T56" fmla="*/ 49 w 85"/>
                <a:gd name="T57" fmla="*/ 158 h 160"/>
                <a:gd name="T58" fmla="*/ 57 w 85"/>
                <a:gd name="T59" fmla="*/ 151 h 160"/>
                <a:gd name="T60" fmla="*/ 63 w 85"/>
                <a:gd name="T61" fmla="*/ 149 h 160"/>
                <a:gd name="T62" fmla="*/ 59 w 85"/>
                <a:gd name="T63" fmla="*/ 140 h 160"/>
                <a:gd name="T64" fmla="*/ 75 w 85"/>
                <a:gd name="T65" fmla="*/ 124 h 160"/>
                <a:gd name="T66" fmla="*/ 80 w 85"/>
                <a:gd name="T67" fmla="*/ 91 h 160"/>
                <a:gd name="T68" fmla="*/ 69 w 85"/>
                <a:gd name="T69" fmla="*/ 90 h 160"/>
                <a:gd name="T70" fmla="*/ 65 w 85"/>
                <a:gd name="T71" fmla="*/ 81 h 160"/>
                <a:gd name="T72" fmla="*/ 55 w 85"/>
                <a:gd name="T73" fmla="*/ 68 h 160"/>
                <a:gd name="T74" fmla="*/ 54 w 85"/>
                <a:gd name="T75" fmla="*/ 55 h 160"/>
                <a:gd name="T76" fmla="*/ 54 w 85"/>
                <a:gd name="T77" fmla="*/ 42 h 160"/>
                <a:gd name="T78" fmla="*/ 52 w 85"/>
                <a:gd name="T79" fmla="*/ 26 h 160"/>
                <a:gd name="T80" fmla="*/ 40 w 85"/>
                <a:gd name="T81" fmla="*/ 15 h 160"/>
                <a:gd name="T82" fmla="*/ 24 w 85"/>
                <a:gd name="T83" fmla="*/ 7 h 160"/>
                <a:gd name="T84" fmla="*/ 17 w 85"/>
                <a:gd name="T85" fmla="*/ 5 h 160"/>
                <a:gd name="T86" fmla="*/ 9 w 85"/>
                <a:gd name="T87" fmla="*/ 9 h 160"/>
                <a:gd name="T88" fmla="*/ 4 w 85"/>
                <a:gd name="T89" fmla="*/ 20 h 160"/>
                <a:gd name="T90" fmla="*/ 6 w 85"/>
                <a:gd name="T91" fmla="*/ 32 h 160"/>
                <a:gd name="T92" fmla="*/ 5 w 85"/>
                <a:gd name="T93" fmla="*/ 41 h 160"/>
                <a:gd name="T94" fmla="*/ 15 w 85"/>
                <a:gd name="T95" fmla="*/ 46 h 160"/>
                <a:gd name="T96" fmla="*/ 13 w 85"/>
                <a:gd name="T97" fmla="*/ 59 h 160"/>
                <a:gd name="T98" fmla="*/ 12 w 85"/>
                <a:gd name="T99" fmla="*/ 66 h 160"/>
                <a:gd name="T100" fmla="*/ 15 w 85"/>
                <a:gd name="T101" fmla="*/ 75 h 160"/>
                <a:gd name="T102" fmla="*/ 17 w 85"/>
                <a:gd name="T103" fmla="*/ 92 h 160"/>
                <a:gd name="T104" fmla="*/ 13 w 85"/>
                <a:gd name="T105" fmla="*/ 101 h 160"/>
                <a:gd name="T106" fmla="*/ 18 w 85"/>
                <a:gd name="T107" fmla="*/ 122 h 160"/>
                <a:gd name="T108" fmla="*/ 13 w 85"/>
                <a:gd name="T109" fmla="*/ 120 h 160"/>
                <a:gd name="T110" fmla="*/ 27 w 85"/>
                <a:gd name="T111" fmla="*/ 135 h 160"/>
                <a:gd name="T112" fmla="*/ 38 w 85"/>
                <a:gd name="T113" fmla="*/ 139 h 160"/>
                <a:gd name="T114" fmla="*/ 47 w 85"/>
                <a:gd name="T115" fmla="*/ 15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5" h="160">
                  <a:moveTo>
                    <a:pt x="52" y="160"/>
                  </a:moveTo>
                  <a:cubicBezTo>
                    <a:pt x="52" y="160"/>
                    <a:pt x="52" y="160"/>
                    <a:pt x="52" y="160"/>
                  </a:cubicBezTo>
                  <a:cubicBezTo>
                    <a:pt x="49" y="158"/>
                    <a:pt x="49" y="158"/>
                    <a:pt x="49" y="158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5"/>
                    <a:pt x="45" y="155"/>
                    <a:pt x="45" y="154"/>
                  </a:cubicBezTo>
                  <a:cubicBezTo>
                    <a:pt x="45" y="152"/>
                    <a:pt x="45" y="152"/>
                    <a:pt x="45" y="152"/>
                  </a:cubicBezTo>
                  <a:cubicBezTo>
                    <a:pt x="44" y="153"/>
                    <a:pt x="44" y="153"/>
                    <a:pt x="44" y="153"/>
                  </a:cubicBezTo>
                  <a:cubicBezTo>
                    <a:pt x="44" y="152"/>
                    <a:pt x="44" y="152"/>
                    <a:pt x="44" y="152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44" y="150"/>
                    <a:pt x="44" y="149"/>
                    <a:pt x="45" y="149"/>
                  </a:cubicBezTo>
                  <a:cubicBezTo>
                    <a:pt x="44" y="149"/>
                    <a:pt x="42" y="148"/>
                    <a:pt x="42" y="147"/>
                  </a:cubicBezTo>
                  <a:cubicBezTo>
                    <a:pt x="41" y="147"/>
                    <a:pt x="41" y="145"/>
                    <a:pt x="41" y="145"/>
                  </a:cubicBezTo>
                  <a:cubicBezTo>
                    <a:pt x="40" y="145"/>
                    <a:pt x="38" y="141"/>
                    <a:pt x="38" y="139"/>
                  </a:cubicBezTo>
                  <a:cubicBezTo>
                    <a:pt x="36" y="139"/>
                    <a:pt x="35" y="139"/>
                    <a:pt x="35" y="139"/>
                  </a:cubicBezTo>
                  <a:cubicBezTo>
                    <a:pt x="34" y="139"/>
                    <a:pt x="33" y="139"/>
                    <a:pt x="33" y="139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1" y="137"/>
                    <a:pt x="31" y="137"/>
                    <a:pt x="31" y="137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4"/>
                  </a:cubicBezTo>
                  <a:cubicBezTo>
                    <a:pt x="13" y="124"/>
                    <a:pt x="12" y="124"/>
                    <a:pt x="12" y="123"/>
                  </a:cubicBezTo>
                  <a:cubicBezTo>
                    <a:pt x="11" y="123"/>
                    <a:pt x="11" y="122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4" y="121"/>
                    <a:pt x="14" y="121"/>
                  </a:cubicBezTo>
                  <a:cubicBezTo>
                    <a:pt x="15" y="121"/>
                    <a:pt x="15" y="123"/>
                    <a:pt x="15" y="123"/>
                  </a:cubicBezTo>
                  <a:cubicBezTo>
                    <a:pt x="15" y="123"/>
                    <a:pt x="16" y="125"/>
                    <a:pt x="17" y="125"/>
                  </a:cubicBezTo>
                  <a:cubicBezTo>
                    <a:pt x="17" y="125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2" y="100"/>
                    <a:pt x="12" y="100"/>
                  </a:cubicBezTo>
                  <a:cubicBezTo>
                    <a:pt x="12" y="100"/>
                    <a:pt x="13" y="99"/>
                    <a:pt x="13" y="99"/>
                  </a:cubicBezTo>
                  <a:cubicBezTo>
                    <a:pt x="13" y="99"/>
                    <a:pt x="13" y="98"/>
                    <a:pt x="13" y="98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4"/>
                    <a:pt x="13" y="93"/>
                    <a:pt x="13" y="93"/>
                  </a:cubicBezTo>
                  <a:cubicBezTo>
                    <a:pt x="13" y="93"/>
                    <a:pt x="13" y="93"/>
                    <a:pt x="14" y="93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3" y="85"/>
                    <a:pt x="12" y="83"/>
                    <a:pt x="12" y="83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4" y="78"/>
                    <a:pt x="14" y="77"/>
                  </a:cubicBezTo>
                  <a:cubicBezTo>
                    <a:pt x="14" y="76"/>
                    <a:pt x="14" y="75"/>
                    <a:pt x="14" y="75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3" y="73"/>
                    <a:pt x="12" y="72"/>
                    <a:pt x="12" y="72"/>
                  </a:cubicBezTo>
                  <a:cubicBezTo>
                    <a:pt x="12" y="72"/>
                    <a:pt x="11" y="72"/>
                    <a:pt x="11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2" y="65"/>
                    <a:pt x="13" y="65"/>
                    <a:pt x="13" y="65"/>
                  </a:cubicBezTo>
                  <a:cubicBezTo>
                    <a:pt x="13" y="65"/>
                    <a:pt x="14" y="64"/>
                    <a:pt x="14" y="64"/>
                  </a:cubicBezTo>
                  <a:cubicBezTo>
                    <a:pt x="14" y="63"/>
                    <a:pt x="14" y="62"/>
                    <a:pt x="14" y="61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59"/>
                    <a:pt x="13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6" y="57"/>
                    <a:pt x="16" y="56"/>
                    <a:pt x="16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8" y="44"/>
                    <a:pt x="7" y="45"/>
                    <a:pt x="7" y="45"/>
                  </a:cubicBezTo>
                  <a:cubicBezTo>
                    <a:pt x="4" y="44"/>
                    <a:pt x="4" y="43"/>
                    <a:pt x="4" y="43"/>
                  </a:cubicBezTo>
                  <a:cubicBezTo>
                    <a:pt x="5" y="43"/>
                    <a:pt x="5" y="42"/>
                    <a:pt x="5" y="42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5" y="37"/>
                    <a:pt x="5" y="37"/>
                  </a:cubicBezTo>
                  <a:cubicBezTo>
                    <a:pt x="4" y="36"/>
                    <a:pt x="4" y="35"/>
                    <a:pt x="4" y="35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1"/>
                    <a:pt x="5" y="30"/>
                    <a:pt x="5" y="30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4" y="18"/>
                    <a:pt x="4" y="18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6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7" y="4"/>
                    <a:pt x="17" y="5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8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20" y="9"/>
                    <a:pt x="20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6" y="6"/>
                    <a:pt x="27" y="6"/>
                  </a:cubicBezTo>
                  <a:cubicBezTo>
                    <a:pt x="27" y="6"/>
                    <a:pt x="27" y="5"/>
                    <a:pt x="28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6" y="17"/>
                    <a:pt x="48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50" y="21"/>
                    <a:pt x="52" y="23"/>
                    <a:pt x="52" y="2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8"/>
                    <a:pt x="54" y="29"/>
                  </a:cubicBezTo>
                  <a:cubicBezTo>
                    <a:pt x="54" y="29"/>
                    <a:pt x="54" y="30"/>
                    <a:pt x="54" y="30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40"/>
                    <a:pt x="55" y="40"/>
                  </a:cubicBezTo>
                  <a:cubicBezTo>
                    <a:pt x="55" y="40"/>
                    <a:pt x="55" y="42"/>
                    <a:pt x="55" y="42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6" y="52"/>
                    <a:pt x="56" y="53"/>
                  </a:cubicBezTo>
                  <a:cubicBezTo>
                    <a:pt x="57" y="53"/>
                    <a:pt x="56" y="54"/>
                    <a:pt x="56" y="54"/>
                  </a:cubicBezTo>
                  <a:cubicBezTo>
                    <a:pt x="55" y="55"/>
                    <a:pt x="55" y="55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7"/>
                    <a:pt x="52" y="57"/>
                    <a:pt x="52" y="57"/>
                  </a:cubicBezTo>
                  <a:cubicBezTo>
                    <a:pt x="52" y="57"/>
                    <a:pt x="52" y="58"/>
                    <a:pt x="52" y="59"/>
                  </a:cubicBezTo>
                  <a:cubicBezTo>
                    <a:pt x="53" y="60"/>
                    <a:pt x="55" y="61"/>
                    <a:pt x="55" y="61"/>
                  </a:cubicBezTo>
                  <a:cubicBezTo>
                    <a:pt x="55" y="61"/>
                    <a:pt x="57" y="63"/>
                    <a:pt x="57" y="64"/>
                  </a:cubicBezTo>
                  <a:cubicBezTo>
                    <a:pt x="58" y="64"/>
                    <a:pt x="57" y="65"/>
                    <a:pt x="57" y="66"/>
                  </a:cubicBezTo>
                  <a:cubicBezTo>
                    <a:pt x="57" y="66"/>
                    <a:pt x="57" y="67"/>
                    <a:pt x="55" y="68"/>
                  </a:cubicBezTo>
                  <a:cubicBezTo>
                    <a:pt x="56" y="69"/>
                    <a:pt x="56" y="69"/>
                    <a:pt x="56" y="6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3"/>
                    <a:pt x="57" y="73"/>
                  </a:cubicBezTo>
                  <a:cubicBezTo>
                    <a:pt x="58" y="74"/>
                    <a:pt x="59" y="76"/>
                    <a:pt x="60" y="76"/>
                  </a:cubicBezTo>
                  <a:cubicBezTo>
                    <a:pt x="60" y="76"/>
                    <a:pt x="61" y="78"/>
                    <a:pt x="61" y="79"/>
                  </a:cubicBezTo>
                  <a:cubicBezTo>
                    <a:pt x="61" y="79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ubicBezTo>
                    <a:pt x="63" y="81"/>
                    <a:pt x="65" y="81"/>
                    <a:pt x="65" y="81"/>
                  </a:cubicBezTo>
                  <a:cubicBezTo>
                    <a:pt x="65" y="81"/>
                    <a:pt x="66" y="82"/>
                    <a:pt x="66" y="83"/>
                  </a:cubicBezTo>
                  <a:cubicBezTo>
                    <a:pt x="67" y="84"/>
                    <a:pt x="68" y="86"/>
                    <a:pt x="68" y="87"/>
                  </a:cubicBezTo>
                  <a:cubicBezTo>
                    <a:pt x="68" y="87"/>
                    <a:pt x="68" y="88"/>
                    <a:pt x="68" y="88"/>
                  </a:cubicBezTo>
                  <a:cubicBezTo>
                    <a:pt x="68" y="89"/>
                    <a:pt x="68" y="89"/>
                    <a:pt x="68" y="89"/>
                  </a:cubicBezTo>
                  <a:cubicBezTo>
                    <a:pt x="68" y="90"/>
                    <a:pt x="69" y="89"/>
                    <a:pt x="69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1" y="88"/>
                    <a:pt x="72" y="88"/>
                    <a:pt x="73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6" y="88"/>
                    <a:pt x="76" y="88"/>
                    <a:pt x="77" y="88"/>
                  </a:cubicBezTo>
                  <a:cubicBezTo>
                    <a:pt x="79" y="89"/>
                    <a:pt x="79" y="89"/>
                    <a:pt x="79" y="89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80" y="91"/>
                    <a:pt x="81" y="91"/>
                    <a:pt x="81" y="91"/>
                  </a:cubicBezTo>
                  <a:cubicBezTo>
                    <a:pt x="82" y="93"/>
                    <a:pt x="82" y="93"/>
                    <a:pt x="82" y="9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3" y="104"/>
                    <a:pt x="81" y="106"/>
                    <a:pt x="80" y="107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2" y="136"/>
                    <a:pt x="61" y="137"/>
                    <a:pt x="61" y="137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1"/>
                    <a:pt x="58" y="141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58" y="143"/>
                    <a:pt x="58" y="143"/>
                    <a:pt x="58" y="144"/>
                  </a:cubicBezTo>
                  <a:cubicBezTo>
                    <a:pt x="58" y="144"/>
                    <a:pt x="58" y="144"/>
                    <a:pt x="58" y="145"/>
                  </a:cubicBezTo>
                  <a:cubicBezTo>
                    <a:pt x="58" y="145"/>
                    <a:pt x="59" y="145"/>
                    <a:pt x="59" y="146"/>
                  </a:cubicBezTo>
                  <a:cubicBezTo>
                    <a:pt x="59" y="146"/>
                    <a:pt x="60" y="147"/>
                    <a:pt x="61" y="147"/>
                  </a:cubicBezTo>
                  <a:cubicBezTo>
                    <a:pt x="62" y="148"/>
                    <a:pt x="63" y="148"/>
                    <a:pt x="63" y="148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3" y="151"/>
                    <a:pt x="62" y="151"/>
                    <a:pt x="61" y="151"/>
                  </a:cubicBezTo>
                  <a:cubicBezTo>
                    <a:pt x="61" y="151"/>
                    <a:pt x="60" y="151"/>
                    <a:pt x="60" y="151"/>
                  </a:cubicBezTo>
                  <a:cubicBezTo>
                    <a:pt x="59" y="151"/>
                    <a:pt x="59" y="151"/>
                    <a:pt x="58" y="151"/>
                  </a:cubicBezTo>
                  <a:cubicBezTo>
                    <a:pt x="58" y="151"/>
                    <a:pt x="58" y="152"/>
                    <a:pt x="58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59" y="154"/>
                    <a:pt x="59" y="156"/>
                    <a:pt x="59" y="156"/>
                  </a:cubicBezTo>
                  <a:cubicBezTo>
                    <a:pt x="59" y="156"/>
                    <a:pt x="59" y="157"/>
                    <a:pt x="57" y="158"/>
                  </a:cubicBezTo>
                  <a:cubicBezTo>
                    <a:pt x="56" y="160"/>
                    <a:pt x="56" y="160"/>
                    <a:pt x="56" y="160"/>
                  </a:cubicBezTo>
                  <a:cubicBezTo>
                    <a:pt x="52" y="160"/>
                    <a:pt x="52" y="160"/>
                    <a:pt x="52" y="160"/>
                  </a:cubicBezTo>
                  <a:cubicBezTo>
                    <a:pt x="52" y="160"/>
                    <a:pt x="52" y="160"/>
                    <a:pt x="52" y="160"/>
                  </a:cubicBezTo>
                  <a:close/>
                  <a:moveTo>
                    <a:pt x="49" y="158"/>
                  </a:moveTo>
                  <a:cubicBezTo>
                    <a:pt x="49" y="158"/>
                    <a:pt x="49" y="158"/>
                    <a:pt x="49" y="158"/>
                  </a:cubicBezTo>
                  <a:cubicBezTo>
                    <a:pt x="52" y="159"/>
                    <a:pt x="52" y="159"/>
                    <a:pt x="52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7" y="158"/>
                    <a:pt x="57" y="158"/>
                    <a:pt x="57" y="158"/>
                  </a:cubicBezTo>
                  <a:cubicBezTo>
                    <a:pt x="58" y="157"/>
                    <a:pt x="59" y="156"/>
                    <a:pt x="59" y="156"/>
                  </a:cubicBezTo>
                  <a:cubicBezTo>
                    <a:pt x="59" y="156"/>
                    <a:pt x="58" y="154"/>
                    <a:pt x="58" y="154"/>
                  </a:cubicBezTo>
                  <a:cubicBezTo>
                    <a:pt x="58" y="153"/>
                    <a:pt x="58" y="153"/>
                    <a:pt x="58" y="153"/>
                  </a:cubicBezTo>
                  <a:cubicBezTo>
                    <a:pt x="58" y="153"/>
                    <a:pt x="57" y="152"/>
                    <a:pt x="57" y="151"/>
                  </a:cubicBezTo>
                  <a:cubicBezTo>
                    <a:pt x="57" y="151"/>
                    <a:pt x="58" y="150"/>
                    <a:pt x="58" y="150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59" y="150"/>
                    <a:pt x="60" y="150"/>
                    <a:pt x="60" y="150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62" y="151"/>
                    <a:pt x="63" y="150"/>
                    <a:pt x="63" y="149"/>
                  </a:cubicBezTo>
                  <a:cubicBezTo>
                    <a:pt x="63" y="149"/>
                    <a:pt x="63" y="149"/>
                    <a:pt x="63" y="149"/>
                  </a:cubicBezTo>
                  <a:cubicBezTo>
                    <a:pt x="62" y="149"/>
                    <a:pt x="62" y="148"/>
                    <a:pt x="61" y="148"/>
                  </a:cubicBezTo>
                  <a:cubicBezTo>
                    <a:pt x="59" y="147"/>
                    <a:pt x="58" y="146"/>
                    <a:pt x="58" y="146"/>
                  </a:cubicBezTo>
                  <a:cubicBezTo>
                    <a:pt x="58" y="146"/>
                    <a:pt x="58" y="145"/>
                    <a:pt x="58" y="145"/>
                  </a:cubicBezTo>
                  <a:cubicBezTo>
                    <a:pt x="57" y="145"/>
                    <a:pt x="57" y="144"/>
                    <a:pt x="57" y="144"/>
                  </a:cubicBezTo>
                  <a:cubicBezTo>
                    <a:pt x="57" y="143"/>
                    <a:pt x="57" y="142"/>
                    <a:pt x="57" y="142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8" y="140"/>
                    <a:pt x="59" y="140"/>
                  </a:cubicBezTo>
                  <a:cubicBezTo>
                    <a:pt x="60" y="140"/>
                    <a:pt x="60" y="140"/>
                    <a:pt x="60" y="140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7"/>
                    <a:pt x="61" y="136"/>
                    <a:pt x="62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63" y="136"/>
                    <a:pt x="63" y="136"/>
                    <a:pt x="63" y="136"/>
                  </a:cubicBezTo>
                  <a:cubicBezTo>
                    <a:pt x="70" y="132"/>
                    <a:pt x="70" y="132"/>
                    <a:pt x="70" y="132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6" y="115"/>
                    <a:pt x="76" y="115"/>
                    <a:pt x="76" y="115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6"/>
                    <a:pt x="83" y="104"/>
                    <a:pt x="84" y="104"/>
                  </a:cubicBezTo>
                  <a:cubicBezTo>
                    <a:pt x="84" y="103"/>
                    <a:pt x="84" y="100"/>
                    <a:pt x="83" y="96"/>
                  </a:cubicBezTo>
                  <a:cubicBezTo>
                    <a:pt x="81" y="93"/>
                    <a:pt x="81" y="93"/>
                    <a:pt x="81" y="93"/>
                  </a:cubicBezTo>
                  <a:cubicBezTo>
                    <a:pt x="81" y="91"/>
                    <a:pt x="81" y="91"/>
                    <a:pt x="81" y="91"/>
                  </a:cubicBezTo>
                  <a:cubicBezTo>
                    <a:pt x="81" y="92"/>
                    <a:pt x="80" y="92"/>
                    <a:pt x="80" y="91"/>
                  </a:cubicBezTo>
                  <a:cubicBezTo>
                    <a:pt x="80" y="91"/>
                    <a:pt x="79" y="91"/>
                    <a:pt x="79" y="91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76" y="89"/>
                    <a:pt x="76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2" y="88"/>
                    <a:pt x="71" y="88"/>
                    <a:pt x="71" y="89"/>
                  </a:cubicBezTo>
                  <a:cubicBezTo>
                    <a:pt x="70" y="89"/>
                    <a:pt x="70" y="89"/>
                    <a:pt x="69" y="90"/>
                  </a:cubicBezTo>
                  <a:cubicBezTo>
                    <a:pt x="69" y="90"/>
                    <a:pt x="69" y="90"/>
                    <a:pt x="69" y="90"/>
                  </a:cubicBezTo>
                  <a:cubicBezTo>
                    <a:pt x="68" y="91"/>
                    <a:pt x="68" y="90"/>
                    <a:pt x="68" y="90"/>
                  </a:cubicBezTo>
                  <a:cubicBezTo>
                    <a:pt x="68" y="90"/>
                    <a:pt x="68" y="90"/>
                    <a:pt x="67" y="90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7" y="86"/>
                    <a:pt x="66" y="84"/>
                    <a:pt x="66" y="83"/>
                  </a:cubicBezTo>
                  <a:cubicBezTo>
                    <a:pt x="65" y="82"/>
                    <a:pt x="65" y="82"/>
                    <a:pt x="65" y="81"/>
                  </a:cubicBezTo>
                  <a:cubicBezTo>
                    <a:pt x="65" y="81"/>
                    <a:pt x="63" y="81"/>
                    <a:pt x="63" y="81"/>
                  </a:cubicBezTo>
                  <a:cubicBezTo>
                    <a:pt x="62" y="81"/>
                    <a:pt x="61" y="81"/>
                    <a:pt x="61" y="81"/>
                  </a:cubicBezTo>
                  <a:cubicBezTo>
                    <a:pt x="60" y="80"/>
                    <a:pt x="60" y="79"/>
                    <a:pt x="61" y="78"/>
                  </a:cubicBezTo>
                  <a:cubicBezTo>
                    <a:pt x="61" y="78"/>
                    <a:pt x="60" y="77"/>
                    <a:pt x="59" y="76"/>
                  </a:cubicBezTo>
                  <a:cubicBezTo>
                    <a:pt x="59" y="76"/>
                    <a:pt x="57" y="73"/>
                    <a:pt x="57" y="73"/>
                  </a:cubicBezTo>
                  <a:cubicBezTo>
                    <a:pt x="57" y="73"/>
                    <a:pt x="56" y="73"/>
                    <a:pt x="56" y="72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7"/>
                    <a:pt x="56" y="66"/>
                    <a:pt x="56" y="66"/>
                  </a:cubicBezTo>
                  <a:cubicBezTo>
                    <a:pt x="57" y="65"/>
                    <a:pt x="57" y="64"/>
                    <a:pt x="57" y="64"/>
                  </a:cubicBezTo>
                  <a:cubicBezTo>
                    <a:pt x="57" y="64"/>
                    <a:pt x="55" y="62"/>
                    <a:pt x="54" y="62"/>
                  </a:cubicBezTo>
                  <a:cubicBezTo>
                    <a:pt x="54" y="62"/>
                    <a:pt x="52" y="60"/>
                    <a:pt x="52" y="59"/>
                  </a:cubicBezTo>
                  <a:cubicBezTo>
                    <a:pt x="51" y="58"/>
                    <a:pt x="51" y="57"/>
                    <a:pt x="51" y="57"/>
                  </a:cubicBezTo>
                  <a:cubicBezTo>
                    <a:pt x="52" y="56"/>
                    <a:pt x="52" y="56"/>
                    <a:pt x="53" y="56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5"/>
                    <a:pt x="55" y="54"/>
                    <a:pt x="55" y="54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1"/>
                    <a:pt x="54" y="51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39"/>
                    <a:pt x="55" y="38"/>
                    <a:pt x="55" y="37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29"/>
                  </a:cubicBezTo>
                  <a:cubicBezTo>
                    <a:pt x="53" y="28"/>
                    <a:pt x="52" y="26"/>
                    <a:pt x="52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3"/>
                    <a:pt x="49" y="21"/>
                    <a:pt x="49" y="21"/>
                  </a:cubicBezTo>
                  <a:cubicBezTo>
                    <a:pt x="49" y="20"/>
                    <a:pt x="48" y="20"/>
                    <a:pt x="48" y="20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6" y="18"/>
                    <a:pt x="44" y="17"/>
                    <a:pt x="44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7" y="6"/>
                    <a:pt x="27" y="6"/>
                  </a:cubicBezTo>
                  <a:cubicBezTo>
                    <a:pt x="27" y="7"/>
                    <a:pt x="24" y="7"/>
                    <a:pt x="24" y="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4"/>
                    <a:pt x="17" y="4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1"/>
                    <a:pt x="12" y="2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3"/>
                    <a:pt x="7" y="13"/>
                  </a:cubicBezTo>
                  <a:cubicBezTo>
                    <a:pt x="7" y="14"/>
                    <a:pt x="6" y="15"/>
                    <a:pt x="6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0"/>
                    <a:pt x="4" y="20"/>
                    <a:pt x="3" y="21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2"/>
                    <a:pt x="5" y="33"/>
                    <a:pt x="5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6" y="38"/>
                    <a:pt x="5" y="39"/>
                    <a:pt x="5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3"/>
                    <a:pt x="5" y="43"/>
                  </a:cubicBezTo>
                  <a:cubicBezTo>
                    <a:pt x="5" y="43"/>
                    <a:pt x="6" y="44"/>
                    <a:pt x="7" y="44"/>
                  </a:cubicBezTo>
                  <a:cubicBezTo>
                    <a:pt x="7" y="44"/>
                    <a:pt x="7" y="44"/>
                    <a:pt x="8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4"/>
                    <a:pt x="16" y="55"/>
                    <a:pt x="16" y="55"/>
                  </a:cubicBezTo>
                  <a:cubicBezTo>
                    <a:pt x="16" y="56"/>
                    <a:pt x="16" y="58"/>
                    <a:pt x="16" y="58"/>
                  </a:cubicBezTo>
                  <a:cubicBezTo>
                    <a:pt x="15" y="58"/>
                    <a:pt x="14" y="59"/>
                    <a:pt x="13" y="59"/>
                  </a:cubicBezTo>
                  <a:cubicBezTo>
                    <a:pt x="12" y="59"/>
                    <a:pt x="11" y="59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5" y="62"/>
                    <a:pt x="15" y="64"/>
                    <a:pt x="15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3" y="65"/>
                    <a:pt x="12" y="66"/>
                    <a:pt x="12" y="66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5" y="73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5" y="75"/>
                    <a:pt x="15" y="76"/>
                    <a:pt x="15" y="77"/>
                  </a:cubicBezTo>
                  <a:cubicBezTo>
                    <a:pt x="15" y="78"/>
                    <a:pt x="14" y="81"/>
                    <a:pt x="14" y="81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4" y="84"/>
                    <a:pt x="14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4" y="93"/>
                    <a:pt x="13" y="93"/>
                    <a:pt x="13" y="94"/>
                  </a:cubicBezTo>
                  <a:cubicBezTo>
                    <a:pt x="13" y="94"/>
                    <a:pt x="13" y="95"/>
                    <a:pt x="13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3" y="99"/>
                    <a:pt x="13" y="99"/>
                  </a:cubicBezTo>
                  <a:cubicBezTo>
                    <a:pt x="13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1" y="108"/>
                    <a:pt x="11" y="108"/>
                    <a:pt x="11" y="108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6"/>
                    <a:pt x="18" y="126"/>
                  </a:cubicBezTo>
                  <a:cubicBezTo>
                    <a:pt x="18" y="126"/>
                    <a:pt x="17" y="126"/>
                    <a:pt x="17" y="126"/>
                  </a:cubicBezTo>
                  <a:cubicBezTo>
                    <a:pt x="16" y="125"/>
                    <a:pt x="15" y="123"/>
                    <a:pt x="15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4" y="121"/>
                    <a:pt x="13" y="120"/>
                    <a:pt x="13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12" y="122"/>
                    <a:pt x="12" y="123"/>
                  </a:cubicBezTo>
                  <a:cubicBezTo>
                    <a:pt x="13" y="123"/>
                    <a:pt x="14" y="124"/>
                    <a:pt x="14" y="124"/>
                  </a:cubicBezTo>
                  <a:cubicBezTo>
                    <a:pt x="14" y="124"/>
                    <a:pt x="15" y="125"/>
                    <a:pt x="15" y="125"/>
                  </a:cubicBezTo>
                  <a:cubicBezTo>
                    <a:pt x="15" y="125"/>
                    <a:pt x="16" y="128"/>
                    <a:pt x="16" y="128"/>
                  </a:cubicBezTo>
                  <a:cubicBezTo>
                    <a:pt x="27" y="135"/>
                    <a:pt x="27" y="135"/>
                    <a:pt x="27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8"/>
                    <a:pt x="33" y="138"/>
                    <a:pt x="33" y="138"/>
                  </a:cubicBezTo>
                  <a:cubicBezTo>
                    <a:pt x="33" y="138"/>
                    <a:pt x="34" y="138"/>
                    <a:pt x="35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38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40"/>
                    <a:pt x="40" y="143"/>
                    <a:pt x="41" y="145"/>
                  </a:cubicBezTo>
                  <a:cubicBezTo>
                    <a:pt x="41" y="145"/>
                    <a:pt x="42" y="146"/>
                    <a:pt x="42" y="147"/>
                  </a:cubicBezTo>
                  <a:cubicBezTo>
                    <a:pt x="43" y="147"/>
                    <a:pt x="45" y="148"/>
                    <a:pt x="45" y="148"/>
                  </a:cubicBezTo>
                  <a:cubicBezTo>
                    <a:pt x="45" y="149"/>
                    <a:pt x="45" y="150"/>
                    <a:pt x="45" y="151"/>
                  </a:cubicBezTo>
                  <a:cubicBezTo>
                    <a:pt x="45" y="151"/>
                    <a:pt x="45" y="151"/>
                    <a:pt x="45" y="152"/>
                  </a:cubicBezTo>
                  <a:cubicBezTo>
                    <a:pt x="45" y="153"/>
                    <a:pt x="46" y="153"/>
                    <a:pt x="46" y="153"/>
                  </a:cubicBezTo>
                  <a:cubicBezTo>
                    <a:pt x="46" y="154"/>
                    <a:pt x="47" y="155"/>
                    <a:pt x="47" y="155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8" y="158"/>
                    <a:pt x="48" y="158"/>
                    <a:pt x="48" y="158"/>
                  </a:cubicBezTo>
                  <a:lnTo>
                    <a:pt x="49" y="1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4" name="Freeform 84"/>
            <p:cNvSpPr>
              <a:spLocks/>
            </p:cNvSpPr>
            <p:nvPr/>
          </p:nvSpPr>
          <p:spPr bwMode="auto">
            <a:xfrm>
              <a:off x="5184645" y="5188472"/>
              <a:ext cx="184485" cy="204371"/>
            </a:xfrm>
            <a:custGeom>
              <a:avLst/>
              <a:gdLst>
                <a:gd name="T0" fmla="*/ 46 w 78"/>
                <a:gd name="T1" fmla="*/ 88 h 89"/>
                <a:gd name="T2" fmla="*/ 44 w 78"/>
                <a:gd name="T3" fmla="*/ 86 h 89"/>
                <a:gd name="T4" fmla="*/ 44 w 78"/>
                <a:gd name="T5" fmla="*/ 81 h 89"/>
                <a:gd name="T6" fmla="*/ 44 w 78"/>
                <a:gd name="T7" fmla="*/ 77 h 89"/>
                <a:gd name="T8" fmla="*/ 42 w 78"/>
                <a:gd name="T9" fmla="*/ 73 h 89"/>
                <a:gd name="T10" fmla="*/ 39 w 78"/>
                <a:gd name="T11" fmla="*/ 69 h 89"/>
                <a:gd name="T12" fmla="*/ 43 w 78"/>
                <a:gd name="T13" fmla="*/ 64 h 89"/>
                <a:gd name="T14" fmla="*/ 44 w 78"/>
                <a:gd name="T15" fmla="*/ 59 h 89"/>
                <a:gd name="T16" fmla="*/ 47 w 78"/>
                <a:gd name="T17" fmla="*/ 55 h 89"/>
                <a:gd name="T18" fmla="*/ 50 w 78"/>
                <a:gd name="T19" fmla="*/ 49 h 89"/>
                <a:gd name="T20" fmla="*/ 55 w 78"/>
                <a:gd name="T21" fmla="*/ 44 h 89"/>
                <a:gd name="T22" fmla="*/ 56 w 78"/>
                <a:gd name="T23" fmla="*/ 47 h 89"/>
                <a:gd name="T24" fmla="*/ 57 w 78"/>
                <a:gd name="T25" fmla="*/ 51 h 89"/>
                <a:gd name="T26" fmla="*/ 59 w 78"/>
                <a:gd name="T27" fmla="*/ 54 h 89"/>
                <a:gd name="T28" fmla="*/ 66 w 78"/>
                <a:gd name="T29" fmla="*/ 50 h 89"/>
                <a:gd name="T30" fmla="*/ 68 w 78"/>
                <a:gd name="T31" fmla="*/ 48 h 89"/>
                <a:gd name="T32" fmla="*/ 67 w 78"/>
                <a:gd name="T33" fmla="*/ 41 h 89"/>
                <a:gd name="T34" fmla="*/ 70 w 78"/>
                <a:gd name="T35" fmla="*/ 36 h 89"/>
                <a:gd name="T36" fmla="*/ 78 w 78"/>
                <a:gd name="T37" fmla="*/ 31 h 89"/>
                <a:gd name="T38" fmla="*/ 71 w 78"/>
                <a:gd name="T39" fmla="*/ 25 h 89"/>
                <a:gd name="T40" fmla="*/ 62 w 78"/>
                <a:gd name="T41" fmla="*/ 20 h 89"/>
                <a:gd name="T42" fmla="*/ 57 w 78"/>
                <a:gd name="T43" fmla="*/ 17 h 89"/>
                <a:gd name="T44" fmla="*/ 50 w 78"/>
                <a:gd name="T45" fmla="*/ 19 h 89"/>
                <a:gd name="T46" fmla="*/ 46 w 78"/>
                <a:gd name="T47" fmla="*/ 17 h 89"/>
                <a:gd name="T48" fmla="*/ 40 w 78"/>
                <a:gd name="T49" fmla="*/ 14 h 89"/>
                <a:gd name="T50" fmla="*/ 38 w 78"/>
                <a:gd name="T51" fmla="*/ 10 h 89"/>
                <a:gd name="T52" fmla="*/ 33 w 78"/>
                <a:gd name="T53" fmla="*/ 7 h 89"/>
                <a:gd name="T54" fmla="*/ 26 w 78"/>
                <a:gd name="T55" fmla="*/ 5 h 89"/>
                <a:gd name="T56" fmla="*/ 25 w 78"/>
                <a:gd name="T57" fmla="*/ 0 h 89"/>
                <a:gd name="T58" fmla="*/ 20 w 78"/>
                <a:gd name="T59" fmla="*/ 2 h 89"/>
                <a:gd name="T60" fmla="*/ 17 w 78"/>
                <a:gd name="T61" fmla="*/ 0 h 89"/>
                <a:gd name="T62" fmla="*/ 14 w 78"/>
                <a:gd name="T63" fmla="*/ 4 h 89"/>
                <a:gd name="T64" fmla="*/ 17 w 78"/>
                <a:gd name="T65" fmla="*/ 6 h 89"/>
                <a:gd name="T66" fmla="*/ 19 w 78"/>
                <a:gd name="T67" fmla="*/ 10 h 89"/>
                <a:gd name="T68" fmla="*/ 20 w 78"/>
                <a:gd name="T69" fmla="*/ 14 h 89"/>
                <a:gd name="T70" fmla="*/ 17 w 78"/>
                <a:gd name="T71" fmla="*/ 14 h 89"/>
                <a:gd name="T72" fmla="*/ 12 w 78"/>
                <a:gd name="T73" fmla="*/ 12 h 89"/>
                <a:gd name="T74" fmla="*/ 8 w 78"/>
                <a:gd name="T75" fmla="*/ 20 h 89"/>
                <a:gd name="T76" fmla="*/ 7 w 78"/>
                <a:gd name="T77" fmla="*/ 28 h 89"/>
                <a:gd name="T78" fmla="*/ 0 w 78"/>
                <a:gd name="T79" fmla="*/ 32 h 89"/>
                <a:gd name="T80" fmla="*/ 3 w 78"/>
                <a:gd name="T81" fmla="*/ 40 h 89"/>
                <a:gd name="T82" fmla="*/ 4 w 78"/>
                <a:gd name="T83" fmla="*/ 46 h 89"/>
                <a:gd name="T84" fmla="*/ 7 w 78"/>
                <a:gd name="T85" fmla="*/ 49 h 89"/>
                <a:gd name="T86" fmla="*/ 5 w 78"/>
                <a:gd name="T87" fmla="*/ 54 h 89"/>
                <a:gd name="T88" fmla="*/ 3 w 78"/>
                <a:gd name="T89" fmla="*/ 57 h 89"/>
                <a:gd name="T90" fmla="*/ 5 w 78"/>
                <a:gd name="T91" fmla="*/ 61 h 89"/>
                <a:gd name="T92" fmla="*/ 12 w 78"/>
                <a:gd name="T93" fmla="*/ 60 h 89"/>
                <a:gd name="T94" fmla="*/ 13 w 78"/>
                <a:gd name="T95" fmla="*/ 57 h 89"/>
                <a:gd name="T96" fmla="*/ 16 w 78"/>
                <a:gd name="T97" fmla="*/ 60 h 89"/>
                <a:gd name="T98" fmla="*/ 14 w 78"/>
                <a:gd name="T99" fmla="*/ 61 h 89"/>
                <a:gd name="T100" fmla="*/ 12 w 78"/>
                <a:gd name="T101" fmla="*/ 63 h 89"/>
                <a:gd name="T102" fmla="*/ 8 w 78"/>
                <a:gd name="T103" fmla="*/ 65 h 89"/>
                <a:gd name="T104" fmla="*/ 13 w 78"/>
                <a:gd name="T105" fmla="*/ 65 h 89"/>
                <a:gd name="T106" fmla="*/ 17 w 78"/>
                <a:gd name="T107" fmla="*/ 69 h 89"/>
                <a:gd name="T108" fmla="*/ 25 w 78"/>
                <a:gd name="T109" fmla="*/ 71 h 89"/>
                <a:gd name="T110" fmla="*/ 30 w 78"/>
                <a:gd name="T111" fmla="*/ 75 h 89"/>
                <a:gd name="T112" fmla="*/ 31 w 78"/>
                <a:gd name="T113" fmla="*/ 77 h 89"/>
                <a:gd name="T114" fmla="*/ 34 w 78"/>
                <a:gd name="T115" fmla="*/ 80 h 89"/>
                <a:gd name="T116" fmla="*/ 36 w 78"/>
                <a:gd name="T117" fmla="*/ 84 h 89"/>
                <a:gd name="T118" fmla="*/ 40 w 78"/>
                <a:gd name="T119" fmla="*/ 8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89">
                  <a:moveTo>
                    <a:pt x="42" y="87"/>
                  </a:moveTo>
                  <a:cubicBezTo>
                    <a:pt x="42" y="87"/>
                    <a:pt x="47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3" y="87"/>
                    <a:pt x="44" y="87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5"/>
                    <a:pt x="43" y="84"/>
                    <a:pt x="43" y="84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1"/>
                    <a:pt x="44" y="81"/>
                  </a:cubicBezTo>
                  <a:cubicBezTo>
                    <a:pt x="44" y="81"/>
                    <a:pt x="44" y="80"/>
                    <a:pt x="44" y="80"/>
                  </a:cubicBezTo>
                  <a:cubicBezTo>
                    <a:pt x="44" y="80"/>
                    <a:pt x="43" y="79"/>
                    <a:pt x="43" y="79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6"/>
                    <a:pt x="44" y="76"/>
                  </a:cubicBezTo>
                  <a:cubicBezTo>
                    <a:pt x="44" y="75"/>
                    <a:pt x="44" y="74"/>
                    <a:pt x="44" y="74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3" y="63"/>
                    <a:pt x="43" y="62"/>
                    <a:pt x="43" y="62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5" y="58"/>
                    <a:pt x="46" y="57"/>
                    <a:pt x="46" y="57"/>
                  </a:cubicBezTo>
                  <a:cubicBezTo>
                    <a:pt x="46" y="56"/>
                    <a:pt x="47" y="55"/>
                    <a:pt x="47" y="55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9" y="51"/>
                    <a:pt x="49" y="51"/>
                    <a:pt x="49" y="51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3" y="44"/>
                    <a:pt x="53" y="44"/>
                  </a:cubicBezTo>
                  <a:cubicBezTo>
                    <a:pt x="53" y="44"/>
                    <a:pt x="55" y="44"/>
                    <a:pt x="55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8"/>
                    <a:pt x="56" y="49"/>
                  </a:cubicBezTo>
                  <a:cubicBezTo>
                    <a:pt x="56" y="49"/>
                    <a:pt x="56" y="50"/>
                    <a:pt x="56" y="50"/>
                  </a:cubicBezTo>
                  <a:cubicBezTo>
                    <a:pt x="56" y="50"/>
                    <a:pt x="57" y="51"/>
                    <a:pt x="57" y="51"/>
                  </a:cubicBezTo>
                  <a:cubicBezTo>
                    <a:pt x="57" y="52"/>
                    <a:pt x="58" y="53"/>
                    <a:pt x="58" y="53"/>
                  </a:cubicBezTo>
                  <a:cubicBezTo>
                    <a:pt x="58" y="53"/>
                    <a:pt x="58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6" y="50"/>
                    <a:pt x="66" y="50"/>
                  </a:cubicBezTo>
                  <a:cubicBezTo>
                    <a:pt x="66" y="50"/>
                    <a:pt x="67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7" y="46"/>
                    <a:pt x="69" y="44"/>
                    <a:pt x="68" y="42"/>
                  </a:cubicBezTo>
                  <a:cubicBezTo>
                    <a:pt x="68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5" y="39"/>
                    <a:pt x="62" y="38"/>
                    <a:pt x="63" y="38"/>
                  </a:cubicBezTo>
                  <a:cubicBezTo>
                    <a:pt x="64" y="36"/>
                    <a:pt x="68" y="37"/>
                    <a:pt x="70" y="36"/>
                  </a:cubicBezTo>
                  <a:cubicBezTo>
                    <a:pt x="71" y="36"/>
                    <a:pt x="71" y="34"/>
                    <a:pt x="72" y="33"/>
                  </a:cubicBezTo>
                  <a:cubicBezTo>
                    <a:pt x="73" y="33"/>
                    <a:pt x="75" y="34"/>
                    <a:pt x="75" y="32"/>
                  </a:cubicBezTo>
                  <a:cubicBezTo>
                    <a:pt x="75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29"/>
                    <a:pt x="74" y="27"/>
                    <a:pt x="73" y="26"/>
                  </a:cubicBezTo>
                  <a:cubicBezTo>
                    <a:pt x="73" y="26"/>
                    <a:pt x="73" y="25"/>
                    <a:pt x="71" y="25"/>
                  </a:cubicBezTo>
                  <a:cubicBezTo>
                    <a:pt x="70" y="25"/>
                    <a:pt x="68" y="23"/>
                    <a:pt x="68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2" y="20"/>
                    <a:pt x="62" y="20"/>
                  </a:cubicBezTo>
                  <a:cubicBezTo>
                    <a:pt x="61" y="20"/>
                    <a:pt x="58" y="19"/>
                    <a:pt x="58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7" y="17"/>
                    <a:pt x="57" y="17"/>
                  </a:cubicBezTo>
                  <a:cubicBezTo>
                    <a:pt x="56" y="17"/>
                    <a:pt x="55" y="18"/>
                    <a:pt x="55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0" y="19"/>
                    <a:pt x="50" y="19"/>
                  </a:cubicBezTo>
                  <a:cubicBezTo>
                    <a:pt x="49" y="18"/>
                    <a:pt x="48" y="16"/>
                    <a:pt x="48" y="16"/>
                  </a:cubicBezTo>
                  <a:cubicBezTo>
                    <a:pt x="48" y="16"/>
                    <a:pt x="48" y="16"/>
                    <a:pt x="47" y="16"/>
                  </a:cubicBezTo>
                  <a:cubicBezTo>
                    <a:pt x="46" y="17"/>
                    <a:pt x="48" y="18"/>
                    <a:pt x="46" y="17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4"/>
                    <a:pt x="40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8" y="12"/>
                    <a:pt x="38" y="12"/>
                  </a:cubicBezTo>
                  <a:cubicBezTo>
                    <a:pt x="38" y="12"/>
                    <a:pt x="38" y="10"/>
                    <a:pt x="38" y="10"/>
                  </a:cubicBezTo>
                  <a:cubicBezTo>
                    <a:pt x="37" y="10"/>
                    <a:pt x="34" y="9"/>
                    <a:pt x="34" y="9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0" y="6"/>
                    <a:pt x="30" y="6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5" y="2"/>
                    <a:pt x="25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4"/>
                    <a:pt x="16" y="4"/>
                    <a:pt x="16" y="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7" y="6"/>
                    <a:pt x="18" y="7"/>
                    <a:pt x="18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54"/>
                    <a:pt x="5" y="54"/>
                    <a:pt x="5" y="54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8"/>
                    <a:pt x="12" y="58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1"/>
                    <a:pt x="14" y="61"/>
                  </a:cubicBezTo>
                  <a:cubicBezTo>
                    <a:pt x="14" y="61"/>
                    <a:pt x="14" y="64"/>
                    <a:pt x="14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3" y="64"/>
                    <a:pt x="12" y="63"/>
                    <a:pt x="12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4"/>
                    <a:pt x="8" y="65"/>
                  </a:cubicBezTo>
                  <a:cubicBezTo>
                    <a:pt x="9" y="65"/>
                    <a:pt x="10" y="65"/>
                    <a:pt x="10" y="65"/>
                  </a:cubicBezTo>
                  <a:cubicBezTo>
                    <a:pt x="10" y="65"/>
                    <a:pt x="12" y="65"/>
                    <a:pt x="12" y="65"/>
                  </a:cubicBezTo>
                  <a:cubicBezTo>
                    <a:pt x="12" y="65"/>
                    <a:pt x="12" y="65"/>
                    <a:pt x="13" y="65"/>
                  </a:cubicBezTo>
                  <a:cubicBezTo>
                    <a:pt x="13" y="65"/>
                    <a:pt x="15" y="65"/>
                    <a:pt x="15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6" y="73"/>
                    <a:pt x="27" y="73"/>
                  </a:cubicBezTo>
                  <a:cubicBezTo>
                    <a:pt x="27" y="73"/>
                    <a:pt x="28" y="75"/>
                    <a:pt x="28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2" y="76"/>
                    <a:pt x="32" y="76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2" y="79"/>
                    <a:pt x="32" y="79"/>
                    <a:pt x="32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79"/>
                    <a:pt x="34" y="79"/>
                    <a:pt x="34" y="80"/>
                  </a:cubicBezTo>
                  <a:cubicBezTo>
                    <a:pt x="34" y="80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4"/>
                    <a:pt x="36" y="84"/>
                    <a:pt x="36" y="85"/>
                  </a:cubicBezTo>
                  <a:cubicBezTo>
                    <a:pt x="37" y="85"/>
                    <a:pt x="39" y="85"/>
                    <a:pt x="39" y="85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7"/>
                    <a:pt x="41" y="87"/>
                    <a:pt x="41" y="87"/>
                  </a:cubicBezTo>
                  <a:lnTo>
                    <a:pt x="42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5" name="Freeform 193"/>
            <p:cNvSpPr>
              <a:spLocks/>
            </p:cNvSpPr>
            <p:nvPr/>
          </p:nvSpPr>
          <p:spPr bwMode="auto">
            <a:xfrm>
              <a:off x="5400070" y="5285104"/>
              <a:ext cx="252093" cy="214368"/>
            </a:xfrm>
            <a:custGeom>
              <a:avLst/>
              <a:gdLst>
                <a:gd name="T0" fmla="*/ 19 w 106"/>
                <a:gd name="T1" fmla="*/ 90 h 93"/>
                <a:gd name="T2" fmla="*/ 16 w 106"/>
                <a:gd name="T3" fmla="*/ 91 h 93"/>
                <a:gd name="T4" fmla="*/ 14 w 106"/>
                <a:gd name="T5" fmla="*/ 85 h 93"/>
                <a:gd name="T6" fmla="*/ 10 w 106"/>
                <a:gd name="T7" fmla="*/ 83 h 93"/>
                <a:gd name="T8" fmla="*/ 9 w 106"/>
                <a:gd name="T9" fmla="*/ 81 h 93"/>
                <a:gd name="T10" fmla="*/ 5 w 106"/>
                <a:gd name="T11" fmla="*/ 75 h 93"/>
                <a:gd name="T12" fmla="*/ 4 w 106"/>
                <a:gd name="T13" fmla="*/ 72 h 93"/>
                <a:gd name="T14" fmla="*/ 5 w 106"/>
                <a:gd name="T15" fmla="*/ 68 h 93"/>
                <a:gd name="T16" fmla="*/ 3 w 106"/>
                <a:gd name="T17" fmla="*/ 64 h 93"/>
                <a:gd name="T18" fmla="*/ 0 w 106"/>
                <a:gd name="T19" fmla="*/ 59 h 93"/>
                <a:gd name="T20" fmla="*/ 3 w 106"/>
                <a:gd name="T21" fmla="*/ 56 h 93"/>
                <a:gd name="T22" fmla="*/ 2 w 106"/>
                <a:gd name="T23" fmla="*/ 53 h 93"/>
                <a:gd name="T24" fmla="*/ 2 w 106"/>
                <a:gd name="T25" fmla="*/ 49 h 93"/>
                <a:gd name="T26" fmla="*/ 2 w 106"/>
                <a:gd name="T27" fmla="*/ 44 h 93"/>
                <a:gd name="T28" fmla="*/ 3 w 106"/>
                <a:gd name="T29" fmla="*/ 39 h 93"/>
                <a:gd name="T30" fmla="*/ 9 w 106"/>
                <a:gd name="T31" fmla="*/ 39 h 93"/>
                <a:gd name="T32" fmla="*/ 11 w 106"/>
                <a:gd name="T33" fmla="*/ 27 h 93"/>
                <a:gd name="T34" fmla="*/ 23 w 106"/>
                <a:gd name="T35" fmla="*/ 18 h 93"/>
                <a:gd name="T36" fmla="*/ 26 w 106"/>
                <a:gd name="T37" fmla="*/ 21 h 93"/>
                <a:gd name="T38" fmla="*/ 31 w 106"/>
                <a:gd name="T39" fmla="*/ 18 h 93"/>
                <a:gd name="T40" fmla="*/ 42 w 106"/>
                <a:gd name="T41" fmla="*/ 10 h 93"/>
                <a:gd name="T42" fmla="*/ 46 w 106"/>
                <a:gd name="T43" fmla="*/ 11 h 93"/>
                <a:gd name="T44" fmla="*/ 52 w 106"/>
                <a:gd name="T45" fmla="*/ 6 h 93"/>
                <a:gd name="T46" fmla="*/ 57 w 106"/>
                <a:gd name="T47" fmla="*/ 4 h 93"/>
                <a:gd name="T48" fmla="*/ 62 w 106"/>
                <a:gd name="T49" fmla="*/ 3 h 93"/>
                <a:gd name="T50" fmla="*/ 68 w 106"/>
                <a:gd name="T51" fmla="*/ 1 h 93"/>
                <a:gd name="T52" fmla="*/ 73 w 106"/>
                <a:gd name="T53" fmla="*/ 0 h 93"/>
                <a:gd name="T54" fmla="*/ 94 w 106"/>
                <a:gd name="T55" fmla="*/ 15 h 93"/>
                <a:gd name="T56" fmla="*/ 105 w 106"/>
                <a:gd name="T57" fmla="*/ 30 h 93"/>
                <a:gd name="T58" fmla="*/ 106 w 106"/>
                <a:gd name="T59" fmla="*/ 48 h 93"/>
                <a:gd name="T60" fmla="*/ 97 w 106"/>
                <a:gd name="T61" fmla="*/ 51 h 93"/>
                <a:gd name="T62" fmla="*/ 93 w 106"/>
                <a:gd name="T63" fmla="*/ 64 h 93"/>
                <a:gd name="T64" fmla="*/ 72 w 106"/>
                <a:gd name="T65" fmla="*/ 68 h 93"/>
                <a:gd name="T66" fmla="*/ 63 w 106"/>
                <a:gd name="T67" fmla="*/ 76 h 93"/>
                <a:gd name="T68" fmla="*/ 53 w 106"/>
                <a:gd name="T69" fmla="*/ 85 h 93"/>
                <a:gd name="T70" fmla="*/ 41 w 106"/>
                <a:gd name="T71" fmla="*/ 87 h 93"/>
                <a:gd name="T72" fmla="*/ 29 w 106"/>
                <a:gd name="T73" fmla="*/ 90 h 93"/>
                <a:gd name="T74" fmla="*/ 28 w 106"/>
                <a:gd name="T75" fmla="*/ 93 h 93"/>
                <a:gd name="T76" fmla="*/ 27 w 106"/>
                <a:gd name="T77" fmla="*/ 92 h 93"/>
                <a:gd name="T78" fmla="*/ 23 w 106"/>
                <a:gd name="T79" fmla="*/ 9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" h="93">
                  <a:moveTo>
                    <a:pt x="21" y="90"/>
                  </a:moveTo>
                  <a:cubicBezTo>
                    <a:pt x="21" y="90"/>
                    <a:pt x="20" y="90"/>
                    <a:pt x="19" y="90"/>
                  </a:cubicBezTo>
                  <a:cubicBezTo>
                    <a:pt x="18" y="90"/>
                    <a:pt x="17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0"/>
                    <a:pt x="16" y="90"/>
                    <a:pt x="15" y="89"/>
                  </a:cubicBezTo>
                  <a:cubicBezTo>
                    <a:pt x="15" y="88"/>
                    <a:pt x="15" y="86"/>
                    <a:pt x="14" y="85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1" y="83"/>
                    <a:pt x="10" y="83"/>
                  </a:cubicBezTo>
                  <a:cubicBezTo>
                    <a:pt x="10" y="83"/>
                    <a:pt x="9" y="83"/>
                    <a:pt x="9" y="83"/>
                  </a:cubicBezTo>
                  <a:cubicBezTo>
                    <a:pt x="9" y="83"/>
                    <a:pt x="8" y="81"/>
                    <a:pt x="9" y="81"/>
                  </a:cubicBezTo>
                  <a:cubicBezTo>
                    <a:pt x="9" y="80"/>
                    <a:pt x="8" y="79"/>
                    <a:pt x="7" y="78"/>
                  </a:cubicBezTo>
                  <a:cubicBezTo>
                    <a:pt x="7" y="78"/>
                    <a:pt x="5" y="75"/>
                    <a:pt x="5" y="75"/>
                  </a:cubicBezTo>
                  <a:cubicBezTo>
                    <a:pt x="5" y="75"/>
                    <a:pt x="4" y="75"/>
                    <a:pt x="4" y="74"/>
                  </a:cubicBezTo>
                  <a:cubicBezTo>
                    <a:pt x="4" y="73"/>
                    <a:pt x="4" y="72"/>
                    <a:pt x="4" y="72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5" y="69"/>
                    <a:pt x="5" y="68"/>
                  </a:cubicBezTo>
                  <a:cubicBezTo>
                    <a:pt x="5" y="68"/>
                    <a:pt x="6" y="67"/>
                    <a:pt x="5" y="66"/>
                  </a:cubicBezTo>
                  <a:cubicBezTo>
                    <a:pt x="5" y="65"/>
                    <a:pt x="3" y="64"/>
                    <a:pt x="3" y="64"/>
                  </a:cubicBezTo>
                  <a:cubicBezTo>
                    <a:pt x="2" y="63"/>
                    <a:pt x="1" y="62"/>
                    <a:pt x="0" y="61"/>
                  </a:cubicBezTo>
                  <a:cubicBezTo>
                    <a:pt x="0" y="60"/>
                    <a:pt x="0" y="59"/>
                    <a:pt x="0" y="59"/>
                  </a:cubicBezTo>
                  <a:cubicBezTo>
                    <a:pt x="0" y="59"/>
                    <a:pt x="0" y="58"/>
                    <a:pt x="1" y="58"/>
                  </a:cubicBezTo>
                  <a:cubicBezTo>
                    <a:pt x="2" y="57"/>
                    <a:pt x="3" y="57"/>
                    <a:pt x="3" y="56"/>
                  </a:cubicBezTo>
                  <a:cubicBezTo>
                    <a:pt x="3" y="56"/>
                    <a:pt x="4" y="56"/>
                    <a:pt x="4" y="55"/>
                  </a:cubicBezTo>
                  <a:cubicBezTo>
                    <a:pt x="3" y="54"/>
                    <a:pt x="2" y="53"/>
                    <a:pt x="2" y="53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3" y="42"/>
                    <a:pt x="3" y="42"/>
                  </a:cubicBezTo>
                  <a:cubicBezTo>
                    <a:pt x="3" y="41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5" y="40"/>
                    <a:pt x="8" y="39"/>
                    <a:pt x="9" y="39"/>
                  </a:cubicBezTo>
                  <a:cubicBezTo>
                    <a:pt x="11" y="39"/>
                    <a:pt x="11" y="36"/>
                    <a:pt x="10" y="33"/>
                  </a:cubicBezTo>
                  <a:cubicBezTo>
                    <a:pt x="10" y="31"/>
                    <a:pt x="11" y="29"/>
                    <a:pt x="11" y="27"/>
                  </a:cubicBezTo>
                  <a:cubicBezTo>
                    <a:pt x="12" y="25"/>
                    <a:pt x="15" y="24"/>
                    <a:pt x="18" y="22"/>
                  </a:cubicBezTo>
                  <a:cubicBezTo>
                    <a:pt x="20" y="20"/>
                    <a:pt x="20" y="18"/>
                    <a:pt x="23" y="18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5" y="20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9" y="24"/>
                    <a:pt x="31" y="26"/>
                    <a:pt x="31" y="18"/>
                  </a:cubicBezTo>
                  <a:cubicBezTo>
                    <a:pt x="32" y="11"/>
                    <a:pt x="37" y="13"/>
                    <a:pt x="41" y="11"/>
                  </a:cubicBezTo>
                  <a:cubicBezTo>
                    <a:pt x="41" y="11"/>
                    <a:pt x="41" y="11"/>
                    <a:pt x="42" y="10"/>
                  </a:cubicBezTo>
                  <a:cubicBezTo>
                    <a:pt x="43" y="11"/>
                    <a:pt x="44" y="11"/>
                    <a:pt x="45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6" y="11"/>
                    <a:pt x="49" y="7"/>
                    <a:pt x="49" y="7"/>
                  </a:cubicBezTo>
                  <a:cubicBezTo>
                    <a:pt x="50" y="7"/>
                    <a:pt x="52" y="6"/>
                    <a:pt x="52" y="6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6" y="4"/>
                    <a:pt x="57" y="4"/>
                  </a:cubicBezTo>
                  <a:cubicBezTo>
                    <a:pt x="58" y="4"/>
                    <a:pt x="59" y="4"/>
                    <a:pt x="61" y="4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62" y="3"/>
                    <a:pt x="64" y="1"/>
                    <a:pt x="66" y="1"/>
                  </a:cubicBezTo>
                  <a:cubicBezTo>
                    <a:pt x="68" y="0"/>
                    <a:pt x="68" y="1"/>
                    <a:pt x="68" y="1"/>
                  </a:cubicBezTo>
                  <a:cubicBezTo>
                    <a:pt x="68" y="1"/>
                    <a:pt x="71" y="1"/>
                    <a:pt x="73" y="1"/>
                  </a:cubicBezTo>
                  <a:cubicBezTo>
                    <a:pt x="73" y="1"/>
                    <a:pt x="73" y="0"/>
                    <a:pt x="73" y="0"/>
                  </a:cubicBezTo>
                  <a:cubicBezTo>
                    <a:pt x="76" y="2"/>
                    <a:pt x="76" y="5"/>
                    <a:pt x="79" y="8"/>
                  </a:cubicBezTo>
                  <a:cubicBezTo>
                    <a:pt x="83" y="12"/>
                    <a:pt x="87" y="11"/>
                    <a:pt x="94" y="15"/>
                  </a:cubicBezTo>
                  <a:cubicBezTo>
                    <a:pt x="94" y="16"/>
                    <a:pt x="98" y="19"/>
                    <a:pt x="99" y="22"/>
                  </a:cubicBezTo>
                  <a:cubicBezTo>
                    <a:pt x="100" y="26"/>
                    <a:pt x="104" y="26"/>
                    <a:pt x="105" y="30"/>
                  </a:cubicBezTo>
                  <a:cubicBezTo>
                    <a:pt x="105" y="33"/>
                    <a:pt x="103" y="34"/>
                    <a:pt x="103" y="37"/>
                  </a:cubicBezTo>
                  <a:cubicBezTo>
                    <a:pt x="103" y="40"/>
                    <a:pt x="105" y="47"/>
                    <a:pt x="106" y="48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3" y="64"/>
                    <a:pt x="81" y="66"/>
                    <a:pt x="80" y="66"/>
                  </a:cubicBezTo>
                  <a:cubicBezTo>
                    <a:pt x="79" y="66"/>
                    <a:pt x="74" y="67"/>
                    <a:pt x="72" y="68"/>
                  </a:cubicBezTo>
                  <a:cubicBezTo>
                    <a:pt x="70" y="68"/>
                    <a:pt x="67" y="70"/>
                    <a:pt x="66" y="70"/>
                  </a:cubicBezTo>
                  <a:cubicBezTo>
                    <a:pt x="64" y="71"/>
                    <a:pt x="63" y="76"/>
                    <a:pt x="63" y="76"/>
                  </a:cubicBezTo>
                  <a:cubicBezTo>
                    <a:pt x="63" y="76"/>
                    <a:pt x="60" y="80"/>
                    <a:pt x="59" y="81"/>
                  </a:cubicBezTo>
                  <a:cubicBezTo>
                    <a:pt x="58" y="82"/>
                    <a:pt x="53" y="85"/>
                    <a:pt x="53" y="85"/>
                  </a:cubicBezTo>
                  <a:cubicBezTo>
                    <a:pt x="53" y="85"/>
                    <a:pt x="48" y="85"/>
                    <a:pt x="47" y="85"/>
                  </a:cubicBezTo>
                  <a:cubicBezTo>
                    <a:pt x="45" y="85"/>
                    <a:pt x="43" y="87"/>
                    <a:pt x="41" y="87"/>
                  </a:cubicBezTo>
                  <a:cubicBezTo>
                    <a:pt x="38" y="88"/>
                    <a:pt x="36" y="89"/>
                    <a:pt x="35" y="89"/>
                  </a:cubicBezTo>
                  <a:cubicBezTo>
                    <a:pt x="34" y="89"/>
                    <a:pt x="29" y="90"/>
                    <a:pt x="29" y="90"/>
                  </a:cubicBezTo>
                  <a:cubicBezTo>
                    <a:pt x="29" y="93"/>
                    <a:pt x="29" y="93"/>
                    <a:pt x="29" y="93"/>
                  </a:cubicBezTo>
                  <a:cubicBezTo>
                    <a:pt x="29" y="93"/>
                    <a:pt x="28" y="93"/>
                    <a:pt x="28" y="93"/>
                  </a:cubicBezTo>
                  <a:cubicBezTo>
                    <a:pt x="28" y="93"/>
                    <a:pt x="28" y="93"/>
                    <a:pt x="27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5" y="90"/>
                    <a:pt x="25" y="90"/>
                    <a:pt x="25" y="90"/>
                  </a:cubicBezTo>
                  <a:cubicBezTo>
                    <a:pt x="25" y="90"/>
                    <a:pt x="24" y="91"/>
                    <a:pt x="23" y="91"/>
                  </a:cubicBezTo>
                  <a:cubicBezTo>
                    <a:pt x="22" y="91"/>
                    <a:pt x="22" y="90"/>
                    <a:pt x="21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6" name="Freeform 47"/>
            <p:cNvSpPr>
              <a:spLocks/>
            </p:cNvSpPr>
            <p:nvPr/>
          </p:nvSpPr>
          <p:spPr bwMode="auto">
            <a:xfrm>
              <a:off x="4953179" y="4425412"/>
              <a:ext cx="464079" cy="251022"/>
            </a:xfrm>
            <a:custGeom>
              <a:avLst/>
              <a:gdLst>
                <a:gd name="T0" fmla="*/ 32 w 195"/>
                <a:gd name="T1" fmla="*/ 49 h 109"/>
                <a:gd name="T2" fmla="*/ 40 w 195"/>
                <a:gd name="T3" fmla="*/ 37 h 109"/>
                <a:gd name="T4" fmla="*/ 47 w 195"/>
                <a:gd name="T5" fmla="*/ 25 h 109"/>
                <a:gd name="T6" fmla="*/ 53 w 195"/>
                <a:gd name="T7" fmla="*/ 15 h 109"/>
                <a:gd name="T8" fmla="*/ 64 w 195"/>
                <a:gd name="T9" fmla="*/ 13 h 109"/>
                <a:gd name="T10" fmla="*/ 71 w 195"/>
                <a:gd name="T11" fmla="*/ 17 h 109"/>
                <a:gd name="T12" fmla="*/ 78 w 195"/>
                <a:gd name="T13" fmla="*/ 8 h 109"/>
                <a:gd name="T14" fmla="*/ 87 w 195"/>
                <a:gd name="T15" fmla="*/ 10 h 109"/>
                <a:gd name="T16" fmla="*/ 96 w 195"/>
                <a:gd name="T17" fmla="*/ 14 h 109"/>
                <a:gd name="T18" fmla="*/ 97 w 195"/>
                <a:gd name="T19" fmla="*/ 22 h 109"/>
                <a:gd name="T20" fmla="*/ 102 w 195"/>
                <a:gd name="T21" fmla="*/ 23 h 109"/>
                <a:gd name="T22" fmla="*/ 106 w 195"/>
                <a:gd name="T23" fmla="*/ 23 h 109"/>
                <a:gd name="T24" fmla="*/ 108 w 195"/>
                <a:gd name="T25" fmla="*/ 20 h 109"/>
                <a:gd name="T26" fmla="*/ 111 w 195"/>
                <a:gd name="T27" fmla="*/ 15 h 109"/>
                <a:gd name="T28" fmla="*/ 114 w 195"/>
                <a:gd name="T29" fmla="*/ 12 h 109"/>
                <a:gd name="T30" fmla="*/ 118 w 195"/>
                <a:gd name="T31" fmla="*/ 9 h 109"/>
                <a:gd name="T32" fmla="*/ 123 w 195"/>
                <a:gd name="T33" fmla="*/ 9 h 109"/>
                <a:gd name="T34" fmla="*/ 126 w 195"/>
                <a:gd name="T35" fmla="*/ 8 h 109"/>
                <a:gd name="T36" fmla="*/ 131 w 195"/>
                <a:gd name="T37" fmla="*/ 9 h 109"/>
                <a:gd name="T38" fmla="*/ 135 w 195"/>
                <a:gd name="T39" fmla="*/ 11 h 109"/>
                <a:gd name="T40" fmla="*/ 142 w 195"/>
                <a:gd name="T41" fmla="*/ 7 h 109"/>
                <a:gd name="T42" fmla="*/ 145 w 195"/>
                <a:gd name="T43" fmla="*/ 4 h 109"/>
                <a:gd name="T44" fmla="*/ 148 w 195"/>
                <a:gd name="T45" fmla="*/ 1 h 109"/>
                <a:gd name="T46" fmla="*/ 154 w 195"/>
                <a:gd name="T47" fmla="*/ 2 h 109"/>
                <a:gd name="T48" fmla="*/ 162 w 195"/>
                <a:gd name="T49" fmla="*/ 1 h 109"/>
                <a:gd name="T50" fmla="*/ 168 w 195"/>
                <a:gd name="T51" fmla="*/ 1 h 109"/>
                <a:gd name="T52" fmla="*/ 173 w 195"/>
                <a:gd name="T53" fmla="*/ 4 h 109"/>
                <a:gd name="T54" fmla="*/ 175 w 195"/>
                <a:gd name="T55" fmla="*/ 9 h 109"/>
                <a:gd name="T56" fmla="*/ 183 w 195"/>
                <a:gd name="T57" fmla="*/ 10 h 109"/>
                <a:gd name="T58" fmla="*/ 187 w 195"/>
                <a:gd name="T59" fmla="*/ 11 h 109"/>
                <a:gd name="T60" fmla="*/ 195 w 195"/>
                <a:gd name="T61" fmla="*/ 12 h 109"/>
                <a:gd name="T62" fmla="*/ 193 w 195"/>
                <a:gd name="T63" fmla="*/ 20 h 109"/>
                <a:gd name="T64" fmla="*/ 192 w 195"/>
                <a:gd name="T65" fmla="*/ 27 h 109"/>
                <a:gd name="T66" fmla="*/ 191 w 195"/>
                <a:gd name="T67" fmla="*/ 33 h 109"/>
                <a:gd name="T68" fmla="*/ 188 w 195"/>
                <a:gd name="T69" fmla="*/ 39 h 109"/>
                <a:gd name="T70" fmla="*/ 188 w 195"/>
                <a:gd name="T71" fmla="*/ 47 h 109"/>
                <a:gd name="T72" fmla="*/ 186 w 195"/>
                <a:gd name="T73" fmla="*/ 52 h 109"/>
                <a:gd name="T74" fmla="*/ 169 w 195"/>
                <a:gd name="T75" fmla="*/ 49 h 109"/>
                <a:gd name="T76" fmla="*/ 146 w 195"/>
                <a:gd name="T77" fmla="*/ 50 h 109"/>
                <a:gd name="T78" fmla="*/ 126 w 195"/>
                <a:gd name="T79" fmla="*/ 70 h 109"/>
                <a:gd name="T80" fmla="*/ 110 w 195"/>
                <a:gd name="T81" fmla="*/ 78 h 109"/>
                <a:gd name="T82" fmla="*/ 94 w 195"/>
                <a:gd name="T83" fmla="*/ 85 h 109"/>
                <a:gd name="T84" fmla="*/ 73 w 195"/>
                <a:gd name="T85" fmla="*/ 96 h 109"/>
                <a:gd name="T86" fmla="*/ 47 w 195"/>
                <a:gd name="T87" fmla="*/ 107 h 109"/>
                <a:gd name="T88" fmla="*/ 22 w 195"/>
                <a:gd name="T89" fmla="*/ 98 h 109"/>
                <a:gd name="T90" fmla="*/ 14 w 195"/>
                <a:gd name="T91" fmla="*/ 102 h 109"/>
                <a:gd name="T92" fmla="*/ 4 w 195"/>
                <a:gd name="T93" fmla="*/ 88 h 109"/>
                <a:gd name="T94" fmla="*/ 0 w 195"/>
                <a:gd name="T95" fmla="*/ 84 h 109"/>
                <a:gd name="T96" fmla="*/ 2 w 195"/>
                <a:gd name="T97" fmla="*/ 75 h 109"/>
                <a:gd name="T98" fmla="*/ 3 w 195"/>
                <a:gd name="T99" fmla="*/ 68 h 109"/>
                <a:gd name="T100" fmla="*/ 5 w 195"/>
                <a:gd name="T101" fmla="*/ 60 h 109"/>
                <a:gd name="T102" fmla="*/ 9 w 195"/>
                <a:gd name="T103" fmla="*/ 55 h 109"/>
                <a:gd name="T104" fmla="*/ 16 w 195"/>
                <a:gd name="T105" fmla="*/ 57 h 109"/>
                <a:gd name="T106" fmla="*/ 22 w 195"/>
                <a:gd name="T107" fmla="*/ 5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5" h="109">
                  <a:moveTo>
                    <a:pt x="26" y="54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49"/>
                    <a:pt x="30" y="50"/>
                  </a:cubicBezTo>
                  <a:cubicBezTo>
                    <a:pt x="30" y="50"/>
                    <a:pt x="32" y="49"/>
                    <a:pt x="32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0"/>
                    <a:pt x="40" y="30"/>
                  </a:cubicBezTo>
                  <a:cubicBezTo>
                    <a:pt x="41" y="30"/>
                    <a:pt x="44" y="28"/>
                    <a:pt x="44" y="28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3"/>
                    <a:pt x="60" y="13"/>
                  </a:cubicBezTo>
                  <a:cubicBezTo>
                    <a:pt x="61" y="13"/>
                    <a:pt x="64" y="13"/>
                    <a:pt x="64" y="13"/>
                  </a:cubicBezTo>
                  <a:cubicBezTo>
                    <a:pt x="64" y="13"/>
                    <a:pt x="66" y="11"/>
                    <a:pt x="66" y="12"/>
                  </a:cubicBezTo>
                  <a:cubicBezTo>
                    <a:pt x="66" y="14"/>
                    <a:pt x="66" y="15"/>
                    <a:pt x="66" y="15"/>
                  </a:cubicBezTo>
                  <a:cubicBezTo>
                    <a:pt x="67" y="16"/>
                    <a:pt x="68" y="18"/>
                    <a:pt x="68" y="18"/>
                  </a:cubicBezTo>
                  <a:cubicBezTo>
                    <a:pt x="68" y="18"/>
                    <a:pt x="70" y="18"/>
                    <a:pt x="71" y="17"/>
                  </a:cubicBezTo>
                  <a:cubicBezTo>
                    <a:pt x="72" y="16"/>
                    <a:pt x="74" y="15"/>
                    <a:pt x="74" y="15"/>
                  </a:cubicBezTo>
                  <a:cubicBezTo>
                    <a:pt x="74" y="15"/>
                    <a:pt x="76" y="17"/>
                    <a:pt x="76" y="16"/>
                  </a:cubicBezTo>
                  <a:cubicBezTo>
                    <a:pt x="76" y="15"/>
                    <a:pt x="76" y="11"/>
                    <a:pt x="76" y="11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80" y="8"/>
                    <a:pt x="80" y="7"/>
                  </a:cubicBezTo>
                  <a:cubicBezTo>
                    <a:pt x="80" y="6"/>
                    <a:pt x="82" y="4"/>
                    <a:pt x="82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1" y="13"/>
                    <a:pt x="91" y="13"/>
                    <a:pt x="91" y="13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9" y="24"/>
                    <a:pt x="99" y="24"/>
                  </a:cubicBezTo>
                  <a:cubicBezTo>
                    <a:pt x="99" y="24"/>
                    <a:pt x="101" y="23"/>
                    <a:pt x="102" y="23"/>
                  </a:cubicBezTo>
                  <a:cubicBezTo>
                    <a:pt x="102" y="23"/>
                    <a:pt x="102" y="22"/>
                    <a:pt x="102" y="22"/>
                  </a:cubicBezTo>
                  <a:cubicBezTo>
                    <a:pt x="102" y="22"/>
                    <a:pt x="104" y="21"/>
                    <a:pt x="104" y="21"/>
                  </a:cubicBezTo>
                  <a:cubicBezTo>
                    <a:pt x="104" y="21"/>
                    <a:pt x="105" y="21"/>
                    <a:pt x="105" y="21"/>
                  </a:cubicBezTo>
                  <a:cubicBezTo>
                    <a:pt x="105" y="22"/>
                    <a:pt x="106" y="23"/>
                    <a:pt x="106" y="23"/>
                  </a:cubicBezTo>
                  <a:cubicBezTo>
                    <a:pt x="106" y="23"/>
                    <a:pt x="107" y="22"/>
                    <a:pt x="107" y="23"/>
                  </a:cubicBezTo>
                  <a:cubicBezTo>
                    <a:pt x="107" y="23"/>
                    <a:pt x="108" y="23"/>
                    <a:pt x="108" y="23"/>
                  </a:cubicBezTo>
                  <a:cubicBezTo>
                    <a:pt x="108" y="23"/>
                    <a:pt x="108" y="23"/>
                    <a:pt x="108" y="22"/>
                  </a:cubicBezTo>
                  <a:cubicBezTo>
                    <a:pt x="108" y="20"/>
                    <a:pt x="108" y="20"/>
                    <a:pt x="108" y="20"/>
                  </a:cubicBezTo>
                  <a:cubicBezTo>
                    <a:pt x="108" y="19"/>
                    <a:pt x="108" y="18"/>
                    <a:pt x="108" y="18"/>
                  </a:cubicBezTo>
                  <a:cubicBezTo>
                    <a:pt x="109" y="17"/>
                    <a:pt x="109" y="17"/>
                    <a:pt x="109" y="16"/>
                  </a:cubicBezTo>
                  <a:cubicBezTo>
                    <a:pt x="109" y="16"/>
                    <a:pt x="108" y="15"/>
                    <a:pt x="109" y="15"/>
                  </a:cubicBezTo>
                  <a:cubicBezTo>
                    <a:pt x="110" y="15"/>
                    <a:pt x="111" y="15"/>
                    <a:pt x="111" y="15"/>
                  </a:cubicBezTo>
                  <a:cubicBezTo>
                    <a:pt x="111" y="15"/>
                    <a:pt x="111" y="14"/>
                    <a:pt x="111" y="14"/>
                  </a:cubicBezTo>
                  <a:cubicBezTo>
                    <a:pt x="111" y="14"/>
                    <a:pt x="112" y="13"/>
                    <a:pt x="113" y="13"/>
                  </a:cubicBezTo>
                  <a:cubicBezTo>
                    <a:pt x="113" y="13"/>
                    <a:pt x="113" y="14"/>
                    <a:pt x="114" y="13"/>
                  </a:cubicBezTo>
                  <a:cubicBezTo>
                    <a:pt x="115" y="12"/>
                    <a:pt x="114" y="12"/>
                    <a:pt x="114" y="12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5" y="10"/>
                    <a:pt x="114" y="11"/>
                    <a:pt x="116" y="11"/>
                  </a:cubicBezTo>
                  <a:cubicBezTo>
                    <a:pt x="117" y="10"/>
                    <a:pt x="118" y="10"/>
                    <a:pt x="118" y="10"/>
                  </a:cubicBezTo>
                  <a:cubicBezTo>
                    <a:pt x="118" y="10"/>
                    <a:pt x="118" y="9"/>
                    <a:pt x="118" y="9"/>
                  </a:cubicBezTo>
                  <a:cubicBezTo>
                    <a:pt x="120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20" y="9"/>
                    <a:pt x="121" y="9"/>
                    <a:pt x="122" y="9"/>
                  </a:cubicBezTo>
                  <a:cubicBezTo>
                    <a:pt x="122" y="9"/>
                    <a:pt x="123" y="10"/>
                    <a:pt x="123" y="9"/>
                  </a:cubicBezTo>
                  <a:cubicBezTo>
                    <a:pt x="123" y="9"/>
                    <a:pt x="124" y="9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4" y="8"/>
                    <a:pt x="124" y="7"/>
                    <a:pt x="125" y="7"/>
                  </a:cubicBezTo>
                  <a:cubicBezTo>
                    <a:pt x="126" y="8"/>
                    <a:pt x="125" y="8"/>
                    <a:pt x="126" y="8"/>
                  </a:cubicBezTo>
                  <a:cubicBezTo>
                    <a:pt x="126" y="7"/>
                    <a:pt x="128" y="6"/>
                    <a:pt x="128" y="6"/>
                  </a:cubicBezTo>
                  <a:cubicBezTo>
                    <a:pt x="128" y="6"/>
                    <a:pt x="128" y="6"/>
                    <a:pt x="129" y="8"/>
                  </a:cubicBezTo>
                  <a:cubicBezTo>
                    <a:pt x="129" y="9"/>
                    <a:pt x="130" y="9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10"/>
                    <a:pt x="132" y="11"/>
                    <a:pt x="132" y="11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1"/>
                    <a:pt x="135" y="11"/>
                  </a:cubicBezTo>
                  <a:cubicBezTo>
                    <a:pt x="136" y="11"/>
                    <a:pt x="137" y="12"/>
                    <a:pt x="137" y="12"/>
                  </a:cubicBezTo>
                  <a:cubicBezTo>
                    <a:pt x="137" y="11"/>
                    <a:pt x="138" y="10"/>
                    <a:pt x="138" y="10"/>
                  </a:cubicBezTo>
                  <a:cubicBezTo>
                    <a:pt x="138" y="9"/>
                    <a:pt x="138" y="9"/>
                    <a:pt x="139" y="8"/>
                  </a:cubicBezTo>
                  <a:cubicBezTo>
                    <a:pt x="139" y="8"/>
                    <a:pt x="142" y="7"/>
                    <a:pt x="142" y="7"/>
                  </a:cubicBezTo>
                  <a:cubicBezTo>
                    <a:pt x="142" y="7"/>
                    <a:pt x="141" y="5"/>
                    <a:pt x="140" y="5"/>
                  </a:cubicBezTo>
                  <a:cubicBezTo>
                    <a:pt x="140" y="5"/>
                    <a:pt x="139" y="4"/>
                    <a:pt x="141" y="3"/>
                  </a:cubicBezTo>
                  <a:cubicBezTo>
                    <a:pt x="142" y="3"/>
                    <a:pt x="143" y="3"/>
                    <a:pt x="143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6" y="2"/>
                    <a:pt x="147" y="1"/>
                    <a:pt x="147" y="1"/>
                  </a:cubicBezTo>
                  <a:cubicBezTo>
                    <a:pt x="147" y="1"/>
                    <a:pt x="148" y="1"/>
                    <a:pt x="148" y="1"/>
                  </a:cubicBezTo>
                  <a:cubicBezTo>
                    <a:pt x="149" y="1"/>
                    <a:pt x="150" y="1"/>
                    <a:pt x="150" y="1"/>
                  </a:cubicBezTo>
                  <a:cubicBezTo>
                    <a:pt x="150" y="1"/>
                    <a:pt x="151" y="2"/>
                    <a:pt x="151" y="2"/>
                  </a:cubicBezTo>
                  <a:cubicBezTo>
                    <a:pt x="152" y="2"/>
                    <a:pt x="153" y="2"/>
                    <a:pt x="153" y="2"/>
                  </a:cubicBezTo>
                  <a:cubicBezTo>
                    <a:pt x="153" y="2"/>
                    <a:pt x="154" y="3"/>
                    <a:pt x="154" y="2"/>
                  </a:cubicBezTo>
                  <a:cubicBezTo>
                    <a:pt x="155" y="2"/>
                    <a:pt x="155" y="1"/>
                    <a:pt x="155" y="1"/>
                  </a:cubicBezTo>
                  <a:cubicBezTo>
                    <a:pt x="155" y="1"/>
                    <a:pt x="159" y="0"/>
                    <a:pt x="159" y="0"/>
                  </a:cubicBezTo>
                  <a:cubicBezTo>
                    <a:pt x="159" y="0"/>
                    <a:pt x="160" y="0"/>
                    <a:pt x="160" y="0"/>
                  </a:cubicBezTo>
                  <a:cubicBezTo>
                    <a:pt x="161" y="1"/>
                    <a:pt x="162" y="1"/>
                    <a:pt x="162" y="1"/>
                  </a:cubicBezTo>
                  <a:cubicBezTo>
                    <a:pt x="163" y="1"/>
                    <a:pt x="164" y="2"/>
                    <a:pt x="164" y="2"/>
                  </a:cubicBezTo>
                  <a:cubicBezTo>
                    <a:pt x="165" y="3"/>
                    <a:pt x="166" y="3"/>
                    <a:pt x="166" y="3"/>
                  </a:cubicBezTo>
                  <a:cubicBezTo>
                    <a:pt x="166" y="3"/>
                    <a:pt x="166" y="1"/>
                    <a:pt x="166" y="1"/>
                  </a:cubicBezTo>
                  <a:cubicBezTo>
                    <a:pt x="167" y="1"/>
                    <a:pt x="168" y="1"/>
                    <a:pt x="168" y="1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70" y="3"/>
                    <a:pt x="171" y="3"/>
                  </a:cubicBezTo>
                  <a:cubicBezTo>
                    <a:pt x="171" y="3"/>
                    <a:pt x="172" y="2"/>
                    <a:pt x="172" y="2"/>
                  </a:cubicBezTo>
                  <a:cubicBezTo>
                    <a:pt x="172" y="3"/>
                    <a:pt x="173" y="3"/>
                    <a:pt x="173" y="4"/>
                  </a:cubicBezTo>
                  <a:cubicBezTo>
                    <a:pt x="173" y="4"/>
                    <a:pt x="174" y="5"/>
                    <a:pt x="174" y="5"/>
                  </a:cubicBezTo>
                  <a:cubicBezTo>
                    <a:pt x="174" y="6"/>
                    <a:pt x="175" y="6"/>
                    <a:pt x="175" y="6"/>
                  </a:cubicBezTo>
                  <a:cubicBezTo>
                    <a:pt x="175" y="7"/>
                    <a:pt x="175" y="8"/>
                    <a:pt x="175" y="8"/>
                  </a:cubicBezTo>
                  <a:cubicBezTo>
                    <a:pt x="175" y="8"/>
                    <a:pt x="175" y="8"/>
                    <a:pt x="175" y="9"/>
                  </a:cubicBezTo>
                  <a:cubicBezTo>
                    <a:pt x="176" y="9"/>
                    <a:pt x="179" y="9"/>
                    <a:pt x="179" y="9"/>
                  </a:cubicBezTo>
                  <a:cubicBezTo>
                    <a:pt x="179" y="9"/>
                    <a:pt x="180" y="9"/>
                    <a:pt x="180" y="10"/>
                  </a:cubicBezTo>
                  <a:cubicBezTo>
                    <a:pt x="180" y="10"/>
                    <a:pt x="182" y="10"/>
                    <a:pt x="182" y="10"/>
                  </a:cubicBezTo>
                  <a:cubicBezTo>
                    <a:pt x="182" y="10"/>
                    <a:pt x="183" y="9"/>
                    <a:pt x="183" y="10"/>
                  </a:cubicBezTo>
                  <a:cubicBezTo>
                    <a:pt x="183" y="10"/>
                    <a:pt x="183" y="11"/>
                    <a:pt x="183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6" y="11"/>
                    <a:pt x="186" y="11"/>
                  </a:cubicBezTo>
                  <a:cubicBezTo>
                    <a:pt x="186" y="11"/>
                    <a:pt x="187" y="10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90" y="12"/>
                    <a:pt x="190" y="12"/>
                  </a:cubicBezTo>
                  <a:cubicBezTo>
                    <a:pt x="190" y="12"/>
                    <a:pt x="191" y="12"/>
                    <a:pt x="192" y="12"/>
                  </a:cubicBezTo>
                  <a:cubicBezTo>
                    <a:pt x="192" y="12"/>
                    <a:pt x="195" y="12"/>
                    <a:pt x="195" y="12"/>
                  </a:cubicBezTo>
                  <a:cubicBezTo>
                    <a:pt x="195" y="12"/>
                    <a:pt x="195" y="13"/>
                    <a:pt x="195" y="14"/>
                  </a:cubicBezTo>
                  <a:cubicBezTo>
                    <a:pt x="195" y="14"/>
                    <a:pt x="195" y="16"/>
                    <a:pt x="195" y="16"/>
                  </a:cubicBezTo>
                  <a:cubicBezTo>
                    <a:pt x="195" y="16"/>
                    <a:pt x="194" y="17"/>
                    <a:pt x="194" y="18"/>
                  </a:cubicBezTo>
                  <a:cubicBezTo>
                    <a:pt x="193" y="18"/>
                    <a:pt x="193" y="20"/>
                    <a:pt x="193" y="20"/>
                  </a:cubicBezTo>
                  <a:cubicBezTo>
                    <a:pt x="193" y="20"/>
                    <a:pt x="193" y="21"/>
                    <a:pt x="193" y="21"/>
                  </a:cubicBezTo>
                  <a:cubicBezTo>
                    <a:pt x="193" y="21"/>
                    <a:pt x="193" y="23"/>
                    <a:pt x="193" y="23"/>
                  </a:cubicBezTo>
                  <a:cubicBezTo>
                    <a:pt x="192" y="25"/>
                    <a:pt x="192" y="25"/>
                    <a:pt x="192" y="25"/>
                  </a:cubicBezTo>
                  <a:cubicBezTo>
                    <a:pt x="192" y="25"/>
                    <a:pt x="191" y="26"/>
                    <a:pt x="192" y="27"/>
                  </a:cubicBezTo>
                  <a:cubicBezTo>
                    <a:pt x="192" y="27"/>
                    <a:pt x="192" y="28"/>
                    <a:pt x="192" y="28"/>
                  </a:cubicBezTo>
                  <a:cubicBezTo>
                    <a:pt x="193" y="29"/>
                    <a:pt x="193" y="29"/>
                    <a:pt x="193" y="29"/>
                  </a:cubicBezTo>
                  <a:cubicBezTo>
                    <a:pt x="191" y="31"/>
                    <a:pt x="191" y="31"/>
                    <a:pt x="191" y="31"/>
                  </a:cubicBezTo>
                  <a:cubicBezTo>
                    <a:pt x="191" y="33"/>
                    <a:pt x="191" y="33"/>
                    <a:pt x="191" y="33"/>
                  </a:cubicBezTo>
                  <a:cubicBezTo>
                    <a:pt x="191" y="33"/>
                    <a:pt x="192" y="34"/>
                    <a:pt x="191" y="35"/>
                  </a:cubicBezTo>
                  <a:cubicBezTo>
                    <a:pt x="191" y="35"/>
                    <a:pt x="190" y="36"/>
                    <a:pt x="190" y="36"/>
                  </a:cubicBezTo>
                  <a:cubicBezTo>
                    <a:pt x="190" y="36"/>
                    <a:pt x="188" y="38"/>
                    <a:pt x="188" y="38"/>
                  </a:cubicBezTo>
                  <a:cubicBezTo>
                    <a:pt x="188" y="38"/>
                    <a:pt x="188" y="39"/>
                    <a:pt x="188" y="39"/>
                  </a:cubicBezTo>
                  <a:cubicBezTo>
                    <a:pt x="188" y="39"/>
                    <a:pt x="187" y="41"/>
                    <a:pt x="187" y="41"/>
                  </a:cubicBezTo>
                  <a:cubicBezTo>
                    <a:pt x="187" y="41"/>
                    <a:pt x="187" y="44"/>
                    <a:pt x="187" y="44"/>
                  </a:cubicBezTo>
                  <a:cubicBezTo>
                    <a:pt x="187" y="44"/>
                    <a:pt x="188" y="45"/>
                    <a:pt x="188" y="45"/>
                  </a:cubicBezTo>
                  <a:cubicBezTo>
                    <a:pt x="188" y="45"/>
                    <a:pt x="188" y="46"/>
                    <a:pt x="188" y="47"/>
                  </a:cubicBezTo>
                  <a:cubicBezTo>
                    <a:pt x="187" y="47"/>
                    <a:pt x="188" y="48"/>
                    <a:pt x="188" y="49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7" y="52"/>
                    <a:pt x="187" y="52"/>
                    <a:pt x="187" y="52"/>
                  </a:cubicBezTo>
                  <a:cubicBezTo>
                    <a:pt x="186" y="52"/>
                    <a:pt x="186" y="52"/>
                    <a:pt x="186" y="52"/>
                  </a:cubicBezTo>
                  <a:cubicBezTo>
                    <a:pt x="187" y="55"/>
                    <a:pt x="187" y="55"/>
                    <a:pt x="187" y="5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3" y="48"/>
                    <a:pt x="163" y="48"/>
                    <a:pt x="163" y="48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1" y="53"/>
                    <a:pt x="151" y="53"/>
                    <a:pt x="151" y="53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19" y="74"/>
                    <a:pt x="119" y="74"/>
                    <a:pt x="119" y="74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06" y="77"/>
                    <a:pt x="106" y="77"/>
                    <a:pt x="106" y="77"/>
                  </a:cubicBezTo>
                  <a:cubicBezTo>
                    <a:pt x="100" y="78"/>
                    <a:pt x="100" y="78"/>
                    <a:pt x="100" y="78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6"/>
                    <a:pt x="73" y="96"/>
                    <a:pt x="73" y="96"/>
                  </a:cubicBezTo>
                  <a:cubicBezTo>
                    <a:pt x="73" y="96"/>
                    <a:pt x="77" y="99"/>
                    <a:pt x="79" y="100"/>
                  </a:cubicBezTo>
                  <a:cubicBezTo>
                    <a:pt x="81" y="102"/>
                    <a:pt x="75" y="103"/>
                    <a:pt x="74" y="104"/>
                  </a:cubicBezTo>
                  <a:cubicBezTo>
                    <a:pt x="73" y="105"/>
                    <a:pt x="64" y="106"/>
                    <a:pt x="64" y="106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38" y="109"/>
                    <a:pt x="38" y="109"/>
                    <a:pt x="38" y="109"/>
                  </a:cubicBezTo>
                  <a:cubicBezTo>
                    <a:pt x="34" y="107"/>
                    <a:pt x="34" y="107"/>
                    <a:pt x="34" y="107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14" y="97"/>
                    <a:pt x="14" y="97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102"/>
                    <a:pt x="14" y="102"/>
                    <a:pt x="14" y="102"/>
                  </a:cubicBezTo>
                  <a:cubicBezTo>
                    <a:pt x="11" y="106"/>
                    <a:pt x="11" y="106"/>
                    <a:pt x="11" y="106"/>
                  </a:cubicBezTo>
                  <a:cubicBezTo>
                    <a:pt x="9" y="103"/>
                    <a:pt x="8" y="98"/>
                    <a:pt x="6" y="93"/>
                  </a:cubicBezTo>
                  <a:cubicBezTo>
                    <a:pt x="6" y="93"/>
                    <a:pt x="6" y="92"/>
                    <a:pt x="5" y="91"/>
                  </a:cubicBezTo>
                  <a:cubicBezTo>
                    <a:pt x="5" y="90"/>
                    <a:pt x="4" y="88"/>
                    <a:pt x="4" y="88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87"/>
                    <a:pt x="2" y="86"/>
                    <a:pt x="2" y="86"/>
                  </a:cubicBezTo>
                  <a:cubicBezTo>
                    <a:pt x="2" y="86"/>
                    <a:pt x="2" y="85"/>
                    <a:pt x="2" y="85"/>
                  </a:cubicBezTo>
                  <a:cubicBezTo>
                    <a:pt x="1" y="85"/>
                    <a:pt x="0" y="84"/>
                    <a:pt x="0" y="84"/>
                  </a:cubicBezTo>
                  <a:cubicBezTo>
                    <a:pt x="0" y="84"/>
                    <a:pt x="0" y="81"/>
                    <a:pt x="0" y="81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7"/>
                    <a:pt x="2" y="75"/>
                    <a:pt x="2" y="75"/>
                  </a:cubicBezTo>
                  <a:cubicBezTo>
                    <a:pt x="2" y="75"/>
                    <a:pt x="3" y="73"/>
                    <a:pt x="3" y="73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5"/>
                    <a:pt x="3" y="65"/>
                  </a:cubicBezTo>
                  <a:cubicBezTo>
                    <a:pt x="4" y="65"/>
                    <a:pt x="4" y="62"/>
                    <a:pt x="4" y="62"/>
                  </a:cubicBezTo>
                  <a:cubicBezTo>
                    <a:pt x="4" y="62"/>
                    <a:pt x="5" y="60"/>
                    <a:pt x="5" y="60"/>
                  </a:cubicBezTo>
                  <a:cubicBezTo>
                    <a:pt x="6" y="60"/>
                    <a:pt x="6" y="59"/>
                    <a:pt x="6" y="59"/>
                  </a:cubicBezTo>
                  <a:cubicBezTo>
                    <a:pt x="6" y="58"/>
                    <a:pt x="6" y="57"/>
                    <a:pt x="6" y="5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9" y="55"/>
                    <a:pt x="9" y="55"/>
                  </a:cubicBezTo>
                  <a:cubicBezTo>
                    <a:pt x="9" y="55"/>
                    <a:pt x="10" y="55"/>
                    <a:pt x="11" y="55"/>
                  </a:cubicBezTo>
                  <a:cubicBezTo>
                    <a:pt x="11" y="55"/>
                    <a:pt x="12" y="55"/>
                    <a:pt x="13" y="55"/>
                  </a:cubicBezTo>
                  <a:cubicBezTo>
                    <a:pt x="13" y="55"/>
                    <a:pt x="13" y="56"/>
                    <a:pt x="14" y="56"/>
                  </a:cubicBezTo>
                  <a:cubicBezTo>
                    <a:pt x="15" y="56"/>
                    <a:pt x="16" y="57"/>
                    <a:pt x="16" y="57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6"/>
                    <a:pt x="22" y="57"/>
                    <a:pt x="22" y="56"/>
                  </a:cubicBezTo>
                  <a:cubicBezTo>
                    <a:pt x="23" y="56"/>
                    <a:pt x="24" y="55"/>
                    <a:pt x="24" y="55"/>
                  </a:cubicBezTo>
                  <a:cubicBezTo>
                    <a:pt x="26" y="54"/>
                    <a:pt x="26" y="54"/>
                    <a:pt x="26" y="5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673585" y="4800833"/>
              <a:ext cx="277301" cy="203261"/>
            </a:xfrm>
            <a:custGeom>
              <a:avLst/>
              <a:gdLst>
                <a:gd name="T0" fmla="*/ 5 w 117"/>
                <a:gd name="T1" fmla="*/ 46 h 88"/>
                <a:gd name="T2" fmla="*/ 1 w 117"/>
                <a:gd name="T3" fmla="*/ 42 h 88"/>
                <a:gd name="T4" fmla="*/ 6 w 117"/>
                <a:gd name="T5" fmla="*/ 36 h 88"/>
                <a:gd name="T6" fmla="*/ 10 w 117"/>
                <a:gd name="T7" fmla="*/ 33 h 88"/>
                <a:gd name="T8" fmla="*/ 13 w 117"/>
                <a:gd name="T9" fmla="*/ 27 h 88"/>
                <a:gd name="T10" fmla="*/ 41 w 117"/>
                <a:gd name="T11" fmla="*/ 31 h 88"/>
                <a:gd name="T12" fmla="*/ 48 w 117"/>
                <a:gd name="T13" fmla="*/ 26 h 88"/>
                <a:gd name="T14" fmla="*/ 55 w 117"/>
                <a:gd name="T15" fmla="*/ 19 h 88"/>
                <a:gd name="T16" fmla="*/ 71 w 117"/>
                <a:gd name="T17" fmla="*/ 15 h 88"/>
                <a:gd name="T18" fmla="*/ 85 w 117"/>
                <a:gd name="T19" fmla="*/ 12 h 88"/>
                <a:gd name="T20" fmla="*/ 95 w 117"/>
                <a:gd name="T21" fmla="*/ 8 h 88"/>
                <a:gd name="T22" fmla="*/ 101 w 117"/>
                <a:gd name="T23" fmla="*/ 2 h 88"/>
                <a:gd name="T24" fmla="*/ 107 w 117"/>
                <a:gd name="T25" fmla="*/ 2 h 88"/>
                <a:gd name="T26" fmla="*/ 108 w 117"/>
                <a:gd name="T27" fmla="*/ 5 h 88"/>
                <a:gd name="T28" fmla="*/ 109 w 117"/>
                <a:gd name="T29" fmla="*/ 7 h 88"/>
                <a:gd name="T30" fmla="*/ 111 w 117"/>
                <a:gd name="T31" fmla="*/ 10 h 88"/>
                <a:gd name="T32" fmla="*/ 115 w 117"/>
                <a:gd name="T33" fmla="*/ 19 h 88"/>
                <a:gd name="T34" fmla="*/ 109 w 117"/>
                <a:gd name="T35" fmla="*/ 22 h 88"/>
                <a:gd name="T36" fmla="*/ 107 w 117"/>
                <a:gd name="T37" fmla="*/ 27 h 88"/>
                <a:gd name="T38" fmla="*/ 102 w 117"/>
                <a:gd name="T39" fmla="*/ 28 h 88"/>
                <a:gd name="T40" fmla="*/ 101 w 117"/>
                <a:gd name="T41" fmla="*/ 32 h 88"/>
                <a:gd name="T42" fmla="*/ 96 w 117"/>
                <a:gd name="T43" fmla="*/ 35 h 88"/>
                <a:gd name="T44" fmla="*/ 91 w 117"/>
                <a:gd name="T45" fmla="*/ 38 h 88"/>
                <a:gd name="T46" fmla="*/ 86 w 117"/>
                <a:gd name="T47" fmla="*/ 41 h 88"/>
                <a:gd name="T48" fmla="*/ 87 w 117"/>
                <a:gd name="T49" fmla="*/ 46 h 88"/>
                <a:gd name="T50" fmla="*/ 90 w 117"/>
                <a:gd name="T51" fmla="*/ 49 h 88"/>
                <a:gd name="T52" fmla="*/ 89 w 117"/>
                <a:gd name="T53" fmla="*/ 56 h 88"/>
                <a:gd name="T54" fmla="*/ 88 w 117"/>
                <a:gd name="T55" fmla="*/ 60 h 88"/>
                <a:gd name="T56" fmla="*/ 83 w 117"/>
                <a:gd name="T57" fmla="*/ 62 h 88"/>
                <a:gd name="T58" fmla="*/ 78 w 117"/>
                <a:gd name="T59" fmla="*/ 64 h 88"/>
                <a:gd name="T60" fmla="*/ 76 w 117"/>
                <a:gd name="T61" fmla="*/ 68 h 88"/>
                <a:gd name="T62" fmla="*/ 79 w 117"/>
                <a:gd name="T63" fmla="*/ 69 h 88"/>
                <a:gd name="T64" fmla="*/ 77 w 117"/>
                <a:gd name="T65" fmla="*/ 72 h 88"/>
                <a:gd name="T66" fmla="*/ 76 w 117"/>
                <a:gd name="T67" fmla="*/ 76 h 88"/>
                <a:gd name="T68" fmla="*/ 79 w 117"/>
                <a:gd name="T69" fmla="*/ 80 h 88"/>
                <a:gd name="T70" fmla="*/ 74 w 117"/>
                <a:gd name="T71" fmla="*/ 83 h 88"/>
                <a:gd name="T72" fmla="*/ 69 w 117"/>
                <a:gd name="T73" fmla="*/ 81 h 88"/>
                <a:gd name="T74" fmla="*/ 64 w 117"/>
                <a:gd name="T75" fmla="*/ 80 h 88"/>
                <a:gd name="T76" fmla="*/ 61 w 117"/>
                <a:gd name="T77" fmla="*/ 82 h 88"/>
                <a:gd name="T78" fmla="*/ 55 w 117"/>
                <a:gd name="T79" fmla="*/ 80 h 88"/>
                <a:gd name="T80" fmla="*/ 53 w 117"/>
                <a:gd name="T81" fmla="*/ 77 h 88"/>
                <a:gd name="T82" fmla="*/ 49 w 117"/>
                <a:gd name="T83" fmla="*/ 72 h 88"/>
                <a:gd name="T84" fmla="*/ 46 w 117"/>
                <a:gd name="T85" fmla="*/ 76 h 88"/>
                <a:gd name="T86" fmla="*/ 45 w 117"/>
                <a:gd name="T87" fmla="*/ 80 h 88"/>
                <a:gd name="T88" fmla="*/ 39 w 117"/>
                <a:gd name="T89" fmla="*/ 83 h 88"/>
                <a:gd name="T90" fmla="*/ 33 w 117"/>
                <a:gd name="T91" fmla="*/ 84 h 88"/>
                <a:gd name="T92" fmla="*/ 28 w 117"/>
                <a:gd name="T93" fmla="*/ 83 h 88"/>
                <a:gd name="T94" fmla="*/ 27 w 117"/>
                <a:gd name="T95" fmla="*/ 84 h 88"/>
                <a:gd name="T96" fmla="*/ 24 w 117"/>
                <a:gd name="T97" fmla="*/ 87 h 88"/>
                <a:gd name="T98" fmla="*/ 21 w 117"/>
                <a:gd name="T99" fmla="*/ 88 h 88"/>
                <a:gd name="T100" fmla="*/ 15 w 117"/>
                <a:gd name="T101" fmla="*/ 87 h 88"/>
                <a:gd name="T102" fmla="*/ 11 w 117"/>
                <a:gd name="T103" fmla="*/ 84 h 88"/>
                <a:gd name="T104" fmla="*/ 15 w 117"/>
                <a:gd name="T105" fmla="*/ 82 h 88"/>
                <a:gd name="T106" fmla="*/ 17 w 117"/>
                <a:gd name="T107" fmla="*/ 81 h 88"/>
                <a:gd name="T108" fmla="*/ 19 w 117"/>
                <a:gd name="T109" fmla="*/ 79 h 88"/>
                <a:gd name="T110" fmla="*/ 17 w 117"/>
                <a:gd name="T111" fmla="*/ 77 h 88"/>
                <a:gd name="T112" fmla="*/ 9 w 117"/>
                <a:gd name="T113" fmla="*/ 67 h 88"/>
                <a:gd name="T114" fmla="*/ 11 w 117"/>
                <a:gd name="T115" fmla="*/ 61 h 88"/>
                <a:gd name="T116" fmla="*/ 9 w 117"/>
                <a:gd name="T117" fmla="*/ 58 h 88"/>
                <a:gd name="T118" fmla="*/ 6 w 117"/>
                <a:gd name="T119" fmla="*/ 58 h 88"/>
                <a:gd name="T120" fmla="*/ 5 w 117"/>
                <a:gd name="T121" fmla="*/ 55 h 88"/>
                <a:gd name="T122" fmla="*/ 11 w 117"/>
                <a:gd name="T12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88">
                  <a:moveTo>
                    <a:pt x="9" y="48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3" y="38"/>
                    <a:pt x="3" y="38"/>
                  </a:cubicBezTo>
                  <a:cubicBezTo>
                    <a:pt x="4" y="37"/>
                    <a:pt x="6" y="36"/>
                    <a:pt x="6" y="36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8" y="33"/>
                    <a:pt x="9" y="33"/>
                  </a:cubicBezTo>
                  <a:cubicBezTo>
                    <a:pt x="10" y="33"/>
                    <a:pt x="10" y="34"/>
                    <a:pt x="10" y="33"/>
                  </a:cubicBezTo>
                  <a:cubicBezTo>
                    <a:pt x="11" y="33"/>
                    <a:pt x="11" y="29"/>
                    <a:pt x="11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1" y="2"/>
                    <a:pt x="101" y="2"/>
                    <a:pt x="101" y="2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8" y="4"/>
                    <a:pt x="108" y="4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117" y="19"/>
                    <a:pt x="117" y="19"/>
                    <a:pt x="117" y="19"/>
                  </a:cubicBezTo>
                  <a:cubicBezTo>
                    <a:pt x="117" y="19"/>
                    <a:pt x="115" y="19"/>
                    <a:pt x="115" y="19"/>
                  </a:cubicBezTo>
                  <a:cubicBezTo>
                    <a:pt x="114" y="19"/>
                    <a:pt x="112" y="19"/>
                    <a:pt x="112" y="19"/>
                  </a:cubicBezTo>
                  <a:cubicBezTo>
                    <a:pt x="112" y="19"/>
                    <a:pt x="111" y="20"/>
                    <a:pt x="110" y="20"/>
                  </a:cubicBezTo>
                  <a:cubicBezTo>
                    <a:pt x="110" y="20"/>
                    <a:pt x="109" y="22"/>
                    <a:pt x="109" y="22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11" y="28"/>
                    <a:pt x="112" y="28"/>
                    <a:pt x="107" y="27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4" y="27"/>
                    <a:pt x="104" y="27"/>
                    <a:pt x="104" y="27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28"/>
                    <a:pt x="102" y="28"/>
                  </a:cubicBezTo>
                  <a:cubicBezTo>
                    <a:pt x="102" y="28"/>
                    <a:pt x="102" y="30"/>
                    <a:pt x="102" y="30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89" y="38"/>
                    <a:pt x="89" y="38"/>
                  </a:cubicBezTo>
                  <a:cubicBezTo>
                    <a:pt x="89" y="38"/>
                    <a:pt x="86" y="39"/>
                    <a:pt x="86" y="39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5" y="42"/>
                    <a:pt x="85" y="42"/>
                  </a:cubicBezTo>
                  <a:cubicBezTo>
                    <a:pt x="85" y="42"/>
                    <a:pt x="85" y="45"/>
                    <a:pt x="85" y="45"/>
                  </a:cubicBezTo>
                  <a:cubicBezTo>
                    <a:pt x="85" y="45"/>
                    <a:pt x="87" y="46"/>
                    <a:pt x="87" y="46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89" y="49"/>
                    <a:pt x="89" y="52"/>
                    <a:pt x="89" y="52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1" y="58"/>
                    <a:pt x="90" y="59"/>
                  </a:cubicBezTo>
                  <a:cubicBezTo>
                    <a:pt x="89" y="59"/>
                    <a:pt x="88" y="60"/>
                    <a:pt x="88" y="60"/>
                  </a:cubicBezTo>
                  <a:cubicBezTo>
                    <a:pt x="88" y="60"/>
                    <a:pt x="86" y="60"/>
                    <a:pt x="86" y="60"/>
                  </a:cubicBezTo>
                  <a:cubicBezTo>
                    <a:pt x="86" y="60"/>
                    <a:pt x="84" y="60"/>
                    <a:pt x="84" y="60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5" y="67"/>
                    <a:pt x="75" y="67"/>
                    <a:pt x="75" y="67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7" y="67"/>
                    <a:pt x="77" y="67"/>
                  </a:cubicBezTo>
                  <a:cubicBezTo>
                    <a:pt x="78" y="68"/>
                    <a:pt x="79" y="69"/>
                    <a:pt x="79" y="69"/>
                  </a:cubicBezTo>
                  <a:cubicBezTo>
                    <a:pt x="80" y="71"/>
                    <a:pt x="80" y="71"/>
                    <a:pt x="80" y="71"/>
                  </a:cubicBezTo>
                  <a:cubicBezTo>
                    <a:pt x="80" y="71"/>
                    <a:pt x="78" y="71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6" y="74"/>
                    <a:pt x="76" y="74"/>
                    <a:pt x="76" y="75"/>
                  </a:cubicBezTo>
                  <a:cubicBezTo>
                    <a:pt x="76" y="75"/>
                    <a:pt x="76" y="76"/>
                    <a:pt x="76" y="76"/>
                  </a:cubicBezTo>
                  <a:cubicBezTo>
                    <a:pt x="77" y="76"/>
                    <a:pt x="78" y="78"/>
                    <a:pt x="78" y="78"/>
                  </a:cubicBezTo>
                  <a:cubicBezTo>
                    <a:pt x="78" y="78"/>
                    <a:pt x="79" y="79"/>
                    <a:pt x="79" y="79"/>
                  </a:cubicBezTo>
                  <a:cubicBezTo>
                    <a:pt x="79" y="79"/>
                    <a:pt x="79" y="80"/>
                    <a:pt x="79" y="80"/>
                  </a:cubicBezTo>
                  <a:cubicBezTo>
                    <a:pt x="79" y="80"/>
                    <a:pt x="78" y="81"/>
                    <a:pt x="77" y="81"/>
                  </a:cubicBezTo>
                  <a:cubicBezTo>
                    <a:pt x="77" y="81"/>
                    <a:pt x="75" y="81"/>
                    <a:pt x="75" y="81"/>
                  </a:cubicBezTo>
                  <a:cubicBezTo>
                    <a:pt x="75" y="81"/>
                    <a:pt x="74" y="83"/>
                    <a:pt x="74" y="83"/>
                  </a:cubicBezTo>
                  <a:cubicBezTo>
                    <a:pt x="74" y="83"/>
                    <a:pt x="73" y="83"/>
                    <a:pt x="72" y="83"/>
                  </a:cubicBezTo>
                  <a:cubicBezTo>
                    <a:pt x="72" y="83"/>
                    <a:pt x="74" y="84"/>
                    <a:pt x="72" y="83"/>
                  </a:cubicBezTo>
                  <a:cubicBezTo>
                    <a:pt x="69" y="82"/>
                    <a:pt x="69" y="81"/>
                    <a:pt x="69" y="81"/>
                  </a:cubicBezTo>
                  <a:cubicBezTo>
                    <a:pt x="69" y="81"/>
                    <a:pt x="68" y="80"/>
                    <a:pt x="68" y="80"/>
                  </a:cubicBezTo>
                  <a:cubicBezTo>
                    <a:pt x="67" y="80"/>
                    <a:pt x="66" y="80"/>
                    <a:pt x="66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1" y="82"/>
                  </a:cubicBezTo>
                  <a:cubicBezTo>
                    <a:pt x="60" y="83"/>
                    <a:pt x="61" y="83"/>
                    <a:pt x="60" y="83"/>
                  </a:cubicBezTo>
                  <a:cubicBezTo>
                    <a:pt x="58" y="83"/>
                    <a:pt x="57" y="81"/>
                    <a:pt x="57" y="81"/>
                  </a:cubicBezTo>
                  <a:cubicBezTo>
                    <a:pt x="57" y="81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3" y="79"/>
                    <a:pt x="53" y="80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2" y="76"/>
                    <a:pt x="52" y="77"/>
                    <a:pt x="51" y="76"/>
                  </a:cubicBezTo>
                  <a:cubicBezTo>
                    <a:pt x="51" y="75"/>
                    <a:pt x="50" y="74"/>
                    <a:pt x="50" y="74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7" y="75"/>
                    <a:pt x="46" y="76"/>
                    <a:pt x="46" y="76"/>
                  </a:cubicBezTo>
                  <a:cubicBezTo>
                    <a:pt x="46" y="76"/>
                    <a:pt x="45" y="77"/>
                    <a:pt x="45" y="78"/>
                  </a:cubicBezTo>
                  <a:cubicBezTo>
                    <a:pt x="46" y="78"/>
                    <a:pt x="46" y="78"/>
                    <a:pt x="46" y="79"/>
                  </a:cubicBezTo>
                  <a:cubicBezTo>
                    <a:pt x="46" y="79"/>
                    <a:pt x="45" y="80"/>
                    <a:pt x="45" y="80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2"/>
                    <a:pt x="41" y="83"/>
                    <a:pt x="41" y="83"/>
                  </a:cubicBezTo>
                  <a:cubicBezTo>
                    <a:pt x="39" y="83"/>
                    <a:pt x="39" y="83"/>
                    <a:pt x="39" y="8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4"/>
                  </a:cubicBezTo>
                  <a:cubicBezTo>
                    <a:pt x="32" y="84"/>
                    <a:pt x="31" y="84"/>
                    <a:pt x="31" y="84"/>
                  </a:cubicBezTo>
                  <a:cubicBezTo>
                    <a:pt x="31" y="84"/>
                    <a:pt x="30" y="83"/>
                    <a:pt x="29" y="83"/>
                  </a:cubicBezTo>
                  <a:cubicBezTo>
                    <a:pt x="29" y="83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5"/>
                    <a:pt x="27" y="86"/>
                    <a:pt x="27" y="86"/>
                  </a:cubicBezTo>
                  <a:cubicBezTo>
                    <a:pt x="27" y="86"/>
                    <a:pt x="26" y="86"/>
                    <a:pt x="26" y="86"/>
                  </a:cubicBezTo>
                  <a:cubicBezTo>
                    <a:pt x="26" y="87"/>
                    <a:pt x="24" y="87"/>
                    <a:pt x="24" y="87"/>
                  </a:cubicBezTo>
                  <a:cubicBezTo>
                    <a:pt x="24" y="87"/>
                    <a:pt x="24" y="88"/>
                    <a:pt x="24" y="88"/>
                  </a:cubicBezTo>
                  <a:cubicBezTo>
                    <a:pt x="24" y="88"/>
                    <a:pt x="24" y="88"/>
                    <a:pt x="23" y="88"/>
                  </a:cubicBezTo>
                  <a:cubicBezTo>
                    <a:pt x="22" y="88"/>
                    <a:pt x="22" y="88"/>
                    <a:pt x="21" y="88"/>
                  </a:cubicBezTo>
                  <a:cubicBezTo>
                    <a:pt x="21" y="87"/>
                    <a:pt x="20" y="87"/>
                    <a:pt x="19" y="87"/>
                  </a:cubicBezTo>
                  <a:cubicBezTo>
                    <a:pt x="19" y="87"/>
                    <a:pt x="16" y="86"/>
                    <a:pt x="16" y="86"/>
                  </a:cubicBezTo>
                  <a:cubicBezTo>
                    <a:pt x="16" y="86"/>
                    <a:pt x="15" y="87"/>
                    <a:pt x="15" y="87"/>
                  </a:cubicBezTo>
                  <a:cubicBezTo>
                    <a:pt x="14" y="87"/>
                    <a:pt x="13" y="87"/>
                    <a:pt x="12" y="86"/>
                  </a:cubicBezTo>
                  <a:cubicBezTo>
                    <a:pt x="12" y="86"/>
                    <a:pt x="11" y="86"/>
                    <a:pt x="11" y="86"/>
                  </a:cubicBezTo>
                  <a:cubicBezTo>
                    <a:pt x="11" y="85"/>
                    <a:pt x="11" y="84"/>
                    <a:pt x="11" y="84"/>
                  </a:cubicBezTo>
                  <a:cubicBezTo>
                    <a:pt x="11" y="84"/>
                    <a:pt x="10" y="83"/>
                    <a:pt x="11" y="83"/>
                  </a:cubicBezTo>
                  <a:cubicBezTo>
                    <a:pt x="11" y="83"/>
                    <a:pt x="12" y="83"/>
                    <a:pt x="13" y="83"/>
                  </a:cubicBezTo>
                  <a:cubicBezTo>
                    <a:pt x="14" y="83"/>
                    <a:pt x="15" y="83"/>
                    <a:pt x="15" y="82"/>
                  </a:cubicBezTo>
                  <a:cubicBezTo>
                    <a:pt x="15" y="82"/>
                    <a:pt x="15" y="82"/>
                    <a:pt x="16" y="82"/>
                  </a:cubicBezTo>
                  <a:cubicBezTo>
                    <a:pt x="16" y="82"/>
                    <a:pt x="17" y="83"/>
                    <a:pt x="17" y="82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7" y="79"/>
                    <a:pt x="17" y="79"/>
                  </a:cubicBezTo>
                  <a:cubicBezTo>
                    <a:pt x="18" y="79"/>
                    <a:pt x="19" y="79"/>
                    <a:pt x="19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1" y="79"/>
                    <a:pt x="22" y="78"/>
                  </a:cubicBezTo>
                  <a:cubicBezTo>
                    <a:pt x="22" y="78"/>
                    <a:pt x="18" y="78"/>
                    <a:pt x="17" y="77"/>
                  </a:cubicBezTo>
                  <a:cubicBezTo>
                    <a:pt x="15" y="75"/>
                    <a:pt x="13" y="74"/>
                    <a:pt x="13" y="70"/>
                  </a:cubicBezTo>
                  <a:cubicBezTo>
                    <a:pt x="12" y="70"/>
                    <a:pt x="12" y="68"/>
                    <a:pt x="11" y="68"/>
                  </a:cubicBezTo>
                  <a:cubicBezTo>
                    <a:pt x="11" y="68"/>
                    <a:pt x="9" y="67"/>
                    <a:pt x="9" y="67"/>
                  </a:cubicBezTo>
                  <a:cubicBezTo>
                    <a:pt x="9" y="66"/>
                    <a:pt x="9" y="66"/>
                    <a:pt x="10" y="65"/>
                  </a:cubicBezTo>
                  <a:cubicBezTo>
                    <a:pt x="10" y="64"/>
                    <a:pt x="10" y="64"/>
                    <a:pt x="11" y="63"/>
                  </a:cubicBezTo>
                  <a:cubicBezTo>
                    <a:pt x="11" y="63"/>
                    <a:pt x="11" y="61"/>
                    <a:pt x="11" y="61"/>
                  </a:cubicBezTo>
                  <a:cubicBezTo>
                    <a:pt x="11" y="61"/>
                    <a:pt x="12" y="60"/>
                    <a:pt x="11" y="60"/>
                  </a:cubicBezTo>
                  <a:cubicBezTo>
                    <a:pt x="11" y="59"/>
                    <a:pt x="10" y="58"/>
                    <a:pt x="10" y="58"/>
                  </a:cubicBezTo>
                  <a:cubicBezTo>
                    <a:pt x="10" y="58"/>
                    <a:pt x="10" y="58"/>
                    <a:pt x="9" y="58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6" y="58"/>
                    <a:pt x="6" y="58"/>
                  </a:cubicBezTo>
                  <a:cubicBezTo>
                    <a:pt x="5" y="58"/>
                    <a:pt x="5" y="58"/>
                    <a:pt x="5" y="57"/>
                  </a:cubicBezTo>
                  <a:cubicBezTo>
                    <a:pt x="5" y="57"/>
                    <a:pt x="6" y="56"/>
                    <a:pt x="6" y="56"/>
                  </a:cubicBezTo>
                  <a:cubicBezTo>
                    <a:pt x="6" y="56"/>
                    <a:pt x="5" y="55"/>
                    <a:pt x="5" y="55"/>
                  </a:cubicBezTo>
                  <a:cubicBezTo>
                    <a:pt x="5" y="55"/>
                    <a:pt x="6" y="53"/>
                    <a:pt x="7" y="53"/>
                  </a:cubicBezTo>
                  <a:cubicBezTo>
                    <a:pt x="8" y="52"/>
                    <a:pt x="10" y="50"/>
                    <a:pt x="10" y="50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9" y="48"/>
                    <a:pt x="9" y="4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8" name="Freeform 197"/>
            <p:cNvSpPr>
              <a:spLocks noEditPoints="1"/>
            </p:cNvSpPr>
            <p:nvPr/>
          </p:nvSpPr>
          <p:spPr bwMode="auto">
            <a:xfrm>
              <a:off x="4691919" y="4844150"/>
              <a:ext cx="539707" cy="486493"/>
            </a:xfrm>
            <a:custGeom>
              <a:avLst/>
              <a:gdLst>
                <a:gd name="T0" fmla="*/ 216 w 227"/>
                <a:gd name="T1" fmla="*/ 62 h 211"/>
                <a:gd name="T2" fmla="*/ 209 w 227"/>
                <a:gd name="T3" fmla="*/ 47 h 211"/>
                <a:gd name="T4" fmla="*/ 183 w 227"/>
                <a:gd name="T5" fmla="*/ 33 h 211"/>
                <a:gd name="T6" fmla="*/ 141 w 227"/>
                <a:gd name="T7" fmla="*/ 25 h 211"/>
                <a:gd name="T8" fmla="*/ 102 w 227"/>
                <a:gd name="T9" fmla="*/ 1 h 211"/>
                <a:gd name="T10" fmla="*/ 84 w 227"/>
                <a:gd name="T11" fmla="*/ 17 h 211"/>
                <a:gd name="T12" fmla="*/ 82 w 227"/>
                <a:gd name="T13" fmla="*/ 40 h 211"/>
                <a:gd name="T14" fmla="*/ 70 w 227"/>
                <a:gd name="T15" fmla="*/ 52 h 211"/>
                <a:gd name="T16" fmla="*/ 58 w 227"/>
                <a:gd name="T17" fmla="*/ 61 h 211"/>
                <a:gd name="T18" fmla="*/ 39 w 227"/>
                <a:gd name="T19" fmla="*/ 55 h 211"/>
                <a:gd name="T20" fmla="*/ 18 w 227"/>
                <a:gd name="T21" fmla="*/ 65 h 211"/>
                <a:gd name="T22" fmla="*/ 3 w 227"/>
                <a:gd name="T23" fmla="*/ 67 h 211"/>
                <a:gd name="T24" fmla="*/ 3 w 227"/>
                <a:gd name="T25" fmla="*/ 66 h 211"/>
                <a:gd name="T26" fmla="*/ 3 w 227"/>
                <a:gd name="T27" fmla="*/ 66 h 211"/>
                <a:gd name="T28" fmla="*/ 4 w 227"/>
                <a:gd name="T29" fmla="*/ 77 h 211"/>
                <a:gd name="T30" fmla="*/ 17 w 227"/>
                <a:gd name="T31" fmla="*/ 102 h 211"/>
                <a:gd name="T32" fmla="*/ 30 w 227"/>
                <a:gd name="T33" fmla="*/ 77 h 211"/>
                <a:gd name="T34" fmla="*/ 51 w 227"/>
                <a:gd name="T35" fmla="*/ 92 h 211"/>
                <a:gd name="T36" fmla="*/ 64 w 227"/>
                <a:gd name="T37" fmla="*/ 115 h 211"/>
                <a:gd name="T38" fmla="*/ 53 w 227"/>
                <a:gd name="T39" fmla="*/ 108 h 211"/>
                <a:gd name="T40" fmla="*/ 65 w 227"/>
                <a:gd name="T41" fmla="*/ 124 h 211"/>
                <a:gd name="T42" fmla="*/ 73 w 227"/>
                <a:gd name="T43" fmla="*/ 138 h 211"/>
                <a:gd name="T44" fmla="*/ 72 w 227"/>
                <a:gd name="T45" fmla="*/ 145 h 211"/>
                <a:gd name="T46" fmla="*/ 58 w 227"/>
                <a:gd name="T47" fmla="*/ 130 h 211"/>
                <a:gd name="T48" fmla="*/ 61 w 227"/>
                <a:gd name="T49" fmla="*/ 136 h 211"/>
                <a:gd name="T50" fmla="*/ 76 w 227"/>
                <a:gd name="T51" fmla="*/ 153 h 211"/>
                <a:gd name="T52" fmla="*/ 74 w 227"/>
                <a:gd name="T53" fmla="*/ 146 h 211"/>
                <a:gd name="T54" fmla="*/ 89 w 227"/>
                <a:gd name="T55" fmla="*/ 156 h 211"/>
                <a:gd name="T56" fmla="*/ 99 w 227"/>
                <a:gd name="T57" fmla="*/ 157 h 211"/>
                <a:gd name="T58" fmla="*/ 126 w 227"/>
                <a:gd name="T59" fmla="*/ 164 h 211"/>
                <a:gd name="T60" fmla="*/ 160 w 227"/>
                <a:gd name="T61" fmla="*/ 187 h 211"/>
                <a:gd name="T62" fmla="*/ 140 w 227"/>
                <a:gd name="T63" fmla="*/ 190 h 211"/>
                <a:gd name="T64" fmla="*/ 184 w 227"/>
                <a:gd name="T65" fmla="*/ 200 h 211"/>
                <a:gd name="T66" fmla="*/ 171 w 227"/>
                <a:gd name="T67" fmla="*/ 185 h 211"/>
                <a:gd name="T68" fmla="*/ 153 w 227"/>
                <a:gd name="T69" fmla="*/ 162 h 211"/>
                <a:gd name="T70" fmla="*/ 118 w 227"/>
                <a:gd name="T71" fmla="*/ 135 h 211"/>
                <a:gd name="T72" fmla="*/ 100 w 227"/>
                <a:gd name="T73" fmla="*/ 105 h 211"/>
                <a:gd name="T74" fmla="*/ 88 w 227"/>
                <a:gd name="T75" fmla="*/ 76 h 211"/>
                <a:gd name="T76" fmla="*/ 121 w 227"/>
                <a:gd name="T77" fmla="*/ 70 h 211"/>
                <a:gd name="T78" fmla="*/ 160 w 227"/>
                <a:gd name="T79" fmla="*/ 71 h 211"/>
                <a:gd name="T80" fmla="*/ 189 w 227"/>
                <a:gd name="T81" fmla="*/ 70 h 211"/>
                <a:gd name="T82" fmla="*/ 179 w 227"/>
                <a:gd name="T83" fmla="*/ 190 h 211"/>
                <a:gd name="T84" fmla="*/ 192 w 227"/>
                <a:gd name="T85" fmla="*/ 201 h 211"/>
                <a:gd name="T86" fmla="*/ 159 w 227"/>
                <a:gd name="T87" fmla="*/ 195 h 211"/>
                <a:gd name="T88" fmla="*/ 144 w 227"/>
                <a:gd name="T89" fmla="*/ 199 h 211"/>
                <a:gd name="T90" fmla="*/ 115 w 227"/>
                <a:gd name="T91" fmla="*/ 191 h 211"/>
                <a:gd name="T92" fmla="*/ 136 w 227"/>
                <a:gd name="T93" fmla="*/ 178 h 211"/>
                <a:gd name="T94" fmla="*/ 144 w 227"/>
                <a:gd name="T95" fmla="*/ 180 h 211"/>
                <a:gd name="T96" fmla="*/ 123 w 227"/>
                <a:gd name="T97" fmla="*/ 178 h 211"/>
                <a:gd name="T98" fmla="*/ 129 w 227"/>
                <a:gd name="T99" fmla="*/ 168 h 211"/>
                <a:gd name="T100" fmla="*/ 51 w 227"/>
                <a:gd name="T101" fmla="*/ 93 h 211"/>
                <a:gd name="T102" fmla="*/ 50 w 227"/>
                <a:gd name="T103" fmla="*/ 97 h 211"/>
                <a:gd name="T104" fmla="*/ 60 w 227"/>
                <a:gd name="T105" fmla="*/ 119 h 211"/>
                <a:gd name="T106" fmla="*/ 53 w 227"/>
                <a:gd name="T107" fmla="*/ 121 h 211"/>
                <a:gd name="T108" fmla="*/ 35 w 227"/>
                <a:gd name="T109" fmla="*/ 119 h 211"/>
                <a:gd name="T110" fmla="*/ 36 w 227"/>
                <a:gd name="T111" fmla="*/ 91 h 211"/>
                <a:gd name="T112" fmla="*/ 40 w 227"/>
                <a:gd name="T113" fmla="*/ 103 h 211"/>
                <a:gd name="T114" fmla="*/ 45 w 227"/>
                <a:gd name="T115" fmla="*/ 120 h 211"/>
                <a:gd name="T116" fmla="*/ 37 w 227"/>
                <a:gd name="T117" fmla="*/ 107 h 211"/>
                <a:gd name="T118" fmla="*/ 34 w 227"/>
                <a:gd name="T119" fmla="*/ 9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11">
                  <a:moveTo>
                    <a:pt x="215" y="82"/>
                  </a:moveTo>
                  <a:cubicBezTo>
                    <a:pt x="215" y="80"/>
                    <a:pt x="214" y="79"/>
                    <a:pt x="216" y="78"/>
                  </a:cubicBezTo>
                  <a:cubicBezTo>
                    <a:pt x="217" y="78"/>
                    <a:pt x="218" y="80"/>
                    <a:pt x="218" y="78"/>
                  </a:cubicBezTo>
                  <a:cubicBezTo>
                    <a:pt x="218" y="76"/>
                    <a:pt x="219" y="77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18" y="75"/>
                    <a:pt x="218" y="77"/>
                    <a:pt x="217" y="77"/>
                  </a:cubicBezTo>
                  <a:cubicBezTo>
                    <a:pt x="217" y="77"/>
                    <a:pt x="216" y="78"/>
                    <a:pt x="215" y="78"/>
                  </a:cubicBezTo>
                  <a:cubicBezTo>
                    <a:pt x="214" y="77"/>
                    <a:pt x="214" y="77"/>
                    <a:pt x="214" y="77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16" y="71"/>
                    <a:pt x="215" y="69"/>
                    <a:pt x="214" y="67"/>
                  </a:cubicBezTo>
                  <a:cubicBezTo>
                    <a:pt x="213" y="66"/>
                    <a:pt x="212" y="65"/>
                    <a:pt x="212" y="65"/>
                  </a:cubicBezTo>
                  <a:cubicBezTo>
                    <a:pt x="215" y="63"/>
                    <a:pt x="215" y="63"/>
                    <a:pt x="215" y="63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6" y="61"/>
                    <a:pt x="216" y="61"/>
                    <a:pt x="216" y="61"/>
                  </a:cubicBezTo>
                  <a:cubicBezTo>
                    <a:pt x="216" y="61"/>
                    <a:pt x="218" y="63"/>
                    <a:pt x="220" y="63"/>
                  </a:cubicBezTo>
                  <a:cubicBezTo>
                    <a:pt x="221" y="63"/>
                    <a:pt x="220" y="63"/>
                    <a:pt x="222" y="62"/>
                  </a:cubicBezTo>
                  <a:cubicBezTo>
                    <a:pt x="224" y="62"/>
                    <a:pt x="227" y="59"/>
                    <a:pt x="227" y="59"/>
                  </a:cubicBezTo>
                  <a:cubicBezTo>
                    <a:pt x="227" y="59"/>
                    <a:pt x="225" y="57"/>
                    <a:pt x="224" y="57"/>
                  </a:cubicBezTo>
                  <a:cubicBezTo>
                    <a:pt x="223" y="58"/>
                    <a:pt x="224" y="58"/>
                    <a:pt x="221" y="58"/>
                  </a:cubicBezTo>
                  <a:cubicBezTo>
                    <a:pt x="218" y="57"/>
                    <a:pt x="217" y="56"/>
                    <a:pt x="217" y="56"/>
                  </a:cubicBezTo>
                  <a:cubicBezTo>
                    <a:pt x="217" y="56"/>
                    <a:pt x="216" y="56"/>
                    <a:pt x="215" y="56"/>
                  </a:cubicBezTo>
                  <a:cubicBezTo>
                    <a:pt x="214" y="56"/>
                    <a:pt x="214" y="56"/>
                    <a:pt x="213" y="55"/>
                  </a:cubicBezTo>
                  <a:cubicBezTo>
                    <a:pt x="211" y="53"/>
                    <a:pt x="209" y="51"/>
                    <a:pt x="209" y="51"/>
                  </a:cubicBezTo>
                  <a:cubicBezTo>
                    <a:pt x="209" y="51"/>
                    <a:pt x="207" y="52"/>
                    <a:pt x="207" y="51"/>
                  </a:cubicBezTo>
                  <a:cubicBezTo>
                    <a:pt x="207" y="51"/>
                    <a:pt x="208" y="49"/>
                    <a:pt x="208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7" y="47"/>
                    <a:pt x="209" y="47"/>
                    <a:pt x="209" y="47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2" y="44"/>
                    <a:pt x="210" y="42"/>
                    <a:pt x="207" y="43"/>
                  </a:cubicBezTo>
                  <a:cubicBezTo>
                    <a:pt x="206" y="43"/>
                    <a:pt x="205" y="44"/>
                    <a:pt x="205" y="44"/>
                  </a:cubicBezTo>
                  <a:cubicBezTo>
                    <a:pt x="204" y="44"/>
                    <a:pt x="202" y="43"/>
                    <a:pt x="202" y="42"/>
                  </a:cubicBezTo>
                  <a:cubicBezTo>
                    <a:pt x="202" y="41"/>
                    <a:pt x="201" y="41"/>
                    <a:pt x="203" y="40"/>
                  </a:cubicBezTo>
                  <a:cubicBezTo>
                    <a:pt x="204" y="40"/>
                    <a:pt x="205" y="38"/>
                    <a:pt x="205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0" y="28"/>
                    <a:pt x="200" y="28"/>
                    <a:pt x="200" y="28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198" y="25"/>
                    <a:pt x="198" y="25"/>
                    <a:pt x="198" y="25"/>
                  </a:cubicBezTo>
                  <a:cubicBezTo>
                    <a:pt x="196" y="30"/>
                    <a:pt x="196" y="30"/>
                    <a:pt x="196" y="30"/>
                  </a:cubicBezTo>
                  <a:cubicBezTo>
                    <a:pt x="196" y="30"/>
                    <a:pt x="193" y="31"/>
                    <a:pt x="193" y="32"/>
                  </a:cubicBezTo>
                  <a:cubicBezTo>
                    <a:pt x="192" y="33"/>
                    <a:pt x="187" y="33"/>
                    <a:pt x="187" y="33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76" y="35"/>
                    <a:pt x="174" y="36"/>
                    <a:pt x="173" y="36"/>
                  </a:cubicBezTo>
                  <a:cubicBezTo>
                    <a:pt x="172" y="36"/>
                    <a:pt x="167" y="35"/>
                    <a:pt x="167" y="35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57" y="34"/>
                    <a:pt x="157" y="34"/>
                    <a:pt x="157" y="34"/>
                  </a:cubicBezTo>
                  <a:cubicBezTo>
                    <a:pt x="155" y="32"/>
                    <a:pt x="155" y="32"/>
                    <a:pt x="155" y="32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2" y="27"/>
                    <a:pt x="142" y="27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1" y="26"/>
                    <a:pt x="141" y="26"/>
                    <a:pt x="141" y="25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5" y="18"/>
                    <a:pt x="135" y="18"/>
                    <a:pt x="135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34" y="18"/>
                    <a:pt x="134" y="18"/>
                    <a:pt x="134" y="18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2" y="11"/>
                    <a:pt x="122" y="11"/>
                    <a:pt x="122" y="11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9" y="1"/>
                    <a:pt x="109" y="1"/>
                  </a:cubicBezTo>
                  <a:cubicBezTo>
                    <a:pt x="109" y="1"/>
                    <a:pt x="108" y="0"/>
                    <a:pt x="108" y="0"/>
                  </a:cubicBezTo>
                  <a:cubicBezTo>
                    <a:pt x="108" y="0"/>
                    <a:pt x="107" y="0"/>
                    <a:pt x="107" y="0"/>
                  </a:cubicBezTo>
                  <a:cubicBezTo>
                    <a:pt x="106" y="0"/>
                    <a:pt x="104" y="0"/>
                    <a:pt x="104" y="0"/>
                  </a:cubicBezTo>
                  <a:cubicBezTo>
                    <a:pt x="104" y="0"/>
                    <a:pt x="103" y="1"/>
                    <a:pt x="102" y="1"/>
                  </a:cubicBezTo>
                  <a:cubicBezTo>
                    <a:pt x="102" y="1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1" y="5"/>
                    <a:pt x="101" y="5"/>
                    <a:pt x="101" y="5"/>
                  </a:cubicBezTo>
                  <a:cubicBezTo>
                    <a:pt x="103" y="9"/>
                    <a:pt x="104" y="9"/>
                    <a:pt x="99" y="8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9"/>
                    <a:pt x="94" y="11"/>
                    <a:pt x="94" y="11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3" y="19"/>
                    <a:pt x="81" y="19"/>
                    <a:pt x="81" y="19"/>
                  </a:cubicBezTo>
                  <a:cubicBezTo>
                    <a:pt x="81" y="19"/>
                    <a:pt x="78" y="20"/>
                    <a:pt x="78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7" y="23"/>
                    <a:pt x="77" y="23"/>
                  </a:cubicBezTo>
                  <a:cubicBezTo>
                    <a:pt x="77" y="23"/>
                    <a:pt x="77" y="26"/>
                    <a:pt x="77" y="26"/>
                  </a:cubicBezTo>
                  <a:cubicBezTo>
                    <a:pt x="77" y="26"/>
                    <a:pt x="79" y="27"/>
                    <a:pt x="79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30"/>
                    <a:pt x="82" y="30"/>
                  </a:cubicBezTo>
                  <a:cubicBezTo>
                    <a:pt x="81" y="30"/>
                    <a:pt x="81" y="33"/>
                    <a:pt x="81" y="3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2" y="40"/>
                  </a:cubicBezTo>
                  <a:cubicBezTo>
                    <a:pt x="81" y="40"/>
                    <a:pt x="80" y="41"/>
                    <a:pt x="80" y="41"/>
                  </a:cubicBezTo>
                  <a:cubicBezTo>
                    <a:pt x="80" y="41"/>
                    <a:pt x="78" y="41"/>
                    <a:pt x="78" y="41"/>
                  </a:cubicBezTo>
                  <a:cubicBezTo>
                    <a:pt x="78" y="41"/>
                    <a:pt x="76" y="41"/>
                    <a:pt x="76" y="41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9" y="50"/>
                    <a:pt x="69" y="49"/>
                  </a:cubicBezTo>
                  <a:cubicBezTo>
                    <a:pt x="69" y="49"/>
                    <a:pt x="69" y="48"/>
                    <a:pt x="69" y="48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0" y="52"/>
                    <a:pt x="70" y="52"/>
                  </a:cubicBezTo>
                  <a:cubicBezTo>
                    <a:pt x="70" y="52"/>
                    <a:pt x="69" y="53"/>
                    <a:pt x="69" y="53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5"/>
                    <a:pt x="68" y="55"/>
                    <a:pt x="68" y="56"/>
                  </a:cubicBezTo>
                  <a:cubicBezTo>
                    <a:pt x="68" y="56"/>
                    <a:pt x="68" y="57"/>
                    <a:pt x="68" y="57"/>
                  </a:cubicBezTo>
                  <a:cubicBezTo>
                    <a:pt x="69" y="57"/>
                    <a:pt x="70" y="59"/>
                    <a:pt x="70" y="59"/>
                  </a:cubicBezTo>
                  <a:cubicBezTo>
                    <a:pt x="70" y="59"/>
                    <a:pt x="71" y="60"/>
                    <a:pt x="71" y="60"/>
                  </a:cubicBezTo>
                  <a:cubicBezTo>
                    <a:pt x="71" y="60"/>
                    <a:pt x="71" y="61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69" y="62"/>
                    <a:pt x="67" y="62"/>
                    <a:pt x="67" y="62"/>
                  </a:cubicBezTo>
                  <a:cubicBezTo>
                    <a:pt x="67" y="62"/>
                    <a:pt x="66" y="64"/>
                    <a:pt x="66" y="64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6" y="65"/>
                    <a:pt x="64" y="64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0" y="61"/>
                    <a:pt x="60" y="61"/>
                  </a:cubicBezTo>
                  <a:cubicBezTo>
                    <a:pt x="59" y="61"/>
                    <a:pt x="58" y="61"/>
                    <a:pt x="58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62"/>
                    <a:pt x="54" y="63"/>
                    <a:pt x="53" y="63"/>
                  </a:cubicBezTo>
                  <a:cubicBezTo>
                    <a:pt x="52" y="64"/>
                    <a:pt x="53" y="64"/>
                    <a:pt x="52" y="64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5" y="60"/>
                    <a:pt x="45" y="61"/>
                    <a:pt x="45" y="59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44" y="57"/>
                    <a:pt x="44" y="58"/>
                    <a:pt x="43" y="57"/>
                  </a:cubicBezTo>
                  <a:cubicBezTo>
                    <a:pt x="43" y="56"/>
                    <a:pt x="42" y="55"/>
                    <a:pt x="42" y="55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7" y="58"/>
                    <a:pt x="37" y="59"/>
                  </a:cubicBez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7" y="61"/>
                    <a:pt x="37" y="61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3"/>
                    <a:pt x="33" y="64"/>
                    <a:pt x="33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5" y="65"/>
                    <a:pt x="25" y="65"/>
                  </a:cubicBezTo>
                  <a:cubicBezTo>
                    <a:pt x="24" y="65"/>
                    <a:pt x="23" y="65"/>
                    <a:pt x="23" y="65"/>
                  </a:cubicBezTo>
                  <a:cubicBezTo>
                    <a:pt x="23" y="65"/>
                    <a:pt x="22" y="64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5"/>
                    <a:pt x="19" y="65"/>
                    <a:pt x="19" y="65"/>
                  </a:cubicBezTo>
                  <a:cubicBezTo>
                    <a:pt x="19" y="66"/>
                    <a:pt x="19" y="67"/>
                    <a:pt x="19" y="67"/>
                  </a:cubicBezTo>
                  <a:cubicBezTo>
                    <a:pt x="19" y="67"/>
                    <a:pt x="18" y="67"/>
                    <a:pt x="18" y="67"/>
                  </a:cubicBezTo>
                  <a:cubicBezTo>
                    <a:pt x="18" y="68"/>
                    <a:pt x="16" y="68"/>
                    <a:pt x="16" y="68"/>
                  </a:cubicBezTo>
                  <a:cubicBezTo>
                    <a:pt x="16" y="68"/>
                    <a:pt x="16" y="69"/>
                    <a:pt x="16" y="69"/>
                  </a:cubicBezTo>
                  <a:cubicBezTo>
                    <a:pt x="16" y="69"/>
                    <a:pt x="16" y="69"/>
                    <a:pt x="15" y="69"/>
                  </a:cubicBezTo>
                  <a:cubicBezTo>
                    <a:pt x="14" y="69"/>
                    <a:pt x="14" y="69"/>
                    <a:pt x="13" y="69"/>
                  </a:cubicBezTo>
                  <a:cubicBezTo>
                    <a:pt x="13" y="68"/>
                    <a:pt x="12" y="68"/>
                    <a:pt x="11" y="68"/>
                  </a:cubicBezTo>
                  <a:cubicBezTo>
                    <a:pt x="11" y="68"/>
                    <a:pt x="8" y="67"/>
                    <a:pt x="8" y="67"/>
                  </a:cubicBezTo>
                  <a:cubicBezTo>
                    <a:pt x="8" y="67"/>
                    <a:pt x="7" y="68"/>
                    <a:pt x="7" y="68"/>
                  </a:cubicBezTo>
                  <a:cubicBezTo>
                    <a:pt x="6" y="68"/>
                    <a:pt x="5" y="68"/>
                    <a:pt x="4" y="67"/>
                  </a:cubicBezTo>
                  <a:cubicBezTo>
                    <a:pt x="4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2"/>
                    <a:pt x="2" y="73"/>
                    <a:pt x="2" y="73"/>
                  </a:cubicBezTo>
                  <a:cubicBezTo>
                    <a:pt x="2" y="74"/>
                    <a:pt x="3" y="74"/>
                    <a:pt x="3" y="75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6" y="83"/>
                    <a:pt x="6" y="84"/>
                  </a:cubicBezTo>
                  <a:cubicBezTo>
                    <a:pt x="6" y="84"/>
                    <a:pt x="6" y="85"/>
                    <a:pt x="6" y="86"/>
                  </a:cubicBezTo>
                  <a:cubicBezTo>
                    <a:pt x="6" y="86"/>
                    <a:pt x="8" y="88"/>
                    <a:pt x="8" y="8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9" y="91"/>
                    <a:pt x="10" y="92"/>
                  </a:cubicBezTo>
                  <a:cubicBezTo>
                    <a:pt x="10" y="92"/>
                    <a:pt x="11" y="93"/>
                    <a:pt x="11" y="93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3" y="97"/>
                    <a:pt x="13" y="97"/>
                    <a:pt x="13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3"/>
                    <a:pt x="18" y="103"/>
                  </a:cubicBezTo>
                  <a:cubicBezTo>
                    <a:pt x="19" y="103"/>
                    <a:pt x="20" y="103"/>
                    <a:pt x="20" y="103"/>
                  </a:cubicBezTo>
                  <a:cubicBezTo>
                    <a:pt x="21" y="103"/>
                    <a:pt x="21" y="104"/>
                    <a:pt x="22" y="101"/>
                  </a:cubicBezTo>
                  <a:cubicBezTo>
                    <a:pt x="22" y="99"/>
                    <a:pt x="22" y="98"/>
                    <a:pt x="22" y="98"/>
                  </a:cubicBezTo>
                  <a:cubicBezTo>
                    <a:pt x="22" y="98"/>
                    <a:pt x="23" y="98"/>
                    <a:pt x="23" y="97"/>
                  </a:cubicBezTo>
                  <a:cubicBezTo>
                    <a:pt x="24" y="97"/>
                    <a:pt x="25" y="97"/>
                    <a:pt x="25" y="96"/>
                  </a:cubicBezTo>
                  <a:cubicBezTo>
                    <a:pt x="25" y="94"/>
                    <a:pt x="23" y="93"/>
                    <a:pt x="23" y="93"/>
                  </a:cubicBezTo>
                  <a:cubicBezTo>
                    <a:pt x="23" y="93"/>
                    <a:pt x="25" y="92"/>
                    <a:pt x="26" y="93"/>
                  </a:cubicBezTo>
                  <a:cubicBezTo>
                    <a:pt x="26" y="94"/>
                    <a:pt x="26" y="95"/>
                    <a:pt x="27" y="94"/>
                  </a:cubicBezTo>
                  <a:cubicBezTo>
                    <a:pt x="28" y="92"/>
                    <a:pt x="28" y="92"/>
                    <a:pt x="28" y="92"/>
                  </a:cubicBezTo>
                  <a:cubicBezTo>
                    <a:pt x="27" y="91"/>
                    <a:pt x="27" y="90"/>
                    <a:pt x="27" y="89"/>
                  </a:cubicBezTo>
                  <a:cubicBezTo>
                    <a:pt x="27" y="89"/>
                    <a:pt x="28" y="88"/>
                    <a:pt x="28" y="87"/>
                  </a:cubicBezTo>
                  <a:cubicBezTo>
                    <a:pt x="29" y="86"/>
                    <a:pt x="29" y="85"/>
                    <a:pt x="29" y="84"/>
                  </a:cubicBezTo>
                  <a:cubicBezTo>
                    <a:pt x="29" y="82"/>
                    <a:pt x="29" y="83"/>
                    <a:pt x="30" y="81"/>
                  </a:cubicBezTo>
                  <a:cubicBezTo>
                    <a:pt x="30" y="80"/>
                    <a:pt x="30" y="81"/>
                    <a:pt x="30" y="77"/>
                  </a:cubicBezTo>
                  <a:cubicBezTo>
                    <a:pt x="31" y="74"/>
                    <a:pt x="31" y="73"/>
                    <a:pt x="32" y="73"/>
                  </a:cubicBezTo>
                  <a:cubicBezTo>
                    <a:pt x="32" y="73"/>
                    <a:pt x="40" y="76"/>
                    <a:pt x="40" y="76"/>
                  </a:cubicBezTo>
                  <a:cubicBezTo>
                    <a:pt x="40" y="76"/>
                    <a:pt x="41" y="78"/>
                    <a:pt x="41" y="78"/>
                  </a:cubicBezTo>
                  <a:cubicBezTo>
                    <a:pt x="41" y="79"/>
                    <a:pt x="41" y="80"/>
                    <a:pt x="41" y="80"/>
                  </a:cubicBezTo>
                  <a:cubicBezTo>
                    <a:pt x="41" y="81"/>
                    <a:pt x="40" y="83"/>
                    <a:pt x="40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38" y="84"/>
                    <a:pt x="38" y="86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9" y="89"/>
                    <a:pt x="40" y="90"/>
                    <a:pt x="40" y="90"/>
                  </a:cubicBezTo>
                  <a:cubicBezTo>
                    <a:pt x="41" y="90"/>
                    <a:pt x="42" y="89"/>
                    <a:pt x="43" y="89"/>
                  </a:cubicBezTo>
                  <a:cubicBezTo>
                    <a:pt x="43" y="89"/>
                    <a:pt x="44" y="89"/>
                    <a:pt x="44" y="89"/>
                  </a:cubicBezTo>
                  <a:cubicBezTo>
                    <a:pt x="44" y="90"/>
                    <a:pt x="44" y="91"/>
                    <a:pt x="45" y="92"/>
                  </a:cubicBezTo>
                  <a:cubicBezTo>
                    <a:pt x="46" y="92"/>
                    <a:pt x="47" y="93"/>
                    <a:pt x="47" y="93"/>
                  </a:cubicBezTo>
                  <a:cubicBezTo>
                    <a:pt x="48" y="93"/>
                    <a:pt x="49" y="93"/>
                    <a:pt x="49" y="93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2"/>
                    <a:pt x="54" y="95"/>
                    <a:pt x="52" y="91"/>
                  </a:cubicBezTo>
                  <a:cubicBezTo>
                    <a:pt x="49" y="88"/>
                    <a:pt x="49" y="88"/>
                    <a:pt x="49" y="87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6"/>
                    <a:pt x="46" y="85"/>
                    <a:pt x="46" y="84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9" y="83"/>
                    <a:pt x="49" y="82"/>
                    <a:pt x="51" y="84"/>
                  </a:cubicBezTo>
                  <a:cubicBezTo>
                    <a:pt x="52" y="85"/>
                    <a:pt x="52" y="85"/>
                    <a:pt x="52" y="86"/>
                  </a:cubicBezTo>
                  <a:cubicBezTo>
                    <a:pt x="53" y="88"/>
                    <a:pt x="54" y="89"/>
                    <a:pt x="55" y="90"/>
                  </a:cubicBezTo>
                  <a:cubicBezTo>
                    <a:pt x="55" y="90"/>
                    <a:pt x="56" y="90"/>
                    <a:pt x="56" y="92"/>
                  </a:cubicBezTo>
                  <a:cubicBezTo>
                    <a:pt x="56" y="94"/>
                    <a:pt x="56" y="96"/>
                    <a:pt x="56" y="97"/>
                  </a:cubicBezTo>
                  <a:cubicBezTo>
                    <a:pt x="56" y="97"/>
                    <a:pt x="56" y="101"/>
                    <a:pt x="56" y="101"/>
                  </a:cubicBezTo>
                  <a:cubicBezTo>
                    <a:pt x="56" y="101"/>
                    <a:pt x="56" y="103"/>
                    <a:pt x="56" y="104"/>
                  </a:cubicBezTo>
                  <a:cubicBezTo>
                    <a:pt x="56" y="105"/>
                    <a:pt x="61" y="112"/>
                    <a:pt x="61" y="112"/>
                  </a:cubicBezTo>
                  <a:cubicBezTo>
                    <a:pt x="61" y="112"/>
                    <a:pt x="63" y="115"/>
                    <a:pt x="64" y="115"/>
                  </a:cubicBezTo>
                  <a:cubicBezTo>
                    <a:pt x="64" y="115"/>
                    <a:pt x="65" y="118"/>
                    <a:pt x="66" y="119"/>
                  </a:cubicBezTo>
                  <a:cubicBezTo>
                    <a:pt x="68" y="119"/>
                    <a:pt x="72" y="121"/>
                    <a:pt x="72" y="121"/>
                  </a:cubicBezTo>
                  <a:cubicBezTo>
                    <a:pt x="79" y="125"/>
                    <a:pt x="79" y="125"/>
                    <a:pt x="79" y="125"/>
                  </a:cubicBezTo>
                  <a:cubicBezTo>
                    <a:pt x="79" y="125"/>
                    <a:pt x="81" y="128"/>
                    <a:pt x="82" y="128"/>
                  </a:cubicBezTo>
                  <a:cubicBezTo>
                    <a:pt x="82" y="128"/>
                    <a:pt x="87" y="128"/>
                    <a:pt x="83" y="128"/>
                  </a:cubicBezTo>
                  <a:cubicBezTo>
                    <a:pt x="80" y="128"/>
                    <a:pt x="76" y="126"/>
                    <a:pt x="76" y="126"/>
                  </a:cubicBezTo>
                  <a:cubicBezTo>
                    <a:pt x="76" y="126"/>
                    <a:pt x="75" y="124"/>
                    <a:pt x="75" y="124"/>
                  </a:cubicBezTo>
                  <a:cubicBezTo>
                    <a:pt x="74" y="124"/>
                    <a:pt x="70" y="123"/>
                    <a:pt x="69" y="122"/>
                  </a:cubicBezTo>
                  <a:cubicBezTo>
                    <a:pt x="69" y="122"/>
                    <a:pt x="68" y="121"/>
                    <a:pt x="67" y="120"/>
                  </a:cubicBezTo>
                  <a:cubicBezTo>
                    <a:pt x="66" y="118"/>
                    <a:pt x="64" y="117"/>
                    <a:pt x="64" y="117"/>
                  </a:cubicBezTo>
                  <a:cubicBezTo>
                    <a:pt x="64" y="117"/>
                    <a:pt x="63" y="116"/>
                    <a:pt x="62" y="114"/>
                  </a:cubicBezTo>
                  <a:cubicBezTo>
                    <a:pt x="61" y="113"/>
                    <a:pt x="61" y="113"/>
                    <a:pt x="61" y="112"/>
                  </a:cubicBezTo>
                  <a:cubicBezTo>
                    <a:pt x="60" y="112"/>
                    <a:pt x="61" y="112"/>
                    <a:pt x="59" y="111"/>
                  </a:cubicBezTo>
                  <a:cubicBezTo>
                    <a:pt x="57" y="110"/>
                    <a:pt x="56" y="109"/>
                    <a:pt x="56" y="109"/>
                  </a:cubicBezTo>
                  <a:cubicBezTo>
                    <a:pt x="55" y="109"/>
                    <a:pt x="53" y="108"/>
                    <a:pt x="53" y="108"/>
                  </a:cubicBezTo>
                  <a:cubicBezTo>
                    <a:pt x="53" y="108"/>
                    <a:pt x="51" y="106"/>
                    <a:pt x="51" y="106"/>
                  </a:cubicBezTo>
                  <a:cubicBezTo>
                    <a:pt x="51" y="106"/>
                    <a:pt x="50" y="108"/>
                    <a:pt x="52" y="109"/>
                  </a:cubicBezTo>
                  <a:cubicBezTo>
                    <a:pt x="53" y="109"/>
                    <a:pt x="55" y="111"/>
                    <a:pt x="55" y="111"/>
                  </a:cubicBezTo>
                  <a:cubicBezTo>
                    <a:pt x="55" y="111"/>
                    <a:pt x="57" y="112"/>
                    <a:pt x="57" y="112"/>
                  </a:cubicBezTo>
                  <a:cubicBezTo>
                    <a:pt x="57" y="112"/>
                    <a:pt x="57" y="114"/>
                    <a:pt x="57" y="114"/>
                  </a:cubicBezTo>
                  <a:cubicBezTo>
                    <a:pt x="57" y="114"/>
                    <a:pt x="54" y="113"/>
                    <a:pt x="57" y="114"/>
                  </a:cubicBezTo>
                  <a:cubicBezTo>
                    <a:pt x="59" y="115"/>
                    <a:pt x="61" y="115"/>
                    <a:pt x="61" y="115"/>
                  </a:cubicBezTo>
                  <a:cubicBezTo>
                    <a:pt x="61" y="115"/>
                    <a:pt x="59" y="116"/>
                    <a:pt x="58" y="116"/>
                  </a:cubicBezTo>
                  <a:cubicBezTo>
                    <a:pt x="58" y="117"/>
                    <a:pt x="60" y="120"/>
                    <a:pt x="60" y="119"/>
                  </a:cubicBezTo>
                  <a:cubicBezTo>
                    <a:pt x="61" y="119"/>
                    <a:pt x="62" y="120"/>
                    <a:pt x="63" y="120"/>
                  </a:cubicBezTo>
                  <a:cubicBezTo>
                    <a:pt x="63" y="120"/>
                    <a:pt x="65" y="120"/>
                    <a:pt x="65" y="121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5" y="122"/>
                    <a:pt x="66" y="124"/>
                    <a:pt x="66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8" y="125"/>
                    <a:pt x="65" y="125"/>
                    <a:pt x="65" y="124"/>
                  </a:cubicBezTo>
                  <a:cubicBezTo>
                    <a:pt x="64" y="124"/>
                    <a:pt x="64" y="123"/>
                    <a:pt x="63" y="124"/>
                  </a:cubicBezTo>
                  <a:cubicBezTo>
                    <a:pt x="62" y="125"/>
                    <a:pt x="62" y="125"/>
                    <a:pt x="62" y="126"/>
                  </a:cubicBezTo>
                  <a:cubicBezTo>
                    <a:pt x="63" y="127"/>
                    <a:pt x="64" y="128"/>
                    <a:pt x="65" y="127"/>
                  </a:cubicBezTo>
                  <a:cubicBezTo>
                    <a:pt x="65" y="127"/>
                    <a:pt x="65" y="127"/>
                    <a:pt x="66" y="126"/>
                  </a:cubicBezTo>
                  <a:cubicBezTo>
                    <a:pt x="66" y="126"/>
                    <a:pt x="66" y="126"/>
                    <a:pt x="67" y="126"/>
                  </a:cubicBezTo>
                  <a:cubicBezTo>
                    <a:pt x="67" y="126"/>
                    <a:pt x="68" y="126"/>
                    <a:pt x="68" y="126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5"/>
                    <a:pt x="69" y="125"/>
                    <a:pt x="69" y="126"/>
                  </a:cubicBezTo>
                  <a:cubicBezTo>
                    <a:pt x="69" y="126"/>
                    <a:pt x="70" y="126"/>
                    <a:pt x="69" y="127"/>
                  </a:cubicBezTo>
                  <a:cubicBezTo>
                    <a:pt x="69" y="128"/>
                    <a:pt x="68" y="128"/>
                    <a:pt x="68" y="128"/>
                  </a:cubicBezTo>
                  <a:cubicBezTo>
                    <a:pt x="68" y="129"/>
                    <a:pt x="67" y="128"/>
                    <a:pt x="68" y="130"/>
                  </a:cubicBezTo>
                  <a:cubicBezTo>
                    <a:pt x="68" y="131"/>
                    <a:pt x="68" y="132"/>
                    <a:pt x="68" y="132"/>
                  </a:cubicBezTo>
                  <a:cubicBezTo>
                    <a:pt x="68" y="132"/>
                    <a:pt x="69" y="132"/>
                    <a:pt x="69" y="132"/>
                  </a:cubicBezTo>
                  <a:cubicBezTo>
                    <a:pt x="70" y="133"/>
                    <a:pt x="70" y="134"/>
                    <a:pt x="70" y="135"/>
                  </a:cubicBezTo>
                  <a:cubicBezTo>
                    <a:pt x="71" y="135"/>
                    <a:pt x="73" y="138"/>
                    <a:pt x="73" y="138"/>
                  </a:cubicBezTo>
                  <a:cubicBezTo>
                    <a:pt x="73" y="138"/>
                    <a:pt x="76" y="140"/>
                    <a:pt x="76" y="140"/>
                  </a:cubicBezTo>
                  <a:cubicBezTo>
                    <a:pt x="76" y="140"/>
                    <a:pt x="77" y="141"/>
                    <a:pt x="77" y="141"/>
                  </a:cubicBezTo>
                  <a:cubicBezTo>
                    <a:pt x="77" y="141"/>
                    <a:pt x="77" y="142"/>
                    <a:pt x="76" y="141"/>
                  </a:cubicBezTo>
                  <a:cubicBezTo>
                    <a:pt x="75" y="140"/>
                    <a:pt x="73" y="139"/>
                    <a:pt x="73" y="139"/>
                  </a:cubicBezTo>
                  <a:cubicBezTo>
                    <a:pt x="73" y="141"/>
                    <a:pt x="73" y="141"/>
                    <a:pt x="73" y="141"/>
                  </a:cubicBezTo>
                  <a:cubicBezTo>
                    <a:pt x="73" y="141"/>
                    <a:pt x="74" y="142"/>
                    <a:pt x="75" y="142"/>
                  </a:cubicBezTo>
                  <a:cubicBezTo>
                    <a:pt x="75" y="143"/>
                    <a:pt x="75" y="143"/>
                    <a:pt x="76" y="144"/>
                  </a:cubicBezTo>
                  <a:cubicBezTo>
                    <a:pt x="77" y="144"/>
                    <a:pt x="78" y="144"/>
                    <a:pt x="79" y="144"/>
                  </a:cubicBezTo>
                  <a:cubicBezTo>
                    <a:pt x="79" y="145"/>
                    <a:pt x="79" y="143"/>
                    <a:pt x="79" y="143"/>
                  </a:cubicBezTo>
                  <a:cubicBezTo>
                    <a:pt x="79" y="143"/>
                    <a:pt x="80" y="143"/>
                    <a:pt x="80" y="143"/>
                  </a:cubicBezTo>
                  <a:cubicBezTo>
                    <a:pt x="80" y="144"/>
                    <a:pt x="81" y="145"/>
                    <a:pt x="80" y="146"/>
                  </a:cubicBezTo>
                  <a:cubicBezTo>
                    <a:pt x="80" y="146"/>
                    <a:pt x="80" y="147"/>
                    <a:pt x="79" y="146"/>
                  </a:cubicBezTo>
                  <a:cubicBezTo>
                    <a:pt x="78" y="146"/>
                    <a:pt x="77" y="145"/>
                    <a:pt x="76" y="145"/>
                  </a:cubicBezTo>
                  <a:cubicBezTo>
                    <a:pt x="76" y="145"/>
                    <a:pt x="75" y="144"/>
                    <a:pt x="74" y="145"/>
                  </a:cubicBezTo>
                  <a:cubicBezTo>
                    <a:pt x="74" y="145"/>
                    <a:pt x="72" y="144"/>
                    <a:pt x="72" y="145"/>
                  </a:cubicBezTo>
                  <a:cubicBezTo>
                    <a:pt x="72" y="146"/>
                    <a:pt x="72" y="147"/>
                    <a:pt x="72" y="147"/>
                  </a:cubicBezTo>
                  <a:cubicBezTo>
                    <a:pt x="72" y="147"/>
                    <a:pt x="71" y="143"/>
                    <a:pt x="70" y="143"/>
                  </a:cubicBezTo>
                  <a:cubicBezTo>
                    <a:pt x="69" y="143"/>
                    <a:pt x="67" y="142"/>
                    <a:pt x="67" y="142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40"/>
                    <a:pt x="67" y="140"/>
                    <a:pt x="67" y="140"/>
                  </a:cubicBezTo>
                  <a:cubicBezTo>
                    <a:pt x="68" y="141"/>
                    <a:pt x="67" y="141"/>
                    <a:pt x="68" y="141"/>
                  </a:cubicBezTo>
                  <a:cubicBezTo>
                    <a:pt x="69" y="141"/>
                    <a:pt x="67" y="139"/>
                    <a:pt x="69" y="139"/>
                  </a:cubicBezTo>
                  <a:cubicBezTo>
                    <a:pt x="71" y="139"/>
                    <a:pt x="71" y="139"/>
                    <a:pt x="71" y="139"/>
                  </a:cubicBezTo>
                  <a:cubicBezTo>
                    <a:pt x="71" y="138"/>
                    <a:pt x="73" y="138"/>
                    <a:pt x="71" y="137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8" y="136"/>
                    <a:pt x="68" y="136"/>
                    <a:pt x="68" y="135"/>
                  </a:cubicBezTo>
                  <a:cubicBezTo>
                    <a:pt x="67" y="134"/>
                    <a:pt x="67" y="133"/>
                    <a:pt x="66" y="133"/>
                  </a:cubicBezTo>
                  <a:cubicBezTo>
                    <a:pt x="66" y="133"/>
                    <a:pt x="63" y="133"/>
                    <a:pt x="63" y="133"/>
                  </a:cubicBezTo>
                  <a:cubicBezTo>
                    <a:pt x="63" y="133"/>
                    <a:pt x="62" y="132"/>
                    <a:pt x="61" y="132"/>
                  </a:cubicBezTo>
                  <a:cubicBezTo>
                    <a:pt x="60" y="132"/>
                    <a:pt x="58" y="130"/>
                    <a:pt x="58" y="130"/>
                  </a:cubicBezTo>
                  <a:cubicBezTo>
                    <a:pt x="57" y="129"/>
                    <a:pt x="54" y="128"/>
                    <a:pt x="54" y="128"/>
                  </a:cubicBezTo>
                  <a:cubicBezTo>
                    <a:pt x="54" y="128"/>
                    <a:pt x="53" y="127"/>
                    <a:pt x="52" y="127"/>
                  </a:cubicBezTo>
                  <a:cubicBezTo>
                    <a:pt x="51" y="127"/>
                    <a:pt x="51" y="127"/>
                    <a:pt x="50" y="127"/>
                  </a:cubicBezTo>
                  <a:cubicBezTo>
                    <a:pt x="49" y="126"/>
                    <a:pt x="48" y="125"/>
                    <a:pt x="48" y="125"/>
                  </a:cubicBezTo>
                  <a:cubicBezTo>
                    <a:pt x="47" y="124"/>
                    <a:pt x="46" y="124"/>
                    <a:pt x="46" y="124"/>
                  </a:cubicBezTo>
                  <a:cubicBezTo>
                    <a:pt x="47" y="125"/>
                    <a:pt x="46" y="125"/>
                    <a:pt x="48" y="126"/>
                  </a:cubicBezTo>
                  <a:cubicBezTo>
                    <a:pt x="49" y="127"/>
                    <a:pt x="50" y="127"/>
                    <a:pt x="50" y="127"/>
                  </a:cubicBezTo>
                  <a:cubicBezTo>
                    <a:pt x="50" y="127"/>
                    <a:pt x="51" y="128"/>
                    <a:pt x="51" y="128"/>
                  </a:cubicBezTo>
                  <a:cubicBezTo>
                    <a:pt x="51" y="129"/>
                    <a:pt x="52" y="128"/>
                    <a:pt x="53" y="128"/>
                  </a:cubicBezTo>
                  <a:cubicBezTo>
                    <a:pt x="53" y="129"/>
                    <a:pt x="54" y="129"/>
                    <a:pt x="54" y="130"/>
                  </a:cubicBezTo>
                  <a:cubicBezTo>
                    <a:pt x="54" y="130"/>
                    <a:pt x="57" y="130"/>
                    <a:pt x="57" y="131"/>
                  </a:cubicBezTo>
                  <a:cubicBezTo>
                    <a:pt x="57" y="132"/>
                    <a:pt x="58" y="133"/>
                    <a:pt x="57" y="133"/>
                  </a:cubicBezTo>
                  <a:cubicBezTo>
                    <a:pt x="57" y="133"/>
                    <a:pt x="56" y="134"/>
                    <a:pt x="56" y="134"/>
                  </a:cubicBezTo>
                  <a:cubicBezTo>
                    <a:pt x="57" y="134"/>
                    <a:pt x="58" y="135"/>
                    <a:pt x="59" y="135"/>
                  </a:cubicBezTo>
                  <a:cubicBezTo>
                    <a:pt x="60" y="135"/>
                    <a:pt x="59" y="135"/>
                    <a:pt x="61" y="136"/>
                  </a:cubicBezTo>
                  <a:cubicBezTo>
                    <a:pt x="63" y="136"/>
                    <a:pt x="63" y="138"/>
                    <a:pt x="63" y="138"/>
                  </a:cubicBezTo>
                  <a:cubicBezTo>
                    <a:pt x="63" y="139"/>
                    <a:pt x="65" y="140"/>
                    <a:pt x="65" y="140"/>
                  </a:cubicBezTo>
                  <a:cubicBezTo>
                    <a:pt x="65" y="140"/>
                    <a:pt x="64" y="140"/>
                    <a:pt x="65" y="141"/>
                  </a:cubicBezTo>
                  <a:cubicBezTo>
                    <a:pt x="65" y="141"/>
                    <a:pt x="64" y="141"/>
                    <a:pt x="65" y="142"/>
                  </a:cubicBezTo>
                  <a:cubicBezTo>
                    <a:pt x="66" y="142"/>
                    <a:pt x="67" y="142"/>
                    <a:pt x="67" y="142"/>
                  </a:cubicBezTo>
                  <a:cubicBezTo>
                    <a:pt x="67" y="143"/>
                    <a:pt x="67" y="143"/>
                    <a:pt x="67" y="144"/>
                  </a:cubicBezTo>
                  <a:cubicBezTo>
                    <a:pt x="67" y="144"/>
                    <a:pt x="65" y="146"/>
                    <a:pt x="68" y="146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1" y="147"/>
                    <a:pt x="71" y="147"/>
                    <a:pt x="71" y="147"/>
                  </a:cubicBezTo>
                  <a:cubicBezTo>
                    <a:pt x="71" y="147"/>
                    <a:pt x="70" y="148"/>
                    <a:pt x="71" y="149"/>
                  </a:cubicBezTo>
                  <a:cubicBezTo>
                    <a:pt x="71" y="150"/>
                    <a:pt x="75" y="150"/>
                    <a:pt x="75" y="150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75" y="149"/>
                    <a:pt x="77" y="150"/>
                    <a:pt x="76" y="150"/>
                  </a:cubicBezTo>
                  <a:cubicBezTo>
                    <a:pt x="76" y="151"/>
                    <a:pt x="75" y="151"/>
                    <a:pt x="75" y="151"/>
                  </a:cubicBezTo>
                  <a:cubicBezTo>
                    <a:pt x="75" y="151"/>
                    <a:pt x="75" y="153"/>
                    <a:pt x="76" y="153"/>
                  </a:cubicBezTo>
                  <a:cubicBezTo>
                    <a:pt x="77" y="153"/>
                    <a:pt x="78" y="154"/>
                    <a:pt x="78" y="154"/>
                  </a:cubicBezTo>
                  <a:cubicBezTo>
                    <a:pt x="78" y="154"/>
                    <a:pt x="79" y="154"/>
                    <a:pt x="79" y="155"/>
                  </a:cubicBezTo>
                  <a:cubicBezTo>
                    <a:pt x="80" y="155"/>
                    <a:pt x="80" y="156"/>
                    <a:pt x="80" y="156"/>
                  </a:cubicBezTo>
                  <a:cubicBezTo>
                    <a:pt x="81" y="156"/>
                    <a:pt x="82" y="156"/>
                    <a:pt x="82" y="157"/>
                  </a:cubicBezTo>
                  <a:cubicBezTo>
                    <a:pt x="83" y="157"/>
                    <a:pt x="84" y="158"/>
                    <a:pt x="84" y="157"/>
                  </a:cubicBezTo>
                  <a:cubicBezTo>
                    <a:pt x="84" y="156"/>
                    <a:pt x="85" y="156"/>
                    <a:pt x="84" y="155"/>
                  </a:cubicBezTo>
                  <a:cubicBezTo>
                    <a:pt x="83" y="154"/>
                    <a:pt x="82" y="154"/>
                    <a:pt x="81" y="154"/>
                  </a:cubicBezTo>
                  <a:cubicBezTo>
                    <a:pt x="81" y="154"/>
                    <a:pt x="80" y="154"/>
                    <a:pt x="80" y="153"/>
                  </a:cubicBezTo>
                  <a:cubicBezTo>
                    <a:pt x="79" y="153"/>
                    <a:pt x="79" y="153"/>
                    <a:pt x="79" y="152"/>
                  </a:cubicBezTo>
                  <a:cubicBezTo>
                    <a:pt x="79" y="151"/>
                    <a:pt x="78" y="150"/>
                    <a:pt x="78" y="150"/>
                  </a:cubicBezTo>
                  <a:cubicBezTo>
                    <a:pt x="78" y="150"/>
                    <a:pt x="78" y="148"/>
                    <a:pt x="78" y="148"/>
                  </a:cubicBezTo>
                  <a:cubicBezTo>
                    <a:pt x="77" y="148"/>
                    <a:pt x="77" y="148"/>
                    <a:pt x="76" y="148"/>
                  </a:cubicBezTo>
                  <a:cubicBezTo>
                    <a:pt x="76" y="148"/>
                    <a:pt x="75" y="147"/>
                    <a:pt x="75" y="147"/>
                  </a:cubicBezTo>
                  <a:cubicBezTo>
                    <a:pt x="74" y="147"/>
                    <a:pt x="73" y="147"/>
                    <a:pt x="73" y="147"/>
                  </a:cubicBezTo>
                  <a:cubicBezTo>
                    <a:pt x="73" y="146"/>
                    <a:pt x="74" y="146"/>
                    <a:pt x="74" y="146"/>
                  </a:cubicBezTo>
                  <a:cubicBezTo>
                    <a:pt x="74" y="146"/>
                    <a:pt x="75" y="146"/>
                    <a:pt x="76" y="146"/>
                  </a:cubicBezTo>
                  <a:cubicBezTo>
                    <a:pt x="77" y="147"/>
                    <a:pt x="77" y="146"/>
                    <a:pt x="78" y="147"/>
                  </a:cubicBezTo>
                  <a:cubicBezTo>
                    <a:pt x="79" y="147"/>
                    <a:pt x="78" y="148"/>
                    <a:pt x="79" y="148"/>
                  </a:cubicBezTo>
                  <a:cubicBezTo>
                    <a:pt x="81" y="148"/>
                    <a:pt x="81" y="147"/>
                    <a:pt x="81" y="147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3" y="146"/>
                    <a:pt x="84" y="147"/>
                  </a:cubicBezTo>
                  <a:cubicBezTo>
                    <a:pt x="85" y="147"/>
                    <a:pt x="83" y="148"/>
                    <a:pt x="85" y="148"/>
                  </a:cubicBezTo>
                  <a:cubicBezTo>
                    <a:pt x="87" y="148"/>
                    <a:pt x="88" y="148"/>
                    <a:pt x="88" y="148"/>
                  </a:cubicBezTo>
                  <a:cubicBezTo>
                    <a:pt x="88" y="149"/>
                    <a:pt x="88" y="150"/>
                    <a:pt x="88" y="150"/>
                  </a:cubicBezTo>
                  <a:cubicBezTo>
                    <a:pt x="88" y="150"/>
                    <a:pt x="88" y="151"/>
                    <a:pt x="88" y="151"/>
                  </a:cubicBezTo>
                  <a:cubicBezTo>
                    <a:pt x="89" y="151"/>
                    <a:pt x="91" y="151"/>
                    <a:pt x="91" y="151"/>
                  </a:cubicBezTo>
                  <a:cubicBezTo>
                    <a:pt x="91" y="151"/>
                    <a:pt x="92" y="151"/>
                    <a:pt x="92" y="152"/>
                  </a:cubicBezTo>
                  <a:cubicBezTo>
                    <a:pt x="93" y="153"/>
                    <a:pt x="90" y="154"/>
                    <a:pt x="90" y="154"/>
                  </a:cubicBezTo>
                  <a:cubicBezTo>
                    <a:pt x="90" y="154"/>
                    <a:pt x="89" y="153"/>
                    <a:pt x="89" y="154"/>
                  </a:cubicBezTo>
                  <a:cubicBezTo>
                    <a:pt x="89" y="155"/>
                    <a:pt x="88" y="155"/>
                    <a:pt x="89" y="156"/>
                  </a:cubicBezTo>
                  <a:cubicBezTo>
                    <a:pt x="90" y="156"/>
                    <a:pt x="89" y="156"/>
                    <a:pt x="89" y="156"/>
                  </a:cubicBezTo>
                  <a:cubicBezTo>
                    <a:pt x="88" y="156"/>
                    <a:pt x="87" y="155"/>
                    <a:pt x="88" y="157"/>
                  </a:cubicBezTo>
                  <a:cubicBezTo>
                    <a:pt x="88" y="158"/>
                    <a:pt x="89" y="159"/>
                    <a:pt x="89" y="159"/>
                  </a:cubicBezTo>
                  <a:cubicBezTo>
                    <a:pt x="90" y="159"/>
                    <a:pt x="92" y="159"/>
                    <a:pt x="92" y="159"/>
                  </a:cubicBezTo>
                  <a:cubicBezTo>
                    <a:pt x="93" y="159"/>
                    <a:pt x="94" y="159"/>
                    <a:pt x="93" y="159"/>
                  </a:cubicBezTo>
                  <a:cubicBezTo>
                    <a:pt x="92" y="158"/>
                    <a:pt x="91" y="158"/>
                    <a:pt x="91" y="158"/>
                  </a:cubicBezTo>
                  <a:cubicBezTo>
                    <a:pt x="91" y="158"/>
                    <a:pt x="91" y="158"/>
                    <a:pt x="91" y="157"/>
                  </a:cubicBezTo>
                  <a:cubicBezTo>
                    <a:pt x="91" y="157"/>
                    <a:pt x="92" y="157"/>
                    <a:pt x="92" y="157"/>
                  </a:cubicBezTo>
                  <a:cubicBezTo>
                    <a:pt x="92" y="156"/>
                    <a:pt x="93" y="155"/>
                    <a:pt x="93" y="155"/>
                  </a:cubicBezTo>
                  <a:cubicBezTo>
                    <a:pt x="93" y="155"/>
                    <a:pt x="94" y="153"/>
                    <a:pt x="95" y="154"/>
                  </a:cubicBezTo>
                  <a:cubicBezTo>
                    <a:pt x="95" y="155"/>
                    <a:pt x="95" y="155"/>
                    <a:pt x="96" y="155"/>
                  </a:cubicBezTo>
                  <a:cubicBezTo>
                    <a:pt x="96" y="155"/>
                    <a:pt x="99" y="152"/>
                    <a:pt x="99" y="152"/>
                  </a:cubicBezTo>
                  <a:cubicBezTo>
                    <a:pt x="99" y="152"/>
                    <a:pt x="100" y="152"/>
                    <a:pt x="99" y="153"/>
                  </a:cubicBezTo>
                  <a:cubicBezTo>
                    <a:pt x="99" y="154"/>
                    <a:pt x="98" y="155"/>
                    <a:pt x="99" y="156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0" y="158"/>
                    <a:pt x="99" y="158"/>
                    <a:pt x="100" y="159"/>
                  </a:cubicBezTo>
                  <a:cubicBezTo>
                    <a:pt x="100" y="160"/>
                    <a:pt x="100" y="159"/>
                    <a:pt x="100" y="160"/>
                  </a:cubicBezTo>
                  <a:cubicBezTo>
                    <a:pt x="101" y="161"/>
                    <a:pt x="102" y="163"/>
                    <a:pt x="102" y="163"/>
                  </a:cubicBezTo>
                  <a:cubicBezTo>
                    <a:pt x="102" y="163"/>
                    <a:pt x="101" y="164"/>
                    <a:pt x="102" y="164"/>
                  </a:cubicBezTo>
                  <a:cubicBezTo>
                    <a:pt x="103" y="165"/>
                    <a:pt x="105" y="165"/>
                    <a:pt x="105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5" y="165"/>
                    <a:pt x="106" y="166"/>
                    <a:pt x="107" y="165"/>
                  </a:cubicBezTo>
                  <a:cubicBezTo>
                    <a:pt x="107" y="164"/>
                    <a:pt x="108" y="164"/>
                    <a:pt x="108" y="164"/>
                  </a:cubicBezTo>
                  <a:cubicBezTo>
                    <a:pt x="109" y="164"/>
                    <a:pt x="108" y="164"/>
                    <a:pt x="110" y="164"/>
                  </a:cubicBezTo>
                  <a:cubicBezTo>
                    <a:pt x="112" y="164"/>
                    <a:pt x="112" y="165"/>
                    <a:pt x="113" y="164"/>
                  </a:cubicBezTo>
                  <a:cubicBezTo>
                    <a:pt x="114" y="163"/>
                    <a:pt x="113" y="163"/>
                    <a:pt x="115" y="163"/>
                  </a:cubicBezTo>
                  <a:cubicBezTo>
                    <a:pt x="117" y="163"/>
                    <a:pt x="119" y="162"/>
                    <a:pt x="119" y="162"/>
                  </a:cubicBezTo>
                  <a:cubicBezTo>
                    <a:pt x="119" y="162"/>
                    <a:pt x="122" y="162"/>
                    <a:pt x="122" y="162"/>
                  </a:cubicBezTo>
                  <a:cubicBezTo>
                    <a:pt x="124" y="163"/>
                    <a:pt x="124" y="163"/>
                    <a:pt x="124" y="163"/>
                  </a:cubicBezTo>
                  <a:cubicBezTo>
                    <a:pt x="124" y="163"/>
                    <a:pt x="125" y="164"/>
                    <a:pt x="126" y="164"/>
                  </a:cubicBezTo>
                  <a:cubicBezTo>
                    <a:pt x="126" y="164"/>
                    <a:pt x="127" y="164"/>
                    <a:pt x="128" y="164"/>
                  </a:cubicBezTo>
                  <a:cubicBezTo>
                    <a:pt x="128" y="164"/>
                    <a:pt x="132" y="165"/>
                    <a:pt x="132" y="16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42" y="170"/>
                    <a:pt x="142" y="170"/>
                    <a:pt x="142" y="170"/>
                  </a:cubicBezTo>
                  <a:cubicBezTo>
                    <a:pt x="146" y="174"/>
                    <a:pt x="146" y="174"/>
                    <a:pt x="146" y="174"/>
                  </a:cubicBezTo>
                  <a:cubicBezTo>
                    <a:pt x="151" y="176"/>
                    <a:pt x="151" y="176"/>
                    <a:pt x="151" y="176"/>
                  </a:cubicBezTo>
                  <a:cubicBezTo>
                    <a:pt x="154" y="178"/>
                    <a:pt x="154" y="178"/>
                    <a:pt x="154" y="178"/>
                  </a:cubicBezTo>
                  <a:cubicBezTo>
                    <a:pt x="156" y="180"/>
                    <a:pt x="156" y="180"/>
                    <a:pt x="156" y="180"/>
                  </a:cubicBezTo>
                  <a:cubicBezTo>
                    <a:pt x="156" y="180"/>
                    <a:pt x="159" y="182"/>
                    <a:pt x="159" y="182"/>
                  </a:cubicBezTo>
                  <a:cubicBezTo>
                    <a:pt x="160" y="182"/>
                    <a:pt x="163" y="184"/>
                    <a:pt x="163" y="184"/>
                  </a:cubicBezTo>
                  <a:cubicBezTo>
                    <a:pt x="166" y="186"/>
                    <a:pt x="166" y="186"/>
                    <a:pt x="166" y="186"/>
                  </a:cubicBezTo>
                  <a:cubicBezTo>
                    <a:pt x="166" y="186"/>
                    <a:pt x="167" y="188"/>
                    <a:pt x="167" y="188"/>
                  </a:cubicBezTo>
                  <a:cubicBezTo>
                    <a:pt x="167" y="189"/>
                    <a:pt x="166" y="188"/>
                    <a:pt x="165" y="188"/>
                  </a:cubicBezTo>
                  <a:cubicBezTo>
                    <a:pt x="164" y="189"/>
                    <a:pt x="160" y="187"/>
                    <a:pt x="160" y="187"/>
                  </a:cubicBezTo>
                  <a:cubicBezTo>
                    <a:pt x="158" y="185"/>
                    <a:pt x="158" y="185"/>
                    <a:pt x="158" y="185"/>
                  </a:cubicBezTo>
                  <a:cubicBezTo>
                    <a:pt x="155" y="185"/>
                    <a:pt x="155" y="185"/>
                    <a:pt x="155" y="185"/>
                  </a:cubicBezTo>
                  <a:cubicBezTo>
                    <a:pt x="153" y="184"/>
                    <a:pt x="153" y="184"/>
                    <a:pt x="153" y="184"/>
                  </a:cubicBezTo>
                  <a:cubicBezTo>
                    <a:pt x="149" y="185"/>
                    <a:pt x="149" y="185"/>
                    <a:pt x="149" y="18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46" y="184"/>
                    <a:pt x="145" y="184"/>
                    <a:pt x="146" y="185"/>
                  </a:cubicBezTo>
                  <a:cubicBezTo>
                    <a:pt x="146" y="185"/>
                    <a:pt x="146" y="186"/>
                    <a:pt x="146" y="186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39" y="189"/>
                    <a:pt x="139" y="189"/>
                    <a:pt x="139" y="189"/>
                  </a:cubicBezTo>
                  <a:cubicBezTo>
                    <a:pt x="135" y="189"/>
                    <a:pt x="135" y="189"/>
                    <a:pt x="135" y="189"/>
                  </a:cubicBezTo>
                  <a:cubicBezTo>
                    <a:pt x="132" y="189"/>
                    <a:pt x="132" y="189"/>
                    <a:pt x="132" y="189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28" y="191"/>
                    <a:pt x="132" y="192"/>
                  </a:cubicBezTo>
                  <a:cubicBezTo>
                    <a:pt x="136" y="192"/>
                    <a:pt x="138" y="192"/>
                    <a:pt x="138" y="191"/>
                  </a:cubicBezTo>
                  <a:cubicBezTo>
                    <a:pt x="139" y="191"/>
                    <a:pt x="139" y="190"/>
                    <a:pt x="140" y="190"/>
                  </a:cubicBezTo>
                  <a:cubicBezTo>
                    <a:pt x="141" y="190"/>
                    <a:pt x="143" y="190"/>
                    <a:pt x="144" y="190"/>
                  </a:cubicBezTo>
                  <a:cubicBezTo>
                    <a:pt x="144" y="190"/>
                    <a:pt x="145" y="190"/>
                    <a:pt x="147" y="189"/>
                  </a:cubicBezTo>
                  <a:cubicBezTo>
                    <a:pt x="148" y="189"/>
                    <a:pt x="148" y="188"/>
                    <a:pt x="150" y="189"/>
                  </a:cubicBezTo>
                  <a:cubicBezTo>
                    <a:pt x="152" y="190"/>
                    <a:pt x="151" y="187"/>
                    <a:pt x="151" y="187"/>
                  </a:cubicBezTo>
                  <a:cubicBezTo>
                    <a:pt x="151" y="187"/>
                    <a:pt x="151" y="186"/>
                    <a:pt x="152" y="186"/>
                  </a:cubicBezTo>
                  <a:cubicBezTo>
                    <a:pt x="154" y="187"/>
                    <a:pt x="154" y="187"/>
                    <a:pt x="154" y="187"/>
                  </a:cubicBezTo>
                  <a:cubicBezTo>
                    <a:pt x="155" y="187"/>
                    <a:pt x="157" y="188"/>
                    <a:pt x="157" y="188"/>
                  </a:cubicBezTo>
                  <a:cubicBezTo>
                    <a:pt x="158" y="188"/>
                    <a:pt x="162" y="189"/>
                    <a:pt x="162" y="189"/>
                  </a:cubicBezTo>
                  <a:cubicBezTo>
                    <a:pt x="162" y="189"/>
                    <a:pt x="163" y="192"/>
                    <a:pt x="163" y="192"/>
                  </a:cubicBezTo>
                  <a:cubicBezTo>
                    <a:pt x="164" y="192"/>
                    <a:pt x="167" y="192"/>
                    <a:pt x="168" y="192"/>
                  </a:cubicBezTo>
                  <a:cubicBezTo>
                    <a:pt x="169" y="192"/>
                    <a:pt x="171" y="192"/>
                    <a:pt x="172" y="193"/>
                  </a:cubicBezTo>
                  <a:cubicBezTo>
                    <a:pt x="173" y="194"/>
                    <a:pt x="174" y="194"/>
                    <a:pt x="174" y="194"/>
                  </a:cubicBezTo>
                  <a:cubicBezTo>
                    <a:pt x="174" y="194"/>
                    <a:pt x="175" y="195"/>
                    <a:pt x="176" y="196"/>
                  </a:cubicBezTo>
                  <a:cubicBezTo>
                    <a:pt x="176" y="196"/>
                    <a:pt x="179" y="198"/>
                    <a:pt x="179" y="198"/>
                  </a:cubicBezTo>
                  <a:cubicBezTo>
                    <a:pt x="179" y="198"/>
                    <a:pt x="184" y="200"/>
                    <a:pt x="184" y="200"/>
                  </a:cubicBezTo>
                  <a:cubicBezTo>
                    <a:pt x="185" y="199"/>
                    <a:pt x="185" y="199"/>
                    <a:pt x="185" y="199"/>
                  </a:cubicBezTo>
                  <a:cubicBezTo>
                    <a:pt x="185" y="198"/>
                    <a:pt x="185" y="197"/>
                    <a:pt x="185" y="197"/>
                  </a:cubicBezTo>
                  <a:cubicBezTo>
                    <a:pt x="184" y="196"/>
                    <a:pt x="180" y="195"/>
                    <a:pt x="180" y="195"/>
                  </a:cubicBezTo>
                  <a:cubicBezTo>
                    <a:pt x="180" y="195"/>
                    <a:pt x="178" y="194"/>
                    <a:pt x="178" y="194"/>
                  </a:cubicBezTo>
                  <a:cubicBezTo>
                    <a:pt x="177" y="189"/>
                    <a:pt x="178" y="193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5" y="192"/>
                    <a:pt x="175" y="192"/>
                    <a:pt x="175" y="192"/>
                  </a:cubicBezTo>
                  <a:cubicBezTo>
                    <a:pt x="173" y="193"/>
                    <a:pt x="173" y="192"/>
                    <a:pt x="173" y="192"/>
                  </a:cubicBezTo>
                  <a:cubicBezTo>
                    <a:pt x="173" y="191"/>
                    <a:pt x="173" y="191"/>
                    <a:pt x="173" y="191"/>
                  </a:cubicBezTo>
                  <a:cubicBezTo>
                    <a:pt x="172" y="190"/>
                    <a:pt x="172" y="190"/>
                    <a:pt x="172" y="190"/>
                  </a:cubicBezTo>
                  <a:cubicBezTo>
                    <a:pt x="172" y="190"/>
                    <a:pt x="171" y="188"/>
                    <a:pt x="172" y="187"/>
                  </a:cubicBezTo>
                  <a:cubicBezTo>
                    <a:pt x="173" y="187"/>
                    <a:pt x="171" y="192"/>
                    <a:pt x="175" y="186"/>
                  </a:cubicBezTo>
                  <a:cubicBezTo>
                    <a:pt x="175" y="186"/>
                    <a:pt x="175" y="185"/>
                    <a:pt x="175" y="185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71" y="185"/>
                    <a:pt x="171" y="186"/>
                    <a:pt x="170" y="187"/>
                  </a:cubicBezTo>
                  <a:cubicBezTo>
                    <a:pt x="169" y="188"/>
                    <a:pt x="169" y="187"/>
                    <a:pt x="169" y="187"/>
                  </a:cubicBezTo>
                  <a:cubicBezTo>
                    <a:pt x="169" y="186"/>
                    <a:pt x="169" y="186"/>
                    <a:pt x="169" y="186"/>
                  </a:cubicBezTo>
                  <a:cubicBezTo>
                    <a:pt x="170" y="185"/>
                    <a:pt x="170" y="185"/>
                    <a:pt x="170" y="185"/>
                  </a:cubicBezTo>
                  <a:cubicBezTo>
                    <a:pt x="170" y="185"/>
                    <a:pt x="170" y="182"/>
                    <a:pt x="170" y="181"/>
                  </a:cubicBezTo>
                  <a:cubicBezTo>
                    <a:pt x="170" y="181"/>
                    <a:pt x="170" y="181"/>
                    <a:pt x="170" y="181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65" y="177"/>
                    <a:pt x="165" y="177"/>
                    <a:pt x="165" y="177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58" y="171"/>
                    <a:pt x="158" y="171"/>
                    <a:pt x="158" y="171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4" y="168"/>
                    <a:pt x="154" y="168"/>
                    <a:pt x="154" y="168"/>
                  </a:cubicBezTo>
                  <a:cubicBezTo>
                    <a:pt x="154" y="166"/>
                    <a:pt x="154" y="166"/>
                    <a:pt x="154" y="166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53" y="162"/>
                    <a:pt x="153" y="162"/>
                  </a:cubicBezTo>
                  <a:cubicBezTo>
                    <a:pt x="153" y="162"/>
                    <a:pt x="149" y="161"/>
                    <a:pt x="147" y="160"/>
                  </a:cubicBezTo>
                  <a:cubicBezTo>
                    <a:pt x="145" y="159"/>
                    <a:pt x="145" y="159"/>
                    <a:pt x="145" y="159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2" y="155"/>
                    <a:pt x="142" y="155"/>
                    <a:pt x="142" y="155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6" y="144"/>
                    <a:pt x="126" y="144"/>
                    <a:pt x="126" y="144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18" y="135"/>
                    <a:pt x="118" y="135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11" y="127"/>
                    <a:pt x="111" y="127"/>
                    <a:pt x="111" y="127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08" y="119"/>
                    <a:pt x="107" y="119"/>
                    <a:pt x="107" y="118"/>
                  </a:cubicBezTo>
                  <a:cubicBezTo>
                    <a:pt x="106" y="118"/>
                    <a:pt x="104" y="117"/>
                    <a:pt x="105" y="116"/>
                  </a:cubicBezTo>
                  <a:cubicBezTo>
                    <a:pt x="105" y="115"/>
                    <a:pt x="104" y="114"/>
                    <a:pt x="104" y="112"/>
                  </a:cubicBezTo>
                  <a:cubicBezTo>
                    <a:pt x="104" y="111"/>
                    <a:pt x="104" y="110"/>
                    <a:pt x="103" y="110"/>
                  </a:cubicBezTo>
                  <a:cubicBezTo>
                    <a:pt x="102" y="109"/>
                    <a:pt x="102" y="109"/>
                    <a:pt x="102" y="109"/>
                  </a:cubicBezTo>
                  <a:cubicBezTo>
                    <a:pt x="101" y="109"/>
                    <a:pt x="100" y="109"/>
                    <a:pt x="100" y="109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9" y="109"/>
                    <a:pt x="100" y="107"/>
                    <a:pt x="100" y="105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104"/>
                    <a:pt x="96" y="101"/>
                    <a:pt x="94" y="100"/>
                  </a:cubicBezTo>
                  <a:cubicBezTo>
                    <a:pt x="92" y="100"/>
                    <a:pt x="92" y="100"/>
                    <a:pt x="92" y="100"/>
                  </a:cubicBezTo>
                  <a:cubicBezTo>
                    <a:pt x="91" y="101"/>
                    <a:pt x="91" y="102"/>
                    <a:pt x="91" y="102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7" y="98"/>
                    <a:pt x="87" y="97"/>
                    <a:pt x="88" y="95"/>
                  </a:cubicBezTo>
                  <a:cubicBezTo>
                    <a:pt x="90" y="93"/>
                    <a:pt x="88" y="92"/>
                    <a:pt x="88" y="92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6"/>
                    <a:pt x="87" y="86"/>
                    <a:pt x="87" y="86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8" y="81"/>
                    <a:pt x="87" y="77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8" y="75"/>
                    <a:pt x="89" y="75"/>
                  </a:cubicBezTo>
                  <a:cubicBezTo>
                    <a:pt x="89" y="74"/>
                    <a:pt x="94" y="73"/>
                    <a:pt x="94" y="7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7" y="83"/>
                    <a:pt x="107" y="83"/>
                    <a:pt x="107" y="83"/>
                  </a:cubicBezTo>
                  <a:cubicBezTo>
                    <a:pt x="107" y="83"/>
                    <a:pt x="108" y="82"/>
                    <a:pt x="109" y="82"/>
                  </a:cubicBezTo>
                  <a:cubicBezTo>
                    <a:pt x="109" y="81"/>
                    <a:pt x="109" y="79"/>
                    <a:pt x="109" y="79"/>
                  </a:cubicBezTo>
                  <a:cubicBezTo>
                    <a:pt x="111" y="77"/>
                    <a:pt x="111" y="77"/>
                    <a:pt x="111" y="77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4" y="71"/>
                    <a:pt x="125" y="71"/>
                  </a:cubicBezTo>
                  <a:cubicBezTo>
                    <a:pt x="125" y="71"/>
                    <a:pt x="126" y="71"/>
                    <a:pt x="126" y="71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6" y="70"/>
                    <a:pt x="136" y="70"/>
                    <a:pt x="136" y="70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1" y="71"/>
                    <a:pt x="141" y="71"/>
                    <a:pt x="141" y="71"/>
                  </a:cubicBezTo>
                  <a:cubicBezTo>
                    <a:pt x="143" y="71"/>
                    <a:pt x="143" y="71"/>
                    <a:pt x="143" y="71"/>
                  </a:cubicBezTo>
                  <a:cubicBezTo>
                    <a:pt x="143" y="70"/>
                    <a:pt x="143" y="70"/>
                    <a:pt x="143" y="70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52" y="71"/>
                    <a:pt x="152" y="71"/>
                    <a:pt x="152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63" y="72"/>
                    <a:pt x="163" y="72"/>
                    <a:pt x="163" y="72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65" y="73"/>
                    <a:pt x="165" y="73"/>
                    <a:pt x="166" y="72"/>
                  </a:cubicBezTo>
                  <a:cubicBezTo>
                    <a:pt x="166" y="72"/>
                    <a:pt x="169" y="72"/>
                    <a:pt x="169" y="72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2" y="71"/>
                    <a:pt x="174" y="71"/>
                    <a:pt x="174" y="71"/>
                  </a:cubicBezTo>
                  <a:cubicBezTo>
                    <a:pt x="175" y="68"/>
                    <a:pt x="175" y="68"/>
                    <a:pt x="175" y="68"/>
                  </a:cubicBezTo>
                  <a:cubicBezTo>
                    <a:pt x="176" y="69"/>
                    <a:pt x="176" y="69"/>
                    <a:pt x="176" y="69"/>
                  </a:cubicBezTo>
                  <a:cubicBezTo>
                    <a:pt x="177" y="69"/>
                    <a:pt x="177" y="69"/>
                    <a:pt x="178" y="69"/>
                  </a:cubicBezTo>
                  <a:cubicBezTo>
                    <a:pt x="179" y="69"/>
                    <a:pt x="180" y="68"/>
                    <a:pt x="180" y="68"/>
                  </a:cubicBezTo>
                  <a:cubicBezTo>
                    <a:pt x="180" y="68"/>
                    <a:pt x="181" y="69"/>
                    <a:pt x="181" y="69"/>
                  </a:cubicBezTo>
                  <a:cubicBezTo>
                    <a:pt x="181" y="69"/>
                    <a:pt x="182" y="68"/>
                    <a:pt x="183" y="68"/>
                  </a:cubicBezTo>
                  <a:cubicBezTo>
                    <a:pt x="185" y="68"/>
                    <a:pt x="186" y="67"/>
                    <a:pt x="186" y="67"/>
                  </a:cubicBezTo>
                  <a:cubicBezTo>
                    <a:pt x="186" y="67"/>
                    <a:pt x="187" y="69"/>
                    <a:pt x="189" y="70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91" y="70"/>
                    <a:pt x="192" y="69"/>
                    <a:pt x="193" y="69"/>
                  </a:cubicBezTo>
                  <a:cubicBezTo>
                    <a:pt x="195" y="69"/>
                    <a:pt x="196" y="69"/>
                    <a:pt x="197" y="69"/>
                  </a:cubicBezTo>
                  <a:cubicBezTo>
                    <a:pt x="199" y="69"/>
                    <a:pt x="200" y="71"/>
                    <a:pt x="200" y="71"/>
                  </a:cubicBezTo>
                  <a:cubicBezTo>
                    <a:pt x="203" y="74"/>
                    <a:pt x="203" y="74"/>
                    <a:pt x="203" y="74"/>
                  </a:cubicBezTo>
                  <a:cubicBezTo>
                    <a:pt x="203" y="74"/>
                    <a:pt x="204" y="76"/>
                    <a:pt x="204" y="77"/>
                  </a:cubicBezTo>
                  <a:cubicBezTo>
                    <a:pt x="205" y="78"/>
                    <a:pt x="205" y="79"/>
                    <a:pt x="205" y="79"/>
                  </a:cubicBezTo>
                  <a:cubicBezTo>
                    <a:pt x="205" y="79"/>
                    <a:pt x="213" y="82"/>
                    <a:pt x="214" y="82"/>
                  </a:cubicBezTo>
                  <a:cubicBezTo>
                    <a:pt x="214" y="82"/>
                    <a:pt x="215" y="82"/>
                    <a:pt x="215" y="82"/>
                  </a:cubicBezTo>
                  <a:close/>
                  <a:moveTo>
                    <a:pt x="175" y="191"/>
                  </a:moveTo>
                  <a:cubicBezTo>
                    <a:pt x="175" y="191"/>
                    <a:pt x="175" y="191"/>
                    <a:pt x="175" y="191"/>
                  </a:cubicBezTo>
                  <a:cubicBezTo>
                    <a:pt x="176" y="191"/>
                    <a:pt x="176" y="190"/>
                    <a:pt x="176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79" y="190"/>
                    <a:pt x="179" y="190"/>
                    <a:pt x="179" y="190"/>
                  </a:cubicBezTo>
                  <a:cubicBezTo>
                    <a:pt x="182" y="191"/>
                    <a:pt x="182" y="191"/>
                    <a:pt x="182" y="191"/>
                  </a:cubicBezTo>
                  <a:cubicBezTo>
                    <a:pt x="184" y="193"/>
                    <a:pt x="184" y="193"/>
                    <a:pt x="184" y="193"/>
                  </a:cubicBezTo>
                  <a:cubicBezTo>
                    <a:pt x="185" y="195"/>
                    <a:pt x="185" y="195"/>
                    <a:pt x="185" y="195"/>
                  </a:cubicBezTo>
                  <a:cubicBezTo>
                    <a:pt x="187" y="197"/>
                    <a:pt x="187" y="197"/>
                    <a:pt x="187" y="197"/>
                  </a:cubicBezTo>
                  <a:cubicBezTo>
                    <a:pt x="192" y="200"/>
                    <a:pt x="192" y="200"/>
                    <a:pt x="192" y="200"/>
                  </a:cubicBezTo>
                  <a:cubicBezTo>
                    <a:pt x="198" y="203"/>
                    <a:pt x="198" y="203"/>
                    <a:pt x="198" y="203"/>
                  </a:cubicBezTo>
                  <a:cubicBezTo>
                    <a:pt x="198" y="203"/>
                    <a:pt x="202" y="205"/>
                    <a:pt x="203" y="205"/>
                  </a:cubicBezTo>
                  <a:cubicBezTo>
                    <a:pt x="203" y="205"/>
                    <a:pt x="203" y="206"/>
                    <a:pt x="204" y="206"/>
                  </a:cubicBezTo>
                  <a:cubicBezTo>
                    <a:pt x="204" y="207"/>
                    <a:pt x="206" y="210"/>
                    <a:pt x="206" y="210"/>
                  </a:cubicBezTo>
                  <a:cubicBezTo>
                    <a:pt x="207" y="211"/>
                    <a:pt x="204" y="209"/>
                    <a:pt x="204" y="209"/>
                  </a:cubicBezTo>
                  <a:cubicBezTo>
                    <a:pt x="204" y="209"/>
                    <a:pt x="203" y="207"/>
                    <a:pt x="202" y="206"/>
                  </a:cubicBezTo>
                  <a:cubicBezTo>
                    <a:pt x="200" y="206"/>
                    <a:pt x="198" y="206"/>
                    <a:pt x="197" y="205"/>
                  </a:cubicBezTo>
                  <a:cubicBezTo>
                    <a:pt x="196" y="204"/>
                    <a:pt x="196" y="203"/>
                    <a:pt x="196" y="203"/>
                  </a:cubicBezTo>
                  <a:cubicBezTo>
                    <a:pt x="195" y="203"/>
                    <a:pt x="195" y="201"/>
                    <a:pt x="192" y="201"/>
                  </a:cubicBezTo>
                  <a:cubicBezTo>
                    <a:pt x="189" y="200"/>
                    <a:pt x="189" y="201"/>
                    <a:pt x="188" y="199"/>
                  </a:cubicBezTo>
                  <a:cubicBezTo>
                    <a:pt x="187" y="196"/>
                    <a:pt x="187" y="198"/>
                    <a:pt x="186" y="196"/>
                  </a:cubicBezTo>
                  <a:cubicBezTo>
                    <a:pt x="184" y="195"/>
                    <a:pt x="185" y="196"/>
                    <a:pt x="181" y="195"/>
                  </a:cubicBezTo>
                  <a:cubicBezTo>
                    <a:pt x="178" y="193"/>
                    <a:pt x="180" y="194"/>
                    <a:pt x="180" y="193"/>
                  </a:cubicBezTo>
                  <a:cubicBezTo>
                    <a:pt x="179" y="191"/>
                    <a:pt x="180" y="192"/>
                    <a:pt x="178" y="192"/>
                  </a:cubicBezTo>
                  <a:cubicBezTo>
                    <a:pt x="177" y="191"/>
                    <a:pt x="178" y="191"/>
                    <a:pt x="177" y="191"/>
                  </a:cubicBezTo>
                  <a:cubicBezTo>
                    <a:pt x="177" y="191"/>
                    <a:pt x="176" y="192"/>
                    <a:pt x="175" y="192"/>
                  </a:cubicBezTo>
                  <a:cubicBezTo>
                    <a:pt x="175" y="191"/>
                    <a:pt x="175" y="191"/>
                    <a:pt x="175" y="191"/>
                  </a:cubicBezTo>
                  <a:close/>
                  <a:moveTo>
                    <a:pt x="169" y="198"/>
                  </a:moveTo>
                  <a:cubicBezTo>
                    <a:pt x="169" y="198"/>
                    <a:pt x="169" y="198"/>
                    <a:pt x="169" y="198"/>
                  </a:cubicBezTo>
                  <a:cubicBezTo>
                    <a:pt x="169" y="198"/>
                    <a:pt x="167" y="198"/>
                    <a:pt x="166" y="198"/>
                  </a:cubicBezTo>
                  <a:cubicBezTo>
                    <a:pt x="166" y="198"/>
                    <a:pt x="165" y="197"/>
                    <a:pt x="164" y="197"/>
                  </a:cubicBezTo>
                  <a:cubicBezTo>
                    <a:pt x="163" y="197"/>
                    <a:pt x="161" y="197"/>
                    <a:pt x="161" y="197"/>
                  </a:cubicBezTo>
                  <a:cubicBezTo>
                    <a:pt x="160" y="197"/>
                    <a:pt x="159" y="196"/>
                    <a:pt x="159" y="196"/>
                  </a:cubicBezTo>
                  <a:cubicBezTo>
                    <a:pt x="159" y="196"/>
                    <a:pt x="159" y="195"/>
                    <a:pt x="159" y="195"/>
                  </a:cubicBezTo>
                  <a:cubicBezTo>
                    <a:pt x="159" y="195"/>
                    <a:pt x="161" y="194"/>
                    <a:pt x="161" y="194"/>
                  </a:cubicBezTo>
                  <a:cubicBezTo>
                    <a:pt x="161" y="195"/>
                    <a:pt x="167" y="196"/>
                    <a:pt x="167" y="196"/>
                  </a:cubicBezTo>
                  <a:cubicBezTo>
                    <a:pt x="171" y="196"/>
                    <a:pt x="171" y="196"/>
                    <a:pt x="171" y="196"/>
                  </a:cubicBezTo>
                  <a:cubicBezTo>
                    <a:pt x="171" y="196"/>
                    <a:pt x="172" y="196"/>
                    <a:pt x="172" y="196"/>
                  </a:cubicBezTo>
                  <a:cubicBezTo>
                    <a:pt x="172" y="196"/>
                    <a:pt x="173" y="196"/>
                    <a:pt x="174" y="197"/>
                  </a:cubicBezTo>
                  <a:cubicBezTo>
                    <a:pt x="175" y="197"/>
                    <a:pt x="175" y="197"/>
                    <a:pt x="175" y="198"/>
                  </a:cubicBezTo>
                  <a:cubicBezTo>
                    <a:pt x="175" y="198"/>
                    <a:pt x="176" y="199"/>
                    <a:pt x="175" y="199"/>
                  </a:cubicBezTo>
                  <a:cubicBezTo>
                    <a:pt x="175" y="199"/>
                    <a:pt x="174" y="199"/>
                    <a:pt x="174" y="199"/>
                  </a:cubicBezTo>
                  <a:cubicBezTo>
                    <a:pt x="174" y="199"/>
                    <a:pt x="172" y="198"/>
                    <a:pt x="172" y="198"/>
                  </a:cubicBezTo>
                  <a:cubicBezTo>
                    <a:pt x="170" y="198"/>
                    <a:pt x="170" y="198"/>
                    <a:pt x="170" y="198"/>
                  </a:cubicBezTo>
                  <a:cubicBezTo>
                    <a:pt x="169" y="198"/>
                    <a:pt x="169" y="198"/>
                    <a:pt x="169" y="198"/>
                  </a:cubicBezTo>
                  <a:close/>
                  <a:moveTo>
                    <a:pt x="138" y="199"/>
                  </a:moveTo>
                  <a:cubicBezTo>
                    <a:pt x="138" y="199"/>
                    <a:pt x="138" y="199"/>
                    <a:pt x="138" y="199"/>
                  </a:cubicBezTo>
                  <a:cubicBezTo>
                    <a:pt x="138" y="199"/>
                    <a:pt x="142" y="198"/>
                    <a:pt x="142" y="198"/>
                  </a:cubicBezTo>
                  <a:cubicBezTo>
                    <a:pt x="144" y="199"/>
                    <a:pt x="144" y="199"/>
                    <a:pt x="144" y="199"/>
                  </a:cubicBezTo>
                  <a:cubicBezTo>
                    <a:pt x="144" y="199"/>
                    <a:pt x="144" y="200"/>
                    <a:pt x="143" y="200"/>
                  </a:cubicBezTo>
                  <a:cubicBezTo>
                    <a:pt x="143" y="200"/>
                    <a:pt x="141" y="202"/>
                    <a:pt x="141" y="202"/>
                  </a:cubicBezTo>
                  <a:cubicBezTo>
                    <a:pt x="138" y="200"/>
                    <a:pt x="138" y="200"/>
                    <a:pt x="138" y="200"/>
                  </a:cubicBezTo>
                  <a:cubicBezTo>
                    <a:pt x="138" y="199"/>
                    <a:pt x="138" y="199"/>
                    <a:pt x="138" y="199"/>
                  </a:cubicBezTo>
                  <a:close/>
                  <a:moveTo>
                    <a:pt x="107" y="194"/>
                  </a:moveTo>
                  <a:cubicBezTo>
                    <a:pt x="107" y="194"/>
                    <a:pt x="107" y="194"/>
                    <a:pt x="107" y="194"/>
                  </a:cubicBezTo>
                  <a:cubicBezTo>
                    <a:pt x="108" y="194"/>
                    <a:pt x="109" y="193"/>
                    <a:pt x="109" y="194"/>
                  </a:cubicBezTo>
                  <a:cubicBezTo>
                    <a:pt x="109" y="195"/>
                    <a:pt x="108" y="196"/>
                    <a:pt x="108" y="196"/>
                  </a:cubicBezTo>
                  <a:cubicBezTo>
                    <a:pt x="108" y="196"/>
                    <a:pt x="107" y="196"/>
                    <a:pt x="107" y="196"/>
                  </a:cubicBezTo>
                  <a:cubicBezTo>
                    <a:pt x="107" y="195"/>
                    <a:pt x="107" y="194"/>
                    <a:pt x="107" y="194"/>
                  </a:cubicBezTo>
                  <a:close/>
                  <a:moveTo>
                    <a:pt x="113" y="189"/>
                  </a:moveTo>
                  <a:cubicBezTo>
                    <a:pt x="113" y="189"/>
                    <a:pt x="113" y="189"/>
                    <a:pt x="113" y="189"/>
                  </a:cubicBezTo>
                  <a:cubicBezTo>
                    <a:pt x="113" y="189"/>
                    <a:pt x="115" y="188"/>
                    <a:pt x="115" y="188"/>
                  </a:cubicBezTo>
                  <a:cubicBezTo>
                    <a:pt x="116" y="189"/>
                    <a:pt x="117" y="189"/>
                    <a:pt x="116" y="190"/>
                  </a:cubicBezTo>
                  <a:cubicBezTo>
                    <a:pt x="116" y="190"/>
                    <a:pt x="116" y="190"/>
                    <a:pt x="115" y="191"/>
                  </a:cubicBezTo>
                  <a:cubicBezTo>
                    <a:pt x="114" y="192"/>
                    <a:pt x="112" y="193"/>
                    <a:pt x="112" y="193"/>
                  </a:cubicBezTo>
                  <a:cubicBezTo>
                    <a:pt x="112" y="193"/>
                    <a:pt x="112" y="193"/>
                    <a:pt x="111" y="193"/>
                  </a:cubicBezTo>
                  <a:cubicBezTo>
                    <a:pt x="109" y="192"/>
                    <a:pt x="108" y="191"/>
                    <a:pt x="108" y="191"/>
                  </a:cubicBezTo>
                  <a:cubicBezTo>
                    <a:pt x="108" y="191"/>
                    <a:pt x="107" y="190"/>
                    <a:pt x="109" y="190"/>
                  </a:cubicBezTo>
                  <a:cubicBezTo>
                    <a:pt x="110" y="189"/>
                    <a:pt x="111" y="189"/>
                    <a:pt x="111" y="189"/>
                  </a:cubicBezTo>
                  <a:cubicBezTo>
                    <a:pt x="112" y="189"/>
                    <a:pt x="113" y="189"/>
                    <a:pt x="113" y="189"/>
                  </a:cubicBezTo>
                  <a:close/>
                  <a:moveTo>
                    <a:pt x="124" y="178"/>
                  </a:moveTo>
                  <a:cubicBezTo>
                    <a:pt x="124" y="178"/>
                    <a:pt x="124" y="178"/>
                    <a:pt x="124" y="178"/>
                  </a:cubicBezTo>
                  <a:cubicBezTo>
                    <a:pt x="124" y="178"/>
                    <a:pt x="126" y="177"/>
                    <a:pt x="126" y="177"/>
                  </a:cubicBezTo>
                  <a:cubicBezTo>
                    <a:pt x="126" y="177"/>
                    <a:pt x="126" y="177"/>
                    <a:pt x="127" y="177"/>
                  </a:cubicBezTo>
                  <a:cubicBezTo>
                    <a:pt x="127" y="177"/>
                    <a:pt x="127" y="177"/>
                    <a:pt x="128" y="177"/>
                  </a:cubicBezTo>
                  <a:cubicBezTo>
                    <a:pt x="128" y="177"/>
                    <a:pt x="129" y="176"/>
                    <a:pt x="130" y="177"/>
                  </a:cubicBezTo>
                  <a:cubicBezTo>
                    <a:pt x="131" y="177"/>
                    <a:pt x="131" y="178"/>
                    <a:pt x="132" y="178"/>
                  </a:cubicBezTo>
                  <a:cubicBezTo>
                    <a:pt x="132" y="178"/>
                    <a:pt x="133" y="178"/>
                    <a:pt x="133" y="178"/>
                  </a:cubicBezTo>
                  <a:cubicBezTo>
                    <a:pt x="134" y="178"/>
                    <a:pt x="134" y="178"/>
                    <a:pt x="136" y="178"/>
                  </a:cubicBezTo>
                  <a:cubicBezTo>
                    <a:pt x="138" y="178"/>
                    <a:pt x="141" y="178"/>
                    <a:pt x="141" y="178"/>
                  </a:cubicBezTo>
                  <a:cubicBezTo>
                    <a:pt x="141" y="179"/>
                    <a:pt x="142" y="178"/>
                    <a:pt x="143" y="178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6" y="179"/>
                    <a:pt x="145" y="180"/>
                    <a:pt x="147" y="179"/>
                  </a:cubicBezTo>
                  <a:cubicBezTo>
                    <a:pt x="148" y="179"/>
                    <a:pt x="148" y="179"/>
                    <a:pt x="148" y="179"/>
                  </a:cubicBezTo>
                  <a:cubicBezTo>
                    <a:pt x="148" y="179"/>
                    <a:pt x="148" y="179"/>
                    <a:pt x="149" y="178"/>
                  </a:cubicBezTo>
                  <a:cubicBezTo>
                    <a:pt x="150" y="178"/>
                    <a:pt x="151" y="177"/>
                    <a:pt x="151" y="177"/>
                  </a:cubicBezTo>
                  <a:cubicBezTo>
                    <a:pt x="152" y="177"/>
                    <a:pt x="152" y="177"/>
                    <a:pt x="152" y="177"/>
                  </a:cubicBezTo>
                  <a:cubicBezTo>
                    <a:pt x="152" y="180"/>
                    <a:pt x="152" y="180"/>
                    <a:pt x="152" y="180"/>
                  </a:cubicBezTo>
                  <a:cubicBezTo>
                    <a:pt x="152" y="180"/>
                    <a:pt x="152" y="180"/>
                    <a:pt x="152" y="181"/>
                  </a:cubicBezTo>
                  <a:cubicBezTo>
                    <a:pt x="152" y="181"/>
                    <a:pt x="151" y="182"/>
                    <a:pt x="150" y="182"/>
                  </a:cubicBezTo>
                  <a:cubicBezTo>
                    <a:pt x="150" y="182"/>
                    <a:pt x="149" y="181"/>
                    <a:pt x="149" y="181"/>
                  </a:cubicBezTo>
                  <a:cubicBezTo>
                    <a:pt x="149" y="180"/>
                    <a:pt x="148" y="180"/>
                    <a:pt x="148" y="180"/>
                  </a:cubicBezTo>
                  <a:cubicBezTo>
                    <a:pt x="147" y="180"/>
                    <a:pt x="146" y="181"/>
                    <a:pt x="145" y="181"/>
                  </a:cubicBezTo>
                  <a:cubicBezTo>
                    <a:pt x="145" y="181"/>
                    <a:pt x="144" y="180"/>
                    <a:pt x="144" y="180"/>
                  </a:cubicBezTo>
                  <a:cubicBezTo>
                    <a:pt x="144" y="180"/>
                    <a:pt x="142" y="180"/>
                    <a:pt x="141" y="180"/>
                  </a:cubicBezTo>
                  <a:cubicBezTo>
                    <a:pt x="141" y="180"/>
                    <a:pt x="140" y="180"/>
                    <a:pt x="139" y="180"/>
                  </a:cubicBezTo>
                  <a:cubicBezTo>
                    <a:pt x="138" y="180"/>
                    <a:pt x="137" y="180"/>
                    <a:pt x="136" y="180"/>
                  </a:cubicBezTo>
                  <a:cubicBezTo>
                    <a:pt x="135" y="181"/>
                    <a:pt x="133" y="180"/>
                    <a:pt x="133" y="181"/>
                  </a:cubicBezTo>
                  <a:cubicBezTo>
                    <a:pt x="133" y="181"/>
                    <a:pt x="133" y="182"/>
                    <a:pt x="133" y="182"/>
                  </a:cubicBezTo>
                  <a:cubicBezTo>
                    <a:pt x="133" y="182"/>
                    <a:pt x="134" y="183"/>
                    <a:pt x="133" y="183"/>
                  </a:cubicBezTo>
                  <a:cubicBezTo>
                    <a:pt x="131" y="183"/>
                    <a:pt x="131" y="183"/>
                    <a:pt x="131" y="182"/>
                  </a:cubicBezTo>
                  <a:cubicBezTo>
                    <a:pt x="130" y="181"/>
                    <a:pt x="132" y="180"/>
                    <a:pt x="129" y="181"/>
                  </a:cubicBezTo>
                  <a:cubicBezTo>
                    <a:pt x="127" y="181"/>
                    <a:pt x="127" y="180"/>
                    <a:pt x="126" y="180"/>
                  </a:cubicBezTo>
                  <a:cubicBezTo>
                    <a:pt x="126" y="181"/>
                    <a:pt x="124" y="179"/>
                    <a:pt x="123" y="180"/>
                  </a:cubicBezTo>
                  <a:cubicBezTo>
                    <a:pt x="123" y="180"/>
                    <a:pt x="122" y="181"/>
                    <a:pt x="122" y="181"/>
                  </a:cubicBezTo>
                  <a:cubicBezTo>
                    <a:pt x="122" y="181"/>
                    <a:pt x="119" y="181"/>
                    <a:pt x="119" y="181"/>
                  </a:cubicBezTo>
                  <a:cubicBezTo>
                    <a:pt x="119" y="181"/>
                    <a:pt x="120" y="178"/>
                    <a:pt x="120" y="178"/>
                  </a:cubicBezTo>
                  <a:cubicBezTo>
                    <a:pt x="120" y="178"/>
                    <a:pt x="120" y="178"/>
                    <a:pt x="121" y="178"/>
                  </a:cubicBezTo>
                  <a:cubicBezTo>
                    <a:pt x="122" y="178"/>
                    <a:pt x="123" y="178"/>
                    <a:pt x="123" y="178"/>
                  </a:cubicBezTo>
                  <a:cubicBezTo>
                    <a:pt x="124" y="178"/>
                    <a:pt x="124" y="178"/>
                    <a:pt x="124" y="178"/>
                  </a:cubicBezTo>
                  <a:close/>
                  <a:moveTo>
                    <a:pt x="120" y="172"/>
                  </a:moveTo>
                  <a:cubicBezTo>
                    <a:pt x="120" y="172"/>
                    <a:pt x="120" y="172"/>
                    <a:pt x="120" y="172"/>
                  </a:cubicBezTo>
                  <a:cubicBezTo>
                    <a:pt x="120" y="172"/>
                    <a:pt x="116" y="170"/>
                    <a:pt x="116" y="170"/>
                  </a:cubicBezTo>
                  <a:cubicBezTo>
                    <a:pt x="115" y="170"/>
                    <a:pt x="114" y="170"/>
                    <a:pt x="113" y="170"/>
                  </a:cubicBezTo>
                  <a:cubicBezTo>
                    <a:pt x="113" y="170"/>
                    <a:pt x="111" y="169"/>
                    <a:pt x="112" y="168"/>
                  </a:cubicBezTo>
                  <a:cubicBezTo>
                    <a:pt x="112" y="168"/>
                    <a:pt x="113" y="167"/>
                    <a:pt x="114" y="168"/>
                  </a:cubicBezTo>
                  <a:cubicBezTo>
                    <a:pt x="115" y="169"/>
                    <a:pt x="116" y="169"/>
                    <a:pt x="116" y="170"/>
                  </a:cubicBezTo>
                  <a:cubicBezTo>
                    <a:pt x="117" y="170"/>
                    <a:pt x="119" y="171"/>
                    <a:pt x="119" y="171"/>
                  </a:cubicBezTo>
                  <a:cubicBezTo>
                    <a:pt x="120" y="171"/>
                    <a:pt x="120" y="172"/>
                    <a:pt x="120" y="171"/>
                  </a:cubicBezTo>
                  <a:cubicBezTo>
                    <a:pt x="121" y="171"/>
                    <a:pt x="121" y="169"/>
                    <a:pt x="121" y="169"/>
                  </a:cubicBezTo>
                  <a:cubicBezTo>
                    <a:pt x="121" y="168"/>
                    <a:pt x="120" y="168"/>
                    <a:pt x="120" y="168"/>
                  </a:cubicBezTo>
                  <a:cubicBezTo>
                    <a:pt x="121" y="168"/>
                    <a:pt x="123" y="167"/>
                    <a:pt x="123" y="167"/>
                  </a:cubicBezTo>
                  <a:cubicBezTo>
                    <a:pt x="124" y="168"/>
                    <a:pt x="125" y="168"/>
                    <a:pt x="126" y="168"/>
                  </a:cubicBezTo>
                  <a:cubicBezTo>
                    <a:pt x="126" y="168"/>
                    <a:pt x="125" y="168"/>
                    <a:pt x="129" y="168"/>
                  </a:cubicBezTo>
                  <a:cubicBezTo>
                    <a:pt x="132" y="168"/>
                    <a:pt x="131" y="168"/>
                    <a:pt x="133" y="168"/>
                  </a:cubicBezTo>
                  <a:cubicBezTo>
                    <a:pt x="134" y="168"/>
                    <a:pt x="136" y="168"/>
                    <a:pt x="136" y="168"/>
                  </a:cubicBezTo>
                  <a:cubicBezTo>
                    <a:pt x="136" y="169"/>
                    <a:pt x="138" y="170"/>
                    <a:pt x="138" y="170"/>
                  </a:cubicBezTo>
                  <a:cubicBezTo>
                    <a:pt x="138" y="171"/>
                    <a:pt x="139" y="171"/>
                    <a:pt x="138" y="172"/>
                  </a:cubicBezTo>
                  <a:cubicBezTo>
                    <a:pt x="136" y="173"/>
                    <a:pt x="136" y="173"/>
                    <a:pt x="134" y="173"/>
                  </a:cubicBezTo>
                  <a:cubicBezTo>
                    <a:pt x="133" y="173"/>
                    <a:pt x="134" y="173"/>
                    <a:pt x="132" y="174"/>
                  </a:cubicBezTo>
                  <a:cubicBezTo>
                    <a:pt x="129" y="174"/>
                    <a:pt x="127" y="174"/>
                    <a:pt x="127" y="174"/>
                  </a:cubicBezTo>
                  <a:cubicBezTo>
                    <a:pt x="127" y="174"/>
                    <a:pt x="128" y="174"/>
                    <a:pt x="125" y="174"/>
                  </a:cubicBezTo>
                  <a:cubicBezTo>
                    <a:pt x="123" y="173"/>
                    <a:pt x="122" y="174"/>
                    <a:pt x="121" y="173"/>
                  </a:cubicBezTo>
                  <a:cubicBezTo>
                    <a:pt x="121" y="173"/>
                    <a:pt x="120" y="172"/>
                    <a:pt x="120" y="172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3"/>
                    <a:pt x="50" y="93"/>
                  </a:cubicBezTo>
                  <a:cubicBezTo>
                    <a:pt x="50" y="93"/>
                    <a:pt x="50" y="93"/>
                    <a:pt x="50" y="93"/>
                  </a:cubicBezTo>
                  <a:cubicBezTo>
                    <a:pt x="50" y="93"/>
                    <a:pt x="51" y="93"/>
                    <a:pt x="51" y="93"/>
                  </a:cubicBezTo>
                  <a:cubicBezTo>
                    <a:pt x="51" y="94"/>
                    <a:pt x="51" y="94"/>
                    <a:pt x="52" y="94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53" y="95"/>
                    <a:pt x="53" y="97"/>
                    <a:pt x="52" y="96"/>
                  </a:cubicBezTo>
                  <a:cubicBezTo>
                    <a:pt x="51" y="96"/>
                    <a:pt x="50" y="96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lose/>
                  <a:moveTo>
                    <a:pt x="51" y="103"/>
                  </a:move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0" y="103"/>
                    <a:pt x="50" y="103"/>
                  </a:cubicBezTo>
                  <a:cubicBezTo>
                    <a:pt x="50" y="103"/>
                    <a:pt x="48" y="102"/>
                    <a:pt x="47" y="102"/>
                  </a:cubicBezTo>
                  <a:cubicBezTo>
                    <a:pt x="47" y="101"/>
                    <a:pt x="47" y="101"/>
                    <a:pt x="48" y="101"/>
                  </a:cubicBezTo>
                  <a:cubicBezTo>
                    <a:pt x="48" y="100"/>
                    <a:pt x="48" y="99"/>
                    <a:pt x="48" y="99"/>
                  </a:cubicBezTo>
                  <a:cubicBezTo>
                    <a:pt x="48" y="99"/>
                    <a:pt x="49" y="98"/>
                    <a:pt x="49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3" y="98"/>
                    <a:pt x="53" y="99"/>
                  </a:cubicBezTo>
                  <a:cubicBezTo>
                    <a:pt x="53" y="99"/>
                    <a:pt x="50" y="99"/>
                    <a:pt x="50" y="99"/>
                  </a:cubicBezTo>
                  <a:cubicBezTo>
                    <a:pt x="50" y="99"/>
                    <a:pt x="50" y="99"/>
                    <a:pt x="51" y="101"/>
                  </a:cubicBezTo>
                  <a:cubicBezTo>
                    <a:pt x="52" y="102"/>
                    <a:pt x="52" y="101"/>
                    <a:pt x="52" y="101"/>
                  </a:cubicBezTo>
                  <a:cubicBezTo>
                    <a:pt x="52" y="102"/>
                    <a:pt x="52" y="102"/>
                    <a:pt x="54" y="102"/>
                  </a:cubicBezTo>
                  <a:cubicBezTo>
                    <a:pt x="55" y="103"/>
                    <a:pt x="54" y="103"/>
                    <a:pt x="55" y="104"/>
                  </a:cubicBezTo>
                  <a:cubicBezTo>
                    <a:pt x="55" y="104"/>
                    <a:pt x="54" y="105"/>
                    <a:pt x="54" y="105"/>
                  </a:cubicBezTo>
                  <a:cubicBezTo>
                    <a:pt x="53" y="106"/>
                    <a:pt x="53" y="105"/>
                    <a:pt x="53" y="105"/>
                  </a:cubicBezTo>
                  <a:cubicBezTo>
                    <a:pt x="53" y="105"/>
                    <a:pt x="52" y="103"/>
                    <a:pt x="51" y="103"/>
                  </a:cubicBezTo>
                  <a:close/>
                  <a:moveTo>
                    <a:pt x="55" y="117"/>
                  </a:moveTo>
                  <a:cubicBezTo>
                    <a:pt x="55" y="117"/>
                    <a:pt x="55" y="117"/>
                    <a:pt x="55" y="117"/>
                  </a:cubicBezTo>
                  <a:cubicBezTo>
                    <a:pt x="55" y="117"/>
                    <a:pt x="56" y="116"/>
                    <a:pt x="56" y="117"/>
                  </a:cubicBezTo>
                  <a:cubicBezTo>
                    <a:pt x="57" y="117"/>
                    <a:pt x="57" y="118"/>
                    <a:pt x="57" y="118"/>
                  </a:cubicBezTo>
                  <a:cubicBezTo>
                    <a:pt x="58" y="119"/>
                    <a:pt x="59" y="119"/>
                    <a:pt x="60" y="119"/>
                  </a:cubicBezTo>
                  <a:cubicBezTo>
                    <a:pt x="60" y="120"/>
                    <a:pt x="60" y="121"/>
                    <a:pt x="60" y="121"/>
                  </a:cubicBezTo>
                  <a:cubicBezTo>
                    <a:pt x="60" y="121"/>
                    <a:pt x="59" y="122"/>
                    <a:pt x="59" y="121"/>
                  </a:cubicBezTo>
                  <a:cubicBezTo>
                    <a:pt x="58" y="120"/>
                    <a:pt x="58" y="120"/>
                    <a:pt x="58" y="120"/>
                  </a:cubicBezTo>
                  <a:cubicBezTo>
                    <a:pt x="58" y="120"/>
                    <a:pt x="57" y="119"/>
                    <a:pt x="57" y="119"/>
                  </a:cubicBezTo>
                  <a:cubicBezTo>
                    <a:pt x="57" y="119"/>
                    <a:pt x="55" y="117"/>
                    <a:pt x="55" y="117"/>
                  </a:cubicBezTo>
                  <a:close/>
                  <a:moveTo>
                    <a:pt x="53" y="121"/>
                  </a:moveTo>
                  <a:cubicBezTo>
                    <a:pt x="53" y="121"/>
                    <a:pt x="53" y="121"/>
                    <a:pt x="53" y="121"/>
                  </a:cubicBezTo>
                  <a:cubicBezTo>
                    <a:pt x="53" y="121"/>
                    <a:pt x="53" y="120"/>
                    <a:pt x="53" y="120"/>
                  </a:cubicBezTo>
                  <a:cubicBezTo>
                    <a:pt x="53" y="120"/>
                    <a:pt x="54" y="120"/>
                    <a:pt x="54" y="121"/>
                  </a:cubicBezTo>
                  <a:cubicBezTo>
                    <a:pt x="54" y="121"/>
                    <a:pt x="55" y="122"/>
                    <a:pt x="55" y="122"/>
                  </a:cubicBezTo>
                  <a:cubicBezTo>
                    <a:pt x="55" y="123"/>
                    <a:pt x="54" y="123"/>
                    <a:pt x="54" y="123"/>
                  </a:cubicBezTo>
                  <a:cubicBezTo>
                    <a:pt x="54" y="124"/>
                    <a:pt x="55" y="124"/>
                    <a:pt x="54" y="124"/>
                  </a:cubicBezTo>
                  <a:cubicBezTo>
                    <a:pt x="53" y="124"/>
                    <a:pt x="53" y="124"/>
                    <a:pt x="53" y="124"/>
                  </a:cubicBezTo>
                  <a:cubicBezTo>
                    <a:pt x="53" y="124"/>
                    <a:pt x="53" y="123"/>
                    <a:pt x="53" y="123"/>
                  </a:cubicBezTo>
                  <a:cubicBezTo>
                    <a:pt x="53" y="122"/>
                    <a:pt x="53" y="121"/>
                    <a:pt x="53" y="121"/>
                  </a:cubicBezTo>
                  <a:close/>
                  <a:moveTo>
                    <a:pt x="49" y="121"/>
                  </a:moveTo>
                  <a:cubicBezTo>
                    <a:pt x="49" y="121"/>
                    <a:pt x="49" y="121"/>
                    <a:pt x="49" y="121"/>
                  </a:cubicBezTo>
                  <a:cubicBezTo>
                    <a:pt x="49" y="121"/>
                    <a:pt x="50" y="121"/>
                    <a:pt x="50" y="122"/>
                  </a:cubicBezTo>
                  <a:cubicBezTo>
                    <a:pt x="50" y="122"/>
                    <a:pt x="51" y="122"/>
                    <a:pt x="51" y="123"/>
                  </a:cubicBezTo>
                  <a:cubicBezTo>
                    <a:pt x="51" y="123"/>
                    <a:pt x="51" y="123"/>
                    <a:pt x="51" y="124"/>
                  </a:cubicBezTo>
                  <a:cubicBezTo>
                    <a:pt x="51" y="125"/>
                    <a:pt x="52" y="125"/>
                    <a:pt x="51" y="125"/>
                  </a:cubicBezTo>
                  <a:cubicBezTo>
                    <a:pt x="50" y="124"/>
                    <a:pt x="50" y="124"/>
                    <a:pt x="50" y="124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9" y="121"/>
                    <a:pt x="49" y="121"/>
                    <a:pt x="49" y="121"/>
                  </a:cubicBezTo>
                  <a:close/>
                  <a:moveTo>
                    <a:pt x="34" y="116"/>
                  </a:moveTo>
                  <a:cubicBezTo>
                    <a:pt x="34" y="116"/>
                    <a:pt x="34" y="116"/>
                    <a:pt x="34" y="116"/>
                  </a:cubicBezTo>
                  <a:cubicBezTo>
                    <a:pt x="34" y="116"/>
                    <a:pt x="35" y="116"/>
                    <a:pt x="35" y="116"/>
                  </a:cubicBezTo>
                  <a:cubicBezTo>
                    <a:pt x="36" y="117"/>
                    <a:pt x="35" y="117"/>
                    <a:pt x="36" y="118"/>
                  </a:cubicBezTo>
                  <a:cubicBezTo>
                    <a:pt x="36" y="118"/>
                    <a:pt x="35" y="119"/>
                    <a:pt x="35" y="119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34" y="116"/>
                    <a:pt x="34" y="116"/>
                    <a:pt x="34" y="116"/>
                  </a:cubicBezTo>
                  <a:close/>
                  <a:moveTo>
                    <a:pt x="34" y="112"/>
                  </a:moveTo>
                  <a:cubicBezTo>
                    <a:pt x="34" y="112"/>
                    <a:pt x="34" y="112"/>
                    <a:pt x="34" y="112"/>
                  </a:cubicBezTo>
                  <a:cubicBezTo>
                    <a:pt x="34" y="112"/>
                    <a:pt x="32" y="112"/>
                    <a:pt x="32" y="112"/>
                  </a:cubicBezTo>
                  <a:cubicBezTo>
                    <a:pt x="32" y="112"/>
                    <a:pt x="31" y="112"/>
                    <a:pt x="31" y="111"/>
                  </a:cubicBezTo>
                  <a:cubicBezTo>
                    <a:pt x="31" y="111"/>
                    <a:pt x="31" y="110"/>
                    <a:pt x="32" y="110"/>
                  </a:cubicBezTo>
                  <a:cubicBezTo>
                    <a:pt x="32" y="110"/>
                    <a:pt x="32" y="109"/>
                    <a:pt x="32" y="108"/>
                  </a:cubicBezTo>
                  <a:cubicBezTo>
                    <a:pt x="32" y="108"/>
                    <a:pt x="33" y="108"/>
                    <a:pt x="33" y="108"/>
                  </a:cubicBezTo>
                  <a:cubicBezTo>
                    <a:pt x="33" y="108"/>
                    <a:pt x="34" y="109"/>
                    <a:pt x="34" y="109"/>
                  </a:cubicBezTo>
                  <a:cubicBezTo>
                    <a:pt x="34" y="109"/>
                    <a:pt x="34" y="111"/>
                    <a:pt x="34" y="112"/>
                  </a:cubicBezTo>
                  <a:close/>
                  <a:moveTo>
                    <a:pt x="34" y="89"/>
                  </a:moveTo>
                  <a:cubicBezTo>
                    <a:pt x="34" y="89"/>
                    <a:pt x="34" y="89"/>
                    <a:pt x="34" y="89"/>
                  </a:cubicBezTo>
                  <a:cubicBezTo>
                    <a:pt x="34" y="89"/>
                    <a:pt x="36" y="89"/>
                    <a:pt x="36" y="89"/>
                  </a:cubicBezTo>
                  <a:cubicBezTo>
                    <a:pt x="36" y="89"/>
                    <a:pt x="36" y="90"/>
                    <a:pt x="36" y="91"/>
                  </a:cubicBezTo>
                  <a:cubicBezTo>
                    <a:pt x="37" y="91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2"/>
                    <a:pt x="39" y="91"/>
                    <a:pt x="39" y="92"/>
                  </a:cubicBezTo>
                  <a:cubicBezTo>
                    <a:pt x="40" y="92"/>
                    <a:pt x="41" y="91"/>
                    <a:pt x="41" y="91"/>
                  </a:cubicBezTo>
                  <a:cubicBezTo>
                    <a:pt x="41" y="91"/>
                    <a:pt x="42" y="92"/>
                    <a:pt x="42" y="92"/>
                  </a:cubicBezTo>
                  <a:cubicBezTo>
                    <a:pt x="42" y="93"/>
                    <a:pt x="41" y="94"/>
                    <a:pt x="41" y="94"/>
                  </a:cubicBezTo>
                  <a:cubicBezTo>
                    <a:pt x="40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3"/>
                  </a:cubicBezTo>
                  <a:cubicBezTo>
                    <a:pt x="38" y="93"/>
                    <a:pt x="38" y="94"/>
                    <a:pt x="38" y="95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8" y="96"/>
                    <a:pt x="38" y="97"/>
                    <a:pt x="38" y="97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40" y="101"/>
                    <a:pt x="40" y="101"/>
                  </a:cubicBezTo>
                  <a:cubicBezTo>
                    <a:pt x="40" y="102"/>
                    <a:pt x="40" y="103"/>
                    <a:pt x="40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1" y="107"/>
                    <a:pt x="41" y="107"/>
                  </a:cubicBezTo>
                  <a:cubicBezTo>
                    <a:pt x="41" y="108"/>
                    <a:pt x="43" y="109"/>
                    <a:pt x="43" y="110"/>
                  </a:cubicBezTo>
                  <a:cubicBezTo>
                    <a:pt x="43" y="110"/>
                    <a:pt x="43" y="112"/>
                    <a:pt x="42" y="112"/>
                  </a:cubicBezTo>
                  <a:cubicBezTo>
                    <a:pt x="42" y="112"/>
                    <a:pt x="41" y="113"/>
                    <a:pt x="41" y="112"/>
                  </a:cubicBezTo>
                  <a:cubicBezTo>
                    <a:pt x="40" y="111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38" y="111"/>
                    <a:pt x="38" y="111"/>
                  </a:cubicBezTo>
                  <a:cubicBezTo>
                    <a:pt x="38" y="112"/>
                    <a:pt x="40" y="113"/>
                    <a:pt x="40" y="113"/>
                  </a:cubicBezTo>
                  <a:cubicBezTo>
                    <a:pt x="40" y="113"/>
                    <a:pt x="39" y="111"/>
                    <a:pt x="40" y="113"/>
                  </a:cubicBezTo>
                  <a:cubicBezTo>
                    <a:pt x="41" y="115"/>
                    <a:pt x="42" y="116"/>
                    <a:pt x="42" y="116"/>
                  </a:cubicBezTo>
                  <a:cubicBezTo>
                    <a:pt x="42" y="116"/>
                    <a:pt x="43" y="117"/>
                    <a:pt x="44" y="117"/>
                  </a:cubicBezTo>
                  <a:cubicBezTo>
                    <a:pt x="44" y="118"/>
                    <a:pt x="44" y="118"/>
                    <a:pt x="45" y="119"/>
                  </a:cubicBezTo>
                  <a:cubicBezTo>
                    <a:pt x="45" y="119"/>
                    <a:pt x="46" y="120"/>
                    <a:pt x="45" y="120"/>
                  </a:cubicBezTo>
                  <a:cubicBezTo>
                    <a:pt x="44" y="121"/>
                    <a:pt x="45" y="121"/>
                    <a:pt x="44" y="121"/>
                  </a:cubicBezTo>
                  <a:cubicBezTo>
                    <a:pt x="44" y="120"/>
                    <a:pt x="43" y="120"/>
                    <a:pt x="43" y="119"/>
                  </a:cubicBezTo>
                  <a:cubicBezTo>
                    <a:pt x="43" y="118"/>
                    <a:pt x="42" y="117"/>
                    <a:pt x="42" y="116"/>
                  </a:cubicBezTo>
                  <a:cubicBezTo>
                    <a:pt x="41" y="116"/>
                    <a:pt x="40" y="115"/>
                    <a:pt x="40" y="115"/>
                  </a:cubicBezTo>
                  <a:cubicBezTo>
                    <a:pt x="39" y="115"/>
                    <a:pt x="39" y="114"/>
                    <a:pt x="39" y="114"/>
                  </a:cubicBezTo>
                  <a:cubicBezTo>
                    <a:pt x="39" y="114"/>
                    <a:pt x="38" y="114"/>
                    <a:pt x="38" y="114"/>
                  </a:cubicBezTo>
                  <a:cubicBezTo>
                    <a:pt x="38" y="114"/>
                    <a:pt x="36" y="114"/>
                    <a:pt x="36" y="114"/>
                  </a:cubicBezTo>
                  <a:cubicBezTo>
                    <a:pt x="36" y="113"/>
                    <a:pt x="36" y="113"/>
                    <a:pt x="37" y="112"/>
                  </a:cubicBezTo>
                  <a:cubicBezTo>
                    <a:pt x="37" y="112"/>
                    <a:pt x="38" y="112"/>
                    <a:pt x="38" y="112"/>
                  </a:cubicBezTo>
                  <a:cubicBezTo>
                    <a:pt x="38" y="112"/>
                    <a:pt x="37" y="111"/>
                    <a:pt x="37" y="111"/>
                  </a:cubicBezTo>
                  <a:cubicBezTo>
                    <a:pt x="37" y="111"/>
                    <a:pt x="37" y="110"/>
                    <a:pt x="37" y="110"/>
                  </a:cubicBezTo>
                  <a:cubicBezTo>
                    <a:pt x="36" y="110"/>
                    <a:pt x="36" y="111"/>
                    <a:pt x="36" y="110"/>
                  </a:cubicBezTo>
                  <a:cubicBezTo>
                    <a:pt x="36" y="109"/>
                    <a:pt x="36" y="109"/>
                    <a:pt x="36" y="108"/>
                  </a:cubicBezTo>
                  <a:cubicBezTo>
                    <a:pt x="36" y="108"/>
                    <a:pt x="36" y="106"/>
                    <a:pt x="36" y="106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8" y="105"/>
                    <a:pt x="38" y="105"/>
                    <a:pt x="38" y="105"/>
                  </a:cubicBezTo>
                  <a:cubicBezTo>
                    <a:pt x="38" y="105"/>
                    <a:pt x="38" y="105"/>
                    <a:pt x="37" y="105"/>
                  </a:cubicBezTo>
                  <a:cubicBezTo>
                    <a:pt x="36" y="105"/>
                    <a:pt x="36" y="103"/>
                    <a:pt x="36" y="103"/>
                  </a:cubicBezTo>
                  <a:cubicBezTo>
                    <a:pt x="36" y="103"/>
                    <a:pt x="36" y="102"/>
                    <a:pt x="36" y="102"/>
                  </a:cubicBezTo>
                  <a:cubicBezTo>
                    <a:pt x="36" y="102"/>
                    <a:pt x="35" y="102"/>
                    <a:pt x="35" y="101"/>
                  </a:cubicBezTo>
                  <a:cubicBezTo>
                    <a:pt x="34" y="100"/>
                    <a:pt x="34" y="99"/>
                    <a:pt x="34" y="99"/>
                  </a:cubicBezTo>
                  <a:cubicBezTo>
                    <a:pt x="34" y="99"/>
                    <a:pt x="35" y="99"/>
                    <a:pt x="34" y="98"/>
                  </a:cubicBezTo>
                  <a:cubicBezTo>
                    <a:pt x="34" y="97"/>
                    <a:pt x="34" y="97"/>
                    <a:pt x="33" y="97"/>
                  </a:cubicBezTo>
                  <a:cubicBezTo>
                    <a:pt x="33" y="96"/>
                    <a:pt x="33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6"/>
                    <a:pt x="36" y="96"/>
                    <a:pt x="36" y="96"/>
                  </a:cubicBezTo>
                  <a:cubicBezTo>
                    <a:pt x="36" y="95"/>
                    <a:pt x="37" y="94"/>
                    <a:pt x="36" y="94"/>
                  </a:cubicBezTo>
                  <a:cubicBezTo>
                    <a:pt x="36" y="93"/>
                    <a:pt x="35" y="92"/>
                    <a:pt x="35" y="92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4" y="91"/>
                    <a:pt x="34" y="91"/>
                    <a:pt x="34" y="90"/>
                  </a:cubicBezTo>
                  <a:cubicBezTo>
                    <a:pt x="34" y="90"/>
                    <a:pt x="34" y="89"/>
                    <a:pt x="34" y="89"/>
                  </a:cubicBezTo>
                  <a:close/>
                  <a:moveTo>
                    <a:pt x="33" y="89"/>
                  </a:move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2" y="88"/>
                    <a:pt x="32" y="87"/>
                  </a:cubicBezTo>
                  <a:cubicBezTo>
                    <a:pt x="32" y="87"/>
                    <a:pt x="32" y="87"/>
                    <a:pt x="32" y="86"/>
                  </a:cubicBezTo>
                  <a:cubicBezTo>
                    <a:pt x="32" y="85"/>
                    <a:pt x="31" y="85"/>
                    <a:pt x="31" y="84"/>
                  </a:cubicBezTo>
                  <a:cubicBezTo>
                    <a:pt x="32" y="84"/>
                    <a:pt x="32" y="83"/>
                    <a:pt x="32" y="83"/>
                  </a:cubicBezTo>
                  <a:cubicBezTo>
                    <a:pt x="33" y="82"/>
                    <a:pt x="34" y="82"/>
                    <a:pt x="34" y="83"/>
                  </a:cubicBezTo>
                  <a:cubicBezTo>
                    <a:pt x="34" y="83"/>
                    <a:pt x="34" y="84"/>
                    <a:pt x="34" y="85"/>
                  </a:cubicBezTo>
                  <a:cubicBezTo>
                    <a:pt x="34" y="85"/>
                    <a:pt x="34" y="86"/>
                    <a:pt x="34" y="86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8"/>
                    <a:pt x="35" y="89"/>
                    <a:pt x="35" y="89"/>
                  </a:cubicBezTo>
                  <a:lnTo>
                    <a:pt x="33" y="89"/>
                  </a:lnTo>
                  <a:close/>
                </a:path>
              </a:pathLst>
            </a:custGeom>
            <a:solidFill>
              <a:srgbClr val="91CA64"/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6753346" y="5844904"/>
              <a:ext cx="225737" cy="126622"/>
            </a:xfrm>
            <a:custGeom>
              <a:avLst/>
              <a:gdLst>
                <a:gd name="T0" fmla="*/ 2 w 95"/>
                <a:gd name="T1" fmla="*/ 39 h 55"/>
                <a:gd name="T2" fmla="*/ 2 w 95"/>
                <a:gd name="T3" fmla="*/ 36 h 55"/>
                <a:gd name="T4" fmla="*/ 0 w 95"/>
                <a:gd name="T5" fmla="*/ 31 h 55"/>
                <a:gd name="T6" fmla="*/ 2 w 95"/>
                <a:gd name="T7" fmla="*/ 31 h 55"/>
                <a:gd name="T8" fmla="*/ 7 w 95"/>
                <a:gd name="T9" fmla="*/ 32 h 55"/>
                <a:gd name="T10" fmla="*/ 9 w 95"/>
                <a:gd name="T11" fmla="*/ 31 h 55"/>
                <a:gd name="T12" fmla="*/ 12 w 95"/>
                <a:gd name="T13" fmla="*/ 27 h 55"/>
                <a:gd name="T14" fmla="*/ 15 w 95"/>
                <a:gd name="T15" fmla="*/ 27 h 55"/>
                <a:gd name="T16" fmla="*/ 16 w 95"/>
                <a:gd name="T17" fmla="*/ 26 h 55"/>
                <a:gd name="T18" fmla="*/ 18 w 95"/>
                <a:gd name="T19" fmla="*/ 27 h 55"/>
                <a:gd name="T20" fmla="*/ 20 w 95"/>
                <a:gd name="T21" fmla="*/ 27 h 55"/>
                <a:gd name="T22" fmla="*/ 23 w 95"/>
                <a:gd name="T23" fmla="*/ 28 h 55"/>
                <a:gd name="T24" fmla="*/ 26 w 95"/>
                <a:gd name="T25" fmla="*/ 26 h 55"/>
                <a:gd name="T26" fmla="*/ 28 w 95"/>
                <a:gd name="T27" fmla="*/ 20 h 55"/>
                <a:gd name="T28" fmla="*/ 28 w 95"/>
                <a:gd name="T29" fmla="*/ 16 h 55"/>
                <a:gd name="T30" fmla="*/ 33 w 95"/>
                <a:gd name="T31" fmla="*/ 18 h 55"/>
                <a:gd name="T32" fmla="*/ 36 w 95"/>
                <a:gd name="T33" fmla="*/ 18 h 55"/>
                <a:gd name="T34" fmla="*/ 44 w 95"/>
                <a:gd name="T35" fmla="*/ 19 h 55"/>
                <a:gd name="T36" fmla="*/ 58 w 95"/>
                <a:gd name="T37" fmla="*/ 18 h 55"/>
                <a:gd name="T38" fmla="*/ 61 w 95"/>
                <a:gd name="T39" fmla="*/ 16 h 55"/>
                <a:gd name="T40" fmla="*/ 66 w 95"/>
                <a:gd name="T41" fmla="*/ 15 h 55"/>
                <a:gd name="T42" fmla="*/ 70 w 95"/>
                <a:gd name="T43" fmla="*/ 13 h 55"/>
                <a:gd name="T44" fmla="*/ 76 w 95"/>
                <a:gd name="T45" fmla="*/ 10 h 55"/>
                <a:gd name="T46" fmla="*/ 78 w 95"/>
                <a:gd name="T47" fmla="*/ 8 h 55"/>
                <a:gd name="T48" fmla="*/ 80 w 95"/>
                <a:gd name="T49" fmla="*/ 8 h 55"/>
                <a:gd name="T50" fmla="*/ 83 w 95"/>
                <a:gd name="T51" fmla="*/ 7 h 55"/>
                <a:gd name="T52" fmla="*/ 89 w 95"/>
                <a:gd name="T53" fmla="*/ 3 h 55"/>
                <a:gd name="T54" fmla="*/ 94 w 95"/>
                <a:gd name="T55" fmla="*/ 2 h 55"/>
                <a:gd name="T56" fmla="*/ 89 w 95"/>
                <a:gd name="T57" fmla="*/ 6 h 55"/>
                <a:gd name="T58" fmla="*/ 83 w 95"/>
                <a:gd name="T59" fmla="*/ 11 h 55"/>
                <a:gd name="T60" fmla="*/ 76 w 95"/>
                <a:gd name="T61" fmla="*/ 15 h 55"/>
                <a:gd name="T62" fmla="*/ 73 w 95"/>
                <a:gd name="T63" fmla="*/ 19 h 55"/>
                <a:gd name="T64" fmla="*/ 68 w 95"/>
                <a:gd name="T65" fmla="*/ 20 h 55"/>
                <a:gd name="T66" fmla="*/ 67 w 95"/>
                <a:gd name="T67" fmla="*/ 27 h 55"/>
                <a:gd name="T68" fmla="*/ 73 w 95"/>
                <a:gd name="T69" fmla="*/ 34 h 55"/>
                <a:gd name="T70" fmla="*/ 74 w 95"/>
                <a:gd name="T71" fmla="*/ 38 h 55"/>
                <a:gd name="T72" fmla="*/ 70 w 95"/>
                <a:gd name="T73" fmla="*/ 36 h 55"/>
                <a:gd name="T74" fmla="*/ 63 w 95"/>
                <a:gd name="T75" fmla="*/ 37 h 55"/>
                <a:gd name="T76" fmla="*/ 59 w 95"/>
                <a:gd name="T77" fmla="*/ 36 h 55"/>
                <a:gd name="T78" fmla="*/ 55 w 95"/>
                <a:gd name="T79" fmla="*/ 43 h 55"/>
                <a:gd name="T80" fmla="*/ 52 w 95"/>
                <a:gd name="T81" fmla="*/ 46 h 55"/>
                <a:gd name="T82" fmla="*/ 47 w 95"/>
                <a:gd name="T83" fmla="*/ 47 h 55"/>
                <a:gd name="T84" fmla="*/ 43 w 95"/>
                <a:gd name="T85" fmla="*/ 49 h 55"/>
                <a:gd name="T86" fmla="*/ 36 w 95"/>
                <a:gd name="T87" fmla="*/ 50 h 55"/>
                <a:gd name="T88" fmla="*/ 29 w 95"/>
                <a:gd name="T89" fmla="*/ 53 h 55"/>
                <a:gd name="T90" fmla="*/ 24 w 95"/>
                <a:gd name="T91" fmla="*/ 50 h 55"/>
                <a:gd name="T92" fmla="*/ 19 w 95"/>
                <a:gd name="T93" fmla="*/ 53 h 55"/>
                <a:gd name="T94" fmla="*/ 12 w 95"/>
                <a:gd name="T95" fmla="*/ 50 h 55"/>
                <a:gd name="T96" fmla="*/ 8 w 95"/>
                <a:gd name="T97" fmla="*/ 50 h 55"/>
                <a:gd name="T98" fmla="*/ 5 w 95"/>
                <a:gd name="T99" fmla="*/ 45 h 55"/>
                <a:gd name="T100" fmla="*/ 2 w 95"/>
                <a:gd name="T101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" h="55">
                  <a:moveTo>
                    <a:pt x="2" y="39"/>
                  </a:moveTo>
                  <a:cubicBezTo>
                    <a:pt x="2" y="39"/>
                    <a:pt x="2" y="38"/>
                    <a:pt x="2" y="36"/>
                  </a:cubicBezTo>
                  <a:cubicBezTo>
                    <a:pt x="1" y="34"/>
                    <a:pt x="0" y="31"/>
                    <a:pt x="0" y="31"/>
                  </a:cubicBezTo>
                  <a:cubicBezTo>
                    <a:pt x="0" y="31"/>
                    <a:pt x="1" y="30"/>
                    <a:pt x="2" y="31"/>
                  </a:cubicBezTo>
                  <a:cubicBezTo>
                    <a:pt x="3" y="32"/>
                    <a:pt x="4" y="34"/>
                    <a:pt x="7" y="32"/>
                  </a:cubicBezTo>
                  <a:cubicBezTo>
                    <a:pt x="8" y="32"/>
                    <a:pt x="9" y="32"/>
                    <a:pt x="9" y="31"/>
                  </a:cubicBezTo>
                  <a:cubicBezTo>
                    <a:pt x="11" y="29"/>
                    <a:pt x="11" y="27"/>
                    <a:pt x="12" y="27"/>
                  </a:cubicBezTo>
                  <a:cubicBezTo>
                    <a:pt x="13" y="26"/>
                    <a:pt x="13" y="27"/>
                    <a:pt x="15" y="27"/>
                  </a:cubicBezTo>
                  <a:cubicBezTo>
                    <a:pt x="15" y="27"/>
                    <a:pt x="16" y="26"/>
                    <a:pt x="16" y="26"/>
                  </a:cubicBezTo>
                  <a:cubicBezTo>
                    <a:pt x="17" y="26"/>
                    <a:pt x="17" y="27"/>
                    <a:pt x="18" y="27"/>
                  </a:cubicBezTo>
                  <a:cubicBezTo>
                    <a:pt x="19" y="27"/>
                    <a:pt x="19" y="26"/>
                    <a:pt x="20" y="27"/>
                  </a:cubicBezTo>
                  <a:cubicBezTo>
                    <a:pt x="21" y="27"/>
                    <a:pt x="22" y="28"/>
                    <a:pt x="23" y="28"/>
                  </a:cubicBezTo>
                  <a:cubicBezTo>
                    <a:pt x="24" y="28"/>
                    <a:pt x="26" y="28"/>
                    <a:pt x="26" y="26"/>
                  </a:cubicBezTo>
                  <a:cubicBezTo>
                    <a:pt x="27" y="25"/>
                    <a:pt x="28" y="23"/>
                    <a:pt x="28" y="20"/>
                  </a:cubicBezTo>
                  <a:cubicBezTo>
                    <a:pt x="28" y="17"/>
                    <a:pt x="27" y="15"/>
                    <a:pt x="28" y="16"/>
                  </a:cubicBezTo>
                  <a:cubicBezTo>
                    <a:pt x="28" y="16"/>
                    <a:pt x="31" y="17"/>
                    <a:pt x="33" y="18"/>
                  </a:cubicBezTo>
                  <a:cubicBezTo>
                    <a:pt x="35" y="18"/>
                    <a:pt x="34" y="17"/>
                    <a:pt x="36" y="18"/>
                  </a:cubicBezTo>
                  <a:cubicBezTo>
                    <a:pt x="38" y="18"/>
                    <a:pt x="42" y="19"/>
                    <a:pt x="44" y="19"/>
                  </a:cubicBezTo>
                  <a:cubicBezTo>
                    <a:pt x="48" y="19"/>
                    <a:pt x="53" y="19"/>
                    <a:pt x="58" y="18"/>
                  </a:cubicBezTo>
                  <a:cubicBezTo>
                    <a:pt x="58" y="17"/>
                    <a:pt x="60" y="16"/>
                    <a:pt x="61" y="16"/>
                  </a:cubicBezTo>
                  <a:cubicBezTo>
                    <a:pt x="62" y="15"/>
                    <a:pt x="64" y="16"/>
                    <a:pt x="66" y="15"/>
                  </a:cubicBezTo>
                  <a:cubicBezTo>
                    <a:pt x="67" y="15"/>
                    <a:pt x="69" y="14"/>
                    <a:pt x="70" y="13"/>
                  </a:cubicBezTo>
                  <a:cubicBezTo>
                    <a:pt x="72" y="12"/>
                    <a:pt x="74" y="11"/>
                    <a:pt x="76" y="10"/>
                  </a:cubicBezTo>
                  <a:cubicBezTo>
                    <a:pt x="77" y="10"/>
                    <a:pt x="77" y="9"/>
                    <a:pt x="78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1" y="8"/>
                    <a:pt x="82" y="7"/>
                    <a:pt x="83" y="7"/>
                  </a:cubicBezTo>
                  <a:cubicBezTo>
                    <a:pt x="85" y="6"/>
                    <a:pt x="86" y="5"/>
                    <a:pt x="89" y="3"/>
                  </a:cubicBezTo>
                  <a:cubicBezTo>
                    <a:pt x="92" y="0"/>
                    <a:pt x="95" y="0"/>
                    <a:pt x="94" y="2"/>
                  </a:cubicBezTo>
                  <a:cubicBezTo>
                    <a:pt x="94" y="3"/>
                    <a:pt x="90" y="5"/>
                    <a:pt x="89" y="6"/>
                  </a:cubicBezTo>
                  <a:cubicBezTo>
                    <a:pt x="87" y="8"/>
                    <a:pt x="85" y="10"/>
                    <a:pt x="83" y="11"/>
                  </a:cubicBezTo>
                  <a:cubicBezTo>
                    <a:pt x="81" y="11"/>
                    <a:pt x="78" y="13"/>
                    <a:pt x="76" y="15"/>
                  </a:cubicBezTo>
                  <a:cubicBezTo>
                    <a:pt x="74" y="16"/>
                    <a:pt x="74" y="18"/>
                    <a:pt x="73" y="19"/>
                  </a:cubicBezTo>
                  <a:cubicBezTo>
                    <a:pt x="70" y="21"/>
                    <a:pt x="69" y="19"/>
                    <a:pt x="68" y="20"/>
                  </a:cubicBezTo>
                  <a:cubicBezTo>
                    <a:pt x="68" y="22"/>
                    <a:pt x="67" y="25"/>
                    <a:pt x="67" y="27"/>
                  </a:cubicBezTo>
                  <a:cubicBezTo>
                    <a:pt x="68" y="30"/>
                    <a:pt x="71" y="32"/>
                    <a:pt x="73" y="34"/>
                  </a:cubicBezTo>
                  <a:cubicBezTo>
                    <a:pt x="73" y="34"/>
                    <a:pt x="76" y="37"/>
                    <a:pt x="74" y="38"/>
                  </a:cubicBezTo>
                  <a:cubicBezTo>
                    <a:pt x="73" y="38"/>
                    <a:pt x="72" y="36"/>
                    <a:pt x="70" y="36"/>
                  </a:cubicBezTo>
                  <a:cubicBezTo>
                    <a:pt x="68" y="36"/>
                    <a:pt x="65" y="36"/>
                    <a:pt x="63" y="37"/>
                  </a:cubicBezTo>
                  <a:cubicBezTo>
                    <a:pt x="62" y="37"/>
                    <a:pt x="61" y="36"/>
                    <a:pt x="59" y="36"/>
                  </a:cubicBezTo>
                  <a:cubicBezTo>
                    <a:pt x="57" y="37"/>
                    <a:pt x="55" y="41"/>
                    <a:pt x="55" y="43"/>
                  </a:cubicBezTo>
                  <a:cubicBezTo>
                    <a:pt x="55" y="44"/>
                    <a:pt x="53" y="44"/>
                    <a:pt x="52" y="46"/>
                  </a:cubicBezTo>
                  <a:cubicBezTo>
                    <a:pt x="50" y="47"/>
                    <a:pt x="49" y="46"/>
                    <a:pt x="47" y="47"/>
                  </a:cubicBezTo>
                  <a:cubicBezTo>
                    <a:pt x="45" y="48"/>
                    <a:pt x="45" y="49"/>
                    <a:pt x="43" y="49"/>
                  </a:cubicBezTo>
                  <a:cubicBezTo>
                    <a:pt x="40" y="49"/>
                    <a:pt x="37" y="50"/>
                    <a:pt x="36" y="50"/>
                  </a:cubicBezTo>
                  <a:cubicBezTo>
                    <a:pt x="30" y="50"/>
                    <a:pt x="33" y="55"/>
                    <a:pt x="29" y="53"/>
                  </a:cubicBezTo>
                  <a:cubicBezTo>
                    <a:pt x="27" y="53"/>
                    <a:pt x="26" y="51"/>
                    <a:pt x="24" y="50"/>
                  </a:cubicBezTo>
                  <a:cubicBezTo>
                    <a:pt x="23" y="50"/>
                    <a:pt x="21" y="52"/>
                    <a:pt x="19" y="53"/>
                  </a:cubicBezTo>
                  <a:cubicBezTo>
                    <a:pt x="17" y="54"/>
                    <a:pt x="14" y="51"/>
                    <a:pt x="12" y="50"/>
                  </a:cubicBezTo>
                  <a:cubicBezTo>
                    <a:pt x="10" y="49"/>
                    <a:pt x="9" y="51"/>
                    <a:pt x="8" y="50"/>
                  </a:cubicBezTo>
                  <a:cubicBezTo>
                    <a:pt x="6" y="48"/>
                    <a:pt x="7" y="46"/>
                    <a:pt x="5" y="45"/>
                  </a:cubicBezTo>
                  <a:cubicBezTo>
                    <a:pt x="4" y="43"/>
                    <a:pt x="2" y="41"/>
                    <a:pt x="2" y="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5167457" y="4854147"/>
              <a:ext cx="442307" cy="456504"/>
            </a:xfrm>
            <a:custGeom>
              <a:avLst/>
              <a:gdLst>
                <a:gd name="T0" fmla="*/ 13 w 186"/>
                <a:gd name="T1" fmla="*/ 14 h 198"/>
                <a:gd name="T2" fmla="*/ 23 w 186"/>
                <a:gd name="T3" fmla="*/ 6 h 198"/>
                <a:gd name="T4" fmla="*/ 32 w 186"/>
                <a:gd name="T5" fmla="*/ 3 h 198"/>
                <a:gd name="T6" fmla="*/ 48 w 186"/>
                <a:gd name="T7" fmla="*/ 1 h 198"/>
                <a:gd name="T8" fmla="*/ 62 w 186"/>
                <a:gd name="T9" fmla="*/ 9 h 198"/>
                <a:gd name="T10" fmla="*/ 74 w 186"/>
                <a:gd name="T11" fmla="*/ 20 h 198"/>
                <a:gd name="T12" fmla="*/ 77 w 186"/>
                <a:gd name="T13" fmla="*/ 32 h 198"/>
                <a:gd name="T14" fmla="*/ 94 w 186"/>
                <a:gd name="T15" fmla="*/ 40 h 198"/>
                <a:gd name="T16" fmla="*/ 105 w 186"/>
                <a:gd name="T17" fmla="*/ 44 h 198"/>
                <a:gd name="T18" fmla="*/ 109 w 186"/>
                <a:gd name="T19" fmla="*/ 54 h 198"/>
                <a:gd name="T20" fmla="*/ 106 w 186"/>
                <a:gd name="T21" fmla="*/ 63 h 198"/>
                <a:gd name="T22" fmla="*/ 117 w 186"/>
                <a:gd name="T23" fmla="*/ 69 h 198"/>
                <a:gd name="T24" fmla="*/ 131 w 186"/>
                <a:gd name="T25" fmla="*/ 70 h 198"/>
                <a:gd name="T26" fmla="*/ 140 w 186"/>
                <a:gd name="T27" fmla="*/ 68 h 198"/>
                <a:gd name="T28" fmla="*/ 153 w 186"/>
                <a:gd name="T29" fmla="*/ 65 h 198"/>
                <a:gd name="T30" fmla="*/ 154 w 186"/>
                <a:gd name="T31" fmla="*/ 67 h 198"/>
                <a:gd name="T32" fmla="*/ 155 w 186"/>
                <a:gd name="T33" fmla="*/ 77 h 198"/>
                <a:gd name="T34" fmla="*/ 160 w 186"/>
                <a:gd name="T35" fmla="*/ 84 h 198"/>
                <a:gd name="T36" fmla="*/ 156 w 186"/>
                <a:gd name="T37" fmla="*/ 96 h 198"/>
                <a:gd name="T38" fmla="*/ 155 w 186"/>
                <a:gd name="T39" fmla="*/ 112 h 198"/>
                <a:gd name="T40" fmla="*/ 168 w 186"/>
                <a:gd name="T41" fmla="*/ 126 h 198"/>
                <a:gd name="T42" fmla="*/ 182 w 186"/>
                <a:gd name="T43" fmla="*/ 136 h 198"/>
                <a:gd name="T44" fmla="*/ 178 w 186"/>
                <a:gd name="T45" fmla="*/ 151 h 198"/>
                <a:gd name="T46" fmla="*/ 170 w 186"/>
                <a:gd name="T47" fmla="*/ 159 h 198"/>
                <a:gd name="T48" fmla="*/ 170 w 186"/>
                <a:gd name="T49" fmla="*/ 175 h 198"/>
                <a:gd name="T50" fmla="*/ 173 w 186"/>
                <a:gd name="T51" fmla="*/ 185 h 198"/>
                <a:gd name="T52" fmla="*/ 160 w 186"/>
                <a:gd name="T53" fmla="*/ 190 h 198"/>
                <a:gd name="T54" fmla="*/ 150 w 186"/>
                <a:gd name="T55" fmla="*/ 193 h 198"/>
                <a:gd name="T56" fmla="*/ 139 w 186"/>
                <a:gd name="T57" fmla="*/ 197 h 198"/>
                <a:gd name="T58" fmla="*/ 139 w 186"/>
                <a:gd name="T59" fmla="*/ 186 h 198"/>
                <a:gd name="T60" fmla="*/ 144 w 186"/>
                <a:gd name="T61" fmla="*/ 175 h 198"/>
                <a:gd name="T62" fmla="*/ 128 w 186"/>
                <a:gd name="T63" fmla="*/ 172 h 198"/>
                <a:gd name="T64" fmla="*/ 116 w 186"/>
                <a:gd name="T65" fmla="*/ 160 h 198"/>
                <a:gd name="T66" fmla="*/ 101 w 186"/>
                <a:gd name="T67" fmla="*/ 151 h 198"/>
                <a:gd name="T68" fmla="*/ 93 w 186"/>
                <a:gd name="T69" fmla="*/ 157 h 198"/>
                <a:gd name="T70" fmla="*/ 89 w 186"/>
                <a:gd name="T71" fmla="*/ 173 h 198"/>
                <a:gd name="T72" fmla="*/ 81 w 186"/>
                <a:gd name="T73" fmla="*/ 172 h 198"/>
                <a:gd name="T74" fmla="*/ 75 w 186"/>
                <a:gd name="T75" fmla="*/ 168 h 198"/>
                <a:gd name="T76" fmla="*/ 65 w 186"/>
                <a:gd name="T77" fmla="*/ 162 h 198"/>
                <a:gd name="T78" fmla="*/ 57 w 186"/>
                <a:gd name="T79" fmla="*/ 164 h 198"/>
                <a:gd name="T80" fmla="*/ 50 w 186"/>
                <a:gd name="T81" fmla="*/ 161 h 198"/>
                <a:gd name="T82" fmla="*/ 45 w 186"/>
                <a:gd name="T83" fmla="*/ 157 h 198"/>
                <a:gd name="T84" fmla="*/ 40 w 186"/>
                <a:gd name="T85" fmla="*/ 152 h 198"/>
                <a:gd name="T86" fmla="*/ 32 w 186"/>
                <a:gd name="T87" fmla="*/ 148 h 198"/>
                <a:gd name="T88" fmla="*/ 34 w 186"/>
                <a:gd name="T89" fmla="*/ 144 h 198"/>
                <a:gd name="T90" fmla="*/ 43 w 186"/>
                <a:gd name="T91" fmla="*/ 140 h 198"/>
                <a:gd name="T92" fmla="*/ 35 w 186"/>
                <a:gd name="T93" fmla="*/ 127 h 198"/>
                <a:gd name="T94" fmla="*/ 32 w 186"/>
                <a:gd name="T95" fmla="*/ 120 h 198"/>
                <a:gd name="T96" fmla="*/ 43 w 186"/>
                <a:gd name="T97" fmla="*/ 118 h 198"/>
                <a:gd name="T98" fmla="*/ 37 w 186"/>
                <a:gd name="T99" fmla="*/ 111 h 198"/>
                <a:gd name="T100" fmla="*/ 28 w 186"/>
                <a:gd name="T101" fmla="*/ 106 h 198"/>
                <a:gd name="T102" fmla="*/ 22 w 186"/>
                <a:gd name="T103" fmla="*/ 98 h 198"/>
                <a:gd name="T104" fmla="*/ 24 w 186"/>
                <a:gd name="T105" fmla="*/ 87 h 198"/>
                <a:gd name="T106" fmla="*/ 27 w 186"/>
                <a:gd name="T107" fmla="*/ 73 h 198"/>
                <a:gd name="T108" fmla="*/ 15 w 186"/>
                <a:gd name="T109" fmla="*/ 74 h 198"/>
                <a:gd name="T110" fmla="*/ 14 w 186"/>
                <a:gd name="T111" fmla="*/ 63 h 198"/>
                <a:gd name="T112" fmla="*/ 16 w 186"/>
                <a:gd name="T113" fmla="*/ 57 h 198"/>
                <a:gd name="T114" fmla="*/ 24 w 186"/>
                <a:gd name="T115" fmla="*/ 53 h 198"/>
                <a:gd name="T116" fmla="*/ 13 w 186"/>
                <a:gd name="T117" fmla="*/ 51 h 198"/>
                <a:gd name="T118" fmla="*/ 7 w 186"/>
                <a:gd name="T119" fmla="*/ 43 h 198"/>
                <a:gd name="T120" fmla="*/ 5 w 186"/>
                <a:gd name="T121" fmla="*/ 40 h 198"/>
                <a:gd name="T122" fmla="*/ 3 w 186"/>
                <a:gd name="T123" fmla="*/ 31 h 198"/>
                <a:gd name="T124" fmla="*/ 4 w 186"/>
                <a:gd name="T125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6" h="198">
                  <a:moveTo>
                    <a:pt x="11" y="14"/>
                  </a:move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5" y="14"/>
                    <a:pt x="16" y="14"/>
                    <a:pt x="16" y="1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22" y="6"/>
                    <a:pt x="23" y="6"/>
                  </a:cubicBezTo>
                  <a:cubicBezTo>
                    <a:pt x="25" y="6"/>
                    <a:pt x="23" y="4"/>
                    <a:pt x="23" y="4"/>
                  </a:cubicBezTo>
                  <a:cubicBezTo>
                    <a:pt x="23" y="4"/>
                    <a:pt x="28" y="2"/>
                    <a:pt x="30" y="2"/>
                  </a:cubicBezTo>
                  <a:cubicBezTo>
                    <a:pt x="30" y="2"/>
                    <a:pt x="30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42" y="0"/>
                    <a:pt x="43" y="0"/>
                  </a:cubicBezTo>
                  <a:cubicBezTo>
                    <a:pt x="44" y="0"/>
                    <a:pt x="46" y="1"/>
                    <a:pt x="46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9" y="2"/>
                    <a:pt x="50" y="2"/>
                  </a:cubicBezTo>
                  <a:cubicBezTo>
                    <a:pt x="52" y="3"/>
                    <a:pt x="53" y="6"/>
                    <a:pt x="54" y="6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8"/>
                    <a:pt x="62" y="9"/>
                    <a:pt x="62" y="9"/>
                  </a:cubicBezTo>
                  <a:cubicBezTo>
                    <a:pt x="62" y="9"/>
                    <a:pt x="67" y="14"/>
                    <a:pt x="68" y="14"/>
                  </a:cubicBezTo>
                  <a:cubicBezTo>
                    <a:pt x="69" y="14"/>
                    <a:pt x="69" y="14"/>
                    <a:pt x="70" y="16"/>
                  </a:cubicBezTo>
                  <a:cubicBezTo>
                    <a:pt x="71" y="17"/>
                    <a:pt x="74" y="16"/>
                    <a:pt x="74" y="16"/>
                  </a:cubicBezTo>
                  <a:cubicBezTo>
                    <a:pt x="74" y="16"/>
                    <a:pt x="75" y="19"/>
                    <a:pt x="74" y="20"/>
                  </a:cubicBezTo>
                  <a:cubicBezTo>
                    <a:pt x="74" y="21"/>
                    <a:pt x="74" y="24"/>
                    <a:pt x="74" y="24"/>
                  </a:cubicBezTo>
                  <a:cubicBezTo>
                    <a:pt x="74" y="24"/>
                    <a:pt x="74" y="25"/>
                    <a:pt x="74" y="26"/>
                  </a:cubicBezTo>
                  <a:cubicBezTo>
                    <a:pt x="75" y="28"/>
                    <a:pt x="76" y="28"/>
                    <a:pt x="76" y="30"/>
                  </a:cubicBezTo>
                  <a:cubicBezTo>
                    <a:pt x="77" y="31"/>
                    <a:pt x="76" y="31"/>
                    <a:pt x="77" y="32"/>
                  </a:cubicBezTo>
                  <a:cubicBezTo>
                    <a:pt x="78" y="33"/>
                    <a:pt x="79" y="35"/>
                    <a:pt x="80" y="35"/>
                  </a:cubicBezTo>
                  <a:cubicBezTo>
                    <a:pt x="81" y="35"/>
                    <a:pt x="82" y="35"/>
                    <a:pt x="85" y="36"/>
                  </a:cubicBezTo>
                  <a:cubicBezTo>
                    <a:pt x="88" y="38"/>
                    <a:pt x="89" y="38"/>
                    <a:pt x="90" y="39"/>
                  </a:cubicBezTo>
                  <a:cubicBezTo>
                    <a:pt x="92" y="40"/>
                    <a:pt x="91" y="39"/>
                    <a:pt x="94" y="40"/>
                  </a:cubicBezTo>
                  <a:cubicBezTo>
                    <a:pt x="98" y="41"/>
                    <a:pt x="97" y="40"/>
                    <a:pt x="98" y="41"/>
                  </a:cubicBezTo>
                  <a:cubicBezTo>
                    <a:pt x="99" y="41"/>
                    <a:pt x="98" y="40"/>
                    <a:pt x="100" y="41"/>
                  </a:cubicBezTo>
                  <a:cubicBezTo>
                    <a:pt x="103" y="41"/>
                    <a:pt x="105" y="42"/>
                    <a:pt x="105" y="42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1" y="51"/>
                    <a:pt x="103" y="52"/>
                  </a:cubicBezTo>
                  <a:cubicBezTo>
                    <a:pt x="105" y="53"/>
                    <a:pt x="109" y="54"/>
                    <a:pt x="109" y="54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6"/>
                    <a:pt x="110" y="59"/>
                    <a:pt x="109" y="60"/>
                  </a:cubicBezTo>
                  <a:cubicBezTo>
                    <a:pt x="108" y="60"/>
                    <a:pt x="105" y="60"/>
                    <a:pt x="105" y="60"/>
                  </a:cubicBezTo>
                  <a:cubicBezTo>
                    <a:pt x="105" y="60"/>
                    <a:pt x="104" y="63"/>
                    <a:pt x="106" y="63"/>
                  </a:cubicBezTo>
                  <a:cubicBezTo>
                    <a:pt x="107" y="64"/>
                    <a:pt x="109" y="64"/>
                    <a:pt x="110" y="64"/>
                  </a:cubicBezTo>
                  <a:cubicBezTo>
                    <a:pt x="111" y="64"/>
                    <a:pt x="113" y="65"/>
                    <a:pt x="113" y="65"/>
                  </a:cubicBezTo>
                  <a:cubicBezTo>
                    <a:pt x="113" y="65"/>
                    <a:pt x="114" y="65"/>
                    <a:pt x="115" y="66"/>
                  </a:cubicBezTo>
                  <a:cubicBezTo>
                    <a:pt x="115" y="68"/>
                    <a:pt x="116" y="69"/>
                    <a:pt x="117" y="69"/>
                  </a:cubicBezTo>
                  <a:cubicBezTo>
                    <a:pt x="118" y="69"/>
                    <a:pt x="120" y="69"/>
                    <a:pt x="121" y="69"/>
                  </a:cubicBezTo>
                  <a:cubicBezTo>
                    <a:pt x="122" y="69"/>
                    <a:pt x="122" y="68"/>
                    <a:pt x="123" y="68"/>
                  </a:cubicBezTo>
                  <a:cubicBezTo>
                    <a:pt x="124" y="69"/>
                    <a:pt x="130" y="68"/>
                    <a:pt x="130" y="68"/>
                  </a:cubicBezTo>
                  <a:cubicBezTo>
                    <a:pt x="130" y="68"/>
                    <a:pt x="130" y="68"/>
                    <a:pt x="131" y="70"/>
                  </a:cubicBezTo>
                  <a:cubicBezTo>
                    <a:pt x="133" y="73"/>
                    <a:pt x="136" y="74"/>
                    <a:pt x="136" y="74"/>
                  </a:cubicBezTo>
                  <a:cubicBezTo>
                    <a:pt x="136" y="74"/>
                    <a:pt x="137" y="75"/>
                    <a:pt x="137" y="74"/>
                  </a:cubicBezTo>
                  <a:cubicBezTo>
                    <a:pt x="137" y="73"/>
                    <a:pt x="138" y="72"/>
                    <a:pt x="138" y="72"/>
                  </a:cubicBezTo>
                  <a:cubicBezTo>
                    <a:pt x="138" y="72"/>
                    <a:pt x="140" y="69"/>
                    <a:pt x="140" y="68"/>
                  </a:cubicBezTo>
                  <a:cubicBezTo>
                    <a:pt x="141" y="67"/>
                    <a:pt x="142" y="64"/>
                    <a:pt x="143" y="64"/>
                  </a:cubicBezTo>
                  <a:cubicBezTo>
                    <a:pt x="144" y="63"/>
                    <a:pt x="147" y="61"/>
                    <a:pt x="147" y="61"/>
                  </a:cubicBezTo>
                  <a:cubicBezTo>
                    <a:pt x="147" y="61"/>
                    <a:pt x="147" y="60"/>
                    <a:pt x="149" y="61"/>
                  </a:cubicBezTo>
                  <a:cubicBezTo>
                    <a:pt x="150" y="63"/>
                    <a:pt x="153" y="65"/>
                    <a:pt x="153" y="6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65"/>
                    <a:pt x="161" y="66"/>
                    <a:pt x="161" y="67"/>
                  </a:cubicBezTo>
                  <a:cubicBezTo>
                    <a:pt x="161" y="68"/>
                    <a:pt x="160" y="68"/>
                    <a:pt x="158" y="69"/>
                  </a:cubicBezTo>
                  <a:cubicBezTo>
                    <a:pt x="157" y="69"/>
                    <a:pt x="154" y="66"/>
                    <a:pt x="154" y="67"/>
                  </a:cubicBezTo>
                  <a:cubicBezTo>
                    <a:pt x="153" y="68"/>
                    <a:pt x="153" y="70"/>
                    <a:pt x="153" y="70"/>
                  </a:cubicBezTo>
                  <a:cubicBezTo>
                    <a:pt x="149" y="72"/>
                    <a:pt x="149" y="72"/>
                    <a:pt x="149" y="72"/>
                  </a:cubicBezTo>
                  <a:cubicBezTo>
                    <a:pt x="150" y="74"/>
                    <a:pt x="150" y="74"/>
                    <a:pt x="150" y="74"/>
                  </a:cubicBezTo>
                  <a:cubicBezTo>
                    <a:pt x="150" y="74"/>
                    <a:pt x="155" y="76"/>
                    <a:pt x="155" y="77"/>
                  </a:cubicBezTo>
                  <a:cubicBezTo>
                    <a:pt x="155" y="78"/>
                    <a:pt x="155" y="80"/>
                    <a:pt x="155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60" y="84"/>
                    <a:pt x="160" y="84"/>
                    <a:pt x="160" y="84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1"/>
                    <a:pt x="161" y="94"/>
                    <a:pt x="160" y="94"/>
                  </a:cubicBezTo>
                  <a:cubicBezTo>
                    <a:pt x="159" y="94"/>
                    <a:pt x="156" y="96"/>
                    <a:pt x="156" y="96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4" y="99"/>
                    <a:pt x="154" y="103"/>
                    <a:pt x="154" y="104"/>
                  </a:cubicBezTo>
                  <a:cubicBezTo>
                    <a:pt x="155" y="106"/>
                    <a:pt x="154" y="109"/>
                    <a:pt x="154" y="109"/>
                  </a:cubicBezTo>
                  <a:cubicBezTo>
                    <a:pt x="154" y="109"/>
                    <a:pt x="154" y="111"/>
                    <a:pt x="155" y="112"/>
                  </a:cubicBezTo>
                  <a:cubicBezTo>
                    <a:pt x="156" y="113"/>
                    <a:pt x="157" y="115"/>
                    <a:pt x="157" y="115"/>
                  </a:cubicBezTo>
                  <a:cubicBezTo>
                    <a:pt x="157" y="115"/>
                    <a:pt x="158" y="116"/>
                    <a:pt x="159" y="118"/>
                  </a:cubicBezTo>
                  <a:cubicBezTo>
                    <a:pt x="160" y="120"/>
                    <a:pt x="164" y="125"/>
                    <a:pt x="164" y="125"/>
                  </a:cubicBezTo>
                  <a:cubicBezTo>
                    <a:pt x="164" y="125"/>
                    <a:pt x="167" y="126"/>
                    <a:pt x="168" y="126"/>
                  </a:cubicBezTo>
                  <a:cubicBezTo>
                    <a:pt x="168" y="126"/>
                    <a:pt x="172" y="128"/>
                    <a:pt x="172" y="128"/>
                  </a:cubicBezTo>
                  <a:cubicBezTo>
                    <a:pt x="172" y="128"/>
                    <a:pt x="174" y="128"/>
                    <a:pt x="174" y="129"/>
                  </a:cubicBezTo>
                  <a:cubicBezTo>
                    <a:pt x="174" y="129"/>
                    <a:pt x="178" y="135"/>
                    <a:pt x="178" y="135"/>
                  </a:cubicBezTo>
                  <a:cubicBezTo>
                    <a:pt x="182" y="136"/>
                    <a:pt x="182" y="136"/>
                    <a:pt x="182" y="136"/>
                  </a:cubicBezTo>
                  <a:cubicBezTo>
                    <a:pt x="186" y="136"/>
                    <a:pt x="186" y="136"/>
                    <a:pt x="186" y="136"/>
                  </a:cubicBezTo>
                  <a:cubicBezTo>
                    <a:pt x="186" y="136"/>
                    <a:pt x="185" y="141"/>
                    <a:pt x="184" y="142"/>
                  </a:cubicBezTo>
                  <a:cubicBezTo>
                    <a:pt x="183" y="143"/>
                    <a:pt x="180" y="147"/>
                    <a:pt x="180" y="147"/>
                  </a:cubicBezTo>
                  <a:cubicBezTo>
                    <a:pt x="180" y="147"/>
                    <a:pt x="178" y="149"/>
                    <a:pt x="178" y="151"/>
                  </a:cubicBezTo>
                  <a:cubicBezTo>
                    <a:pt x="179" y="152"/>
                    <a:pt x="179" y="155"/>
                    <a:pt x="179" y="155"/>
                  </a:cubicBezTo>
                  <a:cubicBezTo>
                    <a:pt x="179" y="155"/>
                    <a:pt x="177" y="157"/>
                    <a:pt x="176" y="157"/>
                  </a:cubicBezTo>
                  <a:cubicBezTo>
                    <a:pt x="175" y="157"/>
                    <a:pt x="173" y="157"/>
                    <a:pt x="172" y="158"/>
                  </a:cubicBezTo>
                  <a:cubicBezTo>
                    <a:pt x="171" y="158"/>
                    <a:pt x="170" y="159"/>
                    <a:pt x="170" y="159"/>
                  </a:cubicBezTo>
                  <a:cubicBezTo>
                    <a:pt x="169" y="160"/>
                    <a:pt x="167" y="162"/>
                    <a:pt x="167" y="162"/>
                  </a:cubicBezTo>
                  <a:cubicBezTo>
                    <a:pt x="169" y="165"/>
                    <a:pt x="169" y="165"/>
                    <a:pt x="169" y="165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173" y="176"/>
                    <a:pt x="173" y="177"/>
                  </a:cubicBezTo>
                  <a:cubicBezTo>
                    <a:pt x="174" y="177"/>
                    <a:pt x="175" y="180"/>
                    <a:pt x="175" y="180"/>
                  </a:cubicBezTo>
                  <a:cubicBezTo>
                    <a:pt x="174" y="182"/>
                    <a:pt x="174" y="182"/>
                    <a:pt x="174" y="182"/>
                  </a:cubicBezTo>
                  <a:cubicBezTo>
                    <a:pt x="173" y="185"/>
                    <a:pt x="173" y="185"/>
                    <a:pt x="173" y="185"/>
                  </a:cubicBezTo>
                  <a:cubicBezTo>
                    <a:pt x="173" y="185"/>
                    <a:pt x="172" y="187"/>
                    <a:pt x="171" y="188"/>
                  </a:cubicBezTo>
                  <a:cubicBezTo>
                    <a:pt x="169" y="188"/>
                    <a:pt x="166" y="188"/>
                    <a:pt x="166" y="188"/>
                  </a:cubicBezTo>
                  <a:cubicBezTo>
                    <a:pt x="166" y="188"/>
                    <a:pt x="166" y="187"/>
                    <a:pt x="164" y="188"/>
                  </a:cubicBezTo>
                  <a:cubicBezTo>
                    <a:pt x="162" y="188"/>
                    <a:pt x="160" y="190"/>
                    <a:pt x="160" y="190"/>
                  </a:cubicBezTo>
                  <a:cubicBezTo>
                    <a:pt x="160" y="190"/>
                    <a:pt x="160" y="190"/>
                    <a:pt x="159" y="191"/>
                  </a:cubicBezTo>
                  <a:cubicBezTo>
                    <a:pt x="157" y="191"/>
                    <a:pt x="156" y="191"/>
                    <a:pt x="155" y="191"/>
                  </a:cubicBezTo>
                  <a:cubicBezTo>
                    <a:pt x="154" y="191"/>
                    <a:pt x="152" y="190"/>
                    <a:pt x="152" y="190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50" y="193"/>
                    <a:pt x="148" y="194"/>
                    <a:pt x="147" y="194"/>
                  </a:cubicBezTo>
                  <a:cubicBezTo>
                    <a:pt x="147" y="194"/>
                    <a:pt x="144" y="198"/>
                    <a:pt x="144" y="198"/>
                  </a:cubicBezTo>
                  <a:cubicBezTo>
                    <a:pt x="144" y="198"/>
                    <a:pt x="144" y="198"/>
                    <a:pt x="143" y="198"/>
                  </a:cubicBezTo>
                  <a:cubicBezTo>
                    <a:pt x="141" y="198"/>
                    <a:pt x="139" y="197"/>
                    <a:pt x="139" y="197"/>
                  </a:cubicBezTo>
                  <a:cubicBezTo>
                    <a:pt x="136" y="194"/>
                    <a:pt x="136" y="194"/>
                    <a:pt x="136" y="194"/>
                  </a:cubicBezTo>
                  <a:cubicBezTo>
                    <a:pt x="136" y="194"/>
                    <a:pt x="137" y="194"/>
                    <a:pt x="139" y="192"/>
                  </a:cubicBezTo>
                  <a:cubicBezTo>
                    <a:pt x="140" y="191"/>
                    <a:pt x="140" y="191"/>
                    <a:pt x="140" y="190"/>
                  </a:cubicBezTo>
                  <a:cubicBezTo>
                    <a:pt x="139" y="188"/>
                    <a:pt x="138" y="186"/>
                    <a:pt x="139" y="186"/>
                  </a:cubicBezTo>
                  <a:cubicBezTo>
                    <a:pt x="140" y="185"/>
                    <a:pt x="141" y="186"/>
                    <a:pt x="142" y="184"/>
                  </a:cubicBezTo>
                  <a:cubicBezTo>
                    <a:pt x="142" y="183"/>
                    <a:pt x="142" y="182"/>
                    <a:pt x="142" y="180"/>
                  </a:cubicBezTo>
                  <a:cubicBezTo>
                    <a:pt x="142" y="179"/>
                    <a:pt x="142" y="177"/>
                    <a:pt x="143" y="177"/>
                  </a:cubicBezTo>
                  <a:cubicBezTo>
                    <a:pt x="144" y="176"/>
                    <a:pt x="144" y="175"/>
                    <a:pt x="144" y="175"/>
                  </a:cubicBezTo>
                  <a:cubicBezTo>
                    <a:pt x="139" y="174"/>
                    <a:pt x="139" y="174"/>
                    <a:pt x="139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6" y="175"/>
                    <a:pt x="136" y="173"/>
                    <a:pt x="134" y="173"/>
                  </a:cubicBezTo>
                  <a:cubicBezTo>
                    <a:pt x="132" y="172"/>
                    <a:pt x="128" y="172"/>
                    <a:pt x="128" y="172"/>
                  </a:cubicBezTo>
                  <a:cubicBezTo>
                    <a:pt x="127" y="168"/>
                    <a:pt x="127" y="168"/>
                    <a:pt x="127" y="168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119" y="166"/>
                    <a:pt x="118" y="162"/>
                    <a:pt x="117" y="161"/>
                  </a:cubicBezTo>
                  <a:cubicBezTo>
                    <a:pt x="116" y="160"/>
                    <a:pt x="116" y="160"/>
                    <a:pt x="116" y="160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08" y="156"/>
                    <a:pt x="108" y="156"/>
                    <a:pt x="108" y="156"/>
                  </a:cubicBezTo>
                  <a:cubicBezTo>
                    <a:pt x="108" y="156"/>
                    <a:pt x="107" y="156"/>
                    <a:pt x="105" y="155"/>
                  </a:cubicBezTo>
                  <a:cubicBezTo>
                    <a:pt x="102" y="154"/>
                    <a:pt x="101" y="151"/>
                    <a:pt x="101" y="151"/>
                  </a:cubicBezTo>
                  <a:cubicBezTo>
                    <a:pt x="101" y="151"/>
                    <a:pt x="101" y="149"/>
                    <a:pt x="99" y="150"/>
                  </a:cubicBezTo>
                  <a:cubicBezTo>
                    <a:pt x="97" y="152"/>
                    <a:pt x="95" y="152"/>
                    <a:pt x="94" y="153"/>
                  </a:cubicBezTo>
                  <a:cubicBezTo>
                    <a:pt x="94" y="153"/>
                    <a:pt x="93" y="153"/>
                    <a:pt x="92" y="154"/>
                  </a:cubicBezTo>
                  <a:cubicBezTo>
                    <a:pt x="92" y="155"/>
                    <a:pt x="91" y="155"/>
                    <a:pt x="93" y="157"/>
                  </a:cubicBezTo>
                  <a:cubicBezTo>
                    <a:pt x="94" y="158"/>
                    <a:pt x="95" y="159"/>
                    <a:pt x="95" y="159"/>
                  </a:cubicBezTo>
                  <a:cubicBezTo>
                    <a:pt x="94" y="164"/>
                    <a:pt x="94" y="164"/>
                    <a:pt x="94" y="164"/>
                  </a:cubicBezTo>
                  <a:cubicBezTo>
                    <a:pt x="88" y="170"/>
                    <a:pt x="88" y="170"/>
                    <a:pt x="88" y="170"/>
                  </a:cubicBezTo>
                  <a:cubicBezTo>
                    <a:pt x="89" y="173"/>
                    <a:pt x="89" y="173"/>
                    <a:pt x="89" y="173"/>
                  </a:cubicBezTo>
                  <a:cubicBezTo>
                    <a:pt x="89" y="173"/>
                    <a:pt x="91" y="173"/>
                    <a:pt x="88" y="174"/>
                  </a:cubicBezTo>
                  <a:cubicBezTo>
                    <a:pt x="86" y="175"/>
                    <a:pt x="86" y="176"/>
                    <a:pt x="85" y="176"/>
                  </a:cubicBezTo>
                  <a:cubicBezTo>
                    <a:pt x="85" y="175"/>
                    <a:pt x="84" y="174"/>
                    <a:pt x="82" y="173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81" y="172"/>
                    <a:pt x="81" y="172"/>
                    <a:pt x="80" y="171"/>
                  </a:cubicBezTo>
                  <a:cubicBezTo>
                    <a:pt x="80" y="171"/>
                    <a:pt x="80" y="171"/>
                    <a:pt x="80" y="171"/>
                  </a:cubicBezTo>
                  <a:cubicBezTo>
                    <a:pt x="80" y="171"/>
                    <a:pt x="80" y="170"/>
                    <a:pt x="78" y="170"/>
                  </a:cubicBezTo>
                  <a:cubicBezTo>
                    <a:pt x="77" y="170"/>
                    <a:pt x="75" y="168"/>
                    <a:pt x="75" y="168"/>
                  </a:cubicBezTo>
                  <a:cubicBezTo>
                    <a:pt x="72" y="168"/>
                    <a:pt x="72" y="168"/>
                    <a:pt x="72" y="168"/>
                  </a:cubicBezTo>
                  <a:cubicBezTo>
                    <a:pt x="72" y="168"/>
                    <a:pt x="69" y="165"/>
                    <a:pt x="69" y="165"/>
                  </a:cubicBezTo>
                  <a:cubicBezTo>
                    <a:pt x="68" y="165"/>
                    <a:pt x="65" y="164"/>
                    <a:pt x="65" y="164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4" y="162"/>
                    <a:pt x="64" y="162"/>
                  </a:cubicBezTo>
                  <a:cubicBezTo>
                    <a:pt x="63" y="162"/>
                    <a:pt x="62" y="163"/>
                    <a:pt x="62" y="163"/>
                  </a:cubicBezTo>
                  <a:cubicBezTo>
                    <a:pt x="59" y="164"/>
                    <a:pt x="59" y="164"/>
                    <a:pt x="59" y="164"/>
                  </a:cubicBezTo>
                  <a:cubicBezTo>
                    <a:pt x="59" y="164"/>
                    <a:pt x="57" y="164"/>
                    <a:pt x="57" y="164"/>
                  </a:cubicBezTo>
                  <a:cubicBezTo>
                    <a:pt x="56" y="163"/>
                    <a:pt x="55" y="161"/>
                    <a:pt x="55" y="161"/>
                  </a:cubicBezTo>
                  <a:cubicBezTo>
                    <a:pt x="55" y="161"/>
                    <a:pt x="55" y="161"/>
                    <a:pt x="54" y="161"/>
                  </a:cubicBezTo>
                  <a:cubicBezTo>
                    <a:pt x="53" y="162"/>
                    <a:pt x="55" y="163"/>
                    <a:pt x="53" y="162"/>
                  </a:cubicBezTo>
                  <a:cubicBezTo>
                    <a:pt x="50" y="161"/>
                    <a:pt x="50" y="161"/>
                    <a:pt x="50" y="161"/>
                  </a:cubicBezTo>
                  <a:cubicBezTo>
                    <a:pt x="48" y="159"/>
                    <a:pt x="48" y="159"/>
                    <a:pt x="48" y="159"/>
                  </a:cubicBezTo>
                  <a:cubicBezTo>
                    <a:pt x="47" y="159"/>
                    <a:pt x="47" y="159"/>
                    <a:pt x="47" y="159"/>
                  </a:cubicBezTo>
                  <a:cubicBezTo>
                    <a:pt x="46" y="159"/>
                    <a:pt x="46" y="159"/>
                    <a:pt x="46" y="159"/>
                  </a:cubicBezTo>
                  <a:cubicBezTo>
                    <a:pt x="46" y="159"/>
                    <a:pt x="45" y="157"/>
                    <a:pt x="45" y="157"/>
                  </a:cubicBezTo>
                  <a:cubicBezTo>
                    <a:pt x="45" y="157"/>
                    <a:pt x="45" y="155"/>
                    <a:pt x="45" y="155"/>
                  </a:cubicBezTo>
                  <a:cubicBezTo>
                    <a:pt x="44" y="155"/>
                    <a:pt x="41" y="154"/>
                    <a:pt x="41" y="154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39" y="152"/>
                    <a:pt x="37" y="151"/>
                    <a:pt x="37" y="151"/>
                  </a:cubicBezTo>
                  <a:cubicBezTo>
                    <a:pt x="36" y="150"/>
                    <a:pt x="36" y="150"/>
                    <a:pt x="36" y="150"/>
                  </a:cubicBezTo>
                  <a:cubicBezTo>
                    <a:pt x="33" y="150"/>
                    <a:pt x="33" y="150"/>
                    <a:pt x="33" y="150"/>
                  </a:cubicBezTo>
                  <a:cubicBezTo>
                    <a:pt x="32" y="148"/>
                    <a:pt x="32" y="148"/>
                    <a:pt x="32" y="148"/>
                  </a:cubicBezTo>
                  <a:cubicBezTo>
                    <a:pt x="32" y="148"/>
                    <a:pt x="31" y="147"/>
                    <a:pt x="31" y="147"/>
                  </a:cubicBezTo>
                  <a:cubicBezTo>
                    <a:pt x="32" y="147"/>
                    <a:pt x="32" y="145"/>
                    <a:pt x="32" y="145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4"/>
                    <a:pt x="34" y="144"/>
                    <a:pt x="34" y="144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141"/>
                    <a:pt x="36" y="141"/>
                    <a:pt x="37" y="141"/>
                  </a:cubicBezTo>
                  <a:cubicBezTo>
                    <a:pt x="39" y="142"/>
                    <a:pt x="40" y="142"/>
                    <a:pt x="41" y="142"/>
                  </a:cubicBezTo>
                  <a:cubicBezTo>
                    <a:pt x="42" y="142"/>
                    <a:pt x="43" y="144"/>
                    <a:pt x="43" y="140"/>
                  </a:cubicBezTo>
                  <a:cubicBezTo>
                    <a:pt x="43" y="137"/>
                    <a:pt x="43" y="136"/>
                    <a:pt x="43" y="136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1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4" y="127"/>
                    <a:pt x="32" y="125"/>
                    <a:pt x="32" y="125"/>
                  </a:cubicBezTo>
                  <a:cubicBezTo>
                    <a:pt x="31" y="124"/>
                    <a:pt x="30" y="123"/>
                    <a:pt x="30" y="123"/>
                  </a:cubicBezTo>
                  <a:cubicBezTo>
                    <a:pt x="30" y="123"/>
                    <a:pt x="30" y="121"/>
                    <a:pt x="30" y="120"/>
                  </a:cubicBezTo>
                  <a:cubicBezTo>
                    <a:pt x="31" y="120"/>
                    <a:pt x="31" y="120"/>
                    <a:pt x="32" y="120"/>
                  </a:cubicBezTo>
                  <a:cubicBezTo>
                    <a:pt x="33" y="121"/>
                    <a:pt x="34" y="121"/>
                    <a:pt x="35" y="121"/>
                  </a:cubicBezTo>
                  <a:cubicBezTo>
                    <a:pt x="36" y="121"/>
                    <a:pt x="37" y="121"/>
                    <a:pt x="38" y="121"/>
                  </a:cubicBezTo>
                  <a:cubicBezTo>
                    <a:pt x="38" y="121"/>
                    <a:pt x="41" y="120"/>
                    <a:pt x="41" y="120"/>
                  </a:cubicBezTo>
                  <a:cubicBezTo>
                    <a:pt x="42" y="120"/>
                    <a:pt x="42" y="118"/>
                    <a:pt x="43" y="118"/>
                  </a:cubicBezTo>
                  <a:cubicBezTo>
                    <a:pt x="43" y="118"/>
                    <a:pt x="44" y="117"/>
                    <a:pt x="43" y="116"/>
                  </a:cubicBezTo>
                  <a:cubicBezTo>
                    <a:pt x="43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3"/>
                  </a:cubicBezTo>
                  <a:cubicBezTo>
                    <a:pt x="38" y="113"/>
                    <a:pt x="37" y="112"/>
                    <a:pt x="37" y="111"/>
                  </a:cubicBezTo>
                  <a:cubicBezTo>
                    <a:pt x="36" y="111"/>
                    <a:pt x="36" y="112"/>
                    <a:pt x="35" y="112"/>
                  </a:cubicBezTo>
                  <a:cubicBezTo>
                    <a:pt x="34" y="111"/>
                    <a:pt x="33" y="110"/>
                    <a:pt x="32" y="109"/>
                  </a:cubicBezTo>
                  <a:cubicBezTo>
                    <a:pt x="32" y="108"/>
                    <a:pt x="32" y="108"/>
                    <a:pt x="31" y="107"/>
                  </a:cubicBezTo>
                  <a:cubicBezTo>
                    <a:pt x="30" y="107"/>
                    <a:pt x="29" y="106"/>
                    <a:pt x="28" y="106"/>
                  </a:cubicBezTo>
                  <a:cubicBezTo>
                    <a:pt x="27" y="106"/>
                    <a:pt x="27" y="107"/>
                    <a:pt x="25" y="106"/>
                  </a:cubicBezTo>
                  <a:cubicBezTo>
                    <a:pt x="23" y="106"/>
                    <a:pt x="21" y="105"/>
                    <a:pt x="21" y="104"/>
                  </a:cubicBezTo>
                  <a:cubicBezTo>
                    <a:pt x="22" y="103"/>
                    <a:pt x="21" y="103"/>
                    <a:pt x="22" y="102"/>
                  </a:cubicBezTo>
                  <a:cubicBezTo>
                    <a:pt x="22" y="101"/>
                    <a:pt x="22" y="99"/>
                    <a:pt x="22" y="98"/>
                  </a:cubicBezTo>
                  <a:cubicBezTo>
                    <a:pt x="22" y="97"/>
                    <a:pt x="21" y="98"/>
                    <a:pt x="21" y="95"/>
                  </a:cubicBezTo>
                  <a:cubicBezTo>
                    <a:pt x="20" y="92"/>
                    <a:pt x="22" y="93"/>
                    <a:pt x="22" y="93"/>
                  </a:cubicBezTo>
                  <a:cubicBezTo>
                    <a:pt x="22" y="93"/>
                    <a:pt x="23" y="91"/>
                    <a:pt x="23" y="90"/>
                  </a:cubicBezTo>
                  <a:cubicBezTo>
                    <a:pt x="23" y="90"/>
                    <a:pt x="24" y="87"/>
                    <a:pt x="24" y="87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8" y="71"/>
                    <a:pt x="18" y="73"/>
                    <a:pt x="17" y="73"/>
                  </a:cubicBezTo>
                  <a:cubicBezTo>
                    <a:pt x="17" y="73"/>
                    <a:pt x="16" y="74"/>
                    <a:pt x="15" y="74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5" y="65"/>
                    <a:pt x="14" y="63"/>
                  </a:cubicBezTo>
                  <a:cubicBezTo>
                    <a:pt x="13" y="62"/>
                    <a:pt x="12" y="61"/>
                    <a:pt x="12" y="61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8" y="59"/>
                    <a:pt x="20" y="59"/>
                  </a:cubicBezTo>
                  <a:cubicBezTo>
                    <a:pt x="21" y="59"/>
                    <a:pt x="20" y="59"/>
                    <a:pt x="22" y="58"/>
                  </a:cubicBezTo>
                  <a:cubicBezTo>
                    <a:pt x="24" y="58"/>
                    <a:pt x="27" y="55"/>
                    <a:pt x="27" y="55"/>
                  </a:cubicBezTo>
                  <a:cubicBezTo>
                    <a:pt x="27" y="55"/>
                    <a:pt x="25" y="53"/>
                    <a:pt x="24" y="53"/>
                  </a:cubicBezTo>
                  <a:cubicBezTo>
                    <a:pt x="23" y="54"/>
                    <a:pt x="24" y="54"/>
                    <a:pt x="21" y="54"/>
                  </a:cubicBezTo>
                  <a:cubicBezTo>
                    <a:pt x="18" y="53"/>
                    <a:pt x="17" y="52"/>
                    <a:pt x="17" y="52"/>
                  </a:cubicBezTo>
                  <a:cubicBezTo>
                    <a:pt x="17" y="52"/>
                    <a:pt x="16" y="52"/>
                    <a:pt x="15" y="52"/>
                  </a:cubicBezTo>
                  <a:cubicBezTo>
                    <a:pt x="14" y="52"/>
                    <a:pt x="14" y="52"/>
                    <a:pt x="13" y="51"/>
                  </a:cubicBezTo>
                  <a:cubicBezTo>
                    <a:pt x="11" y="49"/>
                    <a:pt x="9" y="47"/>
                    <a:pt x="9" y="47"/>
                  </a:cubicBezTo>
                  <a:cubicBezTo>
                    <a:pt x="9" y="47"/>
                    <a:pt x="7" y="48"/>
                    <a:pt x="7" y="47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9" y="43"/>
                    <a:pt x="10" y="42"/>
                  </a:cubicBezTo>
                  <a:cubicBezTo>
                    <a:pt x="11" y="42"/>
                    <a:pt x="11" y="39"/>
                    <a:pt x="10" y="39"/>
                  </a:cubicBezTo>
                  <a:cubicBezTo>
                    <a:pt x="9" y="39"/>
                    <a:pt x="8" y="38"/>
                    <a:pt x="7" y="39"/>
                  </a:cubicBezTo>
                  <a:cubicBezTo>
                    <a:pt x="6" y="39"/>
                    <a:pt x="5" y="40"/>
                    <a:pt x="5" y="40"/>
                  </a:cubicBezTo>
                  <a:cubicBezTo>
                    <a:pt x="4" y="40"/>
                    <a:pt x="2" y="39"/>
                    <a:pt x="2" y="38"/>
                  </a:cubicBezTo>
                  <a:cubicBezTo>
                    <a:pt x="2" y="37"/>
                    <a:pt x="1" y="37"/>
                    <a:pt x="3" y="36"/>
                  </a:cubicBezTo>
                  <a:cubicBezTo>
                    <a:pt x="4" y="36"/>
                    <a:pt x="5" y="34"/>
                    <a:pt x="5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10" y="15"/>
                    <a:pt x="11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4007833" y="4715308"/>
              <a:ext cx="411368" cy="251022"/>
            </a:xfrm>
            <a:custGeom>
              <a:avLst/>
              <a:gdLst>
                <a:gd name="T0" fmla="*/ 33 w 173"/>
                <a:gd name="T1" fmla="*/ 82 h 109"/>
                <a:gd name="T2" fmla="*/ 34 w 173"/>
                <a:gd name="T3" fmla="*/ 96 h 109"/>
                <a:gd name="T4" fmla="*/ 43 w 173"/>
                <a:gd name="T5" fmla="*/ 106 h 109"/>
                <a:gd name="T6" fmla="*/ 57 w 173"/>
                <a:gd name="T7" fmla="*/ 101 h 109"/>
                <a:gd name="T8" fmla="*/ 68 w 173"/>
                <a:gd name="T9" fmla="*/ 103 h 109"/>
                <a:gd name="T10" fmla="*/ 78 w 173"/>
                <a:gd name="T11" fmla="*/ 97 h 109"/>
                <a:gd name="T12" fmla="*/ 81 w 173"/>
                <a:gd name="T13" fmla="*/ 85 h 109"/>
                <a:gd name="T14" fmla="*/ 88 w 173"/>
                <a:gd name="T15" fmla="*/ 77 h 109"/>
                <a:gd name="T16" fmla="*/ 94 w 173"/>
                <a:gd name="T17" fmla="*/ 85 h 109"/>
                <a:gd name="T18" fmla="*/ 103 w 173"/>
                <a:gd name="T19" fmla="*/ 92 h 109"/>
                <a:gd name="T20" fmla="*/ 110 w 173"/>
                <a:gd name="T21" fmla="*/ 96 h 109"/>
                <a:gd name="T22" fmla="*/ 113 w 173"/>
                <a:gd name="T23" fmla="*/ 108 h 109"/>
                <a:gd name="T24" fmla="*/ 117 w 173"/>
                <a:gd name="T25" fmla="*/ 101 h 109"/>
                <a:gd name="T26" fmla="*/ 121 w 173"/>
                <a:gd name="T27" fmla="*/ 89 h 109"/>
                <a:gd name="T28" fmla="*/ 126 w 173"/>
                <a:gd name="T29" fmla="*/ 80 h 109"/>
                <a:gd name="T30" fmla="*/ 130 w 173"/>
                <a:gd name="T31" fmla="*/ 72 h 109"/>
                <a:gd name="T32" fmla="*/ 136 w 173"/>
                <a:gd name="T33" fmla="*/ 81 h 109"/>
                <a:gd name="T34" fmla="*/ 147 w 173"/>
                <a:gd name="T35" fmla="*/ 78 h 109"/>
                <a:gd name="T36" fmla="*/ 156 w 173"/>
                <a:gd name="T37" fmla="*/ 84 h 109"/>
                <a:gd name="T38" fmla="*/ 158 w 173"/>
                <a:gd name="T39" fmla="*/ 79 h 109"/>
                <a:gd name="T40" fmla="*/ 156 w 173"/>
                <a:gd name="T41" fmla="*/ 71 h 109"/>
                <a:gd name="T42" fmla="*/ 161 w 173"/>
                <a:gd name="T43" fmla="*/ 64 h 109"/>
                <a:gd name="T44" fmla="*/ 170 w 173"/>
                <a:gd name="T45" fmla="*/ 67 h 109"/>
                <a:gd name="T46" fmla="*/ 170 w 173"/>
                <a:gd name="T47" fmla="*/ 58 h 109"/>
                <a:gd name="T48" fmla="*/ 170 w 173"/>
                <a:gd name="T49" fmla="*/ 45 h 109"/>
                <a:gd name="T50" fmla="*/ 163 w 173"/>
                <a:gd name="T51" fmla="*/ 46 h 109"/>
                <a:gd name="T52" fmla="*/ 152 w 173"/>
                <a:gd name="T53" fmla="*/ 48 h 109"/>
                <a:gd name="T54" fmla="*/ 138 w 173"/>
                <a:gd name="T55" fmla="*/ 40 h 109"/>
                <a:gd name="T56" fmla="*/ 133 w 173"/>
                <a:gd name="T57" fmla="*/ 40 h 109"/>
                <a:gd name="T58" fmla="*/ 133 w 173"/>
                <a:gd name="T59" fmla="*/ 35 h 109"/>
                <a:gd name="T60" fmla="*/ 137 w 173"/>
                <a:gd name="T61" fmla="*/ 24 h 109"/>
                <a:gd name="T62" fmla="*/ 136 w 173"/>
                <a:gd name="T63" fmla="*/ 15 h 109"/>
                <a:gd name="T64" fmla="*/ 125 w 173"/>
                <a:gd name="T65" fmla="*/ 8 h 109"/>
                <a:gd name="T66" fmla="*/ 110 w 173"/>
                <a:gd name="T67" fmla="*/ 7 h 109"/>
                <a:gd name="T68" fmla="*/ 102 w 173"/>
                <a:gd name="T69" fmla="*/ 6 h 109"/>
                <a:gd name="T70" fmla="*/ 103 w 173"/>
                <a:gd name="T71" fmla="*/ 1 h 109"/>
                <a:gd name="T72" fmla="*/ 95 w 173"/>
                <a:gd name="T73" fmla="*/ 2 h 109"/>
                <a:gd name="T74" fmla="*/ 100 w 173"/>
                <a:gd name="T75" fmla="*/ 8 h 109"/>
                <a:gd name="T76" fmla="*/ 92 w 173"/>
                <a:gd name="T77" fmla="*/ 12 h 109"/>
                <a:gd name="T78" fmla="*/ 76 w 173"/>
                <a:gd name="T79" fmla="*/ 13 h 109"/>
                <a:gd name="T80" fmla="*/ 65 w 173"/>
                <a:gd name="T81" fmla="*/ 13 h 109"/>
                <a:gd name="T82" fmla="*/ 59 w 173"/>
                <a:gd name="T83" fmla="*/ 14 h 109"/>
                <a:gd name="T84" fmla="*/ 56 w 173"/>
                <a:gd name="T85" fmla="*/ 20 h 109"/>
                <a:gd name="T86" fmla="*/ 46 w 173"/>
                <a:gd name="T87" fmla="*/ 16 h 109"/>
                <a:gd name="T88" fmla="*/ 39 w 173"/>
                <a:gd name="T89" fmla="*/ 20 h 109"/>
                <a:gd name="T90" fmla="*/ 42 w 173"/>
                <a:gd name="T91" fmla="*/ 23 h 109"/>
                <a:gd name="T92" fmla="*/ 37 w 173"/>
                <a:gd name="T93" fmla="*/ 33 h 109"/>
                <a:gd name="T94" fmla="*/ 29 w 173"/>
                <a:gd name="T95" fmla="*/ 41 h 109"/>
                <a:gd name="T96" fmla="*/ 19 w 173"/>
                <a:gd name="T97" fmla="*/ 47 h 109"/>
                <a:gd name="T98" fmla="*/ 19 w 173"/>
                <a:gd name="T99" fmla="*/ 56 h 109"/>
                <a:gd name="T100" fmla="*/ 7 w 173"/>
                <a:gd name="T101" fmla="*/ 67 h 109"/>
                <a:gd name="T102" fmla="*/ 7 w 173"/>
                <a:gd name="T103" fmla="*/ 77 h 109"/>
                <a:gd name="T104" fmla="*/ 0 w 173"/>
                <a:gd name="T105" fmla="*/ 87 h 109"/>
                <a:gd name="T106" fmla="*/ 10 w 173"/>
                <a:gd name="T107" fmla="*/ 87 h 109"/>
                <a:gd name="T108" fmla="*/ 12 w 173"/>
                <a:gd name="T109" fmla="*/ 77 h 109"/>
                <a:gd name="T110" fmla="*/ 31 w 173"/>
                <a:gd name="T111" fmla="*/ 7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3" h="109">
                  <a:moveTo>
                    <a:pt x="31" y="75"/>
                  </a:moveTo>
                  <a:cubicBezTo>
                    <a:pt x="33" y="76"/>
                    <a:pt x="33" y="76"/>
                    <a:pt x="33" y="76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3" y="78"/>
                    <a:pt x="33" y="77"/>
                    <a:pt x="32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3" y="81"/>
                    <a:pt x="33" y="81"/>
                  </a:cubicBezTo>
                  <a:cubicBezTo>
                    <a:pt x="33" y="81"/>
                    <a:pt x="34" y="81"/>
                    <a:pt x="33" y="82"/>
                  </a:cubicBezTo>
                  <a:cubicBezTo>
                    <a:pt x="33" y="84"/>
                    <a:pt x="33" y="85"/>
                    <a:pt x="33" y="85"/>
                  </a:cubicBezTo>
                  <a:cubicBezTo>
                    <a:pt x="33" y="85"/>
                    <a:pt x="33" y="86"/>
                    <a:pt x="33" y="87"/>
                  </a:cubicBezTo>
                  <a:cubicBezTo>
                    <a:pt x="32" y="87"/>
                    <a:pt x="31" y="90"/>
                    <a:pt x="31" y="90"/>
                  </a:cubicBezTo>
                  <a:cubicBezTo>
                    <a:pt x="31" y="90"/>
                    <a:pt x="31" y="90"/>
                    <a:pt x="31" y="91"/>
                  </a:cubicBezTo>
                  <a:cubicBezTo>
                    <a:pt x="32" y="91"/>
                    <a:pt x="35" y="91"/>
                    <a:pt x="35" y="91"/>
                  </a:cubicBezTo>
                  <a:cubicBezTo>
                    <a:pt x="35" y="91"/>
                    <a:pt x="35" y="93"/>
                    <a:pt x="35" y="94"/>
                  </a:cubicBezTo>
                  <a:cubicBezTo>
                    <a:pt x="34" y="94"/>
                    <a:pt x="33" y="96"/>
                    <a:pt x="34" y="96"/>
                  </a:cubicBezTo>
                  <a:cubicBezTo>
                    <a:pt x="35" y="96"/>
                    <a:pt x="36" y="97"/>
                    <a:pt x="36" y="97"/>
                  </a:cubicBezTo>
                  <a:cubicBezTo>
                    <a:pt x="36" y="97"/>
                    <a:pt x="37" y="98"/>
                    <a:pt x="37" y="98"/>
                  </a:cubicBezTo>
                  <a:cubicBezTo>
                    <a:pt x="38" y="98"/>
                    <a:pt x="39" y="99"/>
                    <a:pt x="39" y="99"/>
                  </a:cubicBezTo>
                  <a:cubicBezTo>
                    <a:pt x="39" y="99"/>
                    <a:pt x="41" y="101"/>
                    <a:pt x="41" y="101"/>
                  </a:cubicBezTo>
                  <a:cubicBezTo>
                    <a:pt x="41" y="102"/>
                    <a:pt x="40" y="103"/>
                    <a:pt x="40" y="103"/>
                  </a:cubicBezTo>
                  <a:cubicBezTo>
                    <a:pt x="40" y="103"/>
                    <a:pt x="42" y="105"/>
                    <a:pt x="42" y="105"/>
                  </a:cubicBezTo>
                  <a:cubicBezTo>
                    <a:pt x="42" y="105"/>
                    <a:pt x="42" y="106"/>
                    <a:pt x="43" y="106"/>
                  </a:cubicBezTo>
                  <a:cubicBezTo>
                    <a:pt x="44" y="106"/>
                    <a:pt x="45" y="105"/>
                    <a:pt x="45" y="105"/>
                  </a:cubicBezTo>
                  <a:cubicBezTo>
                    <a:pt x="45" y="105"/>
                    <a:pt x="47" y="104"/>
                    <a:pt x="47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3"/>
                    <a:pt x="51" y="104"/>
                    <a:pt x="52" y="104"/>
                  </a:cubicBezTo>
                  <a:cubicBezTo>
                    <a:pt x="53" y="104"/>
                    <a:pt x="56" y="104"/>
                    <a:pt x="56" y="104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6" y="101"/>
                    <a:pt x="57" y="101"/>
                  </a:cubicBezTo>
                  <a:cubicBezTo>
                    <a:pt x="58" y="101"/>
                    <a:pt x="59" y="101"/>
                    <a:pt x="59" y="101"/>
                  </a:cubicBezTo>
                  <a:cubicBezTo>
                    <a:pt x="59" y="101"/>
                    <a:pt x="58" y="100"/>
                    <a:pt x="59" y="100"/>
                  </a:cubicBezTo>
                  <a:cubicBezTo>
                    <a:pt x="59" y="100"/>
                    <a:pt x="61" y="100"/>
                    <a:pt x="62" y="101"/>
                  </a:cubicBezTo>
                  <a:cubicBezTo>
                    <a:pt x="62" y="101"/>
                    <a:pt x="64" y="100"/>
                    <a:pt x="64" y="101"/>
                  </a:cubicBezTo>
                  <a:cubicBezTo>
                    <a:pt x="64" y="101"/>
                    <a:pt x="65" y="102"/>
                    <a:pt x="65" y="102"/>
                  </a:cubicBezTo>
                  <a:cubicBezTo>
                    <a:pt x="65" y="102"/>
                    <a:pt x="66" y="104"/>
                    <a:pt x="66" y="103"/>
                  </a:cubicBezTo>
                  <a:cubicBezTo>
                    <a:pt x="67" y="103"/>
                    <a:pt x="67" y="103"/>
                    <a:pt x="68" y="103"/>
                  </a:cubicBezTo>
                  <a:cubicBezTo>
                    <a:pt x="68" y="104"/>
                    <a:pt x="70" y="104"/>
                    <a:pt x="71" y="104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2"/>
                    <a:pt x="70" y="101"/>
                    <a:pt x="72" y="101"/>
                  </a:cubicBezTo>
                  <a:cubicBezTo>
                    <a:pt x="73" y="101"/>
                    <a:pt x="73" y="100"/>
                    <a:pt x="74" y="100"/>
                  </a:cubicBezTo>
                  <a:cubicBezTo>
                    <a:pt x="75" y="100"/>
                    <a:pt x="76" y="100"/>
                    <a:pt x="76" y="100"/>
                  </a:cubicBezTo>
                  <a:cubicBezTo>
                    <a:pt x="76" y="100"/>
                    <a:pt x="76" y="100"/>
                    <a:pt x="77" y="99"/>
                  </a:cubicBezTo>
                  <a:cubicBezTo>
                    <a:pt x="78" y="98"/>
                    <a:pt x="78" y="97"/>
                    <a:pt x="78" y="97"/>
                  </a:cubicBezTo>
                  <a:cubicBezTo>
                    <a:pt x="78" y="96"/>
                    <a:pt x="78" y="95"/>
                    <a:pt x="78" y="95"/>
                  </a:cubicBezTo>
                  <a:cubicBezTo>
                    <a:pt x="79" y="94"/>
                    <a:pt x="79" y="94"/>
                    <a:pt x="79" y="94"/>
                  </a:cubicBezTo>
                  <a:cubicBezTo>
                    <a:pt x="80" y="93"/>
                    <a:pt x="80" y="93"/>
                    <a:pt x="80" y="93"/>
                  </a:cubicBezTo>
                  <a:cubicBezTo>
                    <a:pt x="80" y="93"/>
                    <a:pt x="80" y="93"/>
                    <a:pt x="81" y="91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0" y="84"/>
                    <a:pt x="80" y="84"/>
                    <a:pt x="80" y="84"/>
                  </a:cubicBezTo>
                  <a:cubicBezTo>
                    <a:pt x="81" y="83"/>
                    <a:pt x="81" y="83"/>
                    <a:pt x="81" y="83"/>
                  </a:cubicBezTo>
                  <a:cubicBezTo>
                    <a:pt x="81" y="83"/>
                    <a:pt x="82" y="82"/>
                    <a:pt x="83" y="82"/>
                  </a:cubicBezTo>
                  <a:cubicBezTo>
                    <a:pt x="84" y="82"/>
                    <a:pt x="84" y="82"/>
                    <a:pt x="84" y="81"/>
                  </a:cubicBezTo>
                  <a:cubicBezTo>
                    <a:pt x="85" y="81"/>
                    <a:pt x="87" y="79"/>
                    <a:pt x="87" y="79"/>
                  </a:cubicBezTo>
                  <a:cubicBezTo>
                    <a:pt x="87" y="79"/>
                    <a:pt x="87" y="79"/>
                    <a:pt x="88" y="79"/>
                  </a:cubicBezTo>
                  <a:cubicBezTo>
                    <a:pt x="88" y="78"/>
                    <a:pt x="88" y="77"/>
                    <a:pt x="88" y="77"/>
                  </a:cubicBezTo>
                  <a:cubicBezTo>
                    <a:pt x="88" y="77"/>
                    <a:pt x="88" y="76"/>
                    <a:pt x="89" y="76"/>
                  </a:cubicBezTo>
                  <a:cubicBezTo>
                    <a:pt x="90" y="75"/>
                    <a:pt x="94" y="74"/>
                    <a:pt x="94" y="74"/>
                  </a:cubicBezTo>
                  <a:cubicBezTo>
                    <a:pt x="94" y="74"/>
                    <a:pt x="93" y="76"/>
                    <a:pt x="93" y="77"/>
                  </a:cubicBezTo>
                  <a:cubicBezTo>
                    <a:pt x="93" y="78"/>
                    <a:pt x="94" y="80"/>
                    <a:pt x="94" y="80"/>
                  </a:cubicBezTo>
                  <a:cubicBezTo>
                    <a:pt x="94" y="80"/>
                    <a:pt x="93" y="82"/>
                    <a:pt x="93" y="82"/>
                  </a:cubicBezTo>
                  <a:cubicBezTo>
                    <a:pt x="93" y="83"/>
                    <a:pt x="93" y="84"/>
                    <a:pt x="93" y="84"/>
                  </a:cubicBezTo>
                  <a:cubicBezTo>
                    <a:pt x="94" y="85"/>
                    <a:pt x="94" y="85"/>
                    <a:pt x="94" y="85"/>
                  </a:cubicBezTo>
                  <a:cubicBezTo>
                    <a:pt x="94" y="85"/>
                    <a:pt x="94" y="86"/>
                    <a:pt x="94" y="86"/>
                  </a:cubicBezTo>
                  <a:cubicBezTo>
                    <a:pt x="95" y="86"/>
                    <a:pt x="96" y="88"/>
                    <a:pt x="96" y="88"/>
                  </a:cubicBezTo>
                  <a:cubicBezTo>
                    <a:pt x="97" y="88"/>
                    <a:pt x="97" y="88"/>
                    <a:pt x="97" y="88"/>
                  </a:cubicBezTo>
                  <a:cubicBezTo>
                    <a:pt x="97" y="88"/>
                    <a:pt x="98" y="89"/>
                    <a:pt x="98" y="90"/>
                  </a:cubicBezTo>
                  <a:cubicBezTo>
                    <a:pt x="98" y="90"/>
                    <a:pt x="99" y="91"/>
                    <a:pt x="100" y="92"/>
                  </a:cubicBezTo>
                  <a:cubicBezTo>
                    <a:pt x="100" y="92"/>
                    <a:pt x="101" y="92"/>
                    <a:pt x="101" y="92"/>
                  </a:cubicBezTo>
                  <a:cubicBezTo>
                    <a:pt x="102" y="92"/>
                    <a:pt x="103" y="92"/>
                    <a:pt x="103" y="92"/>
                  </a:cubicBezTo>
                  <a:cubicBezTo>
                    <a:pt x="103" y="93"/>
                    <a:pt x="105" y="93"/>
                    <a:pt x="106" y="93"/>
                  </a:cubicBezTo>
                  <a:cubicBezTo>
                    <a:pt x="106" y="94"/>
                    <a:pt x="108" y="93"/>
                    <a:pt x="108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1" y="94"/>
                    <a:pt x="111" y="95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7"/>
                    <a:pt x="108" y="99"/>
                    <a:pt x="108" y="99"/>
                  </a:cubicBezTo>
                  <a:cubicBezTo>
                    <a:pt x="111" y="101"/>
                    <a:pt x="111" y="101"/>
                    <a:pt x="111" y="101"/>
                  </a:cubicBezTo>
                  <a:cubicBezTo>
                    <a:pt x="111" y="101"/>
                    <a:pt x="112" y="101"/>
                    <a:pt x="112" y="102"/>
                  </a:cubicBezTo>
                  <a:cubicBezTo>
                    <a:pt x="113" y="103"/>
                    <a:pt x="113" y="104"/>
                    <a:pt x="113" y="104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3" y="105"/>
                    <a:pt x="113" y="107"/>
                    <a:pt x="113" y="107"/>
                  </a:cubicBezTo>
                  <a:cubicBezTo>
                    <a:pt x="113" y="107"/>
                    <a:pt x="111" y="108"/>
                    <a:pt x="113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7" y="109"/>
                    <a:pt x="117" y="109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8" y="108"/>
                    <a:pt x="117" y="106"/>
                    <a:pt x="119" y="105"/>
                  </a:cubicBezTo>
                  <a:cubicBezTo>
                    <a:pt x="120" y="104"/>
                    <a:pt x="120" y="104"/>
                    <a:pt x="120" y="104"/>
                  </a:cubicBezTo>
                  <a:cubicBezTo>
                    <a:pt x="120" y="104"/>
                    <a:pt x="117" y="103"/>
                    <a:pt x="117" y="102"/>
                  </a:cubicBezTo>
                  <a:cubicBezTo>
                    <a:pt x="117" y="102"/>
                    <a:pt x="116" y="102"/>
                    <a:pt x="117" y="101"/>
                  </a:cubicBezTo>
                  <a:cubicBezTo>
                    <a:pt x="117" y="100"/>
                    <a:pt x="116" y="100"/>
                    <a:pt x="117" y="99"/>
                  </a:cubicBezTo>
                  <a:cubicBezTo>
                    <a:pt x="117" y="99"/>
                    <a:pt x="118" y="99"/>
                    <a:pt x="118" y="98"/>
                  </a:cubicBezTo>
                  <a:cubicBezTo>
                    <a:pt x="118" y="98"/>
                    <a:pt x="117" y="96"/>
                    <a:pt x="117" y="96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19" y="94"/>
                    <a:pt x="119" y="94"/>
                  </a:cubicBezTo>
                  <a:cubicBezTo>
                    <a:pt x="119" y="93"/>
                    <a:pt x="119" y="91"/>
                    <a:pt x="119" y="91"/>
                  </a:cubicBezTo>
                  <a:cubicBezTo>
                    <a:pt x="120" y="91"/>
                    <a:pt x="121" y="89"/>
                    <a:pt x="121" y="89"/>
                  </a:cubicBezTo>
                  <a:cubicBezTo>
                    <a:pt x="121" y="89"/>
                    <a:pt x="123" y="89"/>
                    <a:pt x="123" y="89"/>
                  </a:cubicBezTo>
                  <a:cubicBezTo>
                    <a:pt x="123" y="88"/>
                    <a:pt x="124" y="87"/>
                    <a:pt x="124" y="87"/>
                  </a:cubicBezTo>
                  <a:cubicBezTo>
                    <a:pt x="124" y="87"/>
                    <a:pt x="124" y="87"/>
                    <a:pt x="125" y="86"/>
                  </a:cubicBezTo>
                  <a:cubicBezTo>
                    <a:pt x="125" y="85"/>
                    <a:pt x="125" y="84"/>
                    <a:pt x="125" y="84"/>
                  </a:cubicBezTo>
                  <a:cubicBezTo>
                    <a:pt x="125" y="83"/>
                    <a:pt x="126" y="82"/>
                    <a:pt x="126" y="82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6"/>
                    <a:pt x="126" y="76"/>
                    <a:pt x="126" y="76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71"/>
                    <a:pt x="128" y="70"/>
                    <a:pt x="128" y="71"/>
                  </a:cubicBezTo>
                  <a:cubicBezTo>
                    <a:pt x="129" y="71"/>
                    <a:pt x="130" y="72"/>
                    <a:pt x="130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4" y="71"/>
                    <a:pt x="134" y="72"/>
                  </a:cubicBezTo>
                  <a:cubicBezTo>
                    <a:pt x="133" y="72"/>
                    <a:pt x="132" y="73"/>
                    <a:pt x="133" y="74"/>
                  </a:cubicBezTo>
                  <a:cubicBezTo>
                    <a:pt x="133" y="74"/>
                    <a:pt x="134" y="75"/>
                    <a:pt x="134" y="76"/>
                  </a:cubicBezTo>
                  <a:cubicBezTo>
                    <a:pt x="134" y="77"/>
                    <a:pt x="134" y="77"/>
                    <a:pt x="134" y="79"/>
                  </a:cubicBezTo>
                  <a:cubicBezTo>
                    <a:pt x="134" y="80"/>
                    <a:pt x="136" y="80"/>
                    <a:pt x="136" y="81"/>
                  </a:cubicBezTo>
                  <a:cubicBezTo>
                    <a:pt x="137" y="81"/>
                    <a:pt x="135" y="82"/>
                    <a:pt x="138" y="82"/>
                  </a:cubicBezTo>
                  <a:cubicBezTo>
                    <a:pt x="140" y="82"/>
                    <a:pt x="142" y="83"/>
                    <a:pt x="142" y="82"/>
                  </a:cubicBezTo>
                  <a:cubicBezTo>
                    <a:pt x="143" y="82"/>
                    <a:pt x="143" y="82"/>
                    <a:pt x="143" y="81"/>
                  </a:cubicBezTo>
                  <a:cubicBezTo>
                    <a:pt x="142" y="80"/>
                    <a:pt x="143" y="79"/>
                    <a:pt x="143" y="79"/>
                  </a:cubicBezTo>
                  <a:cubicBezTo>
                    <a:pt x="143" y="79"/>
                    <a:pt x="144" y="79"/>
                    <a:pt x="144" y="79"/>
                  </a:cubicBezTo>
                  <a:cubicBezTo>
                    <a:pt x="145" y="79"/>
                    <a:pt x="145" y="80"/>
                    <a:pt x="146" y="79"/>
                  </a:cubicBezTo>
                  <a:cubicBezTo>
                    <a:pt x="146" y="79"/>
                    <a:pt x="147" y="78"/>
                    <a:pt x="147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7"/>
                    <a:pt x="150" y="77"/>
                  </a:cubicBezTo>
                  <a:cubicBezTo>
                    <a:pt x="151" y="77"/>
                    <a:pt x="153" y="77"/>
                    <a:pt x="153" y="77"/>
                  </a:cubicBezTo>
                  <a:cubicBezTo>
                    <a:pt x="153" y="77"/>
                    <a:pt x="153" y="78"/>
                    <a:pt x="153" y="79"/>
                  </a:cubicBezTo>
                  <a:cubicBezTo>
                    <a:pt x="154" y="80"/>
                    <a:pt x="154" y="80"/>
                    <a:pt x="154" y="80"/>
                  </a:cubicBezTo>
                  <a:cubicBezTo>
                    <a:pt x="154" y="80"/>
                    <a:pt x="153" y="80"/>
                    <a:pt x="154" y="82"/>
                  </a:cubicBezTo>
                  <a:cubicBezTo>
                    <a:pt x="155" y="83"/>
                    <a:pt x="156" y="83"/>
                    <a:pt x="156" y="84"/>
                  </a:cubicBezTo>
                  <a:cubicBezTo>
                    <a:pt x="157" y="84"/>
                    <a:pt x="156" y="86"/>
                    <a:pt x="156" y="86"/>
                  </a:cubicBezTo>
                  <a:cubicBezTo>
                    <a:pt x="156" y="86"/>
                    <a:pt x="158" y="86"/>
                    <a:pt x="158" y="86"/>
                  </a:cubicBezTo>
                  <a:cubicBezTo>
                    <a:pt x="158" y="85"/>
                    <a:pt x="158" y="85"/>
                    <a:pt x="159" y="85"/>
                  </a:cubicBezTo>
                  <a:cubicBezTo>
                    <a:pt x="159" y="85"/>
                    <a:pt x="159" y="85"/>
                    <a:pt x="159" y="85"/>
                  </a:cubicBezTo>
                  <a:cubicBezTo>
                    <a:pt x="159" y="85"/>
                    <a:pt x="160" y="84"/>
                    <a:pt x="160" y="83"/>
                  </a:cubicBezTo>
                  <a:cubicBezTo>
                    <a:pt x="160" y="83"/>
                    <a:pt x="160" y="80"/>
                    <a:pt x="159" y="80"/>
                  </a:cubicBezTo>
                  <a:cubicBezTo>
                    <a:pt x="159" y="80"/>
                    <a:pt x="158" y="80"/>
                    <a:pt x="158" y="79"/>
                  </a:cubicBezTo>
                  <a:cubicBezTo>
                    <a:pt x="157" y="78"/>
                    <a:pt x="157" y="78"/>
                    <a:pt x="158" y="78"/>
                  </a:cubicBezTo>
                  <a:cubicBezTo>
                    <a:pt x="158" y="78"/>
                    <a:pt x="159" y="77"/>
                    <a:pt x="159" y="77"/>
                  </a:cubicBezTo>
                  <a:cubicBezTo>
                    <a:pt x="159" y="77"/>
                    <a:pt x="160" y="76"/>
                    <a:pt x="159" y="76"/>
                  </a:cubicBezTo>
                  <a:cubicBezTo>
                    <a:pt x="159" y="75"/>
                    <a:pt x="158" y="74"/>
                    <a:pt x="158" y="74"/>
                  </a:cubicBezTo>
                  <a:cubicBezTo>
                    <a:pt x="158" y="74"/>
                    <a:pt x="157" y="75"/>
                    <a:pt x="156" y="74"/>
                  </a:cubicBezTo>
                  <a:cubicBezTo>
                    <a:pt x="156" y="74"/>
                    <a:pt x="156" y="74"/>
                    <a:pt x="156" y="73"/>
                  </a:cubicBezTo>
                  <a:cubicBezTo>
                    <a:pt x="156" y="73"/>
                    <a:pt x="156" y="71"/>
                    <a:pt x="156" y="71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69"/>
                    <a:pt x="156" y="69"/>
                    <a:pt x="156" y="69"/>
                  </a:cubicBezTo>
                  <a:cubicBezTo>
                    <a:pt x="156" y="68"/>
                    <a:pt x="156" y="68"/>
                    <a:pt x="156" y="68"/>
                  </a:cubicBezTo>
                  <a:cubicBezTo>
                    <a:pt x="156" y="68"/>
                    <a:pt x="156" y="67"/>
                    <a:pt x="157" y="67"/>
                  </a:cubicBezTo>
                  <a:cubicBezTo>
                    <a:pt x="157" y="66"/>
                    <a:pt x="157" y="66"/>
                    <a:pt x="157" y="65"/>
                  </a:cubicBezTo>
                  <a:cubicBezTo>
                    <a:pt x="158" y="65"/>
                    <a:pt x="158" y="64"/>
                    <a:pt x="158" y="64"/>
                  </a:cubicBezTo>
                  <a:cubicBezTo>
                    <a:pt x="159" y="64"/>
                    <a:pt x="160" y="64"/>
                    <a:pt x="161" y="64"/>
                  </a:cubicBezTo>
                  <a:cubicBezTo>
                    <a:pt x="161" y="64"/>
                    <a:pt x="161" y="63"/>
                    <a:pt x="162" y="63"/>
                  </a:cubicBezTo>
                  <a:cubicBezTo>
                    <a:pt x="162" y="63"/>
                    <a:pt x="163" y="64"/>
                    <a:pt x="163" y="64"/>
                  </a:cubicBezTo>
                  <a:cubicBezTo>
                    <a:pt x="163" y="64"/>
                    <a:pt x="163" y="64"/>
                    <a:pt x="163" y="65"/>
                  </a:cubicBezTo>
                  <a:cubicBezTo>
                    <a:pt x="163" y="65"/>
                    <a:pt x="166" y="67"/>
                    <a:pt x="166" y="67"/>
                  </a:cubicBezTo>
                  <a:cubicBezTo>
                    <a:pt x="166" y="67"/>
                    <a:pt x="166" y="67"/>
                    <a:pt x="167" y="67"/>
                  </a:cubicBezTo>
                  <a:cubicBezTo>
                    <a:pt x="167" y="67"/>
                    <a:pt x="166" y="67"/>
                    <a:pt x="167" y="67"/>
                  </a:cubicBezTo>
                  <a:cubicBezTo>
                    <a:pt x="167" y="68"/>
                    <a:pt x="170" y="67"/>
                    <a:pt x="170" y="67"/>
                  </a:cubicBezTo>
                  <a:cubicBezTo>
                    <a:pt x="171" y="67"/>
                    <a:pt x="171" y="67"/>
                    <a:pt x="171" y="67"/>
                  </a:cubicBezTo>
                  <a:cubicBezTo>
                    <a:pt x="171" y="67"/>
                    <a:pt x="171" y="67"/>
                    <a:pt x="171" y="66"/>
                  </a:cubicBezTo>
                  <a:cubicBezTo>
                    <a:pt x="172" y="66"/>
                    <a:pt x="172" y="65"/>
                    <a:pt x="172" y="64"/>
                  </a:cubicBezTo>
                  <a:cubicBezTo>
                    <a:pt x="172" y="64"/>
                    <a:pt x="173" y="64"/>
                    <a:pt x="172" y="63"/>
                  </a:cubicBezTo>
                  <a:cubicBezTo>
                    <a:pt x="170" y="62"/>
                    <a:pt x="169" y="62"/>
                    <a:pt x="169" y="62"/>
                  </a:cubicBezTo>
                  <a:cubicBezTo>
                    <a:pt x="169" y="62"/>
                    <a:pt x="167" y="60"/>
                    <a:pt x="168" y="60"/>
                  </a:cubicBezTo>
                  <a:cubicBezTo>
                    <a:pt x="169" y="59"/>
                    <a:pt x="170" y="58"/>
                    <a:pt x="170" y="58"/>
                  </a:cubicBezTo>
                  <a:cubicBezTo>
                    <a:pt x="169" y="56"/>
                    <a:pt x="169" y="56"/>
                    <a:pt x="169" y="56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3"/>
                    <a:pt x="169" y="53"/>
                    <a:pt x="169" y="53"/>
                  </a:cubicBezTo>
                  <a:cubicBezTo>
                    <a:pt x="169" y="53"/>
                    <a:pt x="170" y="52"/>
                    <a:pt x="170" y="52"/>
                  </a:cubicBezTo>
                  <a:cubicBezTo>
                    <a:pt x="170" y="51"/>
                    <a:pt x="171" y="48"/>
                    <a:pt x="171" y="48"/>
                  </a:cubicBezTo>
                  <a:cubicBezTo>
                    <a:pt x="171" y="48"/>
                    <a:pt x="171" y="47"/>
                    <a:pt x="171" y="46"/>
                  </a:cubicBezTo>
                  <a:cubicBezTo>
                    <a:pt x="171" y="46"/>
                    <a:pt x="170" y="45"/>
                    <a:pt x="170" y="45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69" y="44"/>
                    <a:pt x="168" y="42"/>
                    <a:pt x="168" y="42"/>
                  </a:cubicBezTo>
                  <a:cubicBezTo>
                    <a:pt x="167" y="43"/>
                    <a:pt x="166" y="43"/>
                    <a:pt x="166" y="43"/>
                  </a:cubicBezTo>
                  <a:cubicBezTo>
                    <a:pt x="166" y="43"/>
                    <a:pt x="166" y="45"/>
                    <a:pt x="166" y="45"/>
                  </a:cubicBezTo>
                  <a:cubicBezTo>
                    <a:pt x="165" y="46"/>
                    <a:pt x="164" y="46"/>
                    <a:pt x="164" y="46"/>
                  </a:cubicBezTo>
                  <a:cubicBezTo>
                    <a:pt x="164" y="46"/>
                    <a:pt x="164" y="46"/>
                    <a:pt x="164" y="46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1" y="49"/>
                    <a:pt x="161" y="49"/>
                    <a:pt x="161" y="49"/>
                  </a:cubicBezTo>
                  <a:cubicBezTo>
                    <a:pt x="161" y="49"/>
                    <a:pt x="159" y="50"/>
                    <a:pt x="158" y="50"/>
                  </a:cubicBezTo>
                  <a:cubicBezTo>
                    <a:pt x="158" y="50"/>
                    <a:pt x="156" y="50"/>
                    <a:pt x="156" y="50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4"/>
                    <a:pt x="149" y="44"/>
                    <a:pt x="149" y="44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3" y="41"/>
                    <a:pt x="143" y="41"/>
                    <a:pt x="143" y="41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38" y="40"/>
                    <a:pt x="134" y="40"/>
                    <a:pt x="134" y="40"/>
                  </a:cubicBezTo>
                  <a:cubicBezTo>
                    <a:pt x="134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3" y="40"/>
                    <a:pt x="133" y="40"/>
                    <a:pt x="133" y="40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3" y="36"/>
                    <a:pt x="133" y="36"/>
                  </a:cubicBezTo>
                  <a:cubicBezTo>
                    <a:pt x="133" y="36"/>
                    <a:pt x="133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6" y="26"/>
                    <a:pt x="137" y="26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40" y="22"/>
                    <a:pt x="140" y="22"/>
                  </a:cubicBezTo>
                  <a:cubicBezTo>
                    <a:pt x="140" y="21"/>
                    <a:pt x="139" y="20"/>
                    <a:pt x="139" y="20"/>
                  </a:cubicBezTo>
                  <a:cubicBezTo>
                    <a:pt x="139" y="19"/>
                    <a:pt x="140" y="18"/>
                    <a:pt x="140" y="18"/>
                  </a:cubicBezTo>
                  <a:cubicBezTo>
                    <a:pt x="139" y="18"/>
                    <a:pt x="139" y="17"/>
                    <a:pt x="138" y="17"/>
                  </a:cubicBezTo>
                  <a:cubicBezTo>
                    <a:pt x="138" y="17"/>
                    <a:pt x="137" y="17"/>
                    <a:pt x="137" y="16"/>
                  </a:cubicBezTo>
                  <a:cubicBezTo>
                    <a:pt x="137" y="16"/>
                    <a:pt x="136" y="15"/>
                    <a:pt x="136" y="15"/>
                  </a:cubicBezTo>
                  <a:cubicBezTo>
                    <a:pt x="136" y="15"/>
                    <a:pt x="136" y="13"/>
                    <a:pt x="135" y="13"/>
                  </a:cubicBezTo>
                  <a:cubicBezTo>
                    <a:pt x="135" y="13"/>
                    <a:pt x="134" y="13"/>
                    <a:pt x="133" y="12"/>
                  </a:cubicBezTo>
                  <a:cubicBezTo>
                    <a:pt x="132" y="12"/>
                    <a:pt x="131" y="11"/>
                    <a:pt x="131" y="11"/>
                  </a:cubicBezTo>
                  <a:cubicBezTo>
                    <a:pt x="130" y="11"/>
                    <a:pt x="128" y="9"/>
                    <a:pt x="128" y="9"/>
                  </a:cubicBezTo>
                  <a:cubicBezTo>
                    <a:pt x="128" y="9"/>
                    <a:pt x="128" y="9"/>
                    <a:pt x="127" y="9"/>
                  </a:cubicBezTo>
                  <a:cubicBezTo>
                    <a:pt x="127" y="9"/>
                    <a:pt x="126" y="8"/>
                    <a:pt x="126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4" y="8"/>
                    <a:pt x="124" y="8"/>
                    <a:pt x="123" y="7"/>
                  </a:cubicBezTo>
                  <a:cubicBezTo>
                    <a:pt x="121" y="7"/>
                    <a:pt x="122" y="7"/>
                    <a:pt x="120" y="7"/>
                  </a:cubicBezTo>
                  <a:cubicBezTo>
                    <a:pt x="119" y="7"/>
                    <a:pt x="118" y="7"/>
                    <a:pt x="118" y="7"/>
                  </a:cubicBezTo>
                  <a:cubicBezTo>
                    <a:pt x="118" y="7"/>
                    <a:pt x="117" y="6"/>
                    <a:pt x="115" y="6"/>
                  </a:cubicBezTo>
                  <a:cubicBezTo>
                    <a:pt x="114" y="7"/>
                    <a:pt x="112" y="8"/>
                    <a:pt x="111" y="8"/>
                  </a:cubicBezTo>
                  <a:cubicBezTo>
                    <a:pt x="111" y="8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10" y="6"/>
                    <a:pt x="109" y="5"/>
                    <a:pt x="108" y="4"/>
                  </a:cubicBezTo>
                  <a:cubicBezTo>
                    <a:pt x="108" y="4"/>
                    <a:pt x="107" y="4"/>
                    <a:pt x="107" y="4"/>
                  </a:cubicBezTo>
                  <a:cubicBezTo>
                    <a:pt x="107" y="4"/>
                    <a:pt x="107" y="4"/>
                    <a:pt x="107" y="5"/>
                  </a:cubicBezTo>
                  <a:cubicBezTo>
                    <a:pt x="107" y="6"/>
                    <a:pt x="109" y="6"/>
                    <a:pt x="107" y="6"/>
                  </a:cubicBezTo>
                  <a:cubicBezTo>
                    <a:pt x="106" y="5"/>
                    <a:pt x="105" y="5"/>
                    <a:pt x="105" y="5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4" y="4"/>
                    <a:pt x="104" y="3"/>
                    <a:pt x="104" y="3"/>
                  </a:cubicBezTo>
                  <a:cubicBezTo>
                    <a:pt x="105" y="3"/>
                    <a:pt x="106" y="2"/>
                    <a:pt x="105" y="2"/>
                  </a:cubicBezTo>
                  <a:cubicBezTo>
                    <a:pt x="104" y="2"/>
                    <a:pt x="103" y="2"/>
                    <a:pt x="103" y="2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2" y="0"/>
                    <a:pt x="102" y="0"/>
                  </a:cubicBezTo>
                  <a:cubicBezTo>
                    <a:pt x="102" y="1"/>
                    <a:pt x="102" y="2"/>
                    <a:pt x="102" y="2"/>
                  </a:cubicBezTo>
                  <a:cubicBezTo>
                    <a:pt x="101" y="2"/>
                    <a:pt x="101" y="2"/>
                    <a:pt x="101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100" y="1"/>
                    <a:pt x="98" y="1"/>
                  </a:cubicBezTo>
                  <a:cubicBezTo>
                    <a:pt x="97" y="1"/>
                    <a:pt x="96" y="2"/>
                    <a:pt x="95" y="2"/>
                  </a:cubicBezTo>
                  <a:cubicBezTo>
                    <a:pt x="94" y="3"/>
                    <a:pt x="94" y="4"/>
                    <a:pt x="94" y="4"/>
                  </a:cubicBezTo>
                  <a:cubicBezTo>
                    <a:pt x="94" y="5"/>
                    <a:pt x="92" y="5"/>
                    <a:pt x="92" y="6"/>
                  </a:cubicBezTo>
                  <a:cubicBezTo>
                    <a:pt x="93" y="6"/>
                    <a:pt x="92" y="6"/>
                    <a:pt x="94" y="7"/>
                  </a:cubicBezTo>
                  <a:cubicBezTo>
                    <a:pt x="95" y="7"/>
                    <a:pt x="95" y="7"/>
                    <a:pt x="96" y="7"/>
                  </a:cubicBezTo>
                  <a:cubicBezTo>
                    <a:pt x="97" y="8"/>
                    <a:pt x="98" y="7"/>
                    <a:pt x="98" y="7"/>
                  </a:cubicBezTo>
                  <a:cubicBezTo>
                    <a:pt x="98" y="7"/>
                    <a:pt x="98" y="7"/>
                    <a:pt x="99" y="8"/>
                  </a:cubicBezTo>
                  <a:cubicBezTo>
                    <a:pt x="99" y="8"/>
                    <a:pt x="100" y="7"/>
                    <a:pt x="100" y="8"/>
                  </a:cubicBezTo>
                  <a:cubicBezTo>
                    <a:pt x="100" y="9"/>
                    <a:pt x="101" y="10"/>
                    <a:pt x="100" y="10"/>
                  </a:cubicBezTo>
                  <a:cubicBezTo>
                    <a:pt x="99" y="10"/>
                    <a:pt x="98" y="11"/>
                    <a:pt x="98" y="10"/>
                  </a:cubicBezTo>
                  <a:cubicBezTo>
                    <a:pt x="98" y="10"/>
                    <a:pt x="98" y="9"/>
                    <a:pt x="97" y="9"/>
                  </a:cubicBezTo>
                  <a:cubicBezTo>
                    <a:pt x="97" y="9"/>
                    <a:pt x="96" y="9"/>
                    <a:pt x="96" y="9"/>
                  </a:cubicBezTo>
                  <a:cubicBezTo>
                    <a:pt x="95" y="11"/>
                    <a:pt x="95" y="11"/>
                    <a:pt x="95" y="11"/>
                  </a:cubicBezTo>
                  <a:cubicBezTo>
                    <a:pt x="95" y="11"/>
                    <a:pt x="95" y="12"/>
                    <a:pt x="94" y="12"/>
                  </a:cubicBezTo>
                  <a:cubicBezTo>
                    <a:pt x="93" y="12"/>
                    <a:pt x="94" y="12"/>
                    <a:pt x="92" y="12"/>
                  </a:cubicBezTo>
                  <a:cubicBezTo>
                    <a:pt x="90" y="12"/>
                    <a:pt x="90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6" y="9"/>
                    <a:pt x="85" y="11"/>
                  </a:cubicBezTo>
                  <a:cubicBezTo>
                    <a:pt x="84" y="12"/>
                    <a:pt x="83" y="13"/>
                    <a:pt x="83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79" y="13"/>
                    <a:pt x="78" y="13"/>
                  </a:cubicBezTo>
                  <a:cubicBezTo>
                    <a:pt x="77" y="13"/>
                    <a:pt x="76" y="13"/>
                    <a:pt x="76" y="13"/>
                  </a:cubicBezTo>
                  <a:cubicBezTo>
                    <a:pt x="75" y="14"/>
                    <a:pt x="74" y="11"/>
                    <a:pt x="74" y="11"/>
                  </a:cubicBezTo>
                  <a:cubicBezTo>
                    <a:pt x="74" y="11"/>
                    <a:pt x="75" y="9"/>
                    <a:pt x="72" y="11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7" y="13"/>
                    <a:pt x="66" y="14"/>
                    <a:pt x="66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2"/>
                    <a:pt x="66" y="12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3" y="12"/>
                    <a:pt x="62" y="12"/>
                  </a:cubicBezTo>
                  <a:cubicBezTo>
                    <a:pt x="62" y="12"/>
                    <a:pt x="60" y="12"/>
                    <a:pt x="60" y="12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4"/>
                    <a:pt x="59" y="14"/>
                  </a:cubicBezTo>
                  <a:cubicBezTo>
                    <a:pt x="59" y="14"/>
                    <a:pt x="59" y="15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8" y="16"/>
                    <a:pt x="58" y="16"/>
                  </a:cubicBezTo>
                  <a:cubicBezTo>
                    <a:pt x="58" y="16"/>
                    <a:pt x="57" y="16"/>
                    <a:pt x="57" y="16"/>
                  </a:cubicBezTo>
                  <a:cubicBezTo>
                    <a:pt x="57" y="16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3" y="20"/>
                    <a:pt x="52" y="20"/>
                  </a:cubicBezTo>
                  <a:cubicBezTo>
                    <a:pt x="52" y="20"/>
                    <a:pt x="51" y="20"/>
                    <a:pt x="51" y="20"/>
                  </a:cubicBezTo>
                  <a:cubicBezTo>
                    <a:pt x="50" y="20"/>
                    <a:pt x="50" y="21"/>
                    <a:pt x="50" y="21"/>
                  </a:cubicBezTo>
                  <a:cubicBezTo>
                    <a:pt x="50" y="21"/>
                    <a:pt x="48" y="20"/>
                    <a:pt x="48" y="20"/>
                  </a:cubicBezTo>
                  <a:cubicBezTo>
                    <a:pt x="47" y="20"/>
                    <a:pt x="47" y="19"/>
                    <a:pt x="47" y="18"/>
                  </a:cubicBezTo>
                  <a:cubicBezTo>
                    <a:pt x="47" y="18"/>
                    <a:pt x="46" y="16"/>
                    <a:pt x="46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41" y="19"/>
                    <a:pt x="41" y="19"/>
                  </a:cubicBezTo>
                  <a:cubicBezTo>
                    <a:pt x="41" y="19"/>
                    <a:pt x="40" y="19"/>
                    <a:pt x="40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7" y="22"/>
                    <a:pt x="37" y="22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5" y="23"/>
                    <a:pt x="36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9" y="24"/>
                    <a:pt x="40" y="24"/>
                    <a:pt x="40" y="24"/>
                  </a:cubicBezTo>
                  <a:cubicBezTo>
                    <a:pt x="40" y="24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8" y="31"/>
                    <a:pt x="37" y="33"/>
                    <a:pt x="37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4" y="45"/>
                    <a:pt x="23" y="46"/>
                    <a:pt x="23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1" y="46"/>
                    <a:pt x="20" y="46"/>
                    <a:pt x="19" y="47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9"/>
                    <a:pt x="20" y="50"/>
                    <a:pt x="20" y="50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19" y="52"/>
                    <a:pt x="19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9" y="55"/>
                    <a:pt x="19" y="55"/>
                  </a:cubicBezTo>
                  <a:cubicBezTo>
                    <a:pt x="19" y="55"/>
                    <a:pt x="19" y="56"/>
                    <a:pt x="19" y="56"/>
                  </a:cubicBezTo>
                  <a:cubicBezTo>
                    <a:pt x="19" y="56"/>
                    <a:pt x="19" y="57"/>
                    <a:pt x="18" y="58"/>
                  </a:cubicBezTo>
                  <a:cubicBezTo>
                    <a:pt x="18" y="58"/>
                    <a:pt x="17" y="59"/>
                    <a:pt x="17" y="59"/>
                  </a:cubicBezTo>
                  <a:cubicBezTo>
                    <a:pt x="17" y="59"/>
                    <a:pt x="15" y="59"/>
                    <a:pt x="15" y="59"/>
                  </a:cubicBezTo>
                  <a:cubicBezTo>
                    <a:pt x="15" y="60"/>
                    <a:pt x="13" y="60"/>
                    <a:pt x="13" y="60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7"/>
                    <a:pt x="7" y="67"/>
                  </a:cubicBezTo>
                  <a:cubicBezTo>
                    <a:pt x="7" y="67"/>
                    <a:pt x="7" y="69"/>
                    <a:pt x="7" y="69"/>
                  </a:cubicBezTo>
                  <a:cubicBezTo>
                    <a:pt x="7" y="70"/>
                    <a:pt x="6" y="71"/>
                    <a:pt x="6" y="71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84"/>
                    <a:pt x="3" y="85"/>
                    <a:pt x="2" y="85"/>
                  </a:cubicBezTo>
                  <a:cubicBezTo>
                    <a:pt x="2" y="85"/>
                    <a:pt x="1" y="86"/>
                    <a:pt x="1" y="8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90"/>
                    <a:pt x="2" y="90"/>
                    <a:pt x="2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88"/>
                    <a:pt x="10" y="87"/>
                  </a:cubicBezTo>
                  <a:cubicBezTo>
                    <a:pt x="11" y="86"/>
                    <a:pt x="12" y="86"/>
                    <a:pt x="12" y="86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ubicBezTo>
                    <a:pt x="11" y="79"/>
                    <a:pt x="12" y="77"/>
                    <a:pt x="12" y="77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4" y="73"/>
                    <a:pt x="24" y="73"/>
                  </a:cubicBezTo>
                  <a:cubicBezTo>
                    <a:pt x="24" y="73"/>
                    <a:pt x="28" y="73"/>
                    <a:pt x="28" y="73"/>
                  </a:cubicBezTo>
                  <a:lnTo>
                    <a:pt x="31" y="7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2" name="Freeform 51"/>
            <p:cNvSpPr>
              <a:spLocks/>
            </p:cNvSpPr>
            <p:nvPr/>
          </p:nvSpPr>
          <p:spPr bwMode="auto">
            <a:xfrm>
              <a:off x="5125060" y="3328025"/>
              <a:ext cx="515644" cy="308778"/>
            </a:xfrm>
            <a:custGeom>
              <a:avLst/>
              <a:gdLst>
                <a:gd name="T0" fmla="*/ 31 w 217"/>
                <a:gd name="T1" fmla="*/ 35 h 134"/>
                <a:gd name="T2" fmla="*/ 42 w 217"/>
                <a:gd name="T3" fmla="*/ 43 h 134"/>
                <a:gd name="T4" fmla="*/ 55 w 217"/>
                <a:gd name="T5" fmla="*/ 53 h 134"/>
                <a:gd name="T6" fmla="*/ 66 w 217"/>
                <a:gd name="T7" fmla="*/ 68 h 134"/>
                <a:gd name="T8" fmla="*/ 83 w 217"/>
                <a:gd name="T9" fmla="*/ 64 h 134"/>
                <a:gd name="T10" fmla="*/ 87 w 217"/>
                <a:gd name="T11" fmla="*/ 37 h 134"/>
                <a:gd name="T12" fmla="*/ 83 w 217"/>
                <a:gd name="T13" fmla="*/ 16 h 134"/>
                <a:gd name="T14" fmla="*/ 99 w 217"/>
                <a:gd name="T15" fmla="*/ 3 h 134"/>
                <a:gd name="T16" fmla="*/ 112 w 217"/>
                <a:gd name="T17" fmla="*/ 2 h 134"/>
                <a:gd name="T18" fmla="*/ 125 w 217"/>
                <a:gd name="T19" fmla="*/ 5 h 134"/>
                <a:gd name="T20" fmla="*/ 142 w 217"/>
                <a:gd name="T21" fmla="*/ 17 h 134"/>
                <a:gd name="T22" fmla="*/ 152 w 217"/>
                <a:gd name="T23" fmla="*/ 17 h 134"/>
                <a:gd name="T24" fmla="*/ 159 w 217"/>
                <a:gd name="T25" fmla="*/ 11 h 134"/>
                <a:gd name="T26" fmla="*/ 177 w 217"/>
                <a:gd name="T27" fmla="*/ 11 h 134"/>
                <a:gd name="T28" fmla="*/ 184 w 217"/>
                <a:gd name="T29" fmla="*/ 18 h 134"/>
                <a:gd name="T30" fmla="*/ 192 w 217"/>
                <a:gd name="T31" fmla="*/ 31 h 134"/>
                <a:gd name="T32" fmla="*/ 192 w 217"/>
                <a:gd name="T33" fmla="*/ 46 h 134"/>
                <a:gd name="T34" fmla="*/ 198 w 217"/>
                <a:gd name="T35" fmla="*/ 49 h 134"/>
                <a:gd name="T36" fmla="*/ 206 w 217"/>
                <a:gd name="T37" fmla="*/ 58 h 134"/>
                <a:gd name="T38" fmla="*/ 212 w 217"/>
                <a:gd name="T39" fmla="*/ 66 h 134"/>
                <a:gd name="T40" fmla="*/ 216 w 217"/>
                <a:gd name="T41" fmla="*/ 78 h 134"/>
                <a:gd name="T42" fmla="*/ 211 w 217"/>
                <a:gd name="T43" fmla="*/ 83 h 134"/>
                <a:gd name="T44" fmla="*/ 207 w 217"/>
                <a:gd name="T45" fmla="*/ 100 h 134"/>
                <a:gd name="T46" fmla="*/ 192 w 217"/>
                <a:gd name="T47" fmla="*/ 103 h 134"/>
                <a:gd name="T48" fmla="*/ 185 w 217"/>
                <a:gd name="T49" fmla="*/ 112 h 134"/>
                <a:gd name="T50" fmla="*/ 177 w 217"/>
                <a:gd name="T51" fmla="*/ 115 h 134"/>
                <a:gd name="T52" fmla="*/ 165 w 217"/>
                <a:gd name="T53" fmla="*/ 114 h 134"/>
                <a:gd name="T54" fmla="*/ 157 w 217"/>
                <a:gd name="T55" fmla="*/ 105 h 134"/>
                <a:gd name="T56" fmla="*/ 146 w 217"/>
                <a:gd name="T57" fmla="*/ 101 h 134"/>
                <a:gd name="T58" fmla="*/ 139 w 217"/>
                <a:gd name="T59" fmla="*/ 97 h 134"/>
                <a:gd name="T60" fmla="*/ 124 w 217"/>
                <a:gd name="T61" fmla="*/ 97 h 134"/>
                <a:gd name="T62" fmla="*/ 117 w 217"/>
                <a:gd name="T63" fmla="*/ 87 h 134"/>
                <a:gd name="T64" fmla="*/ 108 w 217"/>
                <a:gd name="T65" fmla="*/ 99 h 134"/>
                <a:gd name="T66" fmla="*/ 94 w 217"/>
                <a:gd name="T67" fmla="*/ 100 h 134"/>
                <a:gd name="T68" fmla="*/ 80 w 217"/>
                <a:gd name="T69" fmla="*/ 100 h 134"/>
                <a:gd name="T70" fmla="*/ 67 w 217"/>
                <a:gd name="T71" fmla="*/ 107 h 134"/>
                <a:gd name="T72" fmla="*/ 55 w 217"/>
                <a:gd name="T73" fmla="*/ 104 h 134"/>
                <a:gd name="T74" fmla="*/ 34 w 217"/>
                <a:gd name="T75" fmla="*/ 106 h 134"/>
                <a:gd name="T76" fmla="*/ 21 w 217"/>
                <a:gd name="T77" fmla="*/ 113 h 134"/>
                <a:gd name="T78" fmla="*/ 14 w 217"/>
                <a:gd name="T79" fmla="*/ 122 h 134"/>
                <a:gd name="T80" fmla="*/ 9 w 217"/>
                <a:gd name="T81" fmla="*/ 131 h 134"/>
                <a:gd name="T82" fmla="*/ 5 w 217"/>
                <a:gd name="T83" fmla="*/ 128 h 134"/>
                <a:gd name="T84" fmla="*/ 3 w 217"/>
                <a:gd name="T85" fmla="*/ 108 h 134"/>
                <a:gd name="T86" fmla="*/ 7 w 217"/>
                <a:gd name="T87" fmla="*/ 83 h 134"/>
                <a:gd name="T88" fmla="*/ 8 w 217"/>
                <a:gd name="T89" fmla="*/ 60 h 134"/>
                <a:gd name="T90" fmla="*/ 19 w 217"/>
                <a:gd name="T91" fmla="*/ 4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134">
                  <a:moveTo>
                    <a:pt x="19" y="45"/>
                  </a:move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30" y="35"/>
                    <a:pt x="31" y="35"/>
                  </a:cubicBezTo>
                  <a:cubicBezTo>
                    <a:pt x="33" y="34"/>
                    <a:pt x="36" y="32"/>
                    <a:pt x="36" y="33"/>
                  </a:cubicBezTo>
                  <a:cubicBezTo>
                    <a:pt x="36" y="34"/>
                    <a:pt x="37" y="41"/>
                    <a:pt x="37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50"/>
                    <a:pt x="54" y="50"/>
                    <a:pt x="54" y="50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5" y="53"/>
                    <a:pt x="54" y="55"/>
                    <a:pt x="56" y="58"/>
                  </a:cubicBezTo>
                  <a:cubicBezTo>
                    <a:pt x="59" y="61"/>
                    <a:pt x="60" y="61"/>
                    <a:pt x="61" y="64"/>
                  </a:cubicBezTo>
                  <a:cubicBezTo>
                    <a:pt x="62" y="66"/>
                    <a:pt x="66" y="68"/>
                    <a:pt x="66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69"/>
                    <a:pt x="76" y="71"/>
                    <a:pt x="77" y="70"/>
                  </a:cubicBezTo>
                  <a:cubicBezTo>
                    <a:pt x="78" y="69"/>
                    <a:pt x="83" y="65"/>
                    <a:pt x="83" y="64"/>
                  </a:cubicBezTo>
                  <a:cubicBezTo>
                    <a:pt x="84" y="63"/>
                    <a:pt x="87" y="59"/>
                    <a:pt x="88" y="58"/>
                  </a:cubicBezTo>
                  <a:cubicBezTo>
                    <a:pt x="89" y="57"/>
                    <a:pt x="92" y="50"/>
                    <a:pt x="92" y="49"/>
                  </a:cubicBezTo>
                  <a:cubicBezTo>
                    <a:pt x="92" y="47"/>
                    <a:pt x="88" y="39"/>
                    <a:pt x="87" y="37"/>
                  </a:cubicBezTo>
                  <a:cubicBezTo>
                    <a:pt x="87" y="35"/>
                    <a:pt x="86" y="29"/>
                    <a:pt x="86" y="29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16"/>
                    <a:pt x="83" y="16"/>
                  </a:cubicBezTo>
                  <a:cubicBezTo>
                    <a:pt x="84" y="15"/>
                    <a:pt x="89" y="11"/>
                    <a:pt x="89" y="11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12" y="2"/>
                    <a:pt x="112" y="2"/>
                    <a:pt x="112" y="2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9" y="13"/>
                    <a:pt x="139" y="13"/>
                    <a:pt x="139" y="13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5" y="18"/>
                    <a:pt x="147" y="20"/>
                    <a:pt x="149" y="19"/>
                  </a:cubicBezTo>
                  <a:cubicBezTo>
                    <a:pt x="150" y="19"/>
                    <a:pt x="151" y="18"/>
                    <a:pt x="152" y="17"/>
                  </a:cubicBezTo>
                  <a:cubicBezTo>
                    <a:pt x="154" y="16"/>
                    <a:pt x="155" y="14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7" y="13"/>
                    <a:pt x="167" y="13"/>
                    <a:pt x="167" y="13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7" y="20"/>
                    <a:pt x="188" y="20"/>
                  </a:cubicBezTo>
                  <a:cubicBezTo>
                    <a:pt x="189" y="20"/>
                    <a:pt x="191" y="21"/>
                    <a:pt x="191" y="21"/>
                  </a:cubicBezTo>
                  <a:cubicBezTo>
                    <a:pt x="192" y="31"/>
                    <a:pt x="192" y="31"/>
                    <a:pt x="192" y="31"/>
                  </a:cubicBezTo>
                  <a:cubicBezTo>
                    <a:pt x="190" y="34"/>
                    <a:pt x="190" y="34"/>
                    <a:pt x="190" y="34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46"/>
                    <a:pt x="192" y="46"/>
                    <a:pt x="192" y="46"/>
                  </a:cubicBezTo>
                  <a:cubicBezTo>
                    <a:pt x="196" y="43"/>
                    <a:pt x="196" y="43"/>
                    <a:pt x="196" y="43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203" y="53"/>
                    <a:pt x="203" y="53"/>
                    <a:pt x="203" y="53"/>
                  </a:cubicBezTo>
                  <a:cubicBezTo>
                    <a:pt x="207" y="55"/>
                    <a:pt x="207" y="55"/>
                    <a:pt x="207" y="55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58"/>
                    <a:pt x="207" y="59"/>
                    <a:pt x="208" y="59"/>
                  </a:cubicBezTo>
                  <a:cubicBezTo>
                    <a:pt x="209" y="60"/>
                    <a:pt x="211" y="61"/>
                    <a:pt x="211" y="61"/>
                  </a:cubicBezTo>
                  <a:cubicBezTo>
                    <a:pt x="211" y="61"/>
                    <a:pt x="212" y="64"/>
                    <a:pt x="212" y="66"/>
                  </a:cubicBezTo>
                  <a:cubicBezTo>
                    <a:pt x="213" y="67"/>
                    <a:pt x="217" y="70"/>
                    <a:pt x="217" y="70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216" y="75"/>
                    <a:pt x="216" y="77"/>
                    <a:pt x="216" y="78"/>
                  </a:cubicBezTo>
                  <a:cubicBezTo>
                    <a:pt x="216" y="79"/>
                    <a:pt x="216" y="80"/>
                    <a:pt x="216" y="81"/>
                  </a:cubicBezTo>
                  <a:cubicBezTo>
                    <a:pt x="216" y="80"/>
                    <a:pt x="216" y="80"/>
                    <a:pt x="216" y="80"/>
                  </a:cubicBezTo>
                  <a:cubicBezTo>
                    <a:pt x="211" y="83"/>
                    <a:pt x="211" y="83"/>
                    <a:pt x="211" y="83"/>
                  </a:cubicBezTo>
                  <a:cubicBezTo>
                    <a:pt x="210" y="90"/>
                    <a:pt x="210" y="90"/>
                    <a:pt x="210" y="90"/>
                  </a:cubicBezTo>
                  <a:cubicBezTo>
                    <a:pt x="205" y="95"/>
                    <a:pt x="205" y="95"/>
                    <a:pt x="205" y="95"/>
                  </a:cubicBezTo>
                  <a:cubicBezTo>
                    <a:pt x="207" y="100"/>
                    <a:pt x="207" y="100"/>
                    <a:pt x="207" y="100"/>
                  </a:cubicBezTo>
                  <a:cubicBezTo>
                    <a:pt x="205" y="103"/>
                    <a:pt x="205" y="103"/>
                    <a:pt x="205" y="103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197" y="103"/>
                    <a:pt x="196" y="103"/>
                    <a:pt x="192" y="103"/>
                  </a:cubicBezTo>
                  <a:cubicBezTo>
                    <a:pt x="188" y="103"/>
                    <a:pt x="189" y="103"/>
                    <a:pt x="189" y="103"/>
                  </a:cubicBezTo>
                  <a:cubicBezTo>
                    <a:pt x="186" y="106"/>
                    <a:pt x="186" y="106"/>
                    <a:pt x="186" y="106"/>
                  </a:cubicBezTo>
                  <a:cubicBezTo>
                    <a:pt x="185" y="112"/>
                    <a:pt x="185" y="112"/>
                    <a:pt x="185" y="112"/>
                  </a:cubicBezTo>
                  <a:cubicBezTo>
                    <a:pt x="185" y="112"/>
                    <a:pt x="183" y="112"/>
                    <a:pt x="179" y="113"/>
                  </a:cubicBezTo>
                  <a:cubicBezTo>
                    <a:pt x="177" y="114"/>
                    <a:pt x="177" y="115"/>
                    <a:pt x="177" y="115"/>
                  </a:cubicBezTo>
                  <a:cubicBezTo>
                    <a:pt x="177" y="115"/>
                    <a:pt x="177" y="115"/>
                    <a:pt x="177" y="115"/>
                  </a:cubicBezTo>
                  <a:cubicBezTo>
                    <a:pt x="174" y="115"/>
                    <a:pt x="174" y="115"/>
                    <a:pt x="174" y="115"/>
                  </a:cubicBezTo>
                  <a:cubicBezTo>
                    <a:pt x="169" y="114"/>
                    <a:pt x="169" y="114"/>
                    <a:pt x="169" y="114"/>
                  </a:cubicBezTo>
                  <a:cubicBezTo>
                    <a:pt x="165" y="114"/>
                    <a:pt x="165" y="114"/>
                    <a:pt x="165" y="114"/>
                  </a:cubicBezTo>
                  <a:cubicBezTo>
                    <a:pt x="163" y="110"/>
                    <a:pt x="163" y="110"/>
                    <a:pt x="163" y="110"/>
                  </a:cubicBezTo>
                  <a:cubicBezTo>
                    <a:pt x="160" y="109"/>
                    <a:pt x="160" y="109"/>
                    <a:pt x="160" y="109"/>
                  </a:cubicBezTo>
                  <a:cubicBezTo>
                    <a:pt x="157" y="105"/>
                    <a:pt x="157" y="105"/>
                    <a:pt x="157" y="105"/>
                  </a:cubicBezTo>
                  <a:cubicBezTo>
                    <a:pt x="153" y="104"/>
                    <a:pt x="153" y="104"/>
                    <a:pt x="153" y="104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101"/>
                    <a:pt x="146" y="101"/>
                    <a:pt x="146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2" y="97"/>
                    <a:pt x="142" y="97"/>
                    <a:pt x="142" y="97"/>
                  </a:cubicBezTo>
                  <a:cubicBezTo>
                    <a:pt x="139" y="97"/>
                    <a:pt x="139" y="97"/>
                    <a:pt x="139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24" y="97"/>
                    <a:pt x="124" y="97"/>
                    <a:pt x="124" y="97"/>
                  </a:cubicBezTo>
                  <a:cubicBezTo>
                    <a:pt x="123" y="96"/>
                    <a:pt x="123" y="96"/>
                    <a:pt x="123" y="96"/>
                  </a:cubicBezTo>
                  <a:cubicBezTo>
                    <a:pt x="119" y="93"/>
                    <a:pt x="119" y="93"/>
                    <a:pt x="119" y="93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117" y="87"/>
                    <a:pt x="113" y="90"/>
                    <a:pt x="112" y="90"/>
                  </a:cubicBezTo>
                  <a:cubicBezTo>
                    <a:pt x="112" y="90"/>
                    <a:pt x="109" y="95"/>
                    <a:pt x="109" y="95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99" y="101"/>
                    <a:pt x="99" y="102"/>
                  </a:cubicBezTo>
                  <a:cubicBezTo>
                    <a:pt x="98" y="102"/>
                    <a:pt x="94" y="100"/>
                    <a:pt x="94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2" y="100"/>
                    <a:pt x="81" y="99"/>
                  </a:cubicBezTo>
                  <a:cubicBezTo>
                    <a:pt x="80" y="99"/>
                    <a:pt x="80" y="100"/>
                    <a:pt x="80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102"/>
                    <a:pt x="68" y="106"/>
                    <a:pt x="67" y="107"/>
                  </a:cubicBezTo>
                  <a:cubicBezTo>
                    <a:pt x="66" y="107"/>
                    <a:pt x="63" y="104"/>
                    <a:pt x="62" y="103"/>
                  </a:cubicBezTo>
                  <a:cubicBezTo>
                    <a:pt x="62" y="102"/>
                    <a:pt x="59" y="101"/>
                    <a:pt x="59" y="101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48" y="105"/>
                    <a:pt x="47" y="105"/>
                  </a:cubicBezTo>
                  <a:cubicBezTo>
                    <a:pt x="46" y="105"/>
                    <a:pt x="41" y="107"/>
                    <a:pt x="41" y="107"/>
                  </a:cubicBezTo>
                  <a:cubicBezTo>
                    <a:pt x="34" y="106"/>
                    <a:pt x="34" y="106"/>
                    <a:pt x="34" y="106"/>
                  </a:cubicBezTo>
                  <a:cubicBezTo>
                    <a:pt x="31" y="109"/>
                    <a:pt x="31" y="109"/>
                    <a:pt x="31" y="109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21" y="113"/>
                    <a:pt x="21" y="113"/>
                    <a:pt x="21" y="113"/>
                  </a:cubicBezTo>
                  <a:cubicBezTo>
                    <a:pt x="19" y="118"/>
                    <a:pt x="19" y="118"/>
                    <a:pt x="19" y="11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3" y="128"/>
                    <a:pt x="10" y="129"/>
                    <a:pt x="8" y="129"/>
                  </a:cubicBezTo>
                  <a:cubicBezTo>
                    <a:pt x="7" y="130"/>
                    <a:pt x="9" y="131"/>
                    <a:pt x="9" y="131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8" y="134"/>
                    <a:pt x="7" y="133"/>
                    <a:pt x="7" y="133"/>
                  </a:cubicBezTo>
                  <a:cubicBezTo>
                    <a:pt x="7" y="133"/>
                    <a:pt x="6" y="130"/>
                    <a:pt x="5" y="128"/>
                  </a:cubicBezTo>
                  <a:cubicBezTo>
                    <a:pt x="3" y="126"/>
                    <a:pt x="1" y="117"/>
                    <a:pt x="1" y="117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3" y="109"/>
                    <a:pt x="3" y="108"/>
                  </a:cubicBezTo>
                  <a:cubicBezTo>
                    <a:pt x="2" y="106"/>
                    <a:pt x="1" y="97"/>
                    <a:pt x="1" y="97"/>
                  </a:cubicBezTo>
                  <a:cubicBezTo>
                    <a:pt x="1" y="97"/>
                    <a:pt x="0" y="93"/>
                    <a:pt x="0" y="92"/>
                  </a:cubicBezTo>
                  <a:cubicBezTo>
                    <a:pt x="0" y="91"/>
                    <a:pt x="7" y="83"/>
                    <a:pt x="7" y="83"/>
                  </a:cubicBezTo>
                  <a:cubicBezTo>
                    <a:pt x="7" y="82"/>
                    <a:pt x="8" y="74"/>
                    <a:pt x="8" y="74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47"/>
                    <a:pt x="12" y="47"/>
                  </a:cubicBezTo>
                  <a:cubicBezTo>
                    <a:pt x="13" y="46"/>
                    <a:pt x="19" y="45"/>
                    <a:pt x="19" y="4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3" name="Freeform 61"/>
            <p:cNvSpPr>
              <a:spLocks noEditPoints="1"/>
            </p:cNvSpPr>
            <p:nvPr/>
          </p:nvSpPr>
          <p:spPr bwMode="auto">
            <a:xfrm>
              <a:off x="4897031" y="4996319"/>
              <a:ext cx="374701" cy="320997"/>
            </a:xfrm>
            <a:custGeom>
              <a:avLst/>
              <a:gdLst>
                <a:gd name="T0" fmla="*/ 132 w 158"/>
                <a:gd name="T1" fmla="*/ 9 h 139"/>
                <a:gd name="T2" fmla="*/ 138 w 158"/>
                <a:gd name="T3" fmla="*/ 25 h 139"/>
                <a:gd name="T4" fmla="*/ 135 w 158"/>
                <a:gd name="T5" fmla="*/ 42 h 139"/>
                <a:gd name="T6" fmla="*/ 151 w 158"/>
                <a:gd name="T7" fmla="*/ 49 h 139"/>
                <a:gd name="T8" fmla="*/ 152 w 158"/>
                <a:gd name="T9" fmla="*/ 59 h 139"/>
                <a:gd name="T10" fmla="*/ 149 w 158"/>
                <a:gd name="T11" fmla="*/ 65 h 139"/>
                <a:gd name="T12" fmla="*/ 151 w 158"/>
                <a:gd name="T13" fmla="*/ 79 h 139"/>
                <a:gd name="T14" fmla="*/ 141 w 158"/>
                <a:gd name="T15" fmla="*/ 85 h 139"/>
                <a:gd name="T16" fmla="*/ 135 w 158"/>
                <a:gd name="T17" fmla="*/ 87 h 139"/>
                <a:gd name="T18" fmla="*/ 140 w 158"/>
                <a:gd name="T19" fmla="*/ 93 h 139"/>
                <a:gd name="T20" fmla="*/ 138 w 158"/>
                <a:gd name="T21" fmla="*/ 97 h 139"/>
                <a:gd name="T22" fmla="*/ 129 w 158"/>
                <a:gd name="T23" fmla="*/ 103 h 139"/>
                <a:gd name="T24" fmla="*/ 121 w 158"/>
                <a:gd name="T25" fmla="*/ 115 h 139"/>
                <a:gd name="T26" fmla="*/ 125 w 158"/>
                <a:gd name="T27" fmla="*/ 129 h 139"/>
                <a:gd name="T28" fmla="*/ 126 w 158"/>
                <a:gd name="T29" fmla="*/ 137 h 139"/>
                <a:gd name="T30" fmla="*/ 118 w 158"/>
                <a:gd name="T31" fmla="*/ 139 h 139"/>
                <a:gd name="T32" fmla="*/ 114 w 158"/>
                <a:gd name="T33" fmla="*/ 138 h 139"/>
                <a:gd name="T34" fmla="*/ 113 w 158"/>
                <a:gd name="T35" fmla="*/ 137 h 139"/>
                <a:gd name="T36" fmla="*/ 113 w 158"/>
                <a:gd name="T37" fmla="*/ 137 h 139"/>
                <a:gd name="T38" fmla="*/ 113 w 158"/>
                <a:gd name="T39" fmla="*/ 137 h 139"/>
                <a:gd name="T40" fmla="*/ 112 w 158"/>
                <a:gd name="T41" fmla="*/ 137 h 139"/>
                <a:gd name="T42" fmla="*/ 99 w 158"/>
                <a:gd name="T43" fmla="*/ 129 h 139"/>
                <a:gd name="T44" fmla="*/ 87 w 158"/>
                <a:gd name="T45" fmla="*/ 116 h 139"/>
                <a:gd name="T46" fmla="*/ 68 w 158"/>
                <a:gd name="T47" fmla="*/ 100 h 139"/>
                <a:gd name="T48" fmla="*/ 56 w 158"/>
                <a:gd name="T49" fmla="*/ 89 h 139"/>
                <a:gd name="T50" fmla="*/ 43 w 158"/>
                <a:gd name="T51" fmla="*/ 79 h 139"/>
                <a:gd name="T52" fmla="*/ 31 w 158"/>
                <a:gd name="T53" fmla="*/ 68 h 139"/>
                <a:gd name="T54" fmla="*/ 23 w 158"/>
                <a:gd name="T55" fmla="*/ 54 h 139"/>
                <a:gd name="T56" fmla="*/ 14 w 158"/>
                <a:gd name="T57" fmla="*/ 43 h 139"/>
                <a:gd name="T58" fmla="*/ 5 w 158"/>
                <a:gd name="T59" fmla="*/ 36 h 139"/>
                <a:gd name="T60" fmla="*/ 1 w 158"/>
                <a:gd name="T61" fmla="*/ 20 h 139"/>
                <a:gd name="T62" fmla="*/ 2 w 158"/>
                <a:gd name="T63" fmla="*/ 10 h 139"/>
                <a:gd name="T64" fmla="*/ 8 w 158"/>
                <a:gd name="T65" fmla="*/ 7 h 139"/>
                <a:gd name="T66" fmla="*/ 23 w 158"/>
                <a:gd name="T67" fmla="*/ 13 h 139"/>
                <a:gd name="T68" fmla="*/ 35 w 158"/>
                <a:gd name="T69" fmla="*/ 4 h 139"/>
                <a:gd name="T70" fmla="*/ 48 w 158"/>
                <a:gd name="T71" fmla="*/ 2 h 139"/>
                <a:gd name="T72" fmla="*/ 61 w 158"/>
                <a:gd name="T73" fmla="*/ 4 h 139"/>
                <a:gd name="T74" fmla="*/ 80 w 158"/>
                <a:gd name="T75" fmla="*/ 6 h 139"/>
                <a:gd name="T76" fmla="*/ 90 w 158"/>
                <a:gd name="T77" fmla="*/ 3 h 139"/>
                <a:gd name="T78" fmla="*/ 97 w 158"/>
                <a:gd name="T79" fmla="*/ 2 h 139"/>
                <a:gd name="T80" fmla="*/ 98 w 158"/>
                <a:gd name="T81" fmla="*/ 2 h 139"/>
                <a:gd name="T82" fmla="*/ 98 w 158"/>
                <a:gd name="T83" fmla="*/ 2 h 139"/>
                <a:gd name="T84" fmla="*/ 99 w 158"/>
                <a:gd name="T85" fmla="*/ 2 h 139"/>
                <a:gd name="T86" fmla="*/ 99 w 158"/>
                <a:gd name="T87" fmla="*/ 2 h 139"/>
                <a:gd name="T88" fmla="*/ 99 w 158"/>
                <a:gd name="T89" fmla="*/ 2 h 139"/>
                <a:gd name="T90" fmla="*/ 100 w 158"/>
                <a:gd name="T91" fmla="*/ 1 h 139"/>
                <a:gd name="T92" fmla="*/ 100 w 158"/>
                <a:gd name="T93" fmla="*/ 1 h 139"/>
                <a:gd name="T94" fmla="*/ 100 w 158"/>
                <a:gd name="T95" fmla="*/ 1 h 139"/>
                <a:gd name="T96" fmla="*/ 100 w 158"/>
                <a:gd name="T97" fmla="*/ 1 h 139"/>
                <a:gd name="T98" fmla="*/ 100 w 158"/>
                <a:gd name="T99" fmla="*/ 1 h 139"/>
                <a:gd name="T100" fmla="*/ 103 w 158"/>
                <a:gd name="T101" fmla="*/ 4 h 139"/>
                <a:gd name="T102" fmla="*/ 117 w 158"/>
                <a:gd name="T103" fmla="*/ 8 h 139"/>
                <a:gd name="T104" fmla="*/ 130 w 158"/>
                <a:gd name="T105" fmla="*/ 1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39">
                  <a:moveTo>
                    <a:pt x="145" y="83"/>
                  </a:moveTo>
                  <a:cubicBezTo>
                    <a:pt x="146" y="83"/>
                    <a:pt x="146" y="83"/>
                    <a:pt x="146" y="83"/>
                  </a:cubicBezTo>
                  <a:cubicBezTo>
                    <a:pt x="146" y="83"/>
                    <a:pt x="146" y="83"/>
                    <a:pt x="146" y="83"/>
                  </a:cubicBezTo>
                  <a:cubicBezTo>
                    <a:pt x="145" y="83"/>
                    <a:pt x="145" y="83"/>
                    <a:pt x="145" y="83"/>
                  </a:cubicBezTo>
                  <a:close/>
                  <a:moveTo>
                    <a:pt x="132" y="9"/>
                  </a:moveTo>
                  <a:cubicBezTo>
                    <a:pt x="132" y="9"/>
                    <a:pt x="132" y="9"/>
                    <a:pt x="132" y="9"/>
                  </a:cubicBezTo>
                  <a:cubicBezTo>
                    <a:pt x="138" y="10"/>
                    <a:pt x="138" y="10"/>
                    <a:pt x="138" y="10"/>
                  </a:cubicBezTo>
                  <a:cubicBezTo>
                    <a:pt x="141" y="11"/>
                    <a:pt x="141" y="11"/>
                    <a:pt x="141" y="11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8"/>
                    <a:pt x="137" y="28"/>
                  </a:cubicBezTo>
                  <a:cubicBezTo>
                    <a:pt x="137" y="29"/>
                    <a:pt x="136" y="31"/>
                    <a:pt x="136" y="31"/>
                  </a:cubicBezTo>
                  <a:cubicBezTo>
                    <a:pt x="136" y="31"/>
                    <a:pt x="134" y="30"/>
                    <a:pt x="135" y="33"/>
                  </a:cubicBezTo>
                  <a:cubicBezTo>
                    <a:pt x="135" y="36"/>
                    <a:pt x="136" y="35"/>
                    <a:pt x="136" y="36"/>
                  </a:cubicBezTo>
                  <a:cubicBezTo>
                    <a:pt x="136" y="37"/>
                    <a:pt x="136" y="39"/>
                    <a:pt x="136" y="40"/>
                  </a:cubicBezTo>
                  <a:cubicBezTo>
                    <a:pt x="135" y="41"/>
                    <a:pt x="136" y="41"/>
                    <a:pt x="135" y="42"/>
                  </a:cubicBezTo>
                  <a:cubicBezTo>
                    <a:pt x="135" y="43"/>
                    <a:pt x="137" y="44"/>
                    <a:pt x="139" y="44"/>
                  </a:cubicBezTo>
                  <a:cubicBezTo>
                    <a:pt x="141" y="45"/>
                    <a:pt x="141" y="44"/>
                    <a:pt x="142" y="44"/>
                  </a:cubicBezTo>
                  <a:cubicBezTo>
                    <a:pt x="143" y="44"/>
                    <a:pt x="144" y="45"/>
                    <a:pt x="145" y="45"/>
                  </a:cubicBezTo>
                  <a:cubicBezTo>
                    <a:pt x="146" y="46"/>
                    <a:pt x="146" y="46"/>
                    <a:pt x="146" y="47"/>
                  </a:cubicBezTo>
                  <a:cubicBezTo>
                    <a:pt x="147" y="48"/>
                    <a:pt x="148" y="49"/>
                    <a:pt x="149" y="50"/>
                  </a:cubicBezTo>
                  <a:cubicBezTo>
                    <a:pt x="150" y="50"/>
                    <a:pt x="150" y="49"/>
                    <a:pt x="151" y="49"/>
                  </a:cubicBezTo>
                  <a:cubicBezTo>
                    <a:pt x="151" y="50"/>
                    <a:pt x="152" y="51"/>
                    <a:pt x="153" y="51"/>
                  </a:cubicBezTo>
                  <a:cubicBezTo>
                    <a:pt x="153" y="52"/>
                    <a:pt x="154" y="53"/>
                    <a:pt x="155" y="53"/>
                  </a:cubicBezTo>
                  <a:cubicBezTo>
                    <a:pt x="155" y="53"/>
                    <a:pt x="157" y="54"/>
                    <a:pt x="157" y="54"/>
                  </a:cubicBezTo>
                  <a:cubicBezTo>
                    <a:pt x="158" y="55"/>
                    <a:pt x="157" y="56"/>
                    <a:pt x="157" y="56"/>
                  </a:cubicBezTo>
                  <a:cubicBezTo>
                    <a:pt x="156" y="56"/>
                    <a:pt x="156" y="58"/>
                    <a:pt x="155" y="58"/>
                  </a:cubicBezTo>
                  <a:cubicBezTo>
                    <a:pt x="155" y="58"/>
                    <a:pt x="152" y="59"/>
                    <a:pt x="152" y="59"/>
                  </a:cubicBezTo>
                  <a:cubicBezTo>
                    <a:pt x="151" y="59"/>
                    <a:pt x="150" y="59"/>
                    <a:pt x="149" y="59"/>
                  </a:cubicBezTo>
                  <a:cubicBezTo>
                    <a:pt x="148" y="59"/>
                    <a:pt x="147" y="59"/>
                    <a:pt x="146" y="58"/>
                  </a:cubicBezTo>
                  <a:cubicBezTo>
                    <a:pt x="145" y="58"/>
                    <a:pt x="145" y="58"/>
                    <a:pt x="144" y="58"/>
                  </a:cubicBezTo>
                  <a:cubicBezTo>
                    <a:pt x="144" y="59"/>
                    <a:pt x="144" y="61"/>
                    <a:pt x="144" y="61"/>
                  </a:cubicBezTo>
                  <a:cubicBezTo>
                    <a:pt x="144" y="61"/>
                    <a:pt x="145" y="62"/>
                    <a:pt x="146" y="63"/>
                  </a:cubicBezTo>
                  <a:cubicBezTo>
                    <a:pt x="146" y="63"/>
                    <a:pt x="148" y="65"/>
                    <a:pt x="149" y="65"/>
                  </a:cubicBezTo>
                  <a:cubicBezTo>
                    <a:pt x="149" y="65"/>
                    <a:pt x="150" y="66"/>
                    <a:pt x="151" y="67"/>
                  </a:cubicBezTo>
                  <a:cubicBezTo>
                    <a:pt x="152" y="69"/>
                    <a:pt x="152" y="70"/>
                    <a:pt x="152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4"/>
                    <a:pt x="157" y="75"/>
                    <a:pt x="157" y="78"/>
                  </a:cubicBezTo>
                  <a:cubicBezTo>
                    <a:pt x="157" y="82"/>
                    <a:pt x="156" y="80"/>
                    <a:pt x="155" y="80"/>
                  </a:cubicBezTo>
                  <a:cubicBezTo>
                    <a:pt x="154" y="80"/>
                    <a:pt x="153" y="80"/>
                    <a:pt x="151" y="79"/>
                  </a:cubicBezTo>
                  <a:cubicBezTo>
                    <a:pt x="150" y="79"/>
                    <a:pt x="150" y="79"/>
                    <a:pt x="150" y="79"/>
                  </a:cubicBezTo>
                  <a:cubicBezTo>
                    <a:pt x="148" y="82"/>
                    <a:pt x="148" y="82"/>
                    <a:pt x="148" y="82"/>
                  </a:cubicBezTo>
                  <a:cubicBezTo>
                    <a:pt x="148" y="82"/>
                    <a:pt x="146" y="82"/>
                    <a:pt x="145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2" y="84"/>
                    <a:pt x="142" y="84"/>
                  </a:cubicBezTo>
                  <a:cubicBezTo>
                    <a:pt x="142" y="84"/>
                    <a:pt x="141" y="85"/>
                    <a:pt x="141" y="85"/>
                  </a:cubicBezTo>
                  <a:cubicBezTo>
                    <a:pt x="140" y="85"/>
                    <a:pt x="140" y="85"/>
                    <a:pt x="140" y="85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38" y="83"/>
                    <a:pt x="138" y="83"/>
                    <a:pt x="138" y="83"/>
                  </a:cubicBezTo>
                  <a:cubicBezTo>
                    <a:pt x="136" y="85"/>
                    <a:pt x="136" y="85"/>
                    <a:pt x="136" y="85"/>
                  </a:cubicBezTo>
                  <a:cubicBezTo>
                    <a:pt x="135" y="86"/>
                    <a:pt x="135" y="86"/>
                    <a:pt x="135" y="86"/>
                  </a:cubicBezTo>
                  <a:cubicBezTo>
                    <a:pt x="135" y="86"/>
                    <a:pt x="135" y="87"/>
                    <a:pt x="135" y="87"/>
                  </a:cubicBezTo>
                  <a:cubicBezTo>
                    <a:pt x="135" y="87"/>
                    <a:pt x="137" y="87"/>
                    <a:pt x="137" y="87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7" y="89"/>
                    <a:pt x="137" y="89"/>
                    <a:pt x="138" y="89"/>
                  </a:cubicBezTo>
                  <a:cubicBezTo>
                    <a:pt x="138" y="89"/>
                    <a:pt x="139" y="90"/>
                    <a:pt x="139" y="90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3"/>
                    <a:pt x="140" y="93"/>
                    <a:pt x="140" y="93"/>
                  </a:cubicBezTo>
                  <a:cubicBezTo>
                    <a:pt x="142" y="94"/>
                    <a:pt x="142" y="94"/>
                    <a:pt x="142" y="94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7"/>
                    <a:pt x="141" y="97"/>
                    <a:pt x="141" y="97"/>
                  </a:cubicBezTo>
                  <a:cubicBezTo>
                    <a:pt x="140" y="98"/>
                    <a:pt x="140" y="98"/>
                    <a:pt x="140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4"/>
                    <a:pt x="136" y="94"/>
                    <a:pt x="136" y="94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9" y="103"/>
                    <a:pt x="129" y="103"/>
                    <a:pt x="129" y="103"/>
                  </a:cubicBezTo>
                  <a:cubicBezTo>
                    <a:pt x="127" y="105"/>
                    <a:pt x="127" y="105"/>
                    <a:pt x="127" y="105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21" y="115"/>
                    <a:pt x="121" y="115"/>
                    <a:pt x="121" y="115"/>
                  </a:cubicBezTo>
                  <a:cubicBezTo>
                    <a:pt x="121" y="118"/>
                    <a:pt x="121" y="118"/>
                    <a:pt x="121" y="118"/>
                  </a:cubicBezTo>
                  <a:cubicBezTo>
                    <a:pt x="121" y="119"/>
                    <a:pt x="121" y="119"/>
                    <a:pt x="121" y="119"/>
                  </a:cubicBezTo>
                  <a:cubicBezTo>
                    <a:pt x="124" y="123"/>
                    <a:pt x="124" y="123"/>
                    <a:pt x="124" y="123"/>
                  </a:cubicBezTo>
                  <a:cubicBezTo>
                    <a:pt x="123" y="124"/>
                    <a:pt x="123" y="124"/>
                    <a:pt x="123" y="124"/>
                  </a:cubicBezTo>
                  <a:cubicBezTo>
                    <a:pt x="122" y="125"/>
                    <a:pt x="122" y="125"/>
                    <a:pt x="122" y="125"/>
                  </a:cubicBezTo>
                  <a:cubicBezTo>
                    <a:pt x="125" y="129"/>
                    <a:pt x="125" y="129"/>
                    <a:pt x="125" y="129"/>
                  </a:cubicBezTo>
                  <a:cubicBezTo>
                    <a:pt x="126" y="130"/>
                    <a:pt x="126" y="130"/>
                    <a:pt x="126" y="130"/>
                  </a:cubicBezTo>
                  <a:cubicBezTo>
                    <a:pt x="128" y="130"/>
                    <a:pt x="128" y="130"/>
                    <a:pt x="128" y="130"/>
                  </a:cubicBezTo>
                  <a:cubicBezTo>
                    <a:pt x="128" y="132"/>
                    <a:pt x="128" y="132"/>
                    <a:pt x="128" y="132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28" y="135"/>
                    <a:pt x="128" y="135"/>
                    <a:pt x="128" y="135"/>
                  </a:cubicBezTo>
                  <a:cubicBezTo>
                    <a:pt x="126" y="137"/>
                    <a:pt x="126" y="137"/>
                    <a:pt x="126" y="137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5" y="138"/>
                    <a:pt x="125" y="138"/>
                    <a:pt x="125" y="138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4" y="139"/>
                    <a:pt x="124" y="139"/>
                    <a:pt x="124" y="139"/>
                  </a:cubicBezTo>
                  <a:cubicBezTo>
                    <a:pt x="121" y="138"/>
                    <a:pt x="121" y="138"/>
                    <a:pt x="121" y="138"/>
                  </a:cubicBezTo>
                  <a:cubicBezTo>
                    <a:pt x="121" y="138"/>
                    <a:pt x="119" y="139"/>
                    <a:pt x="118" y="139"/>
                  </a:cubicBezTo>
                  <a:cubicBezTo>
                    <a:pt x="118" y="139"/>
                    <a:pt x="117" y="139"/>
                    <a:pt x="117" y="139"/>
                  </a:cubicBezTo>
                  <a:cubicBezTo>
                    <a:pt x="117" y="139"/>
                    <a:pt x="115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3" y="137"/>
                    <a:pt x="113" y="137"/>
                    <a:pt x="113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12" y="137"/>
                    <a:pt x="112" y="137"/>
                    <a:pt x="112" y="137"/>
                  </a:cubicBezTo>
                  <a:cubicBezTo>
                    <a:pt x="106" y="134"/>
                    <a:pt x="106" y="134"/>
                    <a:pt x="106" y="134"/>
                  </a:cubicBezTo>
                  <a:cubicBezTo>
                    <a:pt x="101" y="131"/>
                    <a:pt x="101" y="131"/>
                    <a:pt x="101" y="131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8" y="125"/>
                    <a:pt x="98" y="125"/>
                    <a:pt x="98" y="125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21"/>
                    <a:pt x="87" y="126"/>
                    <a:pt x="89" y="120"/>
                  </a:cubicBezTo>
                  <a:cubicBezTo>
                    <a:pt x="89" y="120"/>
                    <a:pt x="89" y="119"/>
                    <a:pt x="89" y="119"/>
                  </a:cubicBezTo>
                  <a:cubicBezTo>
                    <a:pt x="89" y="119"/>
                    <a:pt x="89" y="119"/>
                    <a:pt x="89" y="119"/>
                  </a:cubicBezTo>
                  <a:cubicBezTo>
                    <a:pt x="89" y="118"/>
                    <a:pt x="87" y="116"/>
                    <a:pt x="87" y="116"/>
                  </a:cubicBezTo>
                  <a:cubicBezTo>
                    <a:pt x="81" y="113"/>
                    <a:pt x="80" y="110"/>
                    <a:pt x="77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3" y="95"/>
                    <a:pt x="61" y="94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3"/>
                    <a:pt x="21" y="53"/>
                    <a:pt x="21" y="52"/>
                  </a:cubicBezTo>
                  <a:cubicBezTo>
                    <a:pt x="20" y="52"/>
                    <a:pt x="18" y="51"/>
                    <a:pt x="19" y="50"/>
                  </a:cubicBezTo>
                  <a:cubicBezTo>
                    <a:pt x="19" y="49"/>
                    <a:pt x="18" y="48"/>
                    <a:pt x="18" y="46"/>
                  </a:cubicBezTo>
                  <a:cubicBezTo>
                    <a:pt x="18" y="45"/>
                    <a:pt x="18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4" y="43"/>
                    <a:pt x="14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1"/>
                    <a:pt x="14" y="39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8"/>
                    <a:pt x="10" y="35"/>
                    <a:pt x="8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5" y="35"/>
                    <a:pt x="5" y="36"/>
                    <a:pt x="5" y="36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1"/>
                    <a:pt x="2" y="29"/>
                  </a:cubicBezTo>
                  <a:cubicBezTo>
                    <a:pt x="4" y="27"/>
                    <a:pt x="2" y="26"/>
                    <a:pt x="2" y="26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3"/>
                    <a:pt x="1" y="11"/>
                  </a:cubicBezTo>
                  <a:cubicBezTo>
                    <a:pt x="1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8" y="7"/>
                    <a:pt x="8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2" y="16"/>
                    <a:pt x="23" y="16"/>
                  </a:cubicBezTo>
                  <a:cubicBezTo>
                    <a:pt x="23" y="15"/>
                    <a:pt x="23" y="13"/>
                    <a:pt x="23" y="13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80" y="6"/>
                  </a:cubicBezTo>
                  <a:cubicBezTo>
                    <a:pt x="80" y="6"/>
                    <a:pt x="83" y="6"/>
                    <a:pt x="83" y="6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6" y="5"/>
                    <a:pt x="88" y="5"/>
                    <a:pt x="88" y="5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1" y="3"/>
                    <a:pt x="91" y="3"/>
                    <a:pt x="92" y="3"/>
                  </a:cubicBezTo>
                  <a:cubicBezTo>
                    <a:pt x="93" y="3"/>
                    <a:pt x="94" y="2"/>
                    <a:pt x="94" y="2"/>
                  </a:cubicBezTo>
                  <a:cubicBezTo>
                    <a:pt x="94" y="2"/>
                    <a:pt x="95" y="3"/>
                    <a:pt x="95" y="3"/>
                  </a:cubicBezTo>
                  <a:cubicBezTo>
                    <a:pt x="95" y="3"/>
                    <a:pt x="96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0" y="1"/>
                    <a:pt x="101" y="3"/>
                    <a:pt x="103" y="4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6" y="3"/>
                    <a:pt x="107" y="3"/>
                  </a:cubicBezTo>
                  <a:cubicBezTo>
                    <a:pt x="109" y="3"/>
                    <a:pt x="110" y="3"/>
                    <a:pt x="111" y="3"/>
                  </a:cubicBezTo>
                  <a:cubicBezTo>
                    <a:pt x="113" y="3"/>
                    <a:pt x="114" y="5"/>
                    <a:pt x="114" y="5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7" y="8"/>
                    <a:pt x="118" y="10"/>
                    <a:pt x="118" y="11"/>
                  </a:cubicBezTo>
                  <a:cubicBezTo>
                    <a:pt x="119" y="12"/>
                    <a:pt x="119" y="13"/>
                    <a:pt x="119" y="13"/>
                  </a:cubicBezTo>
                  <a:cubicBezTo>
                    <a:pt x="119" y="13"/>
                    <a:pt x="119" y="13"/>
                    <a:pt x="119" y="13"/>
                  </a:cubicBezTo>
                  <a:cubicBezTo>
                    <a:pt x="120" y="13"/>
                    <a:pt x="127" y="16"/>
                    <a:pt x="128" y="16"/>
                  </a:cubicBezTo>
                  <a:cubicBezTo>
                    <a:pt x="128" y="16"/>
                    <a:pt x="129" y="16"/>
                    <a:pt x="129" y="16"/>
                  </a:cubicBezTo>
                  <a:cubicBezTo>
                    <a:pt x="129" y="14"/>
                    <a:pt x="128" y="13"/>
                    <a:pt x="130" y="12"/>
                  </a:cubicBezTo>
                  <a:cubicBezTo>
                    <a:pt x="131" y="12"/>
                    <a:pt x="132" y="14"/>
                    <a:pt x="132" y="12"/>
                  </a:cubicBezTo>
                  <a:cubicBezTo>
                    <a:pt x="132" y="10"/>
                    <a:pt x="133" y="11"/>
                    <a:pt x="132" y="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4" name="Freeform 63"/>
            <p:cNvSpPr>
              <a:spLocks noEditPoints="1"/>
            </p:cNvSpPr>
            <p:nvPr/>
          </p:nvSpPr>
          <p:spPr bwMode="auto">
            <a:xfrm>
              <a:off x="4211799" y="3482415"/>
              <a:ext cx="335741" cy="385418"/>
            </a:xfrm>
            <a:custGeom>
              <a:avLst/>
              <a:gdLst>
                <a:gd name="T0" fmla="*/ 71 w 141"/>
                <a:gd name="T1" fmla="*/ 5 h 167"/>
                <a:gd name="T2" fmla="*/ 67 w 141"/>
                <a:gd name="T3" fmla="*/ 47 h 167"/>
                <a:gd name="T4" fmla="*/ 87 w 141"/>
                <a:gd name="T5" fmla="*/ 73 h 167"/>
                <a:gd name="T6" fmla="*/ 76 w 141"/>
                <a:gd name="T7" fmla="*/ 89 h 167"/>
                <a:gd name="T8" fmla="*/ 66 w 141"/>
                <a:gd name="T9" fmla="*/ 95 h 167"/>
                <a:gd name="T10" fmla="*/ 60 w 141"/>
                <a:gd name="T11" fmla="*/ 106 h 167"/>
                <a:gd name="T12" fmla="*/ 51 w 141"/>
                <a:gd name="T13" fmla="*/ 115 h 167"/>
                <a:gd name="T14" fmla="*/ 47 w 141"/>
                <a:gd name="T15" fmla="*/ 129 h 167"/>
                <a:gd name="T16" fmla="*/ 44 w 141"/>
                <a:gd name="T17" fmla="*/ 146 h 167"/>
                <a:gd name="T18" fmla="*/ 36 w 141"/>
                <a:gd name="T19" fmla="*/ 157 h 167"/>
                <a:gd name="T20" fmla="*/ 17 w 141"/>
                <a:gd name="T21" fmla="*/ 140 h 167"/>
                <a:gd name="T22" fmla="*/ 4 w 141"/>
                <a:gd name="T23" fmla="*/ 120 h 167"/>
                <a:gd name="T24" fmla="*/ 8 w 141"/>
                <a:gd name="T25" fmla="*/ 95 h 167"/>
                <a:gd name="T26" fmla="*/ 6 w 141"/>
                <a:gd name="T27" fmla="*/ 60 h 167"/>
                <a:gd name="T28" fmla="*/ 18 w 141"/>
                <a:gd name="T29" fmla="*/ 62 h 167"/>
                <a:gd name="T30" fmla="*/ 24 w 141"/>
                <a:gd name="T31" fmla="*/ 44 h 167"/>
                <a:gd name="T32" fmla="*/ 25 w 141"/>
                <a:gd name="T33" fmla="*/ 54 h 167"/>
                <a:gd name="T34" fmla="*/ 33 w 141"/>
                <a:gd name="T35" fmla="*/ 60 h 167"/>
                <a:gd name="T36" fmla="*/ 36 w 141"/>
                <a:gd name="T37" fmla="*/ 56 h 167"/>
                <a:gd name="T38" fmla="*/ 47 w 141"/>
                <a:gd name="T39" fmla="*/ 40 h 167"/>
                <a:gd name="T40" fmla="*/ 34 w 141"/>
                <a:gd name="T41" fmla="*/ 40 h 167"/>
                <a:gd name="T42" fmla="*/ 18 w 141"/>
                <a:gd name="T43" fmla="*/ 46 h 167"/>
                <a:gd name="T44" fmla="*/ 17 w 141"/>
                <a:gd name="T45" fmla="*/ 59 h 167"/>
                <a:gd name="T46" fmla="*/ 5 w 141"/>
                <a:gd name="T47" fmla="*/ 51 h 167"/>
                <a:gd name="T48" fmla="*/ 24 w 141"/>
                <a:gd name="T49" fmla="*/ 33 h 167"/>
                <a:gd name="T50" fmla="*/ 11 w 141"/>
                <a:gd name="T51" fmla="*/ 144 h 167"/>
                <a:gd name="T52" fmla="*/ 68 w 141"/>
                <a:gd name="T53" fmla="*/ 112 h 167"/>
                <a:gd name="T54" fmla="*/ 68 w 141"/>
                <a:gd name="T55" fmla="*/ 112 h 167"/>
                <a:gd name="T56" fmla="*/ 107 w 141"/>
                <a:gd name="T57" fmla="*/ 153 h 167"/>
                <a:gd name="T58" fmla="*/ 105 w 141"/>
                <a:gd name="T59" fmla="*/ 151 h 167"/>
                <a:gd name="T60" fmla="*/ 128 w 141"/>
                <a:gd name="T61" fmla="*/ 143 h 167"/>
                <a:gd name="T62" fmla="*/ 124 w 141"/>
                <a:gd name="T63" fmla="*/ 138 h 167"/>
                <a:gd name="T64" fmla="*/ 132 w 141"/>
                <a:gd name="T65" fmla="*/ 124 h 167"/>
                <a:gd name="T66" fmla="*/ 139 w 141"/>
                <a:gd name="T67" fmla="*/ 110 h 167"/>
                <a:gd name="T68" fmla="*/ 133 w 141"/>
                <a:gd name="T69" fmla="*/ 87 h 167"/>
                <a:gd name="T70" fmla="*/ 119 w 141"/>
                <a:gd name="T71" fmla="*/ 97 h 167"/>
                <a:gd name="T72" fmla="*/ 111 w 141"/>
                <a:gd name="T73" fmla="*/ 108 h 167"/>
                <a:gd name="T74" fmla="*/ 113 w 141"/>
                <a:gd name="T75" fmla="*/ 95 h 167"/>
                <a:gd name="T76" fmla="*/ 105 w 141"/>
                <a:gd name="T77" fmla="*/ 99 h 167"/>
                <a:gd name="T78" fmla="*/ 88 w 141"/>
                <a:gd name="T79" fmla="*/ 108 h 167"/>
                <a:gd name="T80" fmla="*/ 96 w 141"/>
                <a:gd name="T81" fmla="*/ 127 h 167"/>
                <a:gd name="T82" fmla="*/ 112 w 141"/>
                <a:gd name="T83" fmla="*/ 136 h 167"/>
                <a:gd name="T84" fmla="*/ 125 w 141"/>
                <a:gd name="T85" fmla="*/ 147 h 167"/>
                <a:gd name="T86" fmla="*/ 132 w 141"/>
                <a:gd name="T87" fmla="*/ 149 h 167"/>
                <a:gd name="T88" fmla="*/ 128 w 141"/>
                <a:gd name="T89" fmla="*/ 147 h 167"/>
                <a:gd name="T90" fmla="*/ 111 w 141"/>
                <a:gd name="T91" fmla="*/ 154 h 167"/>
                <a:gd name="T92" fmla="*/ 93 w 141"/>
                <a:gd name="T93" fmla="*/ 154 h 167"/>
                <a:gd name="T94" fmla="*/ 106 w 141"/>
                <a:gd name="T95" fmla="*/ 167 h 167"/>
                <a:gd name="T96" fmla="*/ 77 w 141"/>
                <a:gd name="T97" fmla="*/ 121 h 167"/>
                <a:gd name="T98" fmla="*/ 52 w 141"/>
                <a:gd name="T99" fmla="*/ 119 h 167"/>
                <a:gd name="T100" fmla="*/ 61 w 141"/>
                <a:gd name="T101" fmla="*/ 139 h 167"/>
                <a:gd name="T102" fmla="*/ 83 w 141"/>
                <a:gd name="T103" fmla="*/ 143 h 167"/>
                <a:gd name="T104" fmla="*/ 84 w 141"/>
                <a:gd name="T105" fmla="*/ 120 h 167"/>
                <a:gd name="T106" fmla="*/ 74 w 141"/>
                <a:gd name="T107" fmla="*/ 115 h 167"/>
                <a:gd name="T108" fmla="*/ 78 w 141"/>
                <a:gd name="T109" fmla="*/ 99 h 167"/>
                <a:gd name="T110" fmla="*/ 75 w 141"/>
                <a:gd name="T111" fmla="*/ 107 h 167"/>
                <a:gd name="T112" fmla="*/ 89 w 141"/>
                <a:gd name="T113" fmla="*/ 142 h 167"/>
                <a:gd name="T114" fmla="*/ 80 w 141"/>
                <a:gd name="T115" fmla="*/ 157 h 167"/>
                <a:gd name="T116" fmla="*/ 66 w 141"/>
                <a:gd name="T117" fmla="*/ 150 h 167"/>
                <a:gd name="T118" fmla="*/ 67 w 141"/>
                <a:gd name="T119" fmla="*/ 150 h 167"/>
                <a:gd name="T120" fmla="*/ 61 w 141"/>
                <a:gd name="T121" fmla="*/ 155 h 167"/>
                <a:gd name="T122" fmla="*/ 83 w 141"/>
                <a:gd name="T123" fmla="*/ 25 h 167"/>
                <a:gd name="T124" fmla="*/ 85 w 141"/>
                <a:gd name="T125" fmla="*/ 2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1" h="167">
                  <a:moveTo>
                    <a:pt x="38" y="33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5" y="6"/>
                    <a:pt x="66" y="6"/>
                  </a:cubicBezTo>
                  <a:cubicBezTo>
                    <a:pt x="67" y="5"/>
                    <a:pt x="73" y="0"/>
                    <a:pt x="73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6" y="25"/>
                    <a:pt x="75" y="26"/>
                  </a:cubicBezTo>
                  <a:cubicBezTo>
                    <a:pt x="73" y="27"/>
                    <a:pt x="71" y="30"/>
                    <a:pt x="71" y="30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5" y="66"/>
                    <a:pt x="76" y="66"/>
                  </a:cubicBezTo>
                  <a:cubicBezTo>
                    <a:pt x="77" y="66"/>
                    <a:pt x="80" y="65"/>
                    <a:pt x="81" y="65"/>
                  </a:cubicBezTo>
                  <a:cubicBezTo>
                    <a:pt x="82" y="65"/>
                    <a:pt x="84" y="66"/>
                    <a:pt x="84" y="66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86" y="75"/>
                    <a:pt x="86" y="76"/>
                  </a:cubicBezTo>
                  <a:cubicBezTo>
                    <a:pt x="85" y="77"/>
                    <a:pt x="84" y="79"/>
                    <a:pt x="84" y="79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80" y="86"/>
                    <a:pt x="80" y="86"/>
                    <a:pt x="80" y="8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8" y="84"/>
                    <a:pt x="78" y="81"/>
                    <a:pt x="77" y="82"/>
                  </a:cubicBezTo>
                  <a:cubicBezTo>
                    <a:pt x="76" y="82"/>
                    <a:pt x="75" y="84"/>
                    <a:pt x="75" y="84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6" y="86"/>
                    <a:pt x="77" y="89"/>
                    <a:pt x="76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0" y="84"/>
                    <a:pt x="70" y="84"/>
                    <a:pt x="70" y="84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9"/>
                    <a:pt x="69" y="79"/>
                    <a:pt x="68" y="80"/>
                  </a:cubicBezTo>
                  <a:cubicBezTo>
                    <a:pt x="68" y="81"/>
                    <a:pt x="67" y="85"/>
                    <a:pt x="67" y="85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7" y="90"/>
                    <a:pt x="67" y="91"/>
                  </a:cubicBezTo>
                  <a:cubicBezTo>
                    <a:pt x="67" y="92"/>
                    <a:pt x="66" y="93"/>
                    <a:pt x="66" y="93"/>
                  </a:cubicBezTo>
                  <a:cubicBezTo>
                    <a:pt x="66" y="93"/>
                    <a:pt x="66" y="94"/>
                    <a:pt x="66" y="95"/>
                  </a:cubicBezTo>
                  <a:cubicBezTo>
                    <a:pt x="66" y="95"/>
                    <a:pt x="67" y="97"/>
                    <a:pt x="67" y="98"/>
                  </a:cubicBezTo>
                  <a:cubicBezTo>
                    <a:pt x="67" y="98"/>
                    <a:pt x="67" y="99"/>
                    <a:pt x="66" y="99"/>
                  </a:cubicBezTo>
                  <a:cubicBezTo>
                    <a:pt x="66" y="100"/>
                    <a:pt x="66" y="100"/>
                    <a:pt x="66" y="101"/>
                  </a:cubicBezTo>
                  <a:cubicBezTo>
                    <a:pt x="65" y="101"/>
                    <a:pt x="64" y="102"/>
                    <a:pt x="64" y="102"/>
                  </a:cubicBezTo>
                  <a:cubicBezTo>
                    <a:pt x="64" y="102"/>
                    <a:pt x="62" y="103"/>
                    <a:pt x="62" y="103"/>
                  </a:cubicBezTo>
                  <a:cubicBezTo>
                    <a:pt x="62" y="103"/>
                    <a:pt x="61" y="102"/>
                    <a:pt x="60" y="102"/>
                  </a:cubicBezTo>
                  <a:cubicBezTo>
                    <a:pt x="59" y="102"/>
                    <a:pt x="59" y="101"/>
                    <a:pt x="58" y="102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60" y="106"/>
                    <a:pt x="60" y="106"/>
                    <a:pt x="60" y="106"/>
                  </a:cubicBezTo>
                  <a:cubicBezTo>
                    <a:pt x="60" y="106"/>
                    <a:pt x="61" y="106"/>
                    <a:pt x="61" y="107"/>
                  </a:cubicBezTo>
                  <a:cubicBezTo>
                    <a:pt x="60" y="108"/>
                    <a:pt x="59" y="109"/>
                    <a:pt x="59" y="109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12"/>
                    <a:pt x="53" y="111"/>
                    <a:pt x="53" y="112"/>
                  </a:cubicBezTo>
                  <a:cubicBezTo>
                    <a:pt x="52" y="112"/>
                    <a:pt x="51" y="112"/>
                    <a:pt x="51" y="112"/>
                  </a:cubicBezTo>
                  <a:cubicBezTo>
                    <a:pt x="51" y="113"/>
                    <a:pt x="53" y="115"/>
                    <a:pt x="53" y="115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50" y="113"/>
                    <a:pt x="50" y="113"/>
                    <a:pt x="50" y="113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2" y="117"/>
                    <a:pt x="52" y="117"/>
                    <a:pt x="52" y="117"/>
                  </a:cubicBezTo>
                  <a:cubicBezTo>
                    <a:pt x="51" y="118"/>
                    <a:pt x="51" y="118"/>
                    <a:pt x="51" y="118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0"/>
                    <a:pt x="48" y="121"/>
                    <a:pt x="47" y="121"/>
                  </a:cubicBezTo>
                  <a:cubicBezTo>
                    <a:pt x="47" y="121"/>
                    <a:pt x="44" y="121"/>
                    <a:pt x="44" y="121"/>
                  </a:cubicBezTo>
                  <a:cubicBezTo>
                    <a:pt x="45" y="122"/>
                    <a:pt x="45" y="122"/>
                    <a:pt x="45" y="122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8" y="122"/>
                    <a:pt x="48" y="123"/>
                  </a:cubicBezTo>
                  <a:cubicBezTo>
                    <a:pt x="47" y="123"/>
                    <a:pt x="47" y="123"/>
                    <a:pt x="47" y="124"/>
                  </a:cubicBezTo>
                  <a:cubicBezTo>
                    <a:pt x="47" y="126"/>
                    <a:pt x="47" y="129"/>
                    <a:pt x="47" y="129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50" y="133"/>
                    <a:pt x="50" y="133"/>
                    <a:pt x="50" y="133"/>
                  </a:cubicBezTo>
                  <a:cubicBezTo>
                    <a:pt x="50" y="133"/>
                    <a:pt x="50" y="133"/>
                    <a:pt x="50" y="134"/>
                  </a:cubicBezTo>
                  <a:cubicBezTo>
                    <a:pt x="50" y="134"/>
                    <a:pt x="50" y="135"/>
                    <a:pt x="50" y="135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37"/>
                    <a:pt x="49" y="138"/>
                    <a:pt x="48" y="138"/>
                  </a:cubicBezTo>
                  <a:cubicBezTo>
                    <a:pt x="48" y="138"/>
                    <a:pt x="44" y="139"/>
                    <a:pt x="44" y="139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45" y="142"/>
                    <a:pt x="45" y="144"/>
                    <a:pt x="45" y="144"/>
                  </a:cubicBezTo>
                  <a:cubicBezTo>
                    <a:pt x="45" y="145"/>
                    <a:pt x="44" y="146"/>
                    <a:pt x="44" y="146"/>
                  </a:cubicBezTo>
                  <a:cubicBezTo>
                    <a:pt x="46" y="146"/>
                    <a:pt x="46" y="146"/>
                    <a:pt x="46" y="146"/>
                  </a:cubicBezTo>
                  <a:cubicBezTo>
                    <a:pt x="49" y="147"/>
                    <a:pt x="49" y="147"/>
                    <a:pt x="49" y="147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0" y="158"/>
                    <a:pt x="50" y="158"/>
                    <a:pt x="50" y="158"/>
                  </a:cubicBezTo>
                  <a:cubicBezTo>
                    <a:pt x="48" y="154"/>
                    <a:pt x="48" y="154"/>
                    <a:pt x="48" y="154"/>
                  </a:cubicBezTo>
                  <a:cubicBezTo>
                    <a:pt x="48" y="154"/>
                    <a:pt x="47" y="154"/>
                    <a:pt x="47" y="155"/>
                  </a:cubicBezTo>
                  <a:cubicBezTo>
                    <a:pt x="46" y="155"/>
                    <a:pt x="43" y="157"/>
                    <a:pt x="43" y="157"/>
                  </a:cubicBezTo>
                  <a:cubicBezTo>
                    <a:pt x="43" y="157"/>
                    <a:pt x="41" y="158"/>
                    <a:pt x="40" y="158"/>
                  </a:cubicBezTo>
                  <a:cubicBezTo>
                    <a:pt x="40" y="158"/>
                    <a:pt x="39" y="158"/>
                    <a:pt x="39" y="158"/>
                  </a:cubicBezTo>
                  <a:cubicBezTo>
                    <a:pt x="36" y="157"/>
                    <a:pt x="36" y="157"/>
                    <a:pt x="36" y="157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32" y="155"/>
                    <a:pt x="30" y="154"/>
                    <a:pt x="29" y="154"/>
                  </a:cubicBezTo>
                  <a:cubicBezTo>
                    <a:pt x="28" y="154"/>
                    <a:pt x="23" y="152"/>
                    <a:pt x="23" y="152"/>
                  </a:cubicBezTo>
                  <a:cubicBezTo>
                    <a:pt x="21" y="153"/>
                    <a:pt x="21" y="153"/>
                    <a:pt x="21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6" y="152"/>
                    <a:pt x="16" y="152"/>
                    <a:pt x="16" y="152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49"/>
                    <a:pt x="13" y="147"/>
                    <a:pt x="13" y="147"/>
                  </a:cubicBezTo>
                  <a:cubicBezTo>
                    <a:pt x="13" y="147"/>
                    <a:pt x="16" y="145"/>
                    <a:pt x="16" y="145"/>
                  </a:cubicBezTo>
                  <a:cubicBezTo>
                    <a:pt x="17" y="145"/>
                    <a:pt x="17" y="144"/>
                    <a:pt x="17" y="144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38"/>
                    <a:pt x="17" y="138"/>
                  </a:cubicBezTo>
                  <a:cubicBezTo>
                    <a:pt x="17" y="137"/>
                    <a:pt x="18" y="136"/>
                    <a:pt x="18" y="136"/>
                  </a:cubicBezTo>
                  <a:cubicBezTo>
                    <a:pt x="18" y="136"/>
                    <a:pt x="18" y="133"/>
                    <a:pt x="17" y="132"/>
                  </a:cubicBezTo>
                  <a:cubicBezTo>
                    <a:pt x="17" y="130"/>
                    <a:pt x="17" y="128"/>
                    <a:pt x="17" y="128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4" y="125"/>
                    <a:pt x="12" y="124"/>
                  </a:cubicBezTo>
                  <a:cubicBezTo>
                    <a:pt x="10" y="123"/>
                    <a:pt x="7" y="122"/>
                    <a:pt x="7" y="122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19"/>
                    <a:pt x="0" y="116"/>
                    <a:pt x="0" y="115"/>
                  </a:cubicBezTo>
                  <a:cubicBezTo>
                    <a:pt x="1" y="115"/>
                    <a:pt x="2" y="114"/>
                    <a:pt x="2" y="113"/>
                  </a:cubicBezTo>
                  <a:cubicBezTo>
                    <a:pt x="3" y="112"/>
                    <a:pt x="4" y="110"/>
                    <a:pt x="4" y="109"/>
                  </a:cubicBezTo>
                  <a:cubicBezTo>
                    <a:pt x="4" y="109"/>
                    <a:pt x="4" y="105"/>
                    <a:pt x="4" y="105"/>
                  </a:cubicBezTo>
                  <a:cubicBezTo>
                    <a:pt x="4" y="105"/>
                    <a:pt x="3" y="104"/>
                    <a:pt x="4" y="104"/>
                  </a:cubicBezTo>
                  <a:cubicBezTo>
                    <a:pt x="5" y="104"/>
                    <a:pt x="4" y="104"/>
                    <a:pt x="5" y="104"/>
                  </a:cubicBezTo>
                  <a:cubicBezTo>
                    <a:pt x="6" y="103"/>
                    <a:pt x="9" y="101"/>
                    <a:pt x="9" y="101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9" y="99"/>
                    <a:pt x="8" y="97"/>
                    <a:pt x="8" y="96"/>
                  </a:cubicBezTo>
                  <a:cubicBezTo>
                    <a:pt x="8" y="96"/>
                    <a:pt x="8" y="96"/>
                    <a:pt x="8" y="95"/>
                  </a:cubicBezTo>
                  <a:cubicBezTo>
                    <a:pt x="8" y="93"/>
                    <a:pt x="4" y="89"/>
                    <a:pt x="4" y="89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88"/>
                    <a:pt x="2" y="87"/>
                  </a:cubicBezTo>
                  <a:cubicBezTo>
                    <a:pt x="2" y="87"/>
                    <a:pt x="2" y="84"/>
                    <a:pt x="2" y="84"/>
                  </a:cubicBezTo>
                  <a:cubicBezTo>
                    <a:pt x="3" y="80"/>
                    <a:pt x="3" y="80"/>
                    <a:pt x="3" y="80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4"/>
                    <a:pt x="2" y="63"/>
                  </a:cubicBezTo>
                  <a:cubicBezTo>
                    <a:pt x="2" y="63"/>
                    <a:pt x="4" y="59"/>
                    <a:pt x="4" y="59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1"/>
                    <a:pt x="6" y="62"/>
                  </a:cubicBezTo>
                  <a:cubicBezTo>
                    <a:pt x="7" y="62"/>
                    <a:pt x="8" y="62"/>
                    <a:pt x="9" y="62"/>
                  </a:cubicBezTo>
                  <a:cubicBezTo>
                    <a:pt x="9" y="62"/>
                    <a:pt x="10" y="63"/>
                    <a:pt x="10" y="6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6"/>
                    <a:pt x="20" y="66"/>
                  </a:cubicBezTo>
                  <a:cubicBezTo>
                    <a:pt x="20" y="66"/>
                    <a:pt x="19" y="64"/>
                    <a:pt x="19" y="64"/>
                  </a:cubicBezTo>
                  <a:cubicBezTo>
                    <a:pt x="19" y="63"/>
                    <a:pt x="18" y="62"/>
                    <a:pt x="18" y="62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1" y="57"/>
                  </a:cubicBezTo>
                  <a:cubicBezTo>
                    <a:pt x="20" y="57"/>
                    <a:pt x="18" y="57"/>
                    <a:pt x="18" y="57"/>
                  </a:cubicBezTo>
                  <a:cubicBezTo>
                    <a:pt x="18" y="57"/>
                    <a:pt x="17" y="56"/>
                    <a:pt x="17" y="56"/>
                  </a:cubicBezTo>
                  <a:cubicBezTo>
                    <a:pt x="17" y="56"/>
                    <a:pt x="16" y="54"/>
                    <a:pt x="16" y="54"/>
                  </a:cubicBezTo>
                  <a:cubicBezTo>
                    <a:pt x="16" y="54"/>
                    <a:pt x="16" y="52"/>
                    <a:pt x="17" y="52"/>
                  </a:cubicBezTo>
                  <a:cubicBezTo>
                    <a:pt x="17" y="51"/>
                    <a:pt x="18" y="48"/>
                    <a:pt x="18" y="48"/>
                  </a:cubicBezTo>
                  <a:cubicBezTo>
                    <a:pt x="18" y="48"/>
                    <a:pt x="17" y="46"/>
                    <a:pt x="19" y="46"/>
                  </a:cubicBezTo>
                  <a:cubicBezTo>
                    <a:pt x="21" y="46"/>
                    <a:pt x="22" y="46"/>
                    <a:pt x="22" y="46"/>
                  </a:cubicBezTo>
                  <a:cubicBezTo>
                    <a:pt x="22" y="46"/>
                    <a:pt x="23" y="44"/>
                    <a:pt x="24" y="44"/>
                  </a:cubicBezTo>
                  <a:cubicBezTo>
                    <a:pt x="24" y="44"/>
                    <a:pt x="25" y="43"/>
                    <a:pt x="25" y="44"/>
                  </a:cubicBezTo>
                  <a:cubicBezTo>
                    <a:pt x="26" y="44"/>
                    <a:pt x="25" y="47"/>
                    <a:pt x="25" y="47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24" y="50"/>
                    <a:pt x="24" y="51"/>
                  </a:cubicBezTo>
                  <a:cubicBezTo>
                    <a:pt x="24" y="52"/>
                    <a:pt x="24" y="53"/>
                    <a:pt x="24" y="5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7"/>
                    <a:pt x="23" y="58"/>
                    <a:pt x="23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5" y="56"/>
                    <a:pt x="25" y="56"/>
                  </a:cubicBezTo>
                  <a:cubicBezTo>
                    <a:pt x="25" y="56"/>
                    <a:pt x="24" y="55"/>
                    <a:pt x="25" y="54"/>
                  </a:cubicBezTo>
                  <a:cubicBezTo>
                    <a:pt x="26" y="53"/>
                    <a:pt x="26" y="52"/>
                    <a:pt x="27" y="52"/>
                  </a:cubicBezTo>
                  <a:cubicBezTo>
                    <a:pt x="27" y="51"/>
                    <a:pt x="27" y="51"/>
                    <a:pt x="29" y="51"/>
                  </a:cubicBezTo>
                  <a:cubicBezTo>
                    <a:pt x="30" y="51"/>
                    <a:pt x="32" y="53"/>
                    <a:pt x="32" y="53"/>
                  </a:cubicBezTo>
                  <a:cubicBezTo>
                    <a:pt x="32" y="53"/>
                    <a:pt x="33" y="54"/>
                    <a:pt x="32" y="54"/>
                  </a:cubicBezTo>
                  <a:cubicBezTo>
                    <a:pt x="32" y="55"/>
                    <a:pt x="31" y="56"/>
                    <a:pt x="31" y="56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2" y="59"/>
                    <a:pt x="31" y="60"/>
                  </a:cubicBezTo>
                  <a:cubicBezTo>
                    <a:pt x="31" y="60"/>
                    <a:pt x="31" y="61"/>
                    <a:pt x="31" y="61"/>
                  </a:cubicBezTo>
                  <a:cubicBezTo>
                    <a:pt x="31" y="62"/>
                    <a:pt x="28" y="63"/>
                    <a:pt x="31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0"/>
                    <a:pt x="33" y="60"/>
                  </a:cubicBezTo>
                  <a:cubicBezTo>
                    <a:pt x="33" y="60"/>
                    <a:pt x="34" y="60"/>
                    <a:pt x="34" y="60"/>
                  </a:cubicBezTo>
                  <a:cubicBezTo>
                    <a:pt x="35" y="60"/>
                    <a:pt x="36" y="60"/>
                    <a:pt x="36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2"/>
                    <a:pt x="37" y="63"/>
                  </a:cubicBezTo>
                  <a:cubicBezTo>
                    <a:pt x="37" y="63"/>
                    <a:pt x="37" y="64"/>
                    <a:pt x="37" y="64"/>
                  </a:cubicBezTo>
                  <a:cubicBezTo>
                    <a:pt x="37" y="64"/>
                    <a:pt x="39" y="66"/>
                    <a:pt x="39" y="65"/>
                  </a:cubicBezTo>
                  <a:cubicBezTo>
                    <a:pt x="39" y="64"/>
                    <a:pt x="40" y="65"/>
                    <a:pt x="39" y="63"/>
                  </a:cubicBezTo>
                  <a:cubicBezTo>
                    <a:pt x="38" y="62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59"/>
                    <a:pt x="38" y="58"/>
                    <a:pt x="38" y="58"/>
                  </a:cubicBezTo>
                  <a:cubicBezTo>
                    <a:pt x="37" y="57"/>
                    <a:pt x="36" y="57"/>
                    <a:pt x="36" y="56"/>
                  </a:cubicBezTo>
                  <a:cubicBezTo>
                    <a:pt x="36" y="56"/>
                    <a:pt x="33" y="53"/>
                    <a:pt x="33" y="53"/>
                  </a:cubicBezTo>
                  <a:cubicBezTo>
                    <a:pt x="33" y="53"/>
                    <a:pt x="33" y="52"/>
                    <a:pt x="33" y="51"/>
                  </a:cubicBezTo>
                  <a:cubicBezTo>
                    <a:pt x="33" y="49"/>
                    <a:pt x="33" y="48"/>
                    <a:pt x="33" y="47"/>
                  </a:cubicBezTo>
                  <a:cubicBezTo>
                    <a:pt x="33" y="47"/>
                    <a:pt x="34" y="45"/>
                    <a:pt x="34" y="45"/>
                  </a:cubicBezTo>
                  <a:cubicBezTo>
                    <a:pt x="34" y="45"/>
                    <a:pt x="34" y="43"/>
                    <a:pt x="35" y="42"/>
                  </a:cubicBezTo>
                  <a:cubicBezTo>
                    <a:pt x="36" y="42"/>
                    <a:pt x="35" y="41"/>
                    <a:pt x="36" y="41"/>
                  </a:cubicBezTo>
                  <a:cubicBezTo>
                    <a:pt x="38" y="40"/>
                    <a:pt x="37" y="40"/>
                    <a:pt x="39" y="40"/>
                  </a:cubicBezTo>
                  <a:cubicBezTo>
                    <a:pt x="40" y="40"/>
                    <a:pt x="42" y="41"/>
                    <a:pt x="43" y="41"/>
                  </a:cubicBezTo>
                  <a:cubicBezTo>
                    <a:pt x="43" y="41"/>
                    <a:pt x="46" y="42"/>
                    <a:pt x="46" y="42"/>
                  </a:cubicBezTo>
                  <a:cubicBezTo>
                    <a:pt x="46" y="42"/>
                    <a:pt x="46" y="41"/>
                    <a:pt x="46" y="41"/>
                  </a:cubicBezTo>
                  <a:cubicBezTo>
                    <a:pt x="47" y="41"/>
                    <a:pt x="47" y="39"/>
                    <a:pt x="47" y="40"/>
                  </a:cubicBezTo>
                  <a:cubicBezTo>
                    <a:pt x="48" y="40"/>
                    <a:pt x="48" y="41"/>
                    <a:pt x="49" y="40"/>
                  </a:cubicBezTo>
                  <a:cubicBezTo>
                    <a:pt x="50" y="39"/>
                    <a:pt x="50" y="38"/>
                    <a:pt x="50" y="38"/>
                  </a:cubicBezTo>
                  <a:cubicBezTo>
                    <a:pt x="50" y="38"/>
                    <a:pt x="51" y="38"/>
                    <a:pt x="52" y="37"/>
                  </a:cubicBezTo>
                  <a:cubicBezTo>
                    <a:pt x="52" y="37"/>
                    <a:pt x="51" y="36"/>
                    <a:pt x="50" y="36"/>
                  </a:cubicBezTo>
                  <a:cubicBezTo>
                    <a:pt x="50" y="36"/>
                    <a:pt x="48" y="36"/>
                    <a:pt x="47" y="37"/>
                  </a:cubicBezTo>
                  <a:cubicBezTo>
                    <a:pt x="46" y="37"/>
                    <a:pt x="47" y="37"/>
                    <a:pt x="45" y="37"/>
                  </a:cubicBezTo>
                  <a:cubicBezTo>
                    <a:pt x="44" y="38"/>
                    <a:pt x="44" y="38"/>
                    <a:pt x="42" y="38"/>
                  </a:cubicBezTo>
                  <a:cubicBezTo>
                    <a:pt x="40" y="38"/>
                    <a:pt x="40" y="38"/>
                    <a:pt x="39" y="39"/>
                  </a:cubicBezTo>
                  <a:cubicBezTo>
                    <a:pt x="38" y="40"/>
                    <a:pt x="37" y="40"/>
                    <a:pt x="37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4" y="40"/>
                  </a:cubicBezTo>
                  <a:cubicBezTo>
                    <a:pt x="34" y="40"/>
                    <a:pt x="33" y="39"/>
                    <a:pt x="33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1" y="39"/>
                    <a:pt x="30" y="40"/>
                    <a:pt x="30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7" y="40"/>
                    <a:pt x="26" y="40"/>
                  </a:cubicBezTo>
                  <a:cubicBezTo>
                    <a:pt x="26" y="41"/>
                    <a:pt x="24" y="41"/>
                    <a:pt x="24" y="41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2"/>
                    <a:pt x="24" y="42"/>
                    <a:pt x="23" y="43"/>
                  </a:cubicBezTo>
                  <a:cubicBezTo>
                    <a:pt x="22" y="43"/>
                    <a:pt x="20" y="43"/>
                    <a:pt x="20" y="43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61"/>
                    <a:pt x="15" y="62"/>
                    <a:pt x="14" y="62"/>
                  </a:cubicBezTo>
                  <a:cubicBezTo>
                    <a:pt x="14" y="62"/>
                    <a:pt x="13" y="61"/>
                    <a:pt x="13" y="61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8" y="56"/>
                    <a:pt x="8" y="56"/>
                  </a:cubicBezTo>
                  <a:cubicBezTo>
                    <a:pt x="8" y="55"/>
                    <a:pt x="7" y="54"/>
                    <a:pt x="7" y="54"/>
                  </a:cubicBezTo>
                  <a:cubicBezTo>
                    <a:pt x="5" y="51"/>
                    <a:pt x="5" y="51"/>
                    <a:pt x="5" y="51"/>
                  </a:cubicBezTo>
                  <a:cubicBezTo>
                    <a:pt x="5" y="51"/>
                    <a:pt x="5" y="51"/>
                    <a:pt x="6" y="51"/>
                  </a:cubicBezTo>
                  <a:cubicBezTo>
                    <a:pt x="6" y="50"/>
                    <a:pt x="6" y="50"/>
                    <a:pt x="7" y="49"/>
                  </a:cubicBezTo>
                  <a:cubicBezTo>
                    <a:pt x="7" y="48"/>
                    <a:pt x="9" y="46"/>
                    <a:pt x="9" y="46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2" y="35"/>
                    <a:pt x="22" y="35"/>
                  </a:cubicBezTo>
                  <a:cubicBezTo>
                    <a:pt x="23" y="34"/>
                    <a:pt x="24" y="33"/>
                    <a:pt x="24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16" y="139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4" y="138"/>
                    <a:pt x="14" y="138"/>
                  </a:cubicBezTo>
                  <a:cubicBezTo>
                    <a:pt x="14" y="139"/>
                    <a:pt x="13" y="140"/>
                    <a:pt x="13" y="140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8" y="147"/>
                    <a:pt x="8" y="147"/>
                    <a:pt x="8" y="147"/>
                  </a:cubicBezTo>
                  <a:cubicBezTo>
                    <a:pt x="8" y="147"/>
                    <a:pt x="8" y="148"/>
                    <a:pt x="9" y="148"/>
                  </a:cubicBezTo>
                  <a:cubicBezTo>
                    <a:pt x="10" y="148"/>
                    <a:pt x="11" y="148"/>
                    <a:pt x="11" y="148"/>
                  </a:cubicBezTo>
                  <a:cubicBezTo>
                    <a:pt x="11" y="147"/>
                    <a:pt x="12" y="146"/>
                    <a:pt x="12" y="146"/>
                  </a:cubicBezTo>
                  <a:cubicBezTo>
                    <a:pt x="12" y="146"/>
                    <a:pt x="13" y="145"/>
                    <a:pt x="13" y="145"/>
                  </a:cubicBezTo>
                  <a:cubicBezTo>
                    <a:pt x="14" y="145"/>
                    <a:pt x="16" y="145"/>
                    <a:pt x="16" y="144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39"/>
                    <a:pt x="16" y="139"/>
                    <a:pt x="16" y="139"/>
                  </a:cubicBezTo>
                  <a:close/>
                  <a:moveTo>
                    <a:pt x="68" y="112"/>
                  </a:move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112"/>
                    <a:pt x="69" y="111"/>
                    <a:pt x="69" y="111"/>
                  </a:cubicBezTo>
                  <a:cubicBezTo>
                    <a:pt x="69" y="110"/>
                    <a:pt x="68" y="109"/>
                    <a:pt x="68" y="109"/>
                  </a:cubicBezTo>
                  <a:cubicBezTo>
                    <a:pt x="68" y="108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ubicBezTo>
                    <a:pt x="69" y="107"/>
                    <a:pt x="68" y="107"/>
                    <a:pt x="68" y="107"/>
                  </a:cubicBezTo>
                  <a:cubicBezTo>
                    <a:pt x="67" y="107"/>
                    <a:pt x="67" y="108"/>
                    <a:pt x="67" y="108"/>
                  </a:cubicBezTo>
                  <a:cubicBezTo>
                    <a:pt x="67" y="108"/>
                    <a:pt x="67" y="109"/>
                    <a:pt x="67" y="109"/>
                  </a:cubicBezTo>
                  <a:cubicBezTo>
                    <a:pt x="67" y="109"/>
                    <a:pt x="67" y="110"/>
                    <a:pt x="67" y="110"/>
                  </a:cubicBezTo>
                  <a:cubicBezTo>
                    <a:pt x="67" y="110"/>
                    <a:pt x="68" y="112"/>
                    <a:pt x="68" y="112"/>
                  </a:cubicBezTo>
                  <a:close/>
                  <a:moveTo>
                    <a:pt x="95" y="139"/>
                  </a:moveTo>
                  <a:cubicBezTo>
                    <a:pt x="95" y="139"/>
                    <a:pt x="95" y="139"/>
                    <a:pt x="95" y="139"/>
                  </a:cubicBezTo>
                  <a:cubicBezTo>
                    <a:pt x="96" y="138"/>
                    <a:pt x="96" y="138"/>
                    <a:pt x="96" y="138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39"/>
                    <a:pt x="96" y="140"/>
                    <a:pt x="96" y="140"/>
                  </a:cubicBezTo>
                  <a:cubicBezTo>
                    <a:pt x="96" y="140"/>
                    <a:pt x="95" y="139"/>
                    <a:pt x="95" y="139"/>
                  </a:cubicBezTo>
                  <a:cubicBezTo>
                    <a:pt x="95" y="139"/>
                    <a:pt x="95" y="139"/>
                    <a:pt x="95" y="139"/>
                  </a:cubicBezTo>
                  <a:close/>
                  <a:moveTo>
                    <a:pt x="106" y="152"/>
                  </a:moveTo>
                  <a:cubicBezTo>
                    <a:pt x="106" y="152"/>
                    <a:pt x="106" y="152"/>
                    <a:pt x="106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6" y="154"/>
                    <a:pt x="106" y="154"/>
                    <a:pt x="106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2"/>
                    <a:pt x="106" y="152"/>
                    <a:pt x="106" y="152"/>
                  </a:cubicBezTo>
                  <a:close/>
                  <a:moveTo>
                    <a:pt x="103" y="150"/>
                  </a:moveTo>
                  <a:cubicBezTo>
                    <a:pt x="103" y="150"/>
                    <a:pt x="103" y="150"/>
                    <a:pt x="103" y="150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4" y="149"/>
                    <a:pt x="104" y="149"/>
                    <a:pt x="105" y="149"/>
                  </a:cubicBezTo>
                  <a:cubicBezTo>
                    <a:pt x="105" y="149"/>
                    <a:pt x="106" y="150"/>
                    <a:pt x="106" y="150"/>
                  </a:cubicBezTo>
                  <a:cubicBezTo>
                    <a:pt x="106" y="150"/>
                    <a:pt x="106" y="150"/>
                    <a:pt x="106" y="150"/>
                  </a:cubicBezTo>
                  <a:cubicBezTo>
                    <a:pt x="105" y="150"/>
                    <a:pt x="105" y="151"/>
                    <a:pt x="105" y="151"/>
                  </a:cubicBezTo>
                  <a:cubicBezTo>
                    <a:pt x="104" y="151"/>
                    <a:pt x="103" y="150"/>
                    <a:pt x="103" y="150"/>
                  </a:cubicBezTo>
                  <a:close/>
                  <a:moveTo>
                    <a:pt x="108" y="150"/>
                  </a:moveTo>
                  <a:cubicBezTo>
                    <a:pt x="108" y="150"/>
                    <a:pt x="108" y="150"/>
                    <a:pt x="108" y="150"/>
                  </a:cubicBezTo>
                  <a:cubicBezTo>
                    <a:pt x="107" y="148"/>
                    <a:pt x="107" y="148"/>
                    <a:pt x="107" y="148"/>
                  </a:cubicBezTo>
                  <a:cubicBezTo>
                    <a:pt x="108" y="147"/>
                    <a:pt x="108" y="147"/>
                    <a:pt x="108" y="147"/>
                  </a:cubicBezTo>
                  <a:cubicBezTo>
                    <a:pt x="108" y="147"/>
                    <a:pt x="109" y="148"/>
                    <a:pt x="109" y="148"/>
                  </a:cubicBezTo>
                  <a:cubicBezTo>
                    <a:pt x="109" y="148"/>
                    <a:pt x="108" y="149"/>
                    <a:pt x="108" y="149"/>
                  </a:cubicBezTo>
                  <a:cubicBezTo>
                    <a:pt x="108" y="150"/>
                    <a:pt x="108" y="150"/>
                    <a:pt x="108" y="150"/>
                  </a:cubicBezTo>
                  <a:close/>
                  <a:moveTo>
                    <a:pt x="129" y="144"/>
                  </a:moveTo>
                  <a:cubicBezTo>
                    <a:pt x="129" y="144"/>
                    <a:pt x="129" y="144"/>
                    <a:pt x="129" y="144"/>
                  </a:cubicBezTo>
                  <a:cubicBezTo>
                    <a:pt x="128" y="143"/>
                    <a:pt x="128" y="143"/>
                    <a:pt x="128" y="143"/>
                  </a:cubicBezTo>
                  <a:cubicBezTo>
                    <a:pt x="128" y="143"/>
                    <a:pt x="129" y="142"/>
                    <a:pt x="129" y="142"/>
                  </a:cubicBezTo>
                  <a:cubicBezTo>
                    <a:pt x="130" y="142"/>
                    <a:pt x="131" y="142"/>
                    <a:pt x="131" y="142"/>
                  </a:cubicBezTo>
                  <a:cubicBezTo>
                    <a:pt x="129" y="144"/>
                    <a:pt x="129" y="144"/>
                    <a:pt x="129" y="144"/>
                  </a:cubicBezTo>
                  <a:close/>
                  <a:moveTo>
                    <a:pt x="127" y="145"/>
                  </a:moveTo>
                  <a:cubicBezTo>
                    <a:pt x="127" y="145"/>
                    <a:pt x="127" y="145"/>
                    <a:pt x="127" y="145"/>
                  </a:cubicBezTo>
                  <a:cubicBezTo>
                    <a:pt x="127" y="142"/>
                    <a:pt x="127" y="142"/>
                    <a:pt x="127" y="142"/>
                  </a:cubicBezTo>
                  <a:cubicBezTo>
                    <a:pt x="128" y="141"/>
                    <a:pt x="128" y="141"/>
                    <a:pt x="128" y="141"/>
                  </a:cubicBezTo>
                  <a:cubicBezTo>
                    <a:pt x="127" y="140"/>
                    <a:pt x="127" y="140"/>
                    <a:pt x="127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0"/>
                    <a:pt x="125" y="138"/>
                    <a:pt x="125" y="138"/>
                  </a:cubicBezTo>
                  <a:cubicBezTo>
                    <a:pt x="125" y="138"/>
                    <a:pt x="124" y="138"/>
                    <a:pt x="124" y="138"/>
                  </a:cubicBezTo>
                  <a:cubicBezTo>
                    <a:pt x="124" y="138"/>
                    <a:pt x="123" y="138"/>
                    <a:pt x="123" y="138"/>
                  </a:cubicBezTo>
                  <a:cubicBezTo>
                    <a:pt x="123" y="138"/>
                    <a:pt x="124" y="137"/>
                    <a:pt x="124" y="137"/>
                  </a:cubicBezTo>
                  <a:cubicBezTo>
                    <a:pt x="124" y="137"/>
                    <a:pt x="124" y="137"/>
                    <a:pt x="125" y="137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6" y="136"/>
                    <a:pt x="128" y="133"/>
                    <a:pt x="130" y="133"/>
                  </a:cubicBezTo>
                  <a:cubicBezTo>
                    <a:pt x="131" y="133"/>
                    <a:pt x="133" y="133"/>
                    <a:pt x="133" y="133"/>
                  </a:cubicBezTo>
                  <a:cubicBezTo>
                    <a:pt x="135" y="131"/>
                    <a:pt x="135" y="131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6" y="130"/>
                    <a:pt x="135" y="128"/>
                    <a:pt x="135" y="128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2" y="124"/>
                    <a:pt x="132" y="124"/>
                  </a:cubicBezTo>
                  <a:cubicBezTo>
                    <a:pt x="132" y="124"/>
                    <a:pt x="128" y="122"/>
                    <a:pt x="128" y="122"/>
                  </a:cubicBezTo>
                  <a:cubicBezTo>
                    <a:pt x="128" y="122"/>
                    <a:pt x="128" y="120"/>
                    <a:pt x="127" y="120"/>
                  </a:cubicBezTo>
                  <a:cubicBezTo>
                    <a:pt x="127" y="120"/>
                    <a:pt x="128" y="118"/>
                    <a:pt x="128" y="118"/>
                  </a:cubicBezTo>
                  <a:cubicBezTo>
                    <a:pt x="128" y="118"/>
                    <a:pt x="130" y="115"/>
                    <a:pt x="132" y="114"/>
                  </a:cubicBezTo>
                  <a:cubicBezTo>
                    <a:pt x="133" y="113"/>
                    <a:pt x="134" y="113"/>
                    <a:pt x="134" y="113"/>
                  </a:cubicBezTo>
                  <a:cubicBezTo>
                    <a:pt x="135" y="113"/>
                    <a:pt x="136" y="114"/>
                    <a:pt x="137" y="115"/>
                  </a:cubicBezTo>
                  <a:cubicBezTo>
                    <a:pt x="137" y="115"/>
                    <a:pt x="138" y="115"/>
                    <a:pt x="139" y="115"/>
                  </a:cubicBezTo>
                  <a:cubicBezTo>
                    <a:pt x="140" y="115"/>
                    <a:pt x="141" y="115"/>
                    <a:pt x="141" y="115"/>
                  </a:cubicBezTo>
                  <a:cubicBezTo>
                    <a:pt x="141" y="115"/>
                    <a:pt x="141" y="113"/>
                    <a:pt x="141" y="112"/>
                  </a:cubicBezTo>
                  <a:cubicBezTo>
                    <a:pt x="141" y="111"/>
                    <a:pt x="141" y="112"/>
                    <a:pt x="140" y="111"/>
                  </a:cubicBezTo>
                  <a:cubicBezTo>
                    <a:pt x="140" y="111"/>
                    <a:pt x="139" y="110"/>
                    <a:pt x="139" y="110"/>
                  </a:cubicBezTo>
                  <a:cubicBezTo>
                    <a:pt x="139" y="110"/>
                    <a:pt x="139" y="109"/>
                    <a:pt x="139" y="109"/>
                  </a:cubicBezTo>
                  <a:cubicBezTo>
                    <a:pt x="139" y="109"/>
                    <a:pt x="139" y="108"/>
                    <a:pt x="139" y="107"/>
                  </a:cubicBezTo>
                  <a:cubicBezTo>
                    <a:pt x="139" y="107"/>
                    <a:pt x="139" y="104"/>
                    <a:pt x="139" y="104"/>
                  </a:cubicBezTo>
                  <a:cubicBezTo>
                    <a:pt x="139" y="103"/>
                    <a:pt x="138" y="101"/>
                    <a:pt x="138" y="101"/>
                  </a:cubicBezTo>
                  <a:cubicBezTo>
                    <a:pt x="138" y="100"/>
                    <a:pt x="137" y="99"/>
                    <a:pt x="137" y="99"/>
                  </a:cubicBezTo>
                  <a:cubicBezTo>
                    <a:pt x="136" y="97"/>
                    <a:pt x="136" y="97"/>
                    <a:pt x="136" y="97"/>
                  </a:cubicBezTo>
                  <a:cubicBezTo>
                    <a:pt x="136" y="97"/>
                    <a:pt x="136" y="97"/>
                    <a:pt x="136" y="96"/>
                  </a:cubicBezTo>
                  <a:cubicBezTo>
                    <a:pt x="136" y="94"/>
                    <a:pt x="137" y="92"/>
                    <a:pt x="137" y="92"/>
                  </a:cubicBezTo>
                  <a:cubicBezTo>
                    <a:pt x="138" y="91"/>
                    <a:pt x="138" y="89"/>
                    <a:pt x="138" y="89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8"/>
                    <a:pt x="133" y="87"/>
                    <a:pt x="133" y="87"/>
                  </a:cubicBezTo>
                  <a:cubicBezTo>
                    <a:pt x="133" y="87"/>
                    <a:pt x="132" y="86"/>
                    <a:pt x="132" y="86"/>
                  </a:cubicBezTo>
                  <a:cubicBezTo>
                    <a:pt x="132" y="85"/>
                    <a:pt x="131" y="85"/>
                    <a:pt x="131" y="85"/>
                  </a:cubicBezTo>
                  <a:cubicBezTo>
                    <a:pt x="131" y="85"/>
                    <a:pt x="127" y="86"/>
                    <a:pt x="127" y="86"/>
                  </a:cubicBezTo>
                  <a:cubicBezTo>
                    <a:pt x="127" y="86"/>
                    <a:pt x="125" y="87"/>
                    <a:pt x="124" y="88"/>
                  </a:cubicBezTo>
                  <a:cubicBezTo>
                    <a:pt x="122" y="88"/>
                    <a:pt x="122" y="88"/>
                    <a:pt x="121" y="89"/>
                  </a:cubicBezTo>
                  <a:cubicBezTo>
                    <a:pt x="119" y="90"/>
                    <a:pt x="119" y="91"/>
                    <a:pt x="118" y="92"/>
                  </a:cubicBezTo>
                  <a:cubicBezTo>
                    <a:pt x="117" y="92"/>
                    <a:pt x="116" y="94"/>
                    <a:pt x="116" y="94"/>
                  </a:cubicBezTo>
                  <a:cubicBezTo>
                    <a:pt x="115" y="95"/>
                    <a:pt x="115" y="95"/>
                    <a:pt x="116" y="96"/>
                  </a:cubicBezTo>
                  <a:cubicBezTo>
                    <a:pt x="116" y="97"/>
                    <a:pt x="117" y="96"/>
                    <a:pt x="117" y="96"/>
                  </a:cubicBezTo>
                  <a:cubicBezTo>
                    <a:pt x="117" y="96"/>
                    <a:pt x="118" y="96"/>
                    <a:pt x="119" y="96"/>
                  </a:cubicBezTo>
                  <a:cubicBezTo>
                    <a:pt x="120" y="96"/>
                    <a:pt x="120" y="97"/>
                    <a:pt x="119" y="97"/>
                  </a:cubicBezTo>
                  <a:cubicBezTo>
                    <a:pt x="119" y="97"/>
                    <a:pt x="119" y="98"/>
                    <a:pt x="119" y="98"/>
                  </a:cubicBezTo>
                  <a:cubicBezTo>
                    <a:pt x="119" y="98"/>
                    <a:pt x="119" y="98"/>
                    <a:pt x="118" y="99"/>
                  </a:cubicBezTo>
                  <a:cubicBezTo>
                    <a:pt x="118" y="99"/>
                    <a:pt x="118" y="100"/>
                    <a:pt x="118" y="101"/>
                  </a:cubicBezTo>
                  <a:cubicBezTo>
                    <a:pt x="118" y="102"/>
                    <a:pt x="117" y="102"/>
                    <a:pt x="117" y="102"/>
                  </a:cubicBezTo>
                  <a:cubicBezTo>
                    <a:pt x="116" y="103"/>
                    <a:pt x="116" y="103"/>
                    <a:pt x="115" y="104"/>
                  </a:cubicBezTo>
                  <a:cubicBezTo>
                    <a:pt x="114" y="104"/>
                    <a:pt x="114" y="105"/>
                    <a:pt x="114" y="105"/>
                  </a:cubicBezTo>
                  <a:cubicBezTo>
                    <a:pt x="114" y="106"/>
                    <a:pt x="114" y="106"/>
                    <a:pt x="115" y="107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5" y="109"/>
                    <a:pt x="114" y="110"/>
                    <a:pt x="114" y="109"/>
                  </a:cubicBezTo>
                  <a:cubicBezTo>
                    <a:pt x="114" y="109"/>
                    <a:pt x="114" y="108"/>
                    <a:pt x="114" y="108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1" y="108"/>
                    <a:pt x="111" y="108"/>
                    <a:pt x="110" y="108"/>
                  </a:cubicBezTo>
                  <a:cubicBezTo>
                    <a:pt x="110" y="108"/>
                    <a:pt x="112" y="106"/>
                    <a:pt x="112" y="106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4"/>
                    <a:pt x="113" y="104"/>
                    <a:pt x="113" y="104"/>
                  </a:cubicBezTo>
                  <a:cubicBezTo>
                    <a:pt x="110" y="104"/>
                    <a:pt x="110" y="104"/>
                    <a:pt x="110" y="104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3"/>
                    <a:pt x="110" y="103"/>
                    <a:pt x="110" y="103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99"/>
                    <a:pt x="111" y="99"/>
                    <a:pt x="111" y="99"/>
                  </a:cubicBezTo>
                  <a:cubicBezTo>
                    <a:pt x="111" y="99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5"/>
                  </a:cubicBezTo>
                  <a:cubicBezTo>
                    <a:pt x="114" y="95"/>
                    <a:pt x="113" y="94"/>
                    <a:pt x="113" y="94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6" y="96"/>
                    <a:pt x="105" y="96"/>
                  </a:cubicBezTo>
                  <a:cubicBezTo>
                    <a:pt x="104" y="96"/>
                    <a:pt x="105" y="96"/>
                    <a:pt x="104" y="96"/>
                  </a:cubicBezTo>
                  <a:cubicBezTo>
                    <a:pt x="104" y="95"/>
                    <a:pt x="103" y="95"/>
                    <a:pt x="103" y="95"/>
                  </a:cubicBezTo>
                  <a:cubicBezTo>
                    <a:pt x="103" y="95"/>
                    <a:pt x="101" y="95"/>
                    <a:pt x="101" y="95"/>
                  </a:cubicBezTo>
                  <a:cubicBezTo>
                    <a:pt x="100" y="95"/>
                    <a:pt x="100" y="96"/>
                    <a:pt x="100" y="96"/>
                  </a:cubicBezTo>
                  <a:cubicBezTo>
                    <a:pt x="100" y="96"/>
                    <a:pt x="103" y="97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5" y="99"/>
                    <a:pt x="104" y="101"/>
                    <a:pt x="103" y="101"/>
                  </a:cubicBezTo>
                  <a:cubicBezTo>
                    <a:pt x="103" y="102"/>
                    <a:pt x="102" y="102"/>
                    <a:pt x="102" y="102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100" y="103"/>
                    <a:pt x="101" y="105"/>
                    <a:pt x="101" y="105"/>
                  </a:cubicBezTo>
                  <a:cubicBezTo>
                    <a:pt x="101" y="105"/>
                    <a:pt x="101" y="107"/>
                    <a:pt x="101" y="107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96" y="108"/>
                    <a:pt x="95" y="108"/>
                    <a:pt x="95" y="108"/>
                  </a:cubicBezTo>
                  <a:cubicBezTo>
                    <a:pt x="94" y="108"/>
                    <a:pt x="94" y="107"/>
                    <a:pt x="94" y="107"/>
                  </a:cubicBezTo>
                  <a:cubicBezTo>
                    <a:pt x="93" y="109"/>
                    <a:pt x="93" y="109"/>
                    <a:pt x="93" y="109"/>
                  </a:cubicBezTo>
                  <a:cubicBezTo>
                    <a:pt x="93" y="109"/>
                    <a:pt x="89" y="108"/>
                    <a:pt x="88" y="108"/>
                  </a:cubicBezTo>
                  <a:cubicBezTo>
                    <a:pt x="88" y="108"/>
                    <a:pt x="88" y="110"/>
                    <a:pt x="88" y="110"/>
                  </a:cubicBezTo>
                  <a:cubicBezTo>
                    <a:pt x="90" y="111"/>
                    <a:pt x="90" y="111"/>
                    <a:pt x="90" y="111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2" y="114"/>
                    <a:pt x="92" y="114"/>
                    <a:pt x="92" y="11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1"/>
                    <a:pt x="95" y="121"/>
                    <a:pt x="95" y="121"/>
                  </a:cubicBezTo>
                  <a:cubicBezTo>
                    <a:pt x="95" y="121"/>
                    <a:pt x="95" y="122"/>
                    <a:pt x="96" y="123"/>
                  </a:cubicBezTo>
                  <a:cubicBezTo>
                    <a:pt x="96" y="123"/>
                    <a:pt x="96" y="125"/>
                    <a:pt x="96" y="125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96" y="128"/>
                    <a:pt x="94" y="129"/>
                    <a:pt x="94" y="130"/>
                  </a:cubicBezTo>
                  <a:cubicBezTo>
                    <a:pt x="94" y="130"/>
                    <a:pt x="95" y="130"/>
                    <a:pt x="95" y="130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98" y="134"/>
                    <a:pt x="98" y="134"/>
                    <a:pt x="98" y="134"/>
                  </a:cubicBezTo>
                  <a:cubicBezTo>
                    <a:pt x="98" y="134"/>
                    <a:pt x="97" y="135"/>
                    <a:pt x="97" y="136"/>
                  </a:cubicBezTo>
                  <a:cubicBezTo>
                    <a:pt x="97" y="136"/>
                    <a:pt x="99" y="137"/>
                    <a:pt x="99" y="137"/>
                  </a:cubicBezTo>
                  <a:cubicBezTo>
                    <a:pt x="103" y="137"/>
                    <a:pt x="103" y="137"/>
                    <a:pt x="103" y="137"/>
                  </a:cubicBezTo>
                  <a:cubicBezTo>
                    <a:pt x="105" y="137"/>
                    <a:pt x="105" y="137"/>
                    <a:pt x="105" y="137"/>
                  </a:cubicBezTo>
                  <a:cubicBezTo>
                    <a:pt x="105" y="137"/>
                    <a:pt x="108" y="137"/>
                    <a:pt x="109" y="137"/>
                  </a:cubicBezTo>
                  <a:cubicBezTo>
                    <a:pt x="109" y="137"/>
                    <a:pt x="112" y="136"/>
                    <a:pt x="112" y="136"/>
                  </a:cubicBezTo>
                  <a:cubicBezTo>
                    <a:pt x="112" y="136"/>
                    <a:pt x="114" y="138"/>
                    <a:pt x="115" y="138"/>
                  </a:cubicBezTo>
                  <a:cubicBezTo>
                    <a:pt x="116" y="139"/>
                    <a:pt x="115" y="140"/>
                    <a:pt x="115" y="140"/>
                  </a:cubicBezTo>
                  <a:cubicBezTo>
                    <a:pt x="115" y="141"/>
                    <a:pt x="114" y="141"/>
                    <a:pt x="114" y="141"/>
                  </a:cubicBezTo>
                  <a:cubicBezTo>
                    <a:pt x="114" y="141"/>
                    <a:pt x="115" y="144"/>
                    <a:pt x="115" y="144"/>
                  </a:cubicBezTo>
                  <a:cubicBezTo>
                    <a:pt x="116" y="145"/>
                    <a:pt x="116" y="144"/>
                    <a:pt x="116" y="144"/>
                  </a:cubicBezTo>
                  <a:cubicBezTo>
                    <a:pt x="116" y="144"/>
                    <a:pt x="117" y="145"/>
                    <a:pt x="118" y="146"/>
                  </a:cubicBezTo>
                  <a:cubicBezTo>
                    <a:pt x="118" y="147"/>
                    <a:pt x="119" y="147"/>
                    <a:pt x="119" y="147"/>
                  </a:cubicBezTo>
                  <a:cubicBezTo>
                    <a:pt x="120" y="147"/>
                    <a:pt x="120" y="147"/>
                    <a:pt x="120" y="147"/>
                  </a:cubicBezTo>
                  <a:cubicBezTo>
                    <a:pt x="120" y="147"/>
                    <a:pt x="121" y="147"/>
                    <a:pt x="121" y="148"/>
                  </a:cubicBezTo>
                  <a:cubicBezTo>
                    <a:pt x="122" y="148"/>
                    <a:pt x="123" y="148"/>
                    <a:pt x="124" y="148"/>
                  </a:cubicBezTo>
                  <a:cubicBezTo>
                    <a:pt x="124" y="148"/>
                    <a:pt x="125" y="148"/>
                    <a:pt x="125" y="147"/>
                  </a:cubicBezTo>
                  <a:cubicBezTo>
                    <a:pt x="125" y="147"/>
                    <a:pt x="126" y="147"/>
                    <a:pt x="127" y="147"/>
                  </a:cubicBezTo>
                  <a:cubicBezTo>
                    <a:pt x="127" y="146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lose/>
                  <a:moveTo>
                    <a:pt x="127" y="150"/>
                  </a:moveTo>
                  <a:cubicBezTo>
                    <a:pt x="127" y="150"/>
                    <a:pt x="127" y="150"/>
                    <a:pt x="127" y="150"/>
                  </a:cubicBezTo>
                  <a:cubicBezTo>
                    <a:pt x="126" y="151"/>
                    <a:pt x="126" y="151"/>
                    <a:pt x="126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9" y="152"/>
                    <a:pt x="129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2" y="149"/>
                    <a:pt x="132" y="149"/>
                    <a:pt x="132" y="149"/>
                  </a:cubicBezTo>
                  <a:cubicBezTo>
                    <a:pt x="135" y="148"/>
                    <a:pt x="135" y="148"/>
                    <a:pt x="135" y="148"/>
                  </a:cubicBezTo>
                  <a:cubicBezTo>
                    <a:pt x="135" y="148"/>
                    <a:pt x="138" y="148"/>
                    <a:pt x="138" y="148"/>
                  </a:cubicBezTo>
                  <a:cubicBezTo>
                    <a:pt x="138" y="148"/>
                    <a:pt x="139" y="147"/>
                    <a:pt x="139" y="147"/>
                  </a:cubicBezTo>
                  <a:cubicBezTo>
                    <a:pt x="139" y="146"/>
                    <a:pt x="139" y="146"/>
                    <a:pt x="139" y="146"/>
                  </a:cubicBezTo>
                  <a:cubicBezTo>
                    <a:pt x="137" y="144"/>
                    <a:pt x="137" y="144"/>
                    <a:pt x="137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5" y="144"/>
                    <a:pt x="133" y="144"/>
                    <a:pt x="132" y="144"/>
                  </a:cubicBezTo>
                  <a:cubicBezTo>
                    <a:pt x="132" y="144"/>
                    <a:pt x="131" y="144"/>
                    <a:pt x="131" y="144"/>
                  </a:cubicBezTo>
                  <a:cubicBezTo>
                    <a:pt x="131" y="144"/>
                    <a:pt x="131" y="145"/>
                    <a:pt x="131" y="146"/>
                  </a:cubicBezTo>
                  <a:cubicBezTo>
                    <a:pt x="130" y="147"/>
                    <a:pt x="130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7" y="150"/>
                    <a:pt x="127" y="150"/>
                    <a:pt x="127" y="150"/>
                  </a:cubicBezTo>
                  <a:close/>
                  <a:moveTo>
                    <a:pt x="116" y="162"/>
                  </a:moveTo>
                  <a:cubicBezTo>
                    <a:pt x="116" y="162"/>
                    <a:pt x="116" y="162"/>
                    <a:pt x="116" y="162"/>
                  </a:cubicBezTo>
                  <a:cubicBezTo>
                    <a:pt x="117" y="162"/>
                    <a:pt x="117" y="162"/>
                    <a:pt x="117" y="162"/>
                  </a:cubicBezTo>
                  <a:cubicBezTo>
                    <a:pt x="118" y="161"/>
                    <a:pt x="118" y="161"/>
                    <a:pt x="118" y="161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6" y="158"/>
                    <a:pt x="116" y="158"/>
                    <a:pt x="116" y="158"/>
                  </a:cubicBezTo>
                  <a:cubicBezTo>
                    <a:pt x="115" y="155"/>
                    <a:pt x="115" y="155"/>
                    <a:pt x="115" y="155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1" y="154"/>
                    <a:pt x="111" y="154"/>
                    <a:pt x="111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09" y="156"/>
                    <a:pt x="106" y="155"/>
                    <a:pt x="105" y="154"/>
                  </a:cubicBezTo>
                  <a:cubicBezTo>
                    <a:pt x="103" y="153"/>
                    <a:pt x="103" y="153"/>
                    <a:pt x="103" y="153"/>
                  </a:cubicBezTo>
                  <a:cubicBezTo>
                    <a:pt x="103" y="153"/>
                    <a:pt x="102" y="153"/>
                    <a:pt x="101" y="152"/>
                  </a:cubicBezTo>
                  <a:cubicBezTo>
                    <a:pt x="101" y="152"/>
                    <a:pt x="100" y="151"/>
                    <a:pt x="100" y="151"/>
                  </a:cubicBezTo>
                  <a:cubicBezTo>
                    <a:pt x="100" y="151"/>
                    <a:pt x="100" y="150"/>
                    <a:pt x="99" y="150"/>
                  </a:cubicBezTo>
                  <a:cubicBezTo>
                    <a:pt x="99" y="149"/>
                    <a:pt x="98" y="150"/>
                    <a:pt x="97" y="150"/>
                  </a:cubicBezTo>
                  <a:cubicBezTo>
                    <a:pt x="95" y="150"/>
                    <a:pt x="95" y="150"/>
                    <a:pt x="94" y="150"/>
                  </a:cubicBezTo>
                  <a:cubicBezTo>
                    <a:pt x="94" y="151"/>
                    <a:pt x="93" y="151"/>
                    <a:pt x="93" y="151"/>
                  </a:cubicBezTo>
                  <a:cubicBezTo>
                    <a:pt x="92" y="152"/>
                    <a:pt x="93" y="154"/>
                    <a:pt x="93" y="154"/>
                  </a:cubicBezTo>
                  <a:cubicBezTo>
                    <a:pt x="93" y="155"/>
                    <a:pt x="93" y="155"/>
                    <a:pt x="93" y="155"/>
                  </a:cubicBezTo>
                  <a:cubicBezTo>
                    <a:pt x="94" y="157"/>
                    <a:pt x="94" y="157"/>
                    <a:pt x="94" y="157"/>
                  </a:cubicBezTo>
                  <a:cubicBezTo>
                    <a:pt x="92" y="157"/>
                    <a:pt x="92" y="157"/>
                    <a:pt x="92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2" y="159"/>
                    <a:pt x="92" y="160"/>
                    <a:pt x="93" y="161"/>
                  </a:cubicBezTo>
                  <a:cubicBezTo>
                    <a:pt x="93" y="161"/>
                    <a:pt x="94" y="162"/>
                    <a:pt x="94" y="162"/>
                  </a:cubicBezTo>
                  <a:cubicBezTo>
                    <a:pt x="94" y="162"/>
                    <a:pt x="99" y="163"/>
                    <a:pt x="99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100" y="163"/>
                    <a:pt x="102" y="164"/>
                    <a:pt x="104" y="165"/>
                  </a:cubicBezTo>
                  <a:cubicBezTo>
                    <a:pt x="105" y="166"/>
                    <a:pt x="106" y="167"/>
                    <a:pt x="106" y="167"/>
                  </a:cubicBezTo>
                  <a:cubicBezTo>
                    <a:pt x="106" y="167"/>
                    <a:pt x="108" y="167"/>
                    <a:pt x="108" y="167"/>
                  </a:cubicBezTo>
                  <a:cubicBezTo>
                    <a:pt x="109" y="166"/>
                    <a:pt x="109" y="166"/>
                    <a:pt x="109" y="166"/>
                  </a:cubicBezTo>
                  <a:cubicBezTo>
                    <a:pt x="112" y="165"/>
                    <a:pt x="112" y="165"/>
                    <a:pt x="112" y="165"/>
                  </a:cubicBezTo>
                  <a:cubicBezTo>
                    <a:pt x="114" y="165"/>
                    <a:pt x="114" y="165"/>
                    <a:pt x="114" y="165"/>
                  </a:cubicBezTo>
                  <a:cubicBezTo>
                    <a:pt x="117" y="166"/>
                    <a:pt x="117" y="166"/>
                    <a:pt x="117" y="166"/>
                  </a:cubicBezTo>
                  <a:cubicBezTo>
                    <a:pt x="118" y="166"/>
                    <a:pt x="118" y="166"/>
                    <a:pt x="118" y="166"/>
                  </a:cubicBezTo>
                  <a:cubicBezTo>
                    <a:pt x="118" y="164"/>
                    <a:pt x="118" y="164"/>
                    <a:pt x="118" y="164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16" y="162"/>
                    <a:pt x="116" y="162"/>
                    <a:pt x="116" y="16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6"/>
                    <a:pt x="69" y="113"/>
                    <a:pt x="69" y="113"/>
                  </a:cubicBezTo>
                  <a:cubicBezTo>
                    <a:pt x="68" y="112"/>
                    <a:pt x="68" y="113"/>
                    <a:pt x="68" y="113"/>
                  </a:cubicBezTo>
                  <a:cubicBezTo>
                    <a:pt x="68" y="113"/>
                    <a:pt x="68" y="115"/>
                    <a:pt x="67" y="116"/>
                  </a:cubicBezTo>
                  <a:cubicBezTo>
                    <a:pt x="66" y="116"/>
                    <a:pt x="65" y="116"/>
                    <a:pt x="65" y="116"/>
                  </a:cubicBezTo>
                  <a:cubicBezTo>
                    <a:pt x="63" y="118"/>
                    <a:pt x="63" y="118"/>
                    <a:pt x="63" y="118"/>
                  </a:cubicBezTo>
                  <a:cubicBezTo>
                    <a:pt x="63" y="118"/>
                    <a:pt x="60" y="119"/>
                    <a:pt x="59" y="119"/>
                  </a:cubicBezTo>
                  <a:cubicBezTo>
                    <a:pt x="59" y="119"/>
                    <a:pt x="58" y="120"/>
                    <a:pt x="58" y="120"/>
                  </a:cubicBezTo>
                  <a:cubicBezTo>
                    <a:pt x="52" y="119"/>
                    <a:pt x="52" y="119"/>
                    <a:pt x="52" y="119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1" y="124"/>
                    <a:pt x="51" y="124"/>
                    <a:pt x="51" y="124"/>
                  </a:cubicBezTo>
                  <a:cubicBezTo>
                    <a:pt x="52" y="125"/>
                    <a:pt x="52" y="125"/>
                    <a:pt x="52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4" y="129"/>
                    <a:pt x="55" y="130"/>
                    <a:pt x="56" y="132"/>
                  </a:cubicBezTo>
                  <a:cubicBezTo>
                    <a:pt x="57" y="134"/>
                    <a:pt x="56" y="135"/>
                    <a:pt x="56" y="135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2" y="140"/>
                    <a:pt x="63" y="140"/>
                  </a:cubicBezTo>
                  <a:cubicBezTo>
                    <a:pt x="63" y="140"/>
                    <a:pt x="63" y="141"/>
                    <a:pt x="63" y="141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4" y="145"/>
                    <a:pt x="64" y="145"/>
                    <a:pt x="64" y="145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71" y="145"/>
                    <a:pt x="71" y="145"/>
                    <a:pt x="71" y="145"/>
                  </a:cubicBezTo>
                  <a:cubicBezTo>
                    <a:pt x="71" y="145"/>
                    <a:pt x="75" y="147"/>
                    <a:pt x="76" y="147"/>
                  </a:cubicBezTo>
                  <a:cubicBezTo>
                    <a:pt x="76" y="147"/>
                    <a:pt x="78" y="145"/>
                    <a:pt x="78" y="145"/>
                  </a:cubicBezTo>
                  <a:cubicBezTo>
                    <a:pt x="79" y="144"/>
                    <a:pt x="82" y="144"/>
                    <a:pt x="82" y="144"/>
                  </a:cubicBezTo>
                  <a:cubicBezTo>
                    <a:pt x="83" y="144"/>
                    <a:pt x="83" y="143"/>
                    <a:pt x="83" y="143"/>
                  </a:cubicBezTo>
                  <a:cubicBezTo>
                    <a:pt x="83" y="142"/>
                    <a:pt x="84" y="141"/>
                    <a:pt x="84" y="140"/>
                  </a:cubicBezTo>
                  <a:cubicBezTo>
                    <a:pt x="84" y="139"/>
                    <a:pt x="85" y="138"/>
                    <a:pt x="85" y="138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3"/>
                    <a:pt x="84" y="133"/>
                    <a:pt x="84" y="133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6"/>
                    <a:pt x="82" y="126"/>
                    <a:pt x="82" y="126"/>
                  </a:cubicBezTo>
                  <a:cubicBezTo>
                    <a:pt x="82" y="125"/>
                    <a:pt x="82" y="125"/>
                    <a:pt x="82" y="12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4" y="123"/>
                    <a:pt x="84" y="123"/>
                    <a:pt x="84" y="123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87" y="118"/>
                    <a:pt x="87" y="118"/>
                    <a:pt x="87" y="118"/>
                  </a:cubicBezTo>
                  <a:cubicBezTo>
                    <a:pt x="88" y="115"/>
                    <a:pt x="88" y="115"/>
                    <a:pt x="88" y="115"/>
                  </a:cubicBezTo>
                  <a:cubicBezTo>
                    <a:pt x="88" y="115"/>
                    <a:pt x="84" y="114"/>
                    <a:pt x="83" y="114"/>
                  </a:cubicBezTo>
                  <a:cubicBezTo>
                    <a:pt x="81" y="114"/>
                    <a:pt x="82" y="114"/>
                    <a:pt x="82" y="113"/>
                  </a:cubicBezTo>
                  <a:cubicBezTo>
                    <a:pt x="82" y="113"/>
                    <a:pt x="81" y="112"/>
                    <a:pt x="81" y="112"/>
                  </a:cubicBezTo>
                  <a:cubicBezTo>
                    <a:pt x="81" y="112"/>
                    <a:pt x="79" y="113"/>
                    <a:pt x="79" y="113"/>
                  </a:cubicBezTo>
                  <a:cubicBezTo>
                    <a:pt x="78" y="113"/>
                    <a:pt x="78" y="111"/>
                    <a:pt x="78" y="111"/>
                  </a:cubicBezTo>
                  <a:cubicBezTo>
                    <a:pt x="78" y="111"/>
                    <a:pt x="76" y="112"/>
                    <a:pt x="76" y="112"/>
                  </a:cubicBezTo>
                  <a:cubicBezTo>
                    <a:pt x="75" y="112"/>
                    <a:pt x="73" y="112"/>
                    <a:pt x="73" y="112"/>
                  </a:cubicBezTo>
                  <a:cubicBezTo>
                    <a:pt x="73" y="112"/>
                    <a:pt x="73" y="113"/>
                    <a:pt x="73" y="113"/>
                  </a:cubicBezTo>
                  <a:cubicBezTo>
                    <a:pt x="72" y="114"/>
                    <a:pt x="73" y="115"/>
                    <a:pt x="74" y="115"/>
                  </a:cubicBezTo>
                  <a:cubicBezTo>
                    <a:pt x="74" y="116"/>
                    <a:pt x="75" y="118"/>
                    <a:pt x="75" y="118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75" y="107"/>
                  </a:moveTo>
                  <a:cubicBezTo>
                    <a:pt x="75" y="107"/>
                    <a:pt x="75" y="107"/>
                    <a:pt x="75" y="107"/>
                  </a:cubicBezTo>
                  <a:cubicBezTo>
                    <a:pt x="77" y="107"/>
                    <a:pt x="77" y="107"/>
                    <a:pt x="77" y="107"/>
                  </a:cubicBezTo>
                  <a:cubicBezTo>
                    <a:pt x="78" y="105"/>
                    <a:pt x="78" y="105"/>
                    <a:pt x="78" y="105"/>
                  </a:cubicBezTo>
                  <a:cubicBezTo>
                    <a:pt x="78" y="105"/>
                    <a:pt x="79" y="104"/>
                    <a:pt x="79" y="103"/>
                  </a:cubicBezTo>
                  <a:cubicBezTo>
                    <a:pt x="79" y="103"/>
                    <a:pt x="79" y="102"/>
                    <a:pt x="79" y="102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4" y="94"/>
                    <a:pt x="74" y="96"/>
                    <a:pt x="74" y="96"/>
                  </a:cubicBezTo>
                  <a:cubicBezTo>
                    <a:pt x="74" y="97"/>
                    <a:pt x="75" y="98"/>
                    <a:pt x="75" y="98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5" y="105"/>
                    <a:pt x="75" y="105"/>
                    <a:pt x="75" y="105"/>
                  </a:cubicBezTo>
                  <a:cubicBezTo>
                    <a:pt x="75" y="107"/>
                    <a:pt x="75" y="107"/>
                    <a:pt x="75" y="107"/>
                  </a:cubicBezTo>
                  <a:close/>
                  <a:moveTo>
                    <a:pt x="80" y="157"/>
                  </a:moveTo>
                  <a:cubicBezTo>
                    <a:pt x="80" y="157"/>
                    <a:pt x="80" y="157"/>
                    <a:pt x="80" y="157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62"/>
                    <a:pt x="84" y="163"/>
                    <a:pt x="84" y="162"/>
                  </a:cubicBezTo>
                  <a:cubicBezTo>
                    <a:pt x="84" y="161"/>
                    <a:pt x="83" y="160"/>
                    <a:pt x="84" y="159"/>
                  </a:cubicBezTo>
                  <a:cubicBezTo>
                    <a:pt x="84" y="158"/>
                    <a:pt x="85" y="156"/>
                    <a:pt x="85" y="155"/>
                  </a:cubicBezTo>
                  <a:cubicBezTo>
                    <a:pt x="85" y="154"/>
                    <a:pt x="86" y="153"/>
                    <a:pt x="86" y="152"/>
                  </a:cubicBezTo>
                  <a:cubicBezTo>
                    <a:pt x="87" y="151"/>
                    <a:pt x="88" y="149"/>
                    <a:pt x="88" y="148"/>
                  </a:cubicBezTo>
                  <a:cubicBezTo>
                    <a:pt x="88" y="148"/>
                    <a:pt x="89" y="146"/>
                    <a:pt x="89" y="145"/>
                  </a:cubicBezTo>
                  <a:cubicBezTo>
                    <a:pt x="89" y="145"/>
                    <a:pt x="89" y="142"/>
                    <a:pt x="89" y="142"/>
                  </a:cubicBezTo>
                  <a:cubicBezTo>
                    <a:pt x="89" y="142"/>
                    <a:pt x="88" y="139"/>
                    <a:pt x="88" y="139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82" y="151"/>
                    <a:pt x="82" y="151"/>
                    <a:pt x="82" y="151"/>
                  </a:cubicBezTo>
                  <a:cubicBezTo>
                    <a:pt x="82" y="152"/>
                    <a:pt x="82" y="152"/>
                    <a:pt x="82" y="152"/>
                  </a:cubicBezTo>
                  <a:cubicBezTo>
                    <a:pt x="82" y="154"/>
                    <a:pt x="82" y="154"/>
                    <a:pt x="82" y="154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0" y="157"/>
                    <a:pt x="80" y="157"/>
                    <a:pt x="80" y="157"/>
                  </a:cubicBezTo>
                  <a:close/>
                  <a:moveTo>
                    <a:pt x="75" y="148"/>
                  </a:moveTo>
                  <a:cubicBezTo>
                    <a:pt x="75" y="148"/>
                    <a:pt x="75" y="148"/>
                    <a:pt x="75" y="148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76" y="149"/>
                    <a:pt x="77" y="152"/>
                    <a:pt x="78" y="152"/>
                  </a:cubicBezTo>
                  <a:cubicBezTo>
                    <a:pt x="78" y="152"/>
                    <a:pt x="81" y="149"/>
                    <a:pt x="81" y="149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75" y="148"/>
                    <a:pt x="75" y="148"/>
                    <a:pt x="75" y="148"/>
                  </a:cubicBezTo>
                  <a:close/>
                  <a:moveTo>
                    <a:pt x="66" y="150"/>
                  </a:moveTo>
                  <a:cubicBezTo>
                    <a:pt x="66" y="150"/>
                    <a:pt x="66" y="150"/>
                    <a:pt x="66" y="150"/>
                  </a:cubicBezTo>
                  <a:cubicBezTo>
                    <a:pt x="66" y="150"/>
                    <a:pt x="67" y="153"/>
                    <a:pt x="67" y="153"/>
                  </a:cubicBezTo>
                  <a:cubicBezTo>
                    <a:pt x="68" y="153"/>
                    <a:pt x="69" y="154"/>
                    <a:pt x="69" y="154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7"/>
                    <a:pt x="72" y="157"/>
                  </a:cubicBezTo>
                  <a:cubicBezTo>
                    <a:pt x="72" y="157"/>
                    <a:pt x="74" y="156"/>
                    <a:pt x="74" y="156"/>
                  </a:cubicBezTo>
                  <a:cubicBezTo>
                    <a:pt x="75" y="154"/>
                    <a:pt x="75" y="154"/>
                    <a:pt x="75" y="154"/>
                  </a:cubicBezTo>
                  <a:cubicBezTo>
                    <a:pt x="75" y="154"/>
                    <a:pt x="73" y="154"/>
                    <a:pt x="73" y="154"/>
                  </a:cubicBezTo>
                  <a:cubicBezTo>
                    <a:pt x="72" y="154"/>
                    <a:pt x="71" y="152"/>
                    <a:pt x="71" y="152"/>
                  </a:cubicBezTo>
                  <a:cubicBezTo>
                    <a:pt x="71" y="152"/>
                    <a:pt x="70" y="152"/>
                    <a:pt x="70" y="152"/>
                  </a:cubicBezTo>
                  <a:cubicBezTo>
                    <a:pt x="69" y="152"/>
                    <a:pt x="67" y="150"/>
                    <a:pt x="67" y="150"/>
                  </a:cubicBezTo>
                  <a:cubicBezTo>
                    <a:pt x="66" y="150"/>
                    <a:pt x="66" y="150"/>
                    <a:pt x="66" y="150"/>
                  </a:cubicBezTo>
                  <a:close/>
                  <a:moveTo>
                    <a:pt x="50" y="147"/>
                  </a:moveTo>
                  <a:cubicBezTo>
                    <a:pt x="50" y="147"/>
                    <a:pt x="50" y="147"/>
                    <a:pt x="50" y="147"/>
                  </a:cubicBezTo>
                  <a:cubicBezTo>
                    <a:pt x="52" y="148"/>
                    <a:pt x="52" y="148"/>
                    <a:pt x="52" y="148"/>
                  </a:cubicBezTo>
                  <a:cubicBezTo>
                    <a:pt x="53" y="149"/>
                    <a:pt x="53" y="149"/>
                    <a:pt x="53" y="149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3" y="152"/>
                    <a:pt x="54" y="154"/>
                    <a:pt x="55" y="153"/>
                  </a:cubicBezTo>
                  <a:cubicBezTo>
                    <a:pt x="56" y="153"/>
                    <a:pt x="56" y="153"/>
                    <a:pt x="56" y="153"/>
                  </a:cubicBezTo>
                  <a:cubicBezTo>
                    <a:pt x="56" y="153"/>
                    <a:pt x="58" y="154"/>
                    <a:pt x="58" y="154"/>
                  </a:cubicBezTo>
                  <a:cubicBezTo>
                    <a:pt x="59" y="155"/>
                    <a:pt x="60" y="155"/>
                    <a:pt x="61" y="155"/>
                  </a:cubicBezTo>
                  <a:cubicBezTo>
                    <a:pt x="62" y="155"/>
                    <a:pt x="62" y="154"/>
                    <a:pt x="62" y="154"/>
                  </a:cubicBezTo>
                  <a:cubicBezTo>
                    <a:pt x="62" y="153"/>
                    <a:pt x="62" y="152"/>
                    <a:pt x="62" y="152"/>
                  </a:cubicBezTo>
                  <a:cubicBezTo>
                    <a:pt x="61" y="150"/>
                    <a:pt x="61" y="150"/>
                    <a:pt x="61" y="150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50" y="147"/>
                    <a:pt x="50" y="147"/>
                    <a:pt x="50" y="147"/>
                  </a:cubicBezTo>
                  <a:close/>
                  <a:moveTo>
                    <a:pt x="83" y="25"/>
                  </a:moveTo>
                  <a:cubicBezTo>
                    <a:pt x="83" y="25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4" y="26"/>
                    <a:pt x="85" y="26"/>
                    <a:pt x="85" y="26"/>
                  </a:cubicBezTo>
                  <a:cubicBezTo>
                    <a:pt x="85" y="26"/>
                    <a:pt x="87" y="27"/>
                    <a:pt x="87" y="27"/>
                  </a:cubicBezTo>
                  <a:cubicBezTo>
                    <a:pt x="87" y="28"/>
                    <a:pt x="88" y="27"/>
                    <a:pt x="88" y="27"/>
                  </a:cubicBezTo>
                  <a:cubicBezTo>
                    <a:pt x="89" y="27"/>
                    <a:pt x="89" y="26"/>
                    <a:pt x="89" y="25"/>
                  </a:cubicBezTo>
                  <a:cubicBezTo>
                    <a:pt x="89" y="25"/>
                    <a:pt x="90" y="24"/>
                    <a:pt x="90" y="24"/>
                  </a:cubicBezTo>
                  <a:cubicBezTo>
                    <a:pt x="90" y="24"/>
                    <a:pt x="93" y="22"/>
                    <a:pt x="93" y="22"/>
                  </a:cubicBezTo>
                  <a:cubicBezTo>
                    <a:pt x="93" y="21"/>
                    <a:pt x="91" y="21"/>
                    <a:pt x="91" y="21"/>
                  </a:cubicBezTo>
                  <a:cubicBezTo>
                    <a:pt x="91" y="21"/>
                    <a:pt x="88" y="22"/>
                    <a:pt x="88" y="22"/>
                  </a:cubicBezTo>
                  <a:cubicBezTo>
                    <a:pt x="88" y="22"/>
                    <a:pt x="85" y="23"/>
                    <a:pt x="85" y="23"/>
                  </a:cubicBezTo>
                  <a:lnTo>
                    <a:pt x="83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5" name="Freeform 144"/>
            <p:cNvSpPr>
              <a:spLocks noEditPoints="1"/>
            </p:cNvSpPr>
            <p:nvPr/>
          </p:nvSpPr>
          <p:spPr bwMode="auto">
            <a:xfrm>
              <a:off x="3837098" y="3977793"/>
              <a:ext cx="323136" cy="366536"/>
            </a:xfrm>
            <a:custGeom>
              <a:avLst/>
              <a:gdLst>
                <a:gd name="T0" fmla="*/ 75 w 136"/>
                <a:gd name="T1" fmla="*/ 25 h 159"/>
                <a:gd name="T2" fmla="*/ 117 w 136"/>
                <a:gd name="T3" fmla="*/ 17 h 159"/>
                <a:gd name="T4" fmla="*/ 125 w 136"/>
                <a:gd name="T5" fmla="*/ 49 h 159"/>
                <a:gd name="T6" fmla="*/ 112 w 136"/>
                <a:gd name="T7" fmla="*/ 67 h 159"/>
                <a:gd name="T8" fmla="*/ 121 w 136"/>
                <a:gd name="T9" fmla="*/ 84 h 159"/>
                <a:gd name="T10" fmla="*/ 114 w 136"/>
                <a:gd name="T11" fmla="*/ 97 h 159"/>
                <a:gd name="T12" fmla="*/ 96 w 136"/>
                <a:gd name="T13" fmla="*/ 100 h 159"/>
                <a:gd name="T14" fmla="*/ 90 w 136"/>
                <a:gd name="T15" fmla="*/ 108 h 159"/>
                <a:gd name="T16" fmla="*/ 92 w 136"/>
                <a:gd name="T17" fmla="*/ 130 h 159"/>
                <a:gd name="T18" fmla="*/ 85 w 136"/>
                <a:gd name="T19" fmla="*/ 141 h 159"/>
                <a:gd name="T20" fmla="*/ 88 w 136"/>
                <a:gd name="T21" fmla="*/ 149 h 159"/>
                <a:gd name="T22" fmla="*/ 85 w 136"/>
                <a:gd name="T23" fmla="*/ 159 h 159"/>
                <a:gd name="T24" fmla="*/ 76 w 136"/>
                <a:gd name="T25" fmla="*/ 148 h 159"/>
                <a:gd name="T26" fmla="*/ 69 w 136"/>
                <a:gd name="T27" fmla="*/ 128 h 159"/>
                <a:gd name="T28" fmla="*/ 56 w 136"/>
                <a:gd name="T29" fmla="*/ 121 h 159"/>
                <a:gd name="T30" fmla="*/ 42 w 136"/>
                <a:gd name="T31" fmla="*/ 119 h 159"/>
                <a:gd name="T32" fmla="*/ 27 w 136"/>
                <a:gd name="T33" fmla="*/ 121 h 159"/>
                <a:gd name="T34" fmla="*/ 13 w 136"/>
                <a:gd name="T35" fmla="*/ 121 h 159"/>
                <a:gd name="T36" fmla="*/ 6 w 136"/>
                <a:gd name="T37" fmla="*/ 112 h 159"/>
                <a:gd name="T38" fmla="*/ 22 w 136"/>
                <a:gd name="T39" fmla="*/ 114 h 159"/>
                <a:gd name="T40" fmla="*/ 27 w 136"/>
                <a:gd name="T41" fmla="*/ 116 h 159"/>
                <a:gd name="T42" fmla="*/ 9 w 136"/>
                <a:gd name="T43" fmla="*/ 111 h 159"/>
                <a:gd name="T44" fmla="*/ 15 w 136"/>
                <a:gd name="T45" fmla="*/ 103 h 159"/>
                <a:gd name="T46" fmla="*/ 25 w 136"/>
                <a:gd name="T47" fmla="*/ 111 h 159"/>
                <a:gd name="T48" fmla="*/ 22 w 136"/>
                <a:gd name="T49" fmla="*/ 105 h 159"/>
                <a:gd name="T50" fmla="*/ 20 w 136"/>
                <a:gd name="T51" fmla="*/ 102 h 159"/>
                <a:gd name="T52" fmla="*/ 20 w 136"/>
                <a:gd name="T53" fmla="*/ 96 h 159"/>
                <a:gd name="T54" fmla="*/ 32 w 136"/>
                <a:gd name="T55" fmla="*/ 104 h 159"/>
                <a:gd name="T56" fmla="*/ 48 w 136"/>
                <a:gd name="T57" fmla="*/ 100 h 159"/>
                <a:gd name="T58" fmla="*/ 30 w 136"/>
                <a:gd name="T59" fmla="*/ 95 h 159"/>
                <a:gd name="T60" fmla="*/ 37 w 136"/>
                <a:gd name="T61" fmla="*/ 73 h 159"/>
                <a:gd name="T62" fmla="*/ 58 w 136"/>
                <a:gd name="T63" fmla="*/ 37 h 159"/>
                <a:gd name="T64" fmla="*/ 67 w 136"/>
                <a:gd name="T65" fmla="*/ 52 h 159"/>
                <a:gd name="T66" fmla="*/ 61 w 136"/>
                <a:gd name="T67" fmla="*/ 64 h 159"/>
                <a:gd name="T68" fmla="*/ 67 w 136"/>
                <a:gd name="T69" fmla="*/ 74 h 159"/>
                <a:gd name="T70" fmla="*/ 66 w 136"/>
                <a:gd name="T71" fmla="*/ 66 h 159"/>
                <a:gd name="T72" fmla="*/ 85 w 136"/>
                <a:gd name="T73" fmla="*/ 65 h 159"/>
                <a:gd name="T74" fmla="*/ 77 w 136"/>
                <a:gd name="T75" fmla="*/ 51 h 159"/>
                <a:gd name="T76" fmla="*/ 71 w 136"/>
                <a:gd name="T77" fmla="*/ 41 h 159"/>
                <a:gd name="T78" fmla="*/ 134 w 136"/>
                <a:gd name="T79" fmla="*/ 0 h 159"/>
                <a:gd name="T80" fmla="*/ 118 w 136"/>
                <a:gd name="T81" fmla="*/ 6 h 159"/>
                <a:gd name="T82" fmla="*/ 111 w 136"/>
                <a:gd name="T83" fmla="*/ 8 h 159"/>
                <a:gd name="T84" fmla="*/ 112 w 136"/>
                <a:gd name="T85" fmla="*/ 9 h 159"/>
                <a:gd name="T86" fmla="*/ 96 w 136"/>
                <a:gd name="T87" fmla="*/ 12 h 159"/>
                <a:gd name="T88" fmla="*/ 98 w 136"/>
                <a:gd name="T89" fmla="*/ 13 h 159"/>
                <a:gd name="T90" fmla="*/ 93 w 136"/>
                <a:gd name="T91" fmla="*/ 13 h 159"/>
                <a:gd name="T92" fmla="*/ 91 w 136"/>
                <a:gd name="T93" fmla="*/ 13 h 159"/>
                <a:gd name="T94" fmla="*/ 81 w 136"/>
                <a:gd name="T95" fmla="*/ 14 h 159"/>
                <a:gd name="T96" fmla="*/ 78 w 136"/>
                <a:gd name="T97" fmla="*/ 14 h 159"/>
                <a:gd name="T98" fmla="*/ 56 w 136"/>
                <a:gd name="T99" fmla="*/ 22 h 159"/>
                <a:gd name="T100" fmla="*/ 60 w 136"/>
                <a:gd name="T101" fmla="*/ 18 h 159"/>
                <a:gd name="T102" fmla="*/ 54 w 136"/>
                <a:gd name="T103" fmla="*/ 25 h 159"/>
                <a:gd name="T104" fmla="*/ 22 w 136"/>
                <a:gd name="T105" fmla="*/ 94 h 159"/>
                <a:gd name="T106" fmla="*/ 29 w 136"/>
                <a:gd name="T107" fmla="*/ 101 h 159"/>
                <a:gd name="T108" fmla="*/ 30 w 136"/>
                <a:gd name="T109" fmla="*/ 97 h 159"/>
                <a:gd name="T110" fmla="*/ 20 w 136"/>
                <a:gd name="T111" fmla="*/ 94 h 159"/>
                <a:gd name="T112" fmla="*/ 76 w 136"/>
                <a:gd name="T113" fmla="*/ 74 h 159"/>
                <a:gd name="T114" fmla="*/ 74 w 136"/>
                <a:gd name="T115" fmla="*/ 7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59">
                  <a:moveTo>
                    <a:pt x="72" y="35"/>
                  </a:moveTo>
                  <a:cubicBezTo>
                    <a:pt x="71" y="33"/>
                    <a:pt x="71" y="33"/>
                    <a:pt x="71" y="33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7" y="23"/>
                    <a:pt x="78" y="22"/>
                  </a:cubicBezTo>
                  <a:cubicBezTo>
                    <a:pt x="79" y="22"/>
                    <a:pt x="83" y="20"/>
                    <a:pt x="83" y="20"/>
                  </a:cubicBezTo>
                  <a:cubicBezTo>
                    <a:pt x="83" y="20"/>
                    <a:pt x="87" y="18"/>
                    <a:pt x="88" y="18"/>
                  </a:cubicBezTo>
                  <a:cubicBezTo>
                    <a:pt x="89" y="18"/>
                    <a:pt x="96" y="17"/>
                    <a:pt x="96" y="17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3" y="19"/>
                    <a:pt x="105" y="17"/>
                    <a:pt x="107" y="17"/>
                  </a:cubicBezTo>
                  <a:cubicBezTo>
                    <a:pt x="107" y="17"/>
                    <a:pt x="109" y="18"/>
                    <a:pt x="110" y="18"/>
                  </a:cubicBezTo>
                  <a:cubicBezTo>
                    <a:pt x="111" y="18"/>
                    <a:pt x="113" y="17"/>
                    <a:pt x="113" y="17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6" y="26"/>
                    <a:pt x="125" y="28"/>
                    <a:pt x="125" y="29"/>
                  </a:cubicBezTo>
                  <a:cubicBezTo>
                    <a:pt x="126" y="29"/>
                    <a:pt x="129" y="30"/>
                    <a:pt x="129" y="30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1"/>
                    <a:pt x="129" y="35"/>
                    <a:pt x="129" y="36"/>
                  </a:cubicBezTo>
                  <a:cubicBezTo>
                    <a:pt x="129" y="37"/>
                    <a:pt x="129" y="43"/>
                    <a:pt x="129" y="43"/>
                  </a:cubicBezTo>
                  <a:cubicBezTo>
                    <a:pt x="129" y="43"/>
                    <a:pt x="126" y="49"/>
                    <a:pt x="125" y="49"/>
                  </a:cubicBezTo>
                  <a:cubicBezTo>
                    <a:pt x="124" y="50"/>
                    <a:pt x="125" y="54"/>
                    <a:pt x="125" y="54"/>
                  </a:cubicBezTo>
                  <a:cubicBezTo>
                    <a:pt x="124" y="59"/>
                    <a:pt x="124" y="59"/>
                    <a:pt x="124" y="59"/>
                  </a:cubicBezTo>
                  <a:cubicBezTo>
                    <a:pt x="124" y="59"/>
                    <a:pt x="124" y="63"/>
                    <a:pt x="123" y="62"/>
                  </a:cubicBezTo>
                  <a:cubicBezTo>
                    <a:pt x="122" y="62"/>
                    <a:pt x="117" y="60"/>
                    <a:pt x="117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2" y="67"/>
                    <a:pt x="112" y="67"/>
                    <a:pt x="112" y="67"/>
                  </a:cubicBezTo>
                  <a:cubicBezTo>
                    <a:pt x="112" y="67"/>
                    <a:pt x="113" y="69"/>
                    <a:pt x="114" y="70"/>
                  </a:cubicBezTo>
                  <a:cubicBezTo>
                    <a:pt x="114" y="71"/>
                    <a:pt x="117" y="71"/>
                    <a:pt x="117" y="71"/>
                  </a:cubicBezTo>
                  <a:cubicBezTo>
                    <a:pt x="119" y="73"/>
                    <a:pt x="119" y="73"/>
                    <a:pt x="119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4" y="76"/>
                    <a:pt x="124" y="76"/>
                    <a:pt x="124" y="76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80"/>
                    <a:pt x="123" y="81"/>
                  </a:cubicBezTo>
                  <a:cubicBezTo>
                    <a:pt x="123" y="82"/>
                    <a:pt x="124" y="83"/>
                    <a:pt x="123" y="83"/>
                  </a:cubicBezTo>
                  <a:cubicBezTo>
                    <a:pt x="123" y="83"/>
                    <a:pt x="121" y="84"/>
                    <a:pt x="121" y="84"/>
                  </a:cubicBezTo>
                  <a:cubicBezTo>
                    <a:pt x="120" y="86"/>
                    <a:pt x="120" y="86"/>
                    <a:pt x="120" y="86"/>
                  </a:cubicBezTo>
                  <a:cubicBezTo>
                    <a:pt x="120" y="86"/>
                    <a:pt x="118" y="87"/>
                    <a:pt x="117" y="87"/>
                  </a:cubicBezTo>
                  <a:cubicBezTo>
                    <a:pt x="116" y="88"/>
                    <a:pt x="116" y="88"/>
                    <a:pt x="116" y="89"/>
                  </a:cubicBezTo>
                  <a:cubicBezTo>
                    <a:pt x="116" y="89"/>
                    <a:pt x="112" y="88"/>
                    <a:pt x="112" y="88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0" y="91"/>
                    <a:pt x="110" y="91"/>
                    <a:pt x="110" y="91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4" y="97"/>
                    <a:pt x="114" y="97"/>
                    <a:pt x="114" y="97"/>
                  </a:cubicBezTo>
                  <a:cubicBezTo>
                    <a:pt x="112" y="98"/>
                    <a:pt x="112" y="98"/>
                    <a:pt x="112" y="98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5" y="101"/>
                    <a:pt x="105" y="101"/>
                    <a:pt x="105" y="101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0" y="103"/>
                    <a:pt x="100" y="103"/>
                    <a:pt x="100" y="103"/>
                  </a:cubicBezTo>
                  <a:cubicBezTo>
                    <a:pt x="99" y="101"/>
                    <a:pt x="99" y="101"/>
                    <a:pt x="99" y="101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2" y="101"/>
                    <a:pt x="92" y="101"/>
                    <a:pt x="92" y="101"/>
                  </a:cubicBezTo>
                  <a:cubicBezTo>
                    <a:pt x="87" y="100"/>
                    <a:pt x="87" y="100"/>
                    <a:pt x="87" y="100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5"/>
                    <a:pt x="87" y="105"/>
                    <a:pt x="87" y="105"/>
                  </a:cubicBezTo>
                  <a:cubicBezTo>
                    <a:pt x="87" y="105"/>
                    <a:pt x="86" y="106"/>
                    <a:pt x="87" y="106"/>
                  </a:cubicBezTo>
                  <a:cubicBezTo>
                    <a:pt x="88" y="106"/>
                    <a:pt x="90" y="108"/>
                    <a:pt x="90" y="108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5" y="127"/>
                    <a:pt x="94" y="128"/>
                  </a:cubicBezTo>
                  <a:cubicBezTo>
                    <a:pt x="94" y="128"/>
                    <a:pt x="92" y="130"/>
                    <a:pt x="92" y="130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89" y="133"/>
                    <a:pt x="89" y="133"/>
                    <a:pt x="89" y="133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9" y="135"/>
                    <a:pt x="89" y="138"/>
                    <a:pt x="90" y="138"/>
                  </a:cubicBezTo>
                  <a:cubicBezTo>
                    <a:pt x="90" y="138"/>
                    <a:pt x="92" y="136"/>
                    <a:pt x="92" y="136"/>
                  </a:cubicBezTo>
                  <a:cubicBezTo>
                    <a:pt x="92" y="136"/>
                    <a:pt x="94" y="138"/>
                    <a:pt x="93" y="139"/>
                  </a:cubicBezTo>
                  <a:cubicBezTo>
                    <a:pt x="93" y="139"/>
                    <a:pt x="89" y="139"/>
                    <a:pt x="89" y="139"/>
                  </a:cubicBezTo>
                  <a:cubicBezTo>
                    <a:pt x="87" y="139"/>
                    <a:pt x="87" y="139"/>
                    <a:pt x="87" y="139"/>
                  </a:cubicBezTo>
                  <a:cubicBezTo>
                    <a:pt x="87" y="139"/>
                    <a:pt x="86" y="141"/>
                    <a:pt x="85" y="141"/>
                  </a:cubicBezTo>
                  <a:cubicBezTo>
                    <a:pt x="85" y="142"/>
                    <a:pt x="85" y="143"/>
                    <a:pt x="85" y="143"/>
                  </a:cubicBezTo>
                  <a:cubicBezTo>
                    <a:pt x="83" y="141"/>
                    <a:pt x="83" y="141"/>
                    <a:pt x="83" y="141"/>
                  </a:cubicBezTo>
                  <a:cubicBezTo>
                    <a:pt x="82" y="142"/>
                    <a:pt x="82" y="142"/>
                    <a:pt x="82" y="142"/>
                  </a:cubicBezTo>
                  <a:cubicBezTo>
                    <a:pt x="83" y="144"/>
                    <a:pt x="83" y="144"/>
                    <a:pt x="83" y="144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3" y="146"/>
                    <a:pt x="85" y="146"/>
                    <a:pt x="85" y="146"/>
                  </a:cubicBezTo>
                  <a:cubicBezTo>
                    <a:pt x="85" y="146"/>
                    <a:pt x="87" y="147"/>
                    <a:pt x="87" y="147"/>
                  </a:cubicBezTo>
                  <a:cubicBezTo>
                    <a:pt x="87" y="147"/>
                    <a:pt x="86" y="148"/>
                    <a:pt x="87" y="148"/>
                  </a:cubicBezTo>
                  <a:cubicBezTo>
                    <a:pt x="87" y="149"/>
                    <a:pt x="87" y="149"/>
                    <a:pt x="88" y="149"/>
                  </a:cubicBezTo>
                  <a:cubicBezTo>
                    <a:pt x="89" y="150"/>
                    <a:pt x="89" y="150"/>
                    <a:pt x="89" y="150"/>
                  </a:cubicBezTo>
                  <a:cubicBezTo>
                    <a:pt x="89" y="150"/>
                    <a:pt x="89" y="152"/>
                    <a:pt x="89" y="153"/>
                  </a:cubicBezTo>
                  <a:cubicBezTo>
                    <a:pt x="88" y="153"/>
                    <a:pt x="88" y="154"/>
                    <a:pt x="88" y="154"/>
                  </a:cubicBezTo>
                  <a:cubicBezTo>
                    <a:pt x="87" y="154"/>
                    <a:pt x="87" y="154"/>
                    <a:pt x="87" y="154"/>
                  </a:cubicBezTo>
                  <a:cubicBezTo>
                    <a:pt x="86" y="155"/>
                    <a:pt x="86" y="156"/>
                    <a:pt x="86" y="156"/>
                  </a:cubicBezTo>
                  <a:cubicBezTo>
                    <a:pt x="86" y="156"/>
                    <a:pt x="85" y="156"/>
                    <a:pt x="85" y="156"/>
                  </a:cubicBezTo>
                  <a:cubicBezTo>
                    <a:pt x="85" y="157"/>
                    <a:pt x="86" y="158"/>
                    <a:pt x="86" y="159"/>
                  </a:cubicBezTo>
                  <a:cubicBezTo>
                    <a:pt x="86" y="159"/>
                    <a:pt x="86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3" y="157"/>
                    <a:pt x="83" y="157"/>
                  </a:cubicBezTo>
                  <a:cubicBezTo>
                    <a:pt x="82" y="157"/>
                    <a:pt x="81" y="158"/>
                    <a:pt x="79" y="158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56"/>
                    <a:pt x="74" y="156"/>
                    <a:pt x="74" y="156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3" y="154"/>
                    <a:pt x="73" y="152"/>
                    <a:pt x="73" y="151"/>
                  </a:cubicBezTo>
                  <a:cubicBezTo>
                    <a:pt x="73" y="151"/>
                    <a:pt x="74" y="150"/>
                    <a:pt x="74" y="150"/>
                  </a:cubicBezTo>
                  <a:cubicBezTo>
                    <a:pt x="75" y="150"/>
                    <a:pt x="76" y="148"/>
                    <a:pt x="76" y="148"/>
                  </a:cubicBezTo>
                  <a:cubicBezTo>
                    <a:pt x="76" y="148"/>
                    <a:pt x="77" y="146"/>
                    <a:pt x="78" y="145"/>
                  </a:cubicBezTo>
                  <a:cubicBezTo>
                    <a:pt x="78" y="145"/>
                    <a:pt x="79" y="142"/>
                    <a:pt x="79" y="142"/>
                  </a:cubicBezTo>
                  <a:cubicBezTo>
                    <a:pt x="79" y="141"/>
                    <a:pt x="80" y="140"/>
                    <a:pt x="80" y="140"/>
                  </a:cubicBezTo>
                  <a:cubicBezTo>
                    <a:pt x="80" y="140"/>
                    <a:pt x="82" y="138"/>
                    <a:pt x="82" y="137"/>
                  </a:cubicBezTo>
                  <a:cubicBezTo>
                    <a:pt x="82" y="136"/>
                    <a:pt x="81" y="136"/>
                    <a:pt x="80" y="136"/>
                  </a:cubicBezTo>
                  <a:cubicBezTo>
                    <a:pt x="80" y="136"/>
                    <a:pt x="77" y="135"/>
                    <a:pt x="76" y="134"/>
                  </a:cubicBezTo>
                  <a:cubicBezTo>
                    <a:pt x="75" y="134"/>
                    <a:pt x="73" y="133"/>
                    <a:pt x="71" y="133"/>
                  </a:cubicBezTo>
                  <a:cubicBezTo>
                    <a:pt x="69" y="132"/>
                    <a:pt x="70" y="132"/>
                    <a:pt x="71" y="130"/>
                  </a:cubicBezTo>
                  <a:cubicBezTo>
                    <a:pt x="71" y="129"/>
                    <a:pt x="69" y="129"/>
                    <a:pt x="69" y="128"/>
                  </a:cubicBezTo>
                  <a:cubicBezTo>
                    <a:pt x="69" y="128"/>
                    <a:pt x="68" y="129"/>
                    <a:pt x="67" y="130"/>
                  </a:cubicBezTo>
                  <a:cubicBezTo>
                    <a:pt x="66" y="130"/>
                    <a:pt x="65" y="129"/>
                    <a:pt x="64" y="129"/>
                  </a:cubicBezTo>
                  <a:cubicBezTo>
                    <a:pt x="64" y="129"/>
                    <a:pt x="61" y="129"/>
                    <a:pt x="61" y="129"/>
                  </a:cubicBezTo>
                  <a:cubicBezTo>
                    <a:pt x="61" y="129"/>
                    <a:pt x="61" y="128"/>
                    <a:pt x="61" y="127"/>
                  </a:cubicBezTo>
                  <a:cubicBezTo>
                    <a:pt x="61" y="126"/>
                    <a:pt x="60" y="126"/>
                    <a:pt x="60" y="126"/>
                  </a:cubicBezTo>
                  <a:cubicBezTo>
                    <a:pt x="60" y="126"/>
                    <a:pt x="58" y="126"/>
                    <a:pt x="58" y="125"/>
                  </a:cubicBezTo>
                  <a:cubicBezTo>
                    <a:pt x="57" y="125"/>
                    <a:pt x="58" y="125"/>
                    <a:pt x="58" y="124"/>
                  </a:cubicBezTo>
                  <a:cubicBezTo>
                    <a:pt x="58" y="123"/>
                    <a:pt x="58" y="124"/>
                    <a:pt x="57" y="124"/>
                  </a:cubicBezTo>
                  <a:cubicBezTo>
                    <a:pt x="56" y="124"/>
                    <a:pt x="56" y="121"/>
                    <a:pt x="56" y="121"/>
                  </a:cubicBezTo>
                  <a:cubicBezTo>
                    <a:pt x="56" y="121"/>
                    <a:pt x="55" y="119"/>
                    <a:pt x="55" y="118"/>
                  </a:cubicBezTo>
                  <a:cubicBezTo>
                    <a:pt x="54" y="116"/>
                    <a:pt x="54" y="118"/>
                    <a:pt x="54" y="118"/>
                  </a:cubicBezTo>
                  <a:cubicBezTo>
                    <a:pt x="52" y="121"/>
                    <a:pt x="52" y="121"/>
                    <a:pt x="52" y="121"/>
                  </a:cubicBezTo>
                  <a:cubicBezTo>
                    <a:pt x="52" y="121"/>
                    <a:pt x="51" y="121"/>
                    <a:pt x="48" y="120"/>
                  </a:cubicBezTo>
                  <a:cubicBezTo>
                    <a:pt x="46" y="119"/>
                    <a:pt x="47" y="119"/>
                    <a:pt x="47" y="119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9" y="117"/>
                    <a:pt x="47" y="116"/>
                    <a:pt x="46" y="116"/>
                  </a:cubicBezTo>
                  <a:cubicBezTo>
                    <a:pt x="45" y="115"/>
                    <a:pt x="45" y="115"/>
                    <a:pt x="44" y="117"/>
                  </a:cubicBezTo>
                  <a:cubicBezTo>
                    <a:pt x="43" y="118"/>
                    <a:pt x="43" y="118"/>
                    <a:pt x="42" y="119"/>
                  </a:cubicBezTo>
                  <a:cubicBezTo>
                    <a:pt x="41" y="120"/>
                    <a:pt x="41" y="120"/>
                    <a:pt x="39" y="120"/>
                  </a:cubicBezTo>
                  <a:cubicBezTo>
                    <a:pt x="38" y="120"/>
                    <a:pt x="38" y="119"/>
                    <a:pt x="37" y="119"/>
                  </a:cubicBezTo>
                  <a:cubicBezTo>
                    <a:pt x="37" y="118"/>
                    <a:pt x="37" y="118"/>
                    <a:pt x="36" y="117"/>
                  </a:cubicBezTo>
                  <a:cubicBezTo>
                    <a:pt x="36" y="116"/>
                    <a:pt x="35" y="116"/>
                    <a:pt x="35" y="116"/>
                  </a:cubicBezTo>
                  <a:cubicBezTo>
                    <a:pt x="35" y="116"/>
                    <a:pt x="33" y="117"/>
                    <a:pt x="33" y="118"/>
                  </a:cubicBezTo>
                  <a:cubicBezTo>
                    <a:pt x="32" y="118"/>
                    <a:pt x="33" y="119"/>
                    <a:pt x="33" y="120"/>
                  </a:cubicBezTo>
                  <a:cubicBezTo>
                    <a:pt x="34" y="121"/>
                    <a:pt x="33" y="122"/>
                    <a:pt x="33" y="122"/>
                  </a:cubicBezTo>
                  <a:cubicBezTo>
                    <a:pt x="33" y="122"/>
                    <a:pt x="31" y="122"/>
                    <a:pt x="30" y="122"/>
                  </a:cubicBezTo>
                  <a:cubicBezTo>
                    <a:pt x="29" y="122"/>
                    <a:pt x="28" y="122"/>
                    <a:pt x="27" y="121"/>
                  </a:cubicBezTo>
                  <a:cubicBezTo>
                    <a:pt x="25" y="120"/>
                    <a:pt x="26" y="122"/>
                    <a:pt x="26" y="123"/>
                  </a:cubicBezTo>
                  <a:cubicBezTo>
                    <a:pt x="26" y="123"/>
                    <a:pt x="24" y="125"/>
                    <a:pt x="24" y="125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2" y="125"/>
                    <a:pt x="20" y="124"/>
                    <a:pt x="20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9" y="119"/>
                    <a:pt x="9" y="119"/>
                    <a:pt x="9" y="119"/>
                  </a:cubicBezTo>
                  <a:cubicBezTo>
                    <a:pt x="8" y="118"/>
                    <a:pt x="8" y="118"/>
                    <a:pt x="8" y="118"/>
                  </a:cubicBezTo>
                  <a:cubicBezTo>
                    <a:pt x="6" y="119"/>
                    <a:pt x="6" y="119"/>
                    <a:pt x="6" y="119"/>
                  </a:cubicBezTo>
                  <a:cubicBezTo>
                    <a:pt x="5" y="120"/>
                    <a:pt x="5" y="120"/>
                    <a:pt x="5" y="120"/>
                  </a:cubicBezTo>
                  <a:cubicBezTo>
                    <a:pt x="5" y="120"/>
                    <a:pt x="3" y="121"/>
                    <a:pt x="2" y="121"/>
                  </a:cubicBezTo>
                  <a:cubicBezTo>
                    <a:pt x="2" y="120"/>
                    <a:pt x="0" y="116"/>
                    <a:pt x="0" y="116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4" y="112"/>
                    <a:pt x="4" y="112"/>
                  </a:cubicBezTo>
                  <a:cubicBezTo>
                    <a:pt x="4" y="112"/>
                    <a:pt x="6" y="112"/>
                    <a:pt x="6" y="112"/>
                  </a:cubicBezTo>
                  <a:cubicBezTo>
                    <a:pt x="6" y="112"/>
                    <a:pt x="7" y="112"/>
                    <a:pt x="7" y="113"/>
                  </a:cubicBezTo>
                  <a:cubicBezTo>
                    <a:pt x="8" y="113"/>
                    <a:pt x="10" y="115"/>
                    <a:pt x="11" y="115"/>
                  </a:cubicBezTo>
                  <a:cubicBezTo>
                    <a:pt x="11" y="115"/>
                    <a:pt x="13" y="116"/>
                    <a:pt x="13" y="116"/>
                  </a:cubicBezTo>
                  <a:cubicBezTo>
                    <a:pt x="14" y="116"/>
                    <a:pt x="16" y="117"/>
                    <a:pt x="16" y="117"/>
                  </a:cubicBezTo>
                  <a:cubicBezTo>
                    <a:pt x="16" y="117"/>
                    <a:pt x="18" y="117"/>
                    <a:pt x="18" y="117"/>
                  </a:cubicBezTo>
                  <a:cubicBezTo>
                    <a:pt x="18" y="117"/>
                    <a:pt x="20" y="116"/>
                    <a:pt x="20" y="116"/>
                  </a:cubicBezTo>
                  <a:cubicBezTo>
                    <a:pt x="20" y="116"/>
                    <a:pt x="20" y="116"/>
                    <a:pt x="20" y="116"/>
                  </a:cubicBezTo>
                  <a:cubicBezTo>
                    <a:pt x="21" y="115"/>
                    <a:pt x="21" y="114"/>
                    <a:pt x="21" y="114"/>
                  </a:cubicBezTo>
                  <a:cubicBezTo>
                    <a:pt x="21" y="114"/>
                    <a:pt x="22" y="114"/>
                    <a:pt x="22" y="114"/>
                  </a:cubicBezTo>
                  <a:cubicBezTo>
                    <a:pt x="22" y="115"/>
                    <a:pt x="23" y="116"/>
                    <a:pt x="23" y="116"/>
                  </a:cubicBezTo>
                  <a:cubicBezTo>
                    <a:pt x="23" y="116"/>
                    <a:pt x="24" y="117"/>
                    <a:pt x="24" y="117"/>
                  </a:cubicBezTo>
                  <a:cubicBezTo>
                    <a:pt x="25" y="118"/>
                    <a:pt x="26" y="118"/>
                    <a:pt x="26" y="118"/>
                  </a:cubicBezTo>
                  <a:cubicBezTo>
                    <a:pt x="26" y="118"/>
                    <a:pt x="27" y="117"/>
                    <a:pt x="27" y="117"/>
                  </a:cubicBezTo>
                  <a:cubicBezTo>
                    <a:pt x="27" y="117"/>
                    <a:pt x="28" y="118"/>
                    <a:pt x="28" y="117"/>
                  </a:cubicBezTo>
                  <a:cubicBezTo>
                    <a:pt x="28" y="117"/>
                    <a:pt x="29" y="117"/>
                    <a:pt x="29" y="117"/>
                  </a:cubicBezTo>
                  <a:cubicBezTo>
                    <a:pt x="29" y="117"/>
                    <a:pt x="30" y="116"/>
                    <a:pt x="29" y="116"/>
                  </a:cubicBezTo>
                  <a:cubicBezTo>
                    <a:pt x="29" y="116"/>
                    <a:pt x="29" y="115"/>
                    <a:pt x="29" y="116"/>
                  </a:cubicBezTo>
                  <a:cubicBezTo>
                    <a:pt x="28" y="116"/>
                    <a:pt x="28" y="116"/>
                    <a:pt x="27" y="116"/>
                  </a:cubicBezTo>
                  <a:cubicBezTo>
                    <a:pt x="26" y="116"/>
                    <a:pt x="24" y="115"/>
                    <a:pt x="24" y="115"/>
                  </a:cubicBezTo>
                  <a:cubicBezTo>
                    <a:pt x="24" y="114"/>
                    <a:pt x="23" y="114"/>
                    <a:pt x="23" y="113"/>
                  </a:cubicBezTo>
                  <a:cubicBezTo>
                    <a:pt x="22" y="113"/>
                    <a:pt x="22" y="112"/>
                    <a:pt x="21" y="112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2"/>
                    <a:pt x="19" y="113"/>
                    <a:pt x="19" y="114"/>
                  </a:cubicBezTo>
                  <a:cubicBezTo>
                    <a:pt x="19" y="114"/>
                    <a:pt x="20" y="115"/>
                    <a:pt x="18" y="114"/>
                  </a:cubicBezTo>
                  <a:cubicBezTo>
                    <a:pt x="16" y="114"/>
                    <a:pt x="14" y="114"/>
                    <a:pt x="14" y="114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0" y="111"/>
                    <a:pt x="9" y="111"/>
                  </a:cubicBezTo>
                  <a:cubicBezTo>
                    <a:pt x="9" y="111"/>
                    <a:pt x="7" y="110"/>
                    <a:pt x="7" y="109"/>
                  </a:cubicBezTo>
                  <a:cubicBezTo>
                    <a:pt x="7" y="109"/>
                    <a:pt x="6" y="108"/>
                    <a:pt x="6" y="107"/>
                  </a:cubicBezTo>
                  <a:cubicBezTo>
                    <a:pt x="6" y="107"/>
                    <a:pt x="5" y="107"/>
                    <a:pt x="5" y="106"/>
                  </a:cubicBezTo>
                  <a:cubicBezTo>
                    <a:pt x="5" y="106"/>
                    <a:pt x="4" y="105"/>
                    <a:pt x="4" y="105"/>
                  </a:cubicBezTo>
                  <a:cubicBezTo>
                    <a:pt x="4" y="105"/>
                    <a:pt x="4" y="104"/>
                    <a:pt x="5" y="103"/>
                  </a:cubicBezTo>
                  <a:cubicBezTo>
                    <a:pt x="7" y="103"/>
                    <a:pt x="7" y="103"/>
                    <a:pt x="8" y="103"/>
                  </a:cubicBezTo>
                  <a:cubicBezTo>
                    <a:pt x="9" y="103"/>
                    <a:pt x="8" y="103"/>
                    <a:pt x="10" y="103"/>
                  </a:cubicBezTo>
                  <a:cubicBezTo>
                    <a:pt x="12" y="103"/>
                    <a:pt x="11" y="103"/>
                    <a:pt x="12" y="103"/>
                  </a:cubicBezTo>
                  <a:cubicBezTo>
                    <a:pt x="13" y="103"/>
                    <a:pt x="15" y="103"/>
                    <a:pt x="15" y="103"/>
                  </a:cubicBezTo>
                  <a:cubicBezTo>
                    <a:pt x="15" y="103"/>
                    <a:pt x="13" y="102"/>
                    <a:pt x="16" y="103"/>
                  </a:cubicBezTo>
                  <a:cubicBezTo>
                    <a:pt x="16" y="103"/>
                    <a:pt x="20" y="104"/>
                    <a:pt x="19" y="106"/>
                  </a:cubicBezTo>
                  <a:cubicBezTo>
                    <a:pt x="19" y="106"/>
                    <a:pt x="18" y="107"/>
                    <a:pt x="18" y="107"/>
                  </a:cubicBezTo>
                  <a:cubicBezTo>
                    <a:pt x="18" y="107"/>
                    <a:pt x="20" y="108"/>
                    <a:pt x="20" y="108"/>
                  </a:cubicBezTo>
                  <a:cubicBezTo>
                    <a:pt x="20" y="108"/>
                    <a:pt x="21" y="107"/>
                    <a:pt x="21" y="107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4" y="110"/>
                    <a:pt x="24" y="110"/>
                    <a:pt x="24" y="110"/>
                  </a:cubicBezTo>
                  <a:cubicBezTo>
                    <a:pt x="24" y="110"/>
                    <a:pt x="26" y="110"/>
                    <a:pt x="26" y="110"/>
                  </a:cubicBezTo>
                  <a:cubicBezTo>
                    <a:pt x="25" y="111"/>
                    <a:pt x="24" y="109"/>
                    <a:pt x="25" y="111"/>
                  </a:cubicBezTo>
                  <a:cubicBezTo>
                    <a:pt x="26" y="113"/>
                    <a:pt x="27" y="114"/>
                    <a:pt x="27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3"/>
                    <a:pt x="29" y="113"/>
                  </a:cubicBezTo>
                  <a:cubicBezTo>
                    <a:pt x="29" y="114"/>
                    <a:pt x="31" y="114"/>
                    <a:pt x="32" y="114"/>
                  </a:cubicBezTo>
                  <a:cubicBezTo>
                    <a:pt x="32" y="114"/>
                    <a:pt x="32" y="113"/>
                    <a:pt x="31" y="111"/>
                  </a:cubicBezTo>
                  <a:cubicBezTo>
                    <a:pt x="30" y="110"/>
                    <a:pt x="29" y="109"/>
                    <a:pt x="29" y="109"/>
                  </a:cubicBezTo>
                  <a:cubicBezTo>
                    <a:pt x="28" y="109"/>
                    <a:pt x="29" y="110"/>
                    <a:pt x="27" y="109"/>
                  </a:cubicBezTo>
                  <a:cubicBezTo>
                    <a:pt x="25" y="108"/>
                    <a:pt x="25" y="109"/>
                    <a:pt x="24" y="108"/>
                  </a:cubicBezTo>
                  <a:cubicBezTo>
                    <a:pt x="23" y="106"/>
                    <a:pt x="22" y="106"/>
                    <a:pt x="22" y="105"/>
                  </a:cubicBezTo>
                  <a:cubicBezTo>
                    <a:pt x="22" y="105"/>
                    <a:pt x="23" y="105"/>
                    <a:pt x="24" y="104"/>
                  </a:cubicBezTo>
                  <a:cubicBezTo>
                    <a:pt x="25" y="104"/>
                    <a:pt x="23" y="103"/>
                    <a:pt x="25" y="104"/>
                  </a:cubicBezTo>
                  <a:cubicBezTo>
                    <a:pt x="28" y="105"/>
                    <a:pt x="28" y="105"/>
                    <a:pt x="29" y="105"/>
                  </a:cubicBezTo>
                  <a:cubicBezTo>
                    <a:pt x="29" y="105"/>
                    <a:pt x="31" y="105"/>
                    <a:pt x="29" y="104"/>
                  </a:cubicBezTo>
                  <a:cubicBezTo>
                    <a:pt x="27" y="104"/>
                    <a:pt x="26" y="103"/>
                    <a:pt x="26" y="103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3"/>
                    <a:pt x="24" y="103"/>
                    <a:pt x="23" y="103"/>
                  </a:cubicBezTo>
                  <a:cubicBezTo>
                    <a:pt x="22" y="103"/>
                    <a:pt x="22" y="104"/>
                    <a:pt x="22" y="103"/>
                  </a:cubicBezTo>
                  <a:cubicBezTo>
                    <a:pt x="21" y="103"/>
                    <a:pt x="20" y="103"/>
                    <a:pt x="20" y="102"/>
                  </a:cubicBezTo>
                  <a:cubicBezTo>
                    <a:pt x="19" y="102"/>
                    <a:pt x="18" y="101"/>
                    <a:pt x="18" y="101"/>
                  </a:cubicBezTo>
                  <a:cubicBezTo>
                    <a:pt x="18" y="100"/>
                    <a:pt x="17" y="99"/>
                    <a:pt x="17" y="99"/>
                  </a:cubicBezTo>
                  <a:cubicBezTo>
                    <a:pt x="17" y="99"/>
                    <a:pt x="17" y="99"/>
                    <a:pt x="17" y="99"/>
                  </a:cubicBezTo>
                  <a:cubicBezTo>
                    <a:pt x="16" y="99"/>
                    <a:pt x="15" y="99"/>
                    <a:pt x="14" y="99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3" y="98"/>
                    <a:pt x="13" y="98"/>
                    <a:pt x="13" y="97"/>
                  </a:cubicBezTo>
                  <a:cubicBezTo>
                    <a:pt x="13" y="97"/>
                    <a:pt x="13" y="96"/>
                    <a:pt x="14" y="96"/>
                  </a:cubicBezTo>
                  <a:cubicBezTo>
                    <a:pt x="15" y="96"/>
                    <a:pt x="16" y="96"/>
                    <a:pt x="17" y="96"/>
                  </a:cubicBezTo>
                  <a:cubicBezTo>
                    <a:pt x="18" y="96"/>
                    <a:pt x="19" y="96"/>
                    <a:pt x="20" y="96"/>
                  </a:cubicBezTo>
                  <a:cubicBezTo>
                    <a:pt x="20" y="96"/>
                    <a:pt x="21" y="97"/>
                    <a:pt x="21" y="97"/>
                  </a:cubicBezTo>
                  <a:cubicBezTo>
                    <a:pt x="22" y="98"/>
                    <a:pt x="23" y="98"/>
                    <a:pt x="23" y="98"/>
                  </a:cubicBezTo>
                  <a:cubicBezTo>
                    <a:pt x="23" y="99"/>
                    <a:pt x="23" y="99"/>
                    <a:pt x="24" y="99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8" y="103"/>
                    <a:pt x="28" y="103"/>
                    <a:pt x="28" y="103"/>
                  </a:cubicBezTo>
                  <a:cubicBezTo>
                    <a:pt x="28" y="103"/>
                    <a:pt x="31" y="104"/>
                    <a:pt x="31" y="104"/>
                  </a:cubicBezTo>
                  <a:cubicBezTo>
                    <a:pt x="31" y="104"/>
                    <a:pt x="31" y="104"/>
                    <a:pt x="32" y="104"/>
                  </a:cubicBezTo>
                  <a:cubicBezTo>
                    <a:pt x="33" y="104"/>
                    <a:pt x="33" y="103"/>
                    <a:pt x="33" y="103"/>
                  </a:cubicBezTo>
                  <a:cubicBezTo>
                    <a:pt x="33" y="103"/>
                    <a:pt x="34" y="103"/>
                    <a:pt x="34" y="103"/>
                  </a:cubicBezTo>
                  <a:cubicBezTo>
                    <a:pt x="34" y="103"/>
                    <a:pt x="37" y="101"/>
                    <a:pt x="37" y="101"/>
                  </a:cubicBezTo>
                  <a:cubicBezTo>
                    <a:pt x="37" y="102"/>
                    <a:pt x="38" y="102"/>
                    <a:pt x="39" y="102"/>
                  </a:cubicBezTo>
                  <a:cubicBezTo>
                    <a:pt x="39" y="102"/>
                    <a:pt x="42" y="104"/>
                    <a:pt x="42" y="104"/>
                  </a:cubicBezTo>
                  <a:cubicBezTo>
                    <a:pt x="42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8" y="100"/>
                    <a:pt x="48" y="100"/>
                  </a:cubicBezTo>
                  <a:cubicBezTo>
                    <a:pt x="47" y="100"/>
                    <a:pt x="46" y="100"/>
                    <a:pt x="46" y="100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1" y="102"/>
                    <a:pt x="41" y="102"/>
                  </a:cubicBezTo>
                  <a:cubicBezTo>
                    <a:pt x="40" y="102"/>
                    <a:pt x="39" y="101"/>
                    <a:pt x="39" y="101"/>
                  </a:cubicBezTo>
                  <a:cubicBezTo>
                    <a:pt x="38" y="100"/>
                    <a:pt x="36" y="99"/>
                    <a:pt x="36" y="99"/>
                  </a:cubicBezTo>
                  <a:cubicBezTo>
                    <a:pt x="35" y="99"/>
                    <a:pt x="36" y="99"/>
                    <a:pt x="34" y="98"/>
                  </a:cubicBezTo>
                  <a:cubicBezTo>
                    <a:pt x="32" y="97"/>
                    <a:pt x="31" y="96"/>
                    <a:pt x="31" y="96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0" y="95"/>
                    <a:pt x="30" y="94"/>
                    <a:pt x="29" y="94"/>
                  </a:cubicBezTo>
                  <a:cubicBezTo>
                    <a:pt x="28" y="93"/>
                    <a:pt x="25" y="92"/>
                    <a:pt x="25" y="92"/>
                  </a:cubicBezTo>
                  <a:cubicBezTo>
                    <a:pt x="25" y="92"/>
                    <a:pt x="25" y="91"/>
                    <a:pt x="25" y="91"/>
                  </a:cubicBezTo>
                  <a:cubicBezTo>
                    <a:pt x="25" y="91"/>
                    <a:pt x="25" y="88"/>
                    <a:pt x="25" y="88"/>
                  </a:cubicBezTo>
                  <a:cubicBezTo>
                    <a:pt x="25" y="87"/>
                    <a:pt x="24" y="85"/>
                    <a:pt x="24" y="85"/>
                  </a:cubicBezTo>
                  <a:cubicBezTo>
                    <a:pt x="24" y="85"/>
                    <a:pt x="26" y="84"/>
                    <a:pt x="26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4"/>
                    <a:pt x="52" y="35"/>
                  </a:cubicBezTo>
                  <a:cubicBezTo>
                    <a:pt x="52" y="35"/>
                    <a:pt x="53" y="37"/>
                    <a:pt x="53" y="3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7" y="37"/>
                    <a:pt x="58" y="37"/>
                  </a:cubicBezTo>
                  <a:cubicBezTo>
                    <a:pt x="58" y="37"/>
                    <a:pt x="62" y="39"/>
                    <a:pt x="62" y="39"/>
                  </a:cubicBezTo>
                  <a:cubicBezTo>
                    <a:pt x="62" y="39"/>
                    <a:pt x="62" y="41"/>
                    <a:pt x="62" y="42"/>
                  </a:cubicBezTo>
                  <a:cubicBezTo>
                    <a:pt x="62" y="42"/>
                    <a:pt x="64" y="44"/>
                    <a:pt x="63" y="45"/>
                  </a:cubicBezTo>
                  <a:cubicBezTo>
                    <a:pt x="63" y="45"/>
                    <a:pt x="62" y="47"/>
                    <a:pt x="62" y="47"/>
                  </a:cubicBezTo>
                  <a:cubicBezTo>
                    <a:pt x="62" y="47"/>
                    <a:pt x="63" y="48"/>
                    <a:pt x="63" y="48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6" y="48"/>
                    <a:pt x="67" y="49"/>
                    <a:pt x="67" y="49"/>
                  </a:cubicBezTo>
                  <a:cubicBezTo>
                    <a:pt x="67" y="49"/>
                    <a:pt x="67" y="50"/>
                    <a:pt x="67" y="50"/>
                  </a:cubicBezTo>
                  <a:cubicBezTo>
                    <a:pt x="67" y="50"/>
                    <a:pt x="67" y="52"/>
                    <a:pt x="67" y="52"/>
                  </a:cubicBezTo>
                  <a:cubicBezTo>
                    <a:pt x="67" y="53"/>
                    <a:pt x="65" y="53"/>
                    <a:pt x="65" y="53"/>
                  </a:cubicBezTo>
                  <a:cubicBezTo>
                    <a:pt x="65" y="53"/>
                    <a:pt x="65" y="54"/>
                    <a:pt x="65" y="54"/>
                  </a:cubicBezTo>
                  <a:cubicBezTo>
                    <a:pt x="64" y="55"/>
                    <a:pt x="63" y="56"/>
                    <a:pt x="62" y="56"/>
                  </a:cubicBezTo>
                  <a:cubicBezTo>
                    <a:pt x="62" y="56"/>
                    <a:pt x="60" y="54"/>
                    <a:pt x="60" y="54"/>
                  </a:cubicBezTo>
                  <a:cubicBezTo>
                    <a:pt x="60" y="54"/>
                    <a:pt x="59" y="55"/>
                    <a:pt x="59" y="55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8" y="68"/>
                    <a:pt x="57" y="68"/>
                  </a:cubicBezTo>
                  <a:cubicBezTo>
                    <a:pt x="57" y="68"/>
                    <a:pt x="56" y="67"/>
                    <a:pt x="56" y="68"/>
                  </a:cubicBezTo>
                  <a:cubicBezTo>
                    <a:pt x="57" y="69"/>
                    <a:pt x="57" y="70"/>
                    <a:pt x="58" y="70"/>
                  </a:cubicBezTo>
                  <a:cubicBezTo>
                    <a:pt x="59" y="70"/>
                    <a:pt x="61" y="70"/>
                    <a:pt x="61" y="70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7" y="74"/>
                    <a:pt x="67" y="74"/>
                  </a:cubicBezTo>
                  <a:cubicBezTo>
                    <a:pt x="67" y="74"/>
                    <a:pt x="67" y="74"/>
                    <a:pt x="68" y="75"/>
                  </a:cubicBezTo>
                  <a:cubicBezTo>
                    <a:pt x="69" y="75"/>
                    <a:pt x="71" y="76"/>
                    <a:pt x="71" y="76"/>
                  </a:cubicBezTo>
                  <a:cubicBezTo>
                    <a:pt x="71" y="76"/>
                    <a:pt x="71" y="75"/>
                    <a:pt x="70" y="75"/>
                  </a:cubicBezTo>
                  <a:cubicBezTo>
                    <a:pt x="70" y="75"/>
                    <a:pt x="69" y="72"/>
                    <a:pt x="67" y="72"/>
                  </a:cubicBezTo>
                  <a:cubicBezTo>
                    <a:pt x="66" y="71"/>
                    <a:pt x="65" y="71"/>
                    <a:pt x="64" y="71"/>
                  </a:cubicBezTo>
                  <a:cubicBezTo>
                    <a:pt x="63" y="71"/>
                    <a:pt x="61" y="70"/>
                    <a:pt x="61" y="70"/>
                  </a:cubicBezTo>
                  <a:cubicBezTo>
                    <a:pt x="61" y="69"/>
                    <a:pt x="60" y="68"/>
                    <a:pt x="61" y="68"/>
                  </a:cubicBezTo>
                  <a:cubicBezTo>
                    <a:pt x="61" y="67"/>
                    <a:pt x="61" y="66"/>
                    <a:pt x="63" y="66"/>
                  </a:cubicBezTo>
                  <a:cubicBezTo>
                    <a:pt x="64" y="66"/>
                    <a:pt x="65" y="67"/>
                    <a:pt x="66" y="66"/>
                  </a:cubicBezTo>
                  <a:cubicBezTo>
                    <a:pt x="67" y="66"/>
                    <a:pt x="69" y="63"/>
                    <a:pt x="69" y="63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8" y="58"/>
                    <a:pt x="78" y="58"/>
                  </a:cubicBezTo>
                  <a:cubicBezTo>
                    <a:pt x="78" y="58"/>
                    <a:pt x="79" y="58"/>
                    <a:pt x="80" y="59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2" y="60"/>
                    <a:pt x="84" y="61"/>
                    <a:pt x="84" y="61"/>
                  </a:cubicBezTo>
                  <a:cubicBezTo>
                    <a:pt x="84" y="61"/>
                    <a:pt x="84" y="61"/>
                    <a:pt x="85" y="62"/>
                  </a:cubicBezTo>
                  <a:cubicBezTo>
                    <a:pt x="85" y="62"/>
                    <a:pt x="86" y="63"/>
                    <a:pt x="85" y="65"/>
                  </a:cubicBezTo>
                  <a:cubicBezTo>
                    <a:pt x="85" y="66"/>
                    <a:pt x="85" y="67"/>
                    <a:pt x="85" y="67"/>
                  </a:cubicBezTo>
                  <a:cubicBezTo>
                    <a:pt x="85" y="67"/>
                    <a:pt x="86" y="66"/>
                    <a:pt x="86" y="65"/>
                  </a:cubicBezTo>
                  <a:cubicBezTo>
                    <a:pt x="86" y="63"/>
                    <a:pt x="86" y="62"/>
                    <a:pt x="86" y="61"/>
                  </a:cubicBezTo>
                  <a:cubicBezTo>
                    <a:pt x="86" y="60"/>
                    <a:pt x="85" y="59"/>
                    <a:pt x="85" y="59"/>
                  </a:cubicBezTo>
                  <a:cubicBezTo>
                    <a:pt x="85" y="59"/>
                    <a:pt x="83" y="60"/>
                    <a:pt x="81" y="59"/>
                  </a:cubicBezTo>
                  <a:cubicBezTo>
                    <a:pt x="80" y="58"/>
                    <a:pt x="80" y="57"/>
                    <a:pt x="79" y="57"/>
                  </a:cubicBezTo>
                  <a:cubicBezTo>
                    <a:pt x="79" y="57"/>
                    <a:pt x="78" y="56"/>
                    <a:pt x="77" y="56"/>
                  </a:cubicBezTo>
                  <a:cubicBezTo>
                    <a:pt x="77" y="56"/>
                    <a:pt x="77" y="55"/>
                    <a:pt x="77" y="54"/>
                  </a:cubicBezTo>
                  <a:cubicBezTo>
                    <a:pt x="77" y="53"/>
                    <a:pt x="77" y="52"/>
                    <a:pt x="77" y="51"/>
                  </a:cubicBezTo>
                  <a:cubicBezTo>
                    <a:pt x="77" y="51"/>
                    <a:pt x="76" y="50"/>
                    <a:pt x="77" y="49"/>
                  </a:cubicBezTo>
                  <a:cubicBezTo>
                    <a:pt x="78" y="48"/>
                    <a:pt x="78" y="48"/>
                    <a:pt x="79" y="48"/>
                  </a:cubicBezTo>
                  <a:cubicBezTo>
                    <a:pt x="79" y="47"/>
                    <a:pt x="81" y="46"/>
                    <a:pt x="80" y="46"/>
                  </a:cubicBezTo>
                  <a:cubicBezTo>
                    <a:pt x="80" y="45"/>
                    <a:pt x="79" y="45"/>
                    <a:pt x="78" y="45"/>
                  </a:cubicBezTo>
                  <a:cubicBezTo>
                    <a:pt x="77" y="45"/>
                    <a:pt x="78" y="46"/>
                    <a:pt x="77" y="46"/>
                  </a:cubicBezTo>
                  <a:cubicBezTo>
                    <a:pt x="75" y="46"/>
                    <a:pt x="75" y="45"/>
                    <a:pt x="74" y="44"/>
                  </a:cubicBezTo>
                  <a:cubicBezTo>
                    <a:pt x="74" y="43"/>
                    <a:pt x="74" y="43"/>
                    <a:pt x="73" y="44"/>
                  </a:cubicBezTo>
                  <a:cubicBezTo>
                    <a:pt x="72" y="44"/>
                    <a:pt x="71" y="43"/>
                    <a:pt x="71" y="43"/>
                  </a:cubicBezTo>
                  <a:cubicBezTo>
                    <a:pt x="71" y="43"/>
                    <a:pt x="70" y="42"/>
                    <a:pt x="71" y="41"/>
                  </a:cubicBezTo>
                  <a:cubicBezTo>
                    <a:pt x="71" y="41"/>
                    <a:pt x="72" y="39"/>
                    <a:pt x="72" y="39"/>
                  </a:cubicBezTo>
                  <a:cubicBezTo>
                    <a:pt x="72" y="39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lose/>
                  <a:moveTo>
                    <a:pt x="127" y="1"/>
                  </a:moveTo>
                  <a:cubicBezTo>
                    <a:pt x="127" y="1"/>
                    <a:pt x="127" y="1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9" y="0"/>
                    <a:pt x="129" y="0"/>
                    <a:pt x="130" y="0"/>
                  </a:cubicBezTo>
                  <a:cubicBezTo>
                    <a:pt x="130" y="0"/>
                    <a:pt x="132" y="0"/>
                    <a:pt x="132" y="0"/>
                  </a:cubicBezTo>
                  <a:cubicBezTo>
                    <a:pt x="132" y="0"/>
                    <a:pt x="133" y="0"/>
                    <a:pt x="134" y="0"/>
                  </a:cubicBezTo>
                  <a:cubicBezTo>
                    <a:pt x="134" y="0"/>
                    <a:pt x="135" y="0"/>
                    <a:pt x="135" y="0"/>
                  </a:cubicBezTo>
                  <a:cubicBezTo>
                    <a:pt x="136" y="0"/>
                    <a:pt x="135" y="1"/>
                    <a:pt x="135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1"/>
                    <a:pt x="132" y="1"/>
                    <a:pt x="131" y="1"/>
                  </a:cubicBezTo>
                  <a:cubicBezTo>
                    <a:pt x="131" y="2"/>
                    <a:pt x="130" y="2"/>
                    <a:pt x="130" y="2"/>
                  </a:cubicBezTo>
                  <a:cubicBezTo>
                    <a:pt x="130" y="2"/>
                    <a:pt x="129" y="2"/>
                    <a:pt x="129" y="2"/>
                  </a:cubicBezTo>
                  <a:cubicBezTo>
                    <a:pt x="128" y="2"/>
                    <a:pt x="128" y="1"/>
                    <a:pt x="128" y="2"/>
                  </a:cubicBezTo>
                  <a:cubicBezTo>
                    <a:pt x="127" y="2"/>
                    <a:pt x="127" y="1"/>
                    <a:pt x="127" y="1"/>
                  </a:cubicBezTo>
                  <a:close/>
                  <a:moveTo>
                    <a:pt x="118" y="6"/>
                  </a:moveTo>
                  <a:cubicBezTo>
                    <a:pt x="118" y="6"/>
                    <a:pt x="118" y="6"/>
                    <a:pt x="118" y="6"/>
                  </a:cubicBezTo>
                  <a:cubicBezTo>
                    <a:pt x="118" y="6"/>
                    <a:pt x="118" y="5"/>
                    <a:pt x="119" y="5"/>
                  </a:cubicBezTo>
                  <a:cubicBezTo>
                    <a:pt x="119" y="5"/>
                    <a:pt x="119" y="4"/>
                    <a:pt x="120" y="5"/>
                  </a:cubicBezTo>
                  <a:cubicBezTo>
                    <a:pt x="120" y="5"/>
                    <a:pt x="120" y="7"/>
                    <a:pt x="120" y="7"/>
                  </a:cubicBezTo>
                  <a:cubicBezTo>
                    <a:pt x="119" y="7"/>
                    <a:pt x="119" y="7"/>
                    <a:pt x="118" y="7"/>
                  </a:cubicBezTo>
                  <a:cubicBezTo>
                    <a:pt x="118" y="7"/>
                    <a:pt x="118" y="6"/>
                    <a:pt x="118" y="6"/>
                  </a:cubicBezTo>
                  <a:close/>
                  <a:moveTo>
                    <a:pt x="112" y="9"/>
                  </a:move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1" y="8"/>
                    <a:pt x="111" y="8"/>
                  </a:cubicBezTo>
                  <a:cubicBezTo>
                    <a:pt x="111" y="8"/>
                    <a:pt x="111" y="7"/>
                    <a:pt x="112" y="7"/>
                  </a:cubicBezTo>
                  <a:cubicBezTo>
                    <a:pt x="112" y="7"/>
                    <a:pt x="113" y="7"/>
                    <a:pt x="113" y="7"/>
                  </a:cubicBezTo>
                  <a:cubicBezTo>
                    <a:pt x="114" y="7"/>
                    <a:pt x="114" y="7"/>
                    <a:pt x="114" y="7"/>
                  </a:cubicBezTo>
                  <a:cubicBezTo>
                    <a:pt x="114" y="7"/>
                    <a:pt x="115" y="6"/>
                    <a:pt x="115" y="6"/>
                  </a:cubicBezTo>
                  <a:cubicBezTo>
                    <a:pt x="115" y="6"/>
                    <a:pt x="116" y="8"/>
                    <a:pt x="116" y="8"/>
                  </a:cubicBezTo>
                  <a:cubicBezTo>
                    <a:pt x="116" y="8"/>
                    <a:pt x="116" y="8"/>
                    <a:pt x="115" y="8"/>
                  </a:cubicBezTo>
                  <a:cubicBezTo>
                    <a:pt x="115" y="8"/>
                    <a:pt x="114" y="9"/>
                    <a:pt x="114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9"/>
                    <a:pt x="112" y="9"/>
                    <a:pt x="112" y="9"/>
                  </a:cubicBezTo>
                  <a:close/>
                  <a:moveTo>
                    <a:pt x="108" y="12"/>
                  </a:moveTo>
                  <a:cubicBezTo>
                    <a:pt x="108" y="12"/>
                    <a:pt x="108" y="12"/>
                    <a:pt x="108" y="12"/>
                  </a:cubicBezTo>
                  <a:cubicBezTo>
                    <a:pt x="108" y="11"/>
                    <a:pt x="107" y="11"/>
                    <a:pt x="107" y="11"/>
                  </a:cubicBezTo>
                  <a:cubicBezTo>
                    <a:pt x="107" y="11"/>
                    <a:pt x="106" y="10"/>
                    <a:pt x="106" y="10"/>
                  </a:cubicBezTo>
                  <a:cubicBezTo>
                    <a:pt x="106" y="10"/>
                    <a:pt x="106" y="9"/>
                    <a:pt x="107" y="9"/>
                  </a:cubicBezTo>
                  <a:cubicBezTo>
                    <a:pt x="107" y="9"/>
                    <a:pt x="107" y="9"/>
                    <a:pt x="107" y="10"/>
                  </a:cubicBezTo>
                  <a:cubicBezTo>
                    <a:pt x="108" y="10"/>
                    <a:pt x="108" y="11"/>
                    <a:pt x="108" y="11"/>
                  </a:cubicBezTo>
                  <a:cubicBezTo>
                    <a:pt x="108" y="12"/>
                    <a:pt x="108" y="12"/>
                    <a:pt x="108" y="12"/>
                  </a:cubicBezTo>
                  <a:close/>
                  <a:moveTo>
                    <a:pt x="96" y="12"/>
                  </a:moveTo>
                  <a:cubicBezTo>
                    <a:pt x="96" y="12"/>
                    <a:pt x="96" y="12"/>
                    <a:pt x="96" y="12"/>
                  </a:cubicBezTo>
                  <a:cubicBezTo>
                    <a:pt x="96" y="12"/>
                    <a:pt x="96" y="12"/>
                    <a:pt x="97" y="12"/>
                  </a:cubicBezTo>
                  <a:cubicBezTo>
                    <a:pt x="98" y="11"/>
                    <a:pt x="98" y="10"/>
                    <a:pt x="99" y="11"/>
                  </a:cubicBezTo>
                  <a:cubicBezTo>
                    <a:pt x="100" y="11"/>
                    <a:pt x="102" y="12"/>
                    <a:pt x="102" y="12"/>
                  </a:cubicBezTo>
                  <a:cubicBezTo>
                    <a:pt x="102" y="12"/>
                    <a:pt x="102" y="11"/>
                    <a:pt x="102" y="11"/>
                  </a:cubicBezTo>
                  <a:cubicBezTo>
                    <a:pt x="103" y="11"/>
                    <a:pt x="103" y="12"/>
                    <a:pt x="103" y="12"/>
                  </a:cubicBezTo>
                  <a:cubicBezTo>
                    <a:pt x="103" y="12"/>
                    <a:pt x="102" y="12"/>
                    <a:pt x="102" y="12"/>
                  </a:cubicBezTo>
                  <a:cubicBezTo>
                    <a:pt x="101" y="13"/>
                    <a:pt x="101" y="13"/>
                    <a:pt x="100" y="13"/>
                  </a:cubicBezTo>
                  <a:cubicBezTo>
                    <a:pt x="99" y="13"/>
                    <a:pt x="99" y="12"/>
                    <a:pt x="98" y="13"/>
                  </a:cubicBezTo>
                  <a:cubicBezTo>
                    <a:pt x="98" y="13"/>
                    <a:pt x="98" y="14"/>
                    <a:pt x="97" y="14"/>
                  </a:cubicBezTo>
                  <a:cubicBezTo>
                    <a:pt x="97" y="14"/>
                    <a:pt x="96" y="14"/>
                    <a:pt x="96" y="14"/>
                  </a:cubicBezTo>
                  <a:cubicBezTo>
                    <a:pt x="96" y="13"/>
                    <a:pt x="96" y="12"/>
                    <a:pt x="96" y="12"/>
                  </a:cubicBezTo>
                  <a:close/>
                  <a:moveTo>
                    <a:pt x="93" y="13"/>
                  </a:move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2"/>
                    <a:pt x="94" y="13"/>
                  </a:cubicBezTo>
                  <a:cubicBezTo>
                    <a:pt x="94" y="13"/>
                    <a:pt x="94" y="12"/>
                    <a:pt x="94" y="13"/>
                  </a:cubicBezTo>
                  <a:cubicBezTo>
                    <a:pt x="95" y="14"/>
                    <a:pt x="95" y="15"/>
                    <a:pt x="94" y="15"/>
                  </a:cubicBezTo>
                  <a:cubicBezTo>
                    <a:pt x="93" y="14"/>
                    <a:pt x="93" y="13"/>
                    <a:pt x="93" y="13"/>
                  </a:cubicBezTo>
                  <a:close/>
                  <a:moveTo>
                    <a:pt x="81" y="13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1" y="13"/>
                    <a:pt x="81" y="12"/>
                    <a:pt x="82" y="12"/>
                  </a:cubicBezTo>
                  <a:cubicBezTo>
                    <a:pt x="82" y="12"/>
                    <a:pt x="82" y="12"/>
                    <a:pt x="83" y="12"/>
                  </a:cubicBezTo>
                  <a:cubicBezTo>
                    <a:pt x="83" y="13"/>
                    <a:pt x="84" y="13"/>
                    <a:pt x="84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6" y="13"/>
                    <a:pt x="86" y="12"/>
                    <a:pt x="87" y="13"/>
                  </a:cubicBezTo>
                  <a:cubicBezTo>
                    <a:pt x="88" y="13"/>
                    <a:pt x="88" y="13"/>
                    <a:pt x="89" y="13"/>
                  </a:cubicBezTo>
                  <a:cubicBezTo>
                    <a:pt x="89" y="13"/>
                    <a:pt x="91" y="13"/>
                    <a:pt x="91" y="13"/>
                  </a:cubicBezTo>
                  <a:cubicBezTo>
                    <a:pt x="91" y="13"/>
                    <a:pt x="91" y="14"/>
                    <a:pt x="91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90" y="14"/>
                    <a:pt x="88" y="14"/>
                  </a:cubicBezTo>
                  <a:cubicBezTo>
                    <a:pt x="87" y="14"/>
                    <a:pt x="87" y="14"/>
                    <a:pt x="86" y="14"/>
                  </a:cubicBezTo>
                  <a:cubicBezTo>
                    <a:pt x="86" y="14"/>
                    <a:pt x="86" y="14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4" y="14"/>
                    <a:pt x="87" y="13"/>
                    <a:pt x="84" y="1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4"/>
                    <a:pt x="81" y="14"/>
                  </a:cubicBezTo>
                  <a:cubicBezTo>
                    <a:pt x="81" y="14"/>
                    <a:pt x="81" y="13"/>
                    <a:pt x="81" y="13"/>
                  </a:cubicBezTo>
                  <a:close/>
                  <a:moveTo>
                    <a:pt x="68" y="16"/>
                  </a:moveTo>
                  <a:cubicBezTo>
                    <a:pt x="68" y="16"/>
                    <a:pt x="68" y="16"/>
                    <a:pt x="68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71" y="16"/>
                    <a:pt x="71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4" y="14"/>
                    <a:pt x="74" y="14"/>
                  </a:cubicBezTo>
                  <a:cubicBezTo>
                    <a:pt x="75" y="14"/>
                    <a:pt x="76" y="13"/>
                    <a:pt x="76" y="13"/>
                  </a:cubicBezTo>
                  <a:cubicBezTo>
                    <a:pt x="76" y="13"/>
                    <a:pt x="78" y="14"/>
                    <a:pt x="78" y="14"/>
                  </a:cubicBezTo>
                  <a:cubicBezTo>
                    <a:pt x="79" y="14"/>
                    <a:pt x="79" y="13"/>
                    <a:pt x="79" y="13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4"/>
                    <a:pt x="69" y="14"/>
                  </a:cubicBezTo>
                  <a:cubicBezTo>
                    <a:pt x="68" y="13"/>
                    <a:pt x="67" y="14"/>
                    <a:pt x="67" y="14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7" y="16"/>
                    <a:pt x="67" y="16"/>
                  </a:cubicBezTo>
                  <a:cubicBezTo>
                    <a:pt x="67" y="17"/>
                    <a:pt x="68" y="16"/>
                    <a:pt x="6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2"/>
                    <a:pt x="58" y="22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60" y="20"/>
                    <a:pt x="61" y="20"/>
                  </a:cubicBezTo>
                  <a:cubicBezTo>
                    <a:pt x="61" y="20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0" y="18"/>
                    <a:pt x="60" y="18"/>
                  </a:cubicBezTo>
                  <a:cubicBezTo>
                    <a:pt x="60" y="18"/>
                    <a:pt x="58" y="20"/>
                    <a:pt x="58" y="20"/>
                  </a:cubicBezTo>
                  <a:cubicBezTo>
                    <a:pt x="58" y="20"/>
                    <a:pt x="56" y="22"/>
                    <a:pt x="56" y="22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7" y="30"/>
                    <a:pt x="57" y="29"/>
                  </a:cubicBezTo>
                  <a:cubicBezTo>
                    <a:pt x="57" y="29"/>
                    <a:pt x="57" y="27"/>
                    <a:pt x="5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4" y="25"/>
                    <a:pt x="54" y="25"/>
                  </a:cubicBezTo>
                  <a:cubicBezTo>
                    <a:pt x="54" y="26"/>
                    <a:pt x="53" y="26"/>
                    <a:pt x="52" y="27"/>
                  </a:cubicBezTo>
                  <a:cubicBezTo>
                    <a:pt x="51" y="28"/>
                    <a:pt x="51" y="29"/>
                    <a:pt x="51" y="30"/>
                  </a:cubicBezTo>
                  <a:cubicBezTo>
                    <a:pt x="51" y="30"/>
                    <a:pt x="50" y="31"/>
                    <a:pt x="50" y="32"/>
                  </a:cubicBezTo>
                  <a:cubicBezTo>
                    <a:pt x="50" y="33"/>
                    <a:pt x="51" y="33"/>
                    <a:pt x="52" y="33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21" y="94"/>
                  </a:moveTo>
                  <a:cubicBezTo>
                    <a:pt x="21" y="94"/>
                    <a:pt x="21" y="94"/>
                    <a:pt x="21" y="94"/>
                  </a:cubicBezTo>
                  <a:cubicBezTo>
                    <a:pt x="21" y="94"/>
                    <a:pt x="21" y="94"/>
                    <a:pt x="22" y="94"/>
                  </a:cubicBezTo>
                  <a:cubicBezTo>
                    <a:pt x="22" y="94"/>
                    <a:pt x="22" y="93"/>
                    <a:pt x="22" y="93"/>
                  </a:cubicBezTo>
                  <a:cubicBezTo>
                    <a:pt x="23" y="93"/>
                    <a:pt x="23" y="94"/>
                    <a:pt x="23" y="94"/>
                  </a:cubicBezTo>
                  <a:cubicBezTo>
                    <a:pt x="24" y="94"/>
                    <a:pt x="24" y="95"/>
                    <a:pt x="24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8"/>
                    <a:pt x="25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99"/>
                    <a:pt x="26" y="99"/>
                    <a:pt x="27" y="99"/>
                  </a:cubicBezTo>
                  <a:cubicBezTo>
                    <a:pt x="27" y="99"/>
                    <a:pt x="27" y="100"/>
                    <a:pt x="28" y="100"/>
                  </a:cubicBezTo>
                  <a:cubicBezTo>
                    <a:pt x="29" y="101"/>
                    <a:pt x="29" y="101"/>
                    <a:pt x="29" y="101"/>
                  </a:cubicBezTo>
                  <a:cubicBezTo>
                    <a:pt x="30" y="102"/>
                    <a:pt x="30" y="102"/>
                    <a:pt x="31" y="103"/>
                  </a:cubicBezTo>
                  <a:cubicBezTo>
                    <a:pt x="32" y="103"/>
                    <a:pt x="32" y="103"/>
                    <a:pt x="33" y="103"/>
                  </a:cubicBezTo>
                  <a:cubicBezTo>
                    <a:pt x="33" y="102"/>
                    <a:pt x="33" y="102"/>
                    <a:pt x="34" y="102"/>
                  </a:cubicBezTo>
                  <a:cubicBezTo>
                    <a:pt x="34" y="102"/>
                    <a:pt x="34" y="102"/>
                    <a:pt x="35" y="102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4" y="101"/>
                    <a:pt x="33" y="100"/>
                    <a:pt x="32" y="99"/>
                  </a:cubicBezTo>
                  <a:cubicBezTo>
                    <a:pt x="32" y="99"/>
                    <a:pt x="32" y="99"/>
                    <a:pt x="32" y="98"/>
                  </a:cubicBezTo>
                  <a:cubicBezTo>
                    <a:pt x="32" y="98"/>
                    <a:pt x="32" y="98"/>
                    <a:pt x="31" y="97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9" y="96"/>
                    <a:pt x="29" y="95"/>
                    <a:pt x="29" y="95"/>
                  </a:cubicBezTo>
                  <a:cubicBezTo>
                    <a:pt x="29" y="95"/>
                    <a:pt x="27" y="95"/>
                    <a:pt x="27" y="94"/>
                  </a:cubicBezTo>
                  <a:cubicBezTo>
                    <a:pt x="27" y="94"/>
                    <a:pt x="26" y="94"/>
                    <a:pt x="26" y="94"/>
                  </a:cubicBezTo>
                  <a:cubicBezTo>
                    <a:pt x="26" y="94"/>
                    <a:pt x="24" y="93"/>
                    <a:pt x="24" y="92"/>
                  </a:cubicBezTo>
                  <a:cubicBezTo>
                    <a:pt x="24" y="92"/>
                    <a:pt x="24" y="91"/>
                    <a:pt x="24" y="91"/>
                  </a:cubicBezTo>
                  <a:cubicBezTo>
                    <a:pt x="24" y="91"/>
                    <a:pt x="23" y="91"/>
                    <a:pt x="22" y="91"/>
                  </a:cubicBezTo>
                  <a:cubicBezTo>
                    <a:pt x="21" y="92"/>
                    <a:pt x="20" y="92"/>
                    <a:pt x="20" y="92"/>
                  </a:cubicBezTo>
                  <a:cubicBezTo>
                    <a:pt x="19" y="92"/>
                    <a:pt x="19" y="93"/>
                    <a:pt x="19" y="93"/>
                  </a:cubicBezTo>
                  <a:cubicBezTo>
                    <a:pt x="19" y="93"/>
                    <a:pt x="19" y="94"/>
                    <a:pt x="20" y="94"/>
                  </a:cubicBezTo>
                  <a:cubicBezTo>
                    <a:pt x="20" y="95"/>
                    <a:pt x="21" y="94"/>
                    <a:pt x="21" y="94"/>
                  </a:cubicBezTo>
                  <a:close/>
                  <a:moveTo>
                    <a:pt x="71" y="75"/>
                  </a:moveTo>
                  <a:cubicBezTo>
                    <a:pt x="71" y="75"/>
                    <a:pt x="71" y="75"/>
                    <a:pt x="71" y="75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1" y="76"/>
                    <a:pt x="72" y="76"/>
                  </a:cubicBezTo>
                  <a:cubicBezTo>
                    <a:pt x="72" y="75"/>
                    <a:pt x="72" y="76"/>
                    <a:pt x="73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4" y="76"/>
                    <a:pt x="75" y="74"/>
                    <a:pt x="75" y="74"/>
                  </a:cubicBezTo>
                  <a:cubicBezTo>
                    <a:pt x="75" y="74"/>
                    <a:pt x="75" y="74"/>
                    <a:pt x="76" y="74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7" y="73"/>
                    <a:pt x="77" y="73"/>
                    <a:pt x="78" y="73"/>
                  </a:cubicBezTo>
                  <a:cubicBezTo>
                    <a:pt x="78" y="72"/>
                    <a:pt x="78" y="72"/>
                    <a:pt x="78" y="72"/>
                  </a:cubicBezTo>
                  <a:cubicBezTo>
                    <a:pt x="79" y="71"/>
                    <a:pt x="80" y="71"/>
                    <a:pt x="80" y="71"/>
                  </a:cubicBezTo>
                  <a:cubicBezTo>
                    <a:pt x="81" y="70"/>
                    <a:pt x="81" y="70"/>
                    <a:pt x="81" y="69"/>
                  </a:cubicBezTo>
                  <a:cubicBezTo>
                    <a:pt x="81" y="69"/>
                    <a:pt x="80" y="69"/>
                    <a:pt x="80" y="70"/>
                  </a:cubicBezTo>
                  <a:cubicBezTo>
                    <a:pt x="79" y="70"/>
                    <a:pt x="78" y="70"/>
                    <a:pt x="78" y="70"/>
                  </a:cubicBezTo>
                  <a:cubicBezTo>
                    <a:pt x="78" y="71"/>
                    <a:pt x="77" y="71"/>
                    <a:pt x="77" y="71"/>
                  </a:cubicBezTo>
                  <a:cubicBezTo>
                    <a:pt x="76" y="71"/>
                    <a:pt x="75" y="72"/>
                    <a:pt x="74" y="72"/>
                  </a:cubicBezTo>
                  <a:cubicBezTo>
                    <a:pt x="74" y="72"/>
                    <a:pt x="74" y="73"/>
                    <a:pt x="73" y="74"/>
                  </a:cubicBezTo>
                  <a:cubicBezTo>
                    <a:pt x="73" y="74"/>
                    <a:pt x="73" y="74"/>
                    <a:pt x="73" y="75"/>
                  </a:cubicBezTo>
                  <a:cubicBezTo>
                    <a:pt x="72" y="75"/>
                    <a:pt x="71" y="75"/>
                    <a:pt x="71" y="7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6" name="Freeform 217"/>
            <p:cNvSpPr>
              <a:spLocks/>
            </p:cNvSpPr>
            <p:nvPr/>
          </p:nvSpPr>
          <p:spPr bwMode="auto">
            <a:xfrm>
              <a:off x="7523373" y="4858590"/>
              <a:ext cx="401056" cy="274346"/>
            </a:xfrm>
            <a:custGeom>
              <a:avLst/>
              <a:gdLst>
                <a:gd name="T0" fmla="*/ 4 w 169"/>
                <a:gd name="T1" fmla="*/ 28 h 119"/>
                <a:gd name="T2" fmla="*/ 17 w 169"/>
                <a:gd name="T3" fmla="*/ 23 h 119"/>
                <a:gd name="T4" fmla="*/ 24 w 169"/>
                <a:gd name="T5" fmla="*/ 19 h 119"/>
                <a:gd name="T6" fmla="*/ 29 w 169"/>
                <a:gd name="T7" fmla="*/ 16 h 119"/>
                <a:gd name="T8" fmla="*/ 32 w 169"/>
                <a:gd name="T9" fmla="*/ 14 h 119"/>
                <a:gd name="T10" fmla="*/ 38 w 169"/>
                <a:gd name="T11" fmla="*/ 12 h 119"/>
                <a:gd name="T12" fmla="*/ 44 w 169"/>
                <a:gd name="T13" fmla="*/ 11 h 119"/>
                <a:gd name="T14" fmla="*/ 48 w 169"/>
                <a:gd name="T15" fmla="*/ 8 h 119"/>
                <a:gd name="T16" fmla="*/ 56 w 169"/>
                <a:gd name="T17" fmla="*/ 7 h 119"/>
                <a:gd name="T18" fmla="*/ 55 w 169"/>
                <a:gd name="T19" fmla="*/ 2 h 119"/>
                <a:gd name="T20" fmla="*/ 63 w 169"/>
                <a:gd name="T21" fmla="*/ 0 h 119"/>
                <a:gd name="T22" fmla="*/ 69 w 169"/>
                <a:gd name="T23" fmla="*/ 4 h 119"/>
                <a:gd name="T24" fmla="*/ 73 w 169"/>
                <a:gd name="T25" fmla="*/ 8 h 119"/>
                <a:gd name="T26" fmla="*/ 72 w 169"/>
                <a:gd name="T27" fmla="*/ 11 h 119"/>
                <a:gd name="T28" fmla="*/ 78 w 169"/>
                <a:gd name="T29" fmla="*/ 12 h 119"/>
                <a:gd name="T30" fmla="*/ 85 w 169"/>
                <a:gd name="T31" fmla="*/ 10 h 119"/>
                <a:gd name="T32" fmla="*/ 88 w 169"/>
                <a:gd name="T33" fmla="*/ 13 h 119"/>
                <a:gd name="T34" fmla="*/ 95 w 169"/>
                <a:gd name="T35" fmla="*/ 16 h 119"/>
                <a:gd name="T36" fmla="*/ 95 w 169"/>
                <a:gd name="T37" fmla="*/ 21 h 119"/>
                <a:gd name="T38" fmla="*/ 91 w 169"/>
                <a:gd name="T39" fmla="*/ 27 h 119"/>
                <a:gd name="T40" fmla="*/ 95 w 169"/>
                <a:gd name="T41" fmla="*/ 34 h 119"/>
                <a:gd name="T42" fmla="*/ 106 w 169"/>
                <a:gd name="T43" fmla="*/ 41 h 119"/>
                <a:gd name="T44" fmla="*/ 116 w 169"/>
                <a:gd name="T45" fmla="*/ 45 h 119"/>
                <a:gd name="T46" fmla="*/ 123 w 169"/>
                <a:gd name="T47" fmla="*/ 47 h 119"/>
                <a:gd name="T48" fmla="*/ 123 w 169"/>
                <a:gd name="T49" fmla="*/ 53 h 119"/>
                <a:gd name="T50" fmla="*/ 119 w 169"/>
                <a:gd name="T51" fmla="*/ 59 h 119"/>
                <a:gd name="T52" fmla="*/ 110 w 169"/>
                <a:gd name="T53" fmla="*/ 64 h 119"/>
                <a:gd name="T54" fmla="*/ 119 w 169"/>
                <a:gd name="T55" fmla="*/ 66 h 119"/>
                <a:gd name="T56" fmla="*/ 125 w 169"/>
                <a:gd name="T57" fmla="*/ 71 h 119"/>
                <a:gd name="T58" fmla="*/ 140 w 169"/>
                <a:gd name="T59" fmla="*/ 76 h 119"/>
                <a:gd name="T60" fmla="*/ 147 w 169"/>
                <a:gd name="T61" fmla="*/ 76 h 119"/>
                <a:gd name="T62" fmla="*/ 158 w 169"/>
                <a:gd name="T63" fmla="*/ 75 h 119"/>
                <a:gd name="T64" fmla="*/ 155 w 169"/>
                <a:gd name="T65" fmla="*/ 83 h 119"/>
                <a:gd name="T66" fmla="*/ 156 w 169"/>
                <a:gd name="T67" fmla="*/ 87 h 119"/>
                <a:gd name="T68" fmla="*/ 164 w 169"/>
                <a:gd name="T69" fmla="*/ 93 h 119"/>
                <a:gd name="T70" fmla="*/ 158 w 169"/>
                <a:gd name="T71" fmla="*/ 96 h 119"/>
                <a:gd name="T72" fmla="*/ 164 w 169"/>
                <a:gd name="T73" fmla="*/ 101 h 119"/>
                <a:gd name="T74" fmla="*/ 167 w 169"/>
                <a:gd name="T75" fmla="*/ 111 h 119"/>
                <a:gd name="T76" fmla="*/ 162 w 169"/>
                <a:gd name="T77" fmla="*/ 114 h 119"/>
                <a:gd name="T78" fmla="*/ 154 w 169"/>
                <a:gd name="T79" fmla="*/ 119 h 119"/>
                <a:gd name="T80" fmla="*/ 142 w 169"/>
                <a:gd name="T81" fmla="*/ 107 h 119"/>
                <a:gd name="T82" fmla="*/ 138 w 169"/>
                <a:gd name="T83" fmla="*/ 98 h 119"/>
                <a:gd name="T84" fmla="*/ 129 w 169"/>
                <a:gd name="T85" fmla="*/ 97 h 119"/>
                <a:gd name="T86" fmla="*/ 126 w 169"/>
                <a:gd name="T87" fmla="*/ 85 h 119"/>
                <a:gd name="T88" fmla="*/ 114 w 169"/>
                <a:gd name="T89" fmla="*/ 91 h 119"/>
                <a:gd name="T90" fmla="*/ 101 w 169"/>
                <a:gd name="T91" fmla="*/ 90 h 119"/>
                <a:gd name="T92" fmla="*/ 96 w 169"/>
                <a:gd name="T93" fmla="*/ 86 h 119"/>
                <a:gd name="T94" fmla="*/ 88 w 169"/>
                <a:gd name="T95" fmla="*/ 84 h 119"/>
                <a:gd name="T96" fmla="*/ 76 w 169"/>
                <a:gd name="T97" fmla="*/ 88 h 119"/>
                <a:gd name="T98" fmla="*/ 69 w 169"/>
                <a:gd name="T99" fmla="*/ 84 h 119"/>
                <a:gd name="T100" fmla="*/ 56 w 169"/>
                <a:gd name="T101" fmla="*/ 80 h 119"/>
                <a:gd name="T102" fmla="*/ 41 w 169"/>
                <a:gd name="T103" fmla="*/ 83 h 119"/>
                <a:gd name="T104" fmla="*/ 30 w 169"/>
                <a:gd name="T105" fmla="*/ 83 h 119"/>
                <a:gd name="T106" fmla="*/ 26 w 169"/>
                <a:gd name="T107" fmla="*/ 77 h 119"/>
                <a:gd name="T108" fmla="*/ 20 w 169"/>
                <a:gd name="T109" fmla="*/ 71 h 119"/>
                <a:gd name="T110" fmla="*/ 15 w 169"/>
                <a:gd name="T111" fmla="*/ 61 h 119"/>
                <a:gd name="T112" fmla="*/ 18 w 169"/>
                <a:gd name="T113" fmla="*/ 46 h 119"/>
                <a:gd name="T114" fmla="*/ 13 w 169"/>
                <a:gd name="T115" fmla="*/ 37 h 119"/>
                <a:gd name="T116" fmla="*/ 2 w 169"/>
                <a:gd name="T117" fmla="*/ 3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119">
                  <a:moveTo>
                    <a:pt x="2" y="33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6" y="28"/>
                    <a:pt x="7" y="27"/>
                  </a:cubicBezTo>
                  <a:cubicBezTo>
                    <a:pt x="9" y="27"/>
                    <a:pt x="15" y="25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9" y="21"/>
                    <a:pt x="19" y="21"/>
                  </a:cubicBezTo>
                  <a:cubicBezTo>
                    <a:pt x="20" y="21"/>
                    <a:pt x="22" y="21"/>
                    <a:pt x="23" y="20"/>
                  </a:cubicBezTo>
                  <a:cubicBezTo>
                    <a:pt x="23" y="20"/>
                    <a:pt x="24" y="19"/>
                    <a:pt x="24" y="19"/>
                  </a:cubicBezTo>
                  <a:cubicBezTo>
                    <a:pt x="24" y="19"/>
                    <a:pt x="24" y="18"/>
                    <a:pt x="25" y="18"/>
                  </a:cubicBezTo>
                  <a:cubicBezTo>
                    <a:pt x="25" y="18"/>
                    <a:pt x="26" y="18"/>
                    <a:pt x="27" y="17"/>
                  </a:cubicBezTo>
                  <a:cubicBezTo>
                    <a:pt x="28" y="17"/>
                    <a:pt x="28" y="17"/>
                    <a:pt x="29" y="16"/>
                  </a:cubicBezTo>
                  <a:cubicBezTo>
                    <a:pt x="29" y="16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4" y="14"/>
                    <a:pt x="35" y="14"/>
                  </a:cubicBezTo>
                  <a:cubicBezTo>
                    <a:pt x="35" y="14"/>
                    <a:pt x="37" y="13"/>
                    <a:pt x="37" y="13"/>
                  </a:cubicBezTo>
                  <a:cubicBezTo>
                    <a:pt x="37" y="13"/>
                    <a:pt x="37" y="12"/>
                    <a:pt x="38" y="12"/>
                  </a:cubicBezTo>
                  <a:cubicBezTo>
                    <a:pt x="39" y="12"/>
                    <a:pt x="40" y="12"/>
                    <a:pt x="41" y="12"/>
                  </a:cubicBezTo>
                  <a:cubicBezTo>
                    <a:pt x="41" y="12"/>
                    <a:pt x="43" y="12"/>
                    <a:pt x="43" y="12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1"/>
                    <a:pt x="44" y="10"/>
                    <a:pt x="45" y="11"/>
                  </a:cubicBezTo>
                  <a:cubicBezTo>
                    <a:pt x="46" y="11"/>
                    <a:pt x="45" y="12"/>
                    <a:pt x="46" y="11"/>
                  </a:cubicBezTo>
                  <a:cubicBezTo>
                    <a:pt x="47" y="10"/>
                    <a:pt x="48" y="8"/>
                    <a:pt x="48" y="8"/>
                  </a:cubicBezTo>
                  <a:cubicBezTo>
                    <a:pt x="48" y="8"/>
                    <a:pt x="47" y="8"/>
                    <a:pt x="49" y="8"/>
                  </a:cubicBezTo>
                  <a:cubicBezTo>
                    <a:pt x="51" y="8"/>
                    <a:pt x="51" y="8"/>
                    <a:pt x="53" y="8"/>
                  </a:cubicBezTo>
                  <a:cubicBezTo>
                    <a:pt x="54" y="8"/>
                    <a:pt x="56" y="7"/>
                    <a:pt x="56" y="7"/>
                  </a:cubicBezTo>
                  <a:cubicBezTo>
                    <a:pt x="57" y="7"/>
                    <a:pt x="58" y="6"/>
                    <a:pt x="58" y="6"/>
                  </a:cubicBezTo>
                  <a:cubicBezTo>
                    <a:pt x="58" y="5"/>
                    <a:pt x="54" y="3"/>
                    <a:pt x="54" y="3"/>
                  </a:cubicBezTo>
                  <a:cubicBezTo>
                    <a:pt x="54" y="3"/>
                    <a:pt x="52" y="2"/>
                    <a:pt x="55" y="2"/>
                  </a:cubicBezTo>
                  <a:cubicBezTo>
                    <a:pt x="58" y="3"/>
                    <a:pt x="59" y="3"/>
                    <a:pt x="59" y="3"/>
                  </a:cubicBezTo>
                  <a:cubicBezTo>
                    <a:pt x="60" y="3"/>
                    <a:pt x="60" y="2"/>
                    <a:pt x="61" y="2"/>
                  </a:cubicBezTo>
                  <a:cubicBezTo>
                    <a:pt x="62" y="1"/>
                    <a:pt x="63" y="0"/>
                    <a:pt x="63" y="0"/>
                  </a:cubicBezTo>
                  <a:cubicBezTo>
                    <a:pt x="64" y="0"/>
                    <a:pt x="66" y="2"/>
                    <a:pt x="66" y="2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9" y="4"/>
                    <a:pt x="70" y="3"/>
                    <a:pt x="71" y="4"/>
                  </a:cubicBezTo>
                  <a:cubicBezTo>
                    <a:pt x="72" y="4"/>
                    <a:pt x="74" y="6"/>
                    <a:pt x="74" y="6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9"/>
                    <a:pt x="69" y="11"/>
                    <a:pt x="70" y="11"/>
                  </a:cubicBezTo>
                  <a:cubicBezTo>
                    <a:pt x="70" y="11"/>
                    <a:pt x="71" y="12"/>
                    <a:pt x="72" y="11"/>
                  </a:cubicBezTo>
                  <a:cubicBezTo>
                    <a:pt x="73" y="11"/>
                    <a:pt x="73" y="10"/>
                    <a:pt x="73" y="10"/>
                  </a:cubicBezTo>
                  <a:cubicBezTo>
                    <a:pt x="73" y="10"/>
                    <a:pt x="76" y="10"/>
                    <a:pt x="76" y="11"/>
                  </a:cubicBezTo>
                  <a:cubicBezTo>
                    <a:pt x="76" y="11"/>
                    <a:pt x="78" y="12"/>
                    <a:pt x="78" y="12"/>
                  </a:cubicBezTo>
                  <a:cubicBezTo>
                    <a:pt x="79" y="11"/>
                    <a:pt x="80" y="11"/>
                    <a:pt x="81" y="11"/>
                  </a:cubicBezTo>
                  <a:cubicBezTo>
                    <a:pt x="81" y="11"/>
                    <a:pt x="82" y="12"/>
                    <a:pt x="83" y="12"/>
                  </a:cubicBezTo>
                  <a:cubicBezTo>
                    <a:pt x="84" y="12"/>
                    <a:pt x="85" y="10"/>
                    <a:pt x="85" y="10"/>
                  </a:cubicBezTo>
                  <a:cubicBezTo>
                    <a:pt x="85" y="10"/>
                    <a:pt x="86" y="10"/>
                    <a:pt x="86" y="11"/>
                  </a:cubicBezTo>
                  <a:cubicBezTo>
                    <a:pt x="87" y="11"/>
                    <a:pt x="86" y="11"/>
                    <a:pt x="87" y="12"/>
                  </a:cubicBezTo>
                  <a:cubicBezTo>
                    <a:pt x="87" y="13"/>
                    <a:pt x="87" y="13"/>
                    <a:pt x="88" y="13"/>
                  </a:cubicBezTo>
                  <a:cubicBezTo>
                    <a:pt x="89" y="14"/>
                    <a:pt x="91" y="14"/>
                    <a:pt x="91" y="15"/>
                  </a:cubicBezTo>
                  <a:cubicBezTo>
                    <a:pt x="91" y="15"/>
                    <a:pt x="92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6" y="17"/>
                    <a:pt x="98" y="16"/>
                    <a:pt x="98" y="17"/>
                  </a:cubicBezTo>
                  <a:cubicBezTo>
                    <a:pt x="97" y="18"/>
                    <a:pt x="97" y="19"/>
                    <a:pt x="97" y="20"/>
                  </a:cubicBezTo>
                  <a:cubicBezTo>
                    <a:pt x="97" y="20"/>
                    <a:pt x="96" y="21"/>
                    <a:pt x="95" y="21"/>
                  </a:cubicBezTo>
                  <a:cubicBezTo>
                    <a:pt x="94" y="21"/>
                    <a:pt x="93" y="22"/>
                    <a:pt x="93" y="22"/>
                  </a:cubicBezTo>
                  <a:cubicBezTo>
                    <a:pt x="93" y="23"/>
                    <a:pt x="92" y="24"/>
                    <a:pt x="92" y="25"/>
                  </a:cubicBezTo>
                  <a:cubicBezTo>
                    <a:pt x="91" y="26"/>
                    <a:pt x="91" y="27"/>
                    <a:pt x="91" y="27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9"/>
                    <a:pt x="93" y="33"/>
                    <a:pt x="93" y="33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4" y="41"/>
                    <a:pt x="106" y="41"/>
                  </a:cubicBezTo>
                  <a:cubicBezTo>
                    <a:pt x="108" y="42"/>
                    <a:pt x="110" y="42"/>
                    <a:pt x="110" y="42"/>
                  </a:cubicBezTo>
                  <a:cubicBezTo>
                    <a:pt x="113" y="45"/>
                    <a:pt x="113" y="45"/>
                    <a:pt x="113" y="45"/>
                  </a:cubicBezTo>
                  <a:cubicBezTo>
                    <a:pt x="113" y="45"/>
                    <a:pt x="115" y="45"/>
                    <a:pt x="116" y="45"/>
                  </a:cubicBezTo>
                  <a:cubicBezTo>
                    <a:pt x="116" y="46"/>
                    <a:pt x="119" y="46"/>
                    <a:pt x="119" y="46"/>
                  </a:cubicBezTo>
                  <a:cubicBezTo>
                    <a:pt x="121" y="46"/>
                    <a:pt x="121" y="46"/>
                    <a:pt x="121" y="46"/>
                  </a:cubicBezTo>
                  <a:cubicBezTo>
                    <a:pt x="121" y="46"/>
                    <a:pt x="122" y="45"/>
                    <a:pt x="123" y="47"/>
                  </a:cubicBezTo>
                  <a:cubicBezTo>
                    <a:pt x="123" y="48"/>
                    <a:pt x="124" y="50"/>
                    <a:pt x="124" y="50"/>
                  </a:cubicBezTo>
                  <a:cubicBezTo>
                    <a:pt x="124" y="50"/>
                    <a:pt x="124" y="51"/>
                    <a:pt x="124" y="52"/>
                  </a:cubicBezTo>
                  <a:cubicBezTo>
                    <a:pt x="123" y="52"/>
                    <a:pt x="123" y="52"/>
                    <a:pt x="123" y="53"/>
                  </a:cubicBezTo>
                  <a:cubicBezTo>
                    <a:pt x="123" y="53"/>
                    <a:pt x="123" y="57"/>
                    <a:pt x="123" y="57"/>
                  </a:cubicBezTo>
                  <a:cubicBezTo>
                    <a:pt x="123" y="57"/>
                    <a:pt x="123" y="58"/>
                    <a:pt x="122" y="58"/>
                  </a:cubicBezTo>
                  <a:cubicBezTo>
                    <a:pt x="120" y="59"/>
                    <a:pt x="120" y="59"/>
                    <a:pt x="119" y="59"/>
                  </a:cubicBezTo>
                  <a:cubicBezTo>
                    <a:pt x="117" y="59"/>
                    <a:pt x="114" y="60"/>
                    <a:pt x="113" y="61"/>
                  </a:cubicBezTo>
                  <a:cubicBezTo>
                    <a:pt x="113" y="61"/>
                    <a:pt x="111" y="61"/>
                    <a:pt x="111" y="61"/>
                  </a:cubicBezTo>
                  <a:cubicBezTo>
                    <a:pt x="111" y="62"/>
                    <a:pt x="110" y="64"/>
                    <a:pt x="110" y="64"/>
                  </a:cubicBezTo>
                  <a:cubicBezTo>
                    <a:pt x="110" y="64"/>
                    <a:pt x="110" y="66"/>
                    <a:pt x="112" y="66"/>
                  </a:cubicBezTo>
                  <a:cubicBezTo>
                    <a:pt x="115" y="66"/>
                    <a:pt x="115" y="66"/>
                    <a:pt x="116" y="66"/>
                  </a:cubicBezTo>
                  <a:cubicBezTo>
                    <a:pt x="117" y="66"/>
                    <a:pt x="117" y="65"/>
                    <a:pt x="119" y="66"/>
                  </a:cubicBezTo>
                  <a:cubicBezTo>
                    <a:pt x="120" y="66"/>
                    <a:pt x="121" y="68"/>
                    <a:pt x="121" y="68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31" y="71"/>
                    <a:pt x="131" y="71"/>
                    <a:pt x="131" y="71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40" y="76"/>
                    <a:pt x="140" y="79"/>
                    <a:pt x="141" y="79"/>
                  </a:cubicBezTo>
                  <a:cubicBezTo>
                    <a:pt x="143" y="79"/>
                    <a:pt x="144" y="78"/>
                    <a:pt x="144" y="78"/>
                  </a:cubicBezTo>
                  <a:cubicBezTo>
                    <a:pt x="144" y="78"/>
                    <a:pt x="146" y="76"/>
                    <a:pt x="147" y="76"/>
                  </a:cubicBezTo>
                  <a:cubicBezTo>
                    <a:pt x="149" y="75"/>
                    <a:pt x="148" y="74"/>
                    <a:pt x="150" y="75"/>
                  </a:cubicBezTo>
                  <a:cubicBezTo>
                    <a:pt x="152" y="77"/>
                    <a:pt x="156" y="75"/>
                    <a:pt x="156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3"/>
                    <a:pt x="155" y="83"/>
                    <a:pt x="155" y="83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54" y="84"/>
                    <a:pt x="154" y="85"/>
                    <a:pt x="154" y="86"/>
                  </a:cubicBezTo>
                  <a:cubicBezTo>
                    <a:pt x="155" y="86"/>
                    <a:pt x="156" y="87"/>
                    <a:pt x="156" y="87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3" y="90"/>
                    <a:pt x="163" y="90"/>
                    <a:pt x="163" y="90"/>
                  </a:cubicBezTo>
                  <a:cubicBezTo>
                    <a:pt x="163" y="90"/>
                    <a:pt x="163" y="93"/>
                    <a:pt x="164" y="93"/>
                  </a:cubicBezTo>
                  <a:cubicBezTo>
                    <a:pt x="165" y="93"/>
                    <a:pt x="167" y="94"/>
                    <a:pt x="167" y="94"/>
                  </a:cubicBezTo>
                  <a:cubicBezTo>
                    <a:pt x="167" y="94"/>
                    <a:pt x="163" y="97"/>
                    <a:pt x="162" y="97"/>
                  </a:cubicBezTo>
                  <a:cubicBezTo>
                    <a:pt x="161" y="97"/>
                    <a:pt x="158" y="96"/>
                    <a:pt x="158" y="9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63" y="100"/>
                    <a:pt x="163" y="100"/>
                    <a:pt x="163" y="100"/>
                  </a:cubicBezTo>
                  <a:cubicBezTo>
                    <a:pt x="163" y="100"/>
                    <a:pt x="163" y="100"/>
                    <a:pt x="164" y="101"/>
                  </a:cubicBezTo>
                  <a:cubicBezTo>
                    <a:pt x="164" y="102"/>
                    <a:pt x="165" y="103"/>
                    <a:pt x="165" y="103"/>
                  </a:cubicBezTo>
                  <a:cubicBezTo>
                    <a:pt x="165" y="103"/>
                    <a:pt x="169" y="102"/>
                    <a:pt x="169" y="106"/>
                  </a:cubicBezTo>
                  <a:cubicBezTo>
                    <a:pt x="168" y="107"/>
                    <a:pt x="167" y="110"/>
                    <a:pt x="167" y="111"/>
                  </a:cubicBezTo>
                  <a:cubicBezTo>
                    <a:pt x="168" y="111"/>
                    <a:pt x="168" y="112"/>
                    <a:pt x="168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4" y="119"/>
                    <a:pt x="154" y="119"/>
                    <a:pt x="154" y="119"/>
                  </a:cubicBezTo>
                  <a:cubicBezTo>
                    <a:pt x="151" y="115"/>
                    <a:pt x="151" y="115"/>
                    <a:pt x="151" y="115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0" y="103"/>
                    <a:pt x="140" y="103"/>
                    <a:pt x="140" y="103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7" y="98"/>
                    <a:pt x="135" y="98"/>
                  </a:cubicBezTo>
                  <a:cubicBezTo>
                    <a:pt x="134" y="98"/>
                    <a:pt x="131" y="97"/>
                    <a:pt x="131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92"/>
                    <a:pt x="128" y="88"/>
                    <a:pt x="127" y="88"/>
                  </a:cubicBezTo>
                  <a:cubicBezTo>
                    <a:pt x="127" y="87"/>
                    <a:pt x="126" y="85"/>
                    <a:pt x="126" y="85"/>
                  </a:cubicBezTo>
                  <a:cubicBezTo>
                    <a:pt x="126" y="85"/>
                    <a:pt x="123" y="86"/>
                    <a:pt x="121" y="86"/>
                  </a:cubicBezTo>
                  <a:cubicBezTo>
                    <a:pt x="120" y="87"/>
                    <a:pt x="118" y="88"/>
                    <a:pt x="117" y="89"/>
                  </a:cubicBezTo>
                  <a:cubicBezTo>
                    <a:pt x="116" y="90"/>
                    <a:pt x="114" y="91"/>
                    <a:pt x="114" y="91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99" y="94"/>
                    <a:pt x="98" y="92"/>
                    <a:pt x="97" y="91"/>
                  </a:cubicBezTo>
                  <a:cubicBezTo>
                    <a:pt x="97" y="89"/>
                    <a:pt x="96" y="86"/>
                    <a:pt x="96" y="86"/>
                  </a:cubicBezTo>
                  <a:cubicBezTo>
                    <a:pt x="96" y="86"/>
                    <a:pt x="95" y="85"/>
                    <a:pt x="94" y="85"/>
                  </a:cubicBezTo>
                  <a:cubicBezTo>
                    <a:pt x="93" y="85"/>
                    <a:pt x="91" y="84"/>
                    <a:pt x="91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5" y="88"/>
                    <a:pt x="85" y="88"/>
                    <a:pt x="85" y="88"/>
                  </a:cubicBezTo>
                  <a:cubicBezTo>
                    <a:pt x="80" y="90"/>
                    <a:pt x="80" y="90"/>
                    <a:pt x="80" y="90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88"/>
                    <a:pt x="75" y="86"/>
                    <a:pt x="74" y="87"/>
                  </a:cubicBezTo>
                  <a:cubicBezTo>
                    <a:pt x="73" y="87"/>
                    <a:pt x="70" y="86"/>
                    <a:pt x="70" y="86"/>
                  </a:cubicBezTo>
                  <a:cubicBezTo>
                    <a:pt x="70" y="86"/>
                    <a:pt x="69" y="85"/>
                    <a:pt x="69" y="84"/>
                  </a:cubicBezTo>
                  <a:cubicBezTo>
                    <a:pt x="69" y="83"/>
                    <a:pt x="66" y="81"/>
                    <a:pt x="66" y="81"/>
                  </a:cubicBezTo>
                  <a:cubicBezTo>
                    <a:pt x="66" y="81"/>
                    <a:pt x="62" y="79"/>
                    <a:pt x="61" y="79"/>
                  </a:cubicBezTo>
                  <a:cubicBezTo>
                    <a:pt x="60" y="80"/>
                    <a:pt x="57" y="80"/>
                    <a:pt x="56" y="80"/>
                  </a:cubicBezTo>
                  <a:cubicBezTo>
                    <a:pt x="54" y="80"/>
                    <a:pt x="49" y="79"/>
                    <a:pt x="49" y="79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3" y="82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4" y="83"/>
                    <a:pt x="33" y="83"/>
                  </a:cubicBezTo>
                  <a:cubicBezTo>
                    <a:pt x="32" y="83"/>
                    <a:pt x="32" y="83"/>
                    <a:pt x="30" y="83"/>
                  </a:cubicBezTo>
                  <a:cubicBezTo>
                    <a:pt x="28" y="83"/>
                    <a:pt x="23" y="83"/>
                    <a:pt x="23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7" y="78"/>
                    <a:pt x="26" y="77"/>
                  </a:cubicBezTo>
                  <a:cubicBezTo>
                    <a:pt x="25" y="76"/>
                    <a:pt x="25" y="75"/>
                    <a:pt x="24" y="75"/>
                  </a:cubicBezTo>
                  <a:cubicBezTo>
                    <a:pt x="23" y="74"/>
                    <a:pt x="20" y="72"/>
                    <a:pt x="20" y="72"/>
                  </a:cubicBezTo>
                  <a:cubicBezTo>
                    <a:pt x="20" y="72"/>
                    <a:pt x="20" y="72"/>
                    <a:pt x="20" y="71"/>
                  </a:cubicBezTo>
                  <a:cubicBezTo>
                    <a:pt x="19" y="70"/>
                    <a:pt x="18" y="67"/>
                    <a:pt x="18" y="67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4" y="63"/>
                    <a:pt x="15" y="61"/>
                  </a:cubicBezTo>
                  <a:cubicBezTo>
                    <a:pt x="16" y="59"/>
                    <a:pt x="18" y="54"/>
                    <a:pt x="18" y="54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3"/>
                    <a:pt x="15" y="43"/>
                    <a:pt x="14" y="41"/>
                  </a:cubicBezTo>
                  <a:cubicBezTo>
                    <a:pt x="14" y="38"/>
                    <a:pt x="14" y="38"/>
                    <a:pt x="13" y="37"/>
                  </a:cubicBezTo>
                  <a:cubicBezTo>
                    <a:pt x="12" y="35"/>
                    <a:pt x="8" y="34"/>
                    <a:pt x="8" y="34"/>
                  </a:cubicBezTo>
                  <a:cubicBezTo>
                    <a:pt x="3" y="34"/>
                    <a:pt x="3" y="34"/>
                    <a:pt x="3" y="34"/>
                  </a:cubicBezTo>
                  <a:lnTo>
                    <a:pt x="2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7" name="Freeform 219"/>
            <p:cNvSpPr>
              <a:spLocks/>
            </p:cNvSpPr>
            <p:nvPr/>
          </p:nvSpPr>
          <p:spPr bwMode="auto">
            <a:xfrm>
              <a:off x="4913073" y="4535372"/>
              <a:ext cx="570645" cy="392083"/>
            </a:xfrm>
            <a:custGeom>
              <a:avLst/>
              <a:gdLst>
                <a:gd name="T0" fmla="*/ 28 w 240"/>
                <a:gd name="T1" fmla="*/ 61 h 170"/>
                <a:gd name="T2" fmla="*/ 31 w 240"/>
                <a:gd name="T3" fmla="*/ 54 h 170"/>
                <a:gd name="T4" fmla="*/ 44 w 240"/>
                <a:gd name="T5" fmla="*/ 55 h 170"/>
                <a:gd name="T6" fmla="*/ 64 w 240"/>
                <a:gd name="T7" fmla="*/ 59 h 170"/>
                <a:gd name="T8" fmla="*/ 96 w 240"/>
                <a:gd name="T9" fmla="*/ 52 h 170"/>
                <a:gd name="T10" fmla="*/ 95 w 240"/>
                <a:gd name="T11" fmla="*/ 41 h 170"/>
                <a:gd name="T12" fmla="*/ 115 w 240"/>
                <a:gd name="T13" fmla="*/ 36 h 170"/>
                <a:gd name="T14" fmla="*/ 127 w 240"/>
                <a:gd name="T15" fmla="*/ 30 h 170"/>
                <a:gd name="T16" fmla="*/ 139 w 240"/>
                <a:gd name="T17" fmla="*/ 24 h 170"/>
                <a:gd name="T18" fmla="*/ 148 w 240"/>
                <a:gd name="T19" fmla="*/ 9 h 170"/>
                <a:gd name="T20" fmla="*/ 168 w 240"/>
                <a:gd name="T21" fmla="*/ 5 h 170"/>
                <a:gd name="T22" fmla="*/ 186 w 240"/>
                <a:gd name="T23" fmla="*/ 1 h 170"/>
                <a:gd name="T24" fmla="*/ 207 w 240"/>
                <a:gd name="T25" fmla="*/ 6 h 170"/>
                <a:gd name="T26" fmla="*/ 218 w 240"/>
                <a:gd name="T27" fmla="*/ 11 h 170"/>
                <a:gd name="T28" fmla="*/ 229 w 240"/>
                <a:gd name="T29" fmla="*/ 17 h 170"/>
                <a:gd name="T30" fmla="*/ 238 w 240"/>
                <a:gd name="T31" fmla="*/ 23 h 170"/>
                <a:gd name="T32" fmla="*/ 234 w 240"/>
                <a:gd name="T33" fmla="*/ 33 h 170"/>
                <a:gd name="T34" fmla="*/ 224 w 240"/>
                <a:gd name="T35" fmla="*/ 39 h 170"/>
                <a:gd name="T36" fmla="*/ 217 w 240"/>
                <a:gd name="T37" fmla="*/ 48 h 170"/>
                <a:gd name="T38" fmla="*/ 213 w 240"/>
                <a:gd name="T39" fmla="*/ 62 h 170"/>
                <a:gd name="T40" fmla="*/ 206 w 240"/>
                <a:gd name="T41" fmla="*/ 75 h 170"/>
                <a:gd name="T42" fmla="*/ 201 w 240"/>
                <a:gd name="T43" fmla="*/ 90 h 170"/>
                <a:gd name="T44" fmla="*/ 199 w 240"/>
                <a:gd name="T45" fmla="*/ 106 h 170"/>
                <a:gd name="T46" fmla="*/ 196 w 240"/>
                <a:gd name="T47" fmla="*/ 117 h 170"/>
                <a:gd name="T48" fmla="*/ 192 w 240"/>
                <a:gd name="T49" fmla="*/ 126 h 170"/>
                <a:gd name="T50" fmla="*/ 177 w 240"/>
                <a:gd name="T51" fmla="*/ 135 h 170"/>
                <a:gd name="T52" fmla="*/ 168 w 240"/>
                <a:gd name="T53" fmla="*/ 139 h 170"/>
                <a:gd name="T54" fmla="*/ 153 w 240"/>
                <a:gd name="T55" fmla="*/ 139 h 170"/>
                <a:gd name="T56" fmla="*/ 139 w 240"/>
                <a:gd name="T57" fmla="*/ 141 h 170"/>
                <a:gd name="T58" fmla="*/ 130 w 240"/>
                <a:gd name="T59" fmla="*/ 144 h 170"/>
                <a:gd name="T60" fmla="*/ 123 w 240"/>
                <a:gd name="T61" fmla="*/ 152 h 170"/>
                <a:gd name="T62" fmla="*/ 115 w 240"/>
                <a:gd name="T63" fmla="*/ 152 h 170"/>
                <a:gd name="T64" fmla="*/ 105 w 240"/>
                <a:gd name="T65" fmla="*/ 159 h 170"/>
                <a:gd name="T66" fmla="*/ 94 w 240"/>
                <a:gd name="T67" fmla="*/ 167 h 170"/>
                <a:gd name="T68" fmla="*/ 80 w 240"/>
                <a:gd name="T69" fmla="*/ 170 h 170"/>
                <a:gd name="T70" fmla="*/ 64 w 240"/>
                <a:gd name="T71" fmla="*/ 168 h 170"/>
                <a:gd name="T72" fmla="*/ 55 w 240"/>
                <a:gd name="T73" fmla="*/ 162 h 170"/>
                <a:gd name="T74" fmla="*/ 42 w 240"/>
                <a:gd name="T75" fmla="*/ 152 h 170"/>
                <a:gd name="T76" fmla="*/ 26 w 240"/>
                <a:gd name="T77" fmla="*/ 143 h 170"/>
                <a:gd name="T78" fmla="*/ 16 w 240"/>
                <a:gd name="T79" fmla="*/ 135 h 170"/>
                <a:gd name="T80" fmla="*/ 7 w 240"/>
                <a:gd name="T81" fmla="*/ 121 h 170"/>
                <a:gd name="T82" fmla="*/ 0 w 240"/>
                <a:gd name="T83" fmla="*/ 117 h 170"/>
                <a:gd name="T84" fmla="*/ 3 w 240"/>
                <a:gd name="T85" fmla="*/ 109 h 170"/>
                <a:gd name="T86" fmla="*/ 8 w 240"/>
                <a:gd name="T87" fmla="*/ 97 h 170"/>
                <a:gd name="T88" fmla="*/ 7 w 240"/>
                <a:gd name="T89" fmla="*/ 88 h 170"/>
                <a:gd name="T90" fmla="*/ 12 w 240"/>
                <a:gd name="T91" fmla="*/ 74 h 170"/>
                <a:gd name="T92" fmla="*/ 8 w 240"/>
                <a:gd name="T93" fmla="*/ 69 h 170"/>
                <a:gd name="T94" fmla="*/ 20 w 240"/>
                <a:gd name="T95" fmla="*/ 70 h 170"/>
                <a:gd name="T96" fmla="*/ 27 w 240"/>
                <a:gd name="T97" fmla="*/ 6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0" h="170">
                  <a:moveTo>
                    <a:pt x="28" y="61"/>
                  </a:move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90" y="57"/>
                    <a:pt x="91" y="56"/>
                  </a:cubicBezTo>
                  <a:cubicBezTo>
                    <a:pt x="92" y="55"/>
                    <a:pt x="98" y="54"/>
                    <a:pt x="96" y="52"/>
                  </a:cubicBezTo>
                  <a:cubicBezTo>
                    <a:pt x="94" y="51"/>
                    <a:pt x="90" y="48"/>
                    <a:pt x="90" y="48"/>
                  </a:cubicBezTo>
                  <a:cubicBezTo>
                    <a:pt x="90" y="46"/>
                    <a:pt x="90" y="46"/>
                    <a:pt x="90" y="46"/>
                  </a:cubicBezTo>
                  <a:cubicBezTo>
                    <a:pt x="95" y="41"/>
                    <a:pt x="95" y="41"/>
                    <a:pt x="95" y="41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7" y="30"/>
                    <a:pt x="127" y="30"/>
                    <a:pt x="127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6"/>
                    <a:pt x="149" y="6"/>
                    <a:pt x="149" y="6"/>
                  </a:cubicBezTo>
                  <a:cubicBezTo>
                    <a:pt x="163" y="2"/>
                    <a:pt x="163" y="2"/>
                    <a:pt x="163" y="2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75" y="4"/>
                    <a:pt x="175" y="4"/>
                    <a:pt x="175" y="4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94" y="9"/>
                    <a:pt x="194" y="9"/>
                    <a:pt x="194" y="9"/>
                  </a:cubicBezTo>
                  <a:cubicBezTo>
                    <a:pt x="202" y="9"/>
                    <a:pt x="202" y="9"/>
                    <a:pt x="202" y="9"/>
                  </a:cubicBezTo>
                  <a:cubicBezTo>
                    <a:pt x="207" y="6"/>
                    <a:pt x="207" y="6"/>
                    <a:pt x="207" y="6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8" y="11"/>
                    <a:pt x="218" y="11"/>
                    <a:pt x="218" y="11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26" y="14"/>
                    <a:pt x="226" y="14"/>
                    <a:pt x="226" y="14"/>
                  </a:cubicBezTo>
                  <a:cubicBezTo>
                    <a:pt x="229" y="17"/>
                    <a:pt x="229" y="17"/>
                    <a:pt x="229" y="17"/>
                  </a:cubicBezTo>
                  <a:cubicBezTo>
                    <a:pt x="234" y="16"/>
                    <a:pt x="234" y="16"/>
                    <a:pt x="234" y="16"/>
                  </a:cubicBezTo>
                  <a:cubicBezTo>
                    <a:pt x="239" y="19"/>
                    <a:pt x="239" y="19"/>
                    <a:pt x="239" y="19"/>
                  </a:cubicBezTo>
                  <a:cubicBezTo>
                    <a:pt x="238" y="23"/>
                    <a:pt x="238" y="23"/>
                    <a:pt x="238" y="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37" y="31"/>
                    <a:pt x="237" y="31"/>
                    <a:pt x="237" y="31"/>
                  </a:cubicBezTo>
                  <a:cubicBezTo>
                    <a:pt x="237" y="31"/>
                    <a:pt x="236" y="33"/>
                    <a:pt x="234" y="33"/>
                  </a:cubicBezTo>
                  <a:cubicBezTo>
                    <a:pt x="233" y="34"/>
                    <a:pt x="231" y="35"/>
                    <a:pt x="231" y="35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4" y="39"/>
                    <a:pt x="224" y="39"/>
                    <a:pt x="224" y="39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4" y="51"/>
                    <a:pt x="214" y="51"/>
                    <a:pt x="214" y="51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213" y="56"/>
                    <a:pt x="215" y="61"/>
                    <a:pt x="213" y="62"/>
                  </a:cubicBezTo>
                  <a:cubicBezTo>
                    <a:pt x="212" y="62"/>
                    <a:pt x="211" y="63"/>
                    <a:pt x="211" y="63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83"/>
                    <a:pt x="205" y="83"/>
                    <a:pt x="205" y="83"/>
                  </a:cubicBezTo>
                  <a:cubicBezTo>
                    <a:pt x="205" y="83"/>
                    <a:pt x="207" y="87"/>
                    <a:pt x="204" y="87"/>
                  </a:cubicBezTo>
                  <a:cubicBezTo>
                    <a:pt x="202" y="88"/>
                    <a:pt x="201" y="90"/>
                    <a:pt x="201" y="90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198" y="102"/>
                    <a:pt x="198" y="102"/>
                    <a:pt x="198" y="102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7" y="109"/>
                    <a:pt x="197" y="109"/>
                    <a:pt x="197" y="109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195" y="118"/>
                    <a:pt x="195" y="118"/>
                    <a:pt x="195" y="118"/>
                  </a:cubicBezTo>
                  <a:cubicBezTo>
                    <a:pt x="194" y="121"/>
                    <a:pt x="194" y="121"/>
                    <a:pt x="194" y="121"/>
                  </a:cubicBezTo>
                  <a:cubicBezTo>
                    <a:pt x="192" y="126"/>
                    <a:pt x="192" y="126"/>
                    <a:pt x="192" y="126"/>
                  </a:cubicBezTo>
                  <a:cubicBezTo>
                    <a:pt x="184" y="133"/>
                    <a:pt x="184" y="133"/>
                    <a:pt x="184" y="133"/>
                  </a:cubicBezTo>
                  <a:cubicBezTo>
                    <a:pt x="180" y="132"/>
                    <a:pt x="180" y="132"/>
                    <a:pt x="180" y="132"/>
                  </a:cubicBezTo>
                  <a:cubicBezTo>
                    <a:pt x="177" y="135"/>
                    <a:pt x="177" y="135"/>
                    <a:pt x="177" y="135"/>
                  </a:cubicBezTo>
                  <a:cubicBezTo>
                    <a:pt x="177" y="135"/>
                    <a:pt x="178" y="135"/>
                    <a:pt x="176" y="137"/>
                  </a:cubicBezTo>
                  <a:cubicBezTo>
                    <a:pt x="174" y="138"/>
                    <a:pt x="170" y="139"/>
                    <a:pt x="170" y="139"/>
                  </a:cubicBezTo>
                  <a:cubicBezTo>
                    <a:pt x="168" y="139"/>
                    <a:pt x="168" y="139"/>
                    <a:pt x="168" y="139"/>
                  </a:cubicBezTo>
                  <a:cubicBezTo>
                    <a:pt x="161" y="139"/>
                    <a:pt x="161" y="139"/>
                    <a:pt x="161" y="139"/>
                  </a:cubicBezTo>
                  <a:cubicBezTo>
                    <a:pt x="161" y="139"/>
                    <a:pt x="160" y="138"/>
                    <a:pt x="159" y="139"/>
                  </a:cubicBezTo>
                  <a:cubicBezTo>
                    <a:pt x="158" y="139"/>
                    <a:pt x="153" y="139"/>
                    <a:pt x="153" y="139"/>
                  </a:cubicBezTo>
                  <a:cubicBezTo>
                    <a:pt x="153" y="139"/>
                    <a:pt x="151" y="138"/>
                    <a:pt x="150" y="138"/>
                  </a:cubicBezTo>
                  <a:cubicBezTo>
                    <a:pt x="149" y="138"/>
                    <a:pt x="143" y="139"/>
                    <a:pt x="143" y="139"/>
                  </a:cubicBezTo>
                  <a:cubicBezTo>
                    <a:pt x="139" y="141"/>
                    <a:pt x="139" y="141"/>
                    <a:pt x="139" y="141"/>
                  </a:cubicBezTo>
                  <a:cubicBezTo>
                    <a:pt x="139" y="141"/>
                    <a:pt x="138" y="139"/>
                    <a:pt x="137" y="140"/>
                  </a:cubicBezTo>
                  <a:cubicBezTo>
                    <a:pt x="135" y="140"/>
                    <a:pt x="130" y="142"/>
                    <a:pt x="130" y="142"/>
                  </a:cubicBezTo>
                  <a:cubicBezTo>
                    <a:pt x="130" y="142"/>
                    <a:pt x="132" y="144"/>
                    <a:pt x="130" y="144"/>
                  </a:cubicBezTo>
                  <a:cubicBezTo>
                    <a:pt x="129" y="144"/>
                    <a:pt x="126" y="148"/>
                    <a:pt x="126" y="148"/>
                  </a:cubicBezTo>
                  <a:cubicBezTo>
                    <a:pt x="124" y="149"/>
                    <a:pt x="124" y="149"/>
                    <a:pt x="124" y="149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2"/>
                    <a:pt x="122" y="152"/>
                    <a:pt x="120" y="152"/>
                  </a:cubicBezTo>
                  <a:cubicBezTo>
                    <a:pt x="119" y="152"/>
                    <a:pt x="116" y="153"/>
                    <a:pt x="116" y="153"/>
                  </a:cubicBezTo>
                  <a:cubicBezTo>
                    <a:pt x="115" y="152"/>
                    <a:pt x="115" y="152"/>
                    <a:pt x="115" y="152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0" y="165"/>
                    <a:pt x="100" y="166"/>
                  </a:cubicBezTo>
                  <a:cubicBezTo>
                    <a:pt x="99" y="167"/>
                    <a:pt x="94" y="167"/>
                    <a:pt x="94" y="167"/>
                  </a:cubicBezTo>
                  <a:cubicBezTo>
                    <a:pt x="90" y="167"/>
                    <a:pt x="90" y="167"/>
                    <a:pt x="90" y="167"/>
                  </a:cubicBezTo>
                  <a:cubicBezTo>
                    <a:pt x="83" y="169"/>
                    <a:pt x="83" y="169"/>
                    <a:pt x="83" y="169"/>
                  </a:cubicBezTo>
                  <a:cubicBezTo>
                    <a:pt x="83" y="169"/>
                    <a:pt x="81" y="170"/>
                    <a:pt x="80" y="170"/>
                  </a:cubicBezTo>
                  <a:cubicBezTo>
                    <a:pt x="79" y="170"/>
                    <a:pt x="74" y="169"/>
                    <a:pt x="74" y="169"/>
                  </a:cubicBezTo>
                  <a:cubicBezTo>
                    <a:pt x="71" y="170"/>
                    <a:pt x="71" y="170"/>
                    <a:pt x="71" y="17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62" y="165"/>
                    <a:pt x="62" y="165"/>
                    <a:pt x="62" y="165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47" y="158"/>
                    <a:pt x="47" y="158"/>
                    <a:pt x="47" y="158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5" y="89"/>
                    <a:pt x="5" y="89"/>
                    <a:pt x="5" y="89"/>
                  </a:cubicBezTo>
                  <a:cubicBezTo>
                    <a:pt x="5" y="89"/>
                    <a:pt x="6" y="88"/>
                    <a:pt x="7" y="88"/>
                  </a:cubicBezTo>
                  <a:cubicBezTo>
                    <a:pt x="8" y="88"/>
                    <a:pt x="11" y="86"/>
                    <a:pt x="11" y="86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8" y="70"/>
                    <a:pt x="21" y="71"/>
                    <a:pt x="20" y="70"/>
                  </a:cubicBezTo>
                  <a:cubicBezTo>
                    <a:pt x="20" y="67"/>
                    <a:pt x="21" y="69"/>
                    <a:pt x="21" y="69"/>
                  </a:cubicBezTo>
                  <a:cubicBezTo>
                    <a:pt x="22" y="71"/>
                    <a:pt x="25" y="69"/>
                    <a:pt x="27" y="69"/>
                  </a:cubicBezTo>
                  <a:cubicBezTo>
                    <a:pt x="30" y="68"/>
                    <a:pt x="28" y="66"/>
                    <a:pt x="27" y="64"/>
                  </a:cubicBezTo>
                  <a:cubicBezTo>
                    <a:pt x="27" y="63"/>
                    <a:pt x="27" y="62"/>
                    <a:pt x="28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372569" y="3510183"/>
              <a:ext cx="684087" cy="622000"/>
            </a:xfrm>
            <a:custGeom>
              <a:avLst/>
              <a:gdLst>
                <a:gd name="T0" fmla="*/ 83 w 288"/>
                <a:gd name="T1" fmla="*/ 55 h 270"/>
                <a:gd name="T2" fmla="*/ 75 w 288"/>
                <a:gd name="T3" fmla="*/ 45 h 270"/>
                <a:gd name="T4" fmla="*/ 82 w 288"/>
                <a:gd name="T5" fmla="*/ 27 h 270"/>
                <a:gd name="T6" fmla="*/ 101 w 288"/>
                <a:gd name="T7" fmla="*/ 24 h 270"/>
                <a:gd name="T8" fmla="*/ 107 w 288"/>
                <a:gd name="T9" fmla="*/ 4 h 270"/>
                <a:gd name="T10" fmla="*/ 121 w 288"/>
                <a:gd name="T11" fmla="*/ 2 h 270"/>
                <a:gd name="T12" fmla="*/ 136 w 288"/>
                <a:gd name="T13" fmla="*/ 5 h 270"/>
                <a:gd name="T14" fmla="*/ 153 w 288"/>
                <a:gd name="T15" fmla="*/ 7 h 270"/>
                <a:gd name="T16" fmla="*/ 166 w 288"/>
                <a:gd name="T17" fmla="*/ 4 h 270"/>
                <a:gd name="T18" fmla="*/ 189 w 288"/>
                <a:gd name="T19" fmla="*/ 5 h 270"/>
                <a:gd name="T20" fmla="*/ 200 w 288"/>
                <a:gd name="T21" fmla="*/ 6 h 270"/>
                <a:gd name="T22" fmla="*/ 202 w 288"/>
                <a:gd name="T23" fmla="*/ 24 h 270"/>
                <a:gd name="T24" fmla="*/ 210 w 288"/>
                <a:gd name="T25" fmla="*/ 39 h 270"/>
                <a:gd name="T26" fmla="*/ 222 w 288"/>
                <a:gd name="T27" fmla="*/ 53 h 270"/>
                <a:gd name="T28" fmla="*/ 228 w 288"/>
                <a:gd name="T29" fmla="*/ 65 h 270"/>
                <a:gd name="T30" fmla="*/ 251 w 288"/>
                <a:gd name="T31" fmla="*/ 80 h 270"/>
                <a:gd name="T32" fmla="*/ 263 w 288"/>
                <a:gd name="T33" fmla="*/ 85 h 270"/>
                <a:gd name="T34" fmla="*/ 275 w 288"/>
                <a:gd name="T35" fmla="*/ 92 h 270"/>
                <a:gd name="T36" fmla="*/ 288 w 288"/>
                <a:gd name="T37" fmla="*/ 104 h 270"/>
                <a:gd name="T38" fmla="*/ 274 w 288"/>
                <a:gd name="T39" fmla="*/ 121 h 270"/>
                <a:gd name="T40" fmla="*/ 252 w 288"/>
                <a:gd name="T41" fmla="*/ 124 h 270"/>
                <a:gd name="T42" fmla="*/ 259 w 288"/>
                <a:gd name="T43" fmla="*/ 138 h 270"/>
                <a:gd name="T44" fmla="*/ 264 w 288"/>
                <a:gd name="T45" fmla="*/ 151 h 270"/>
                <a:gd name="T46" fmla="*/ 271 w 288"/>
                <a:gd name="T47" fmla="*/ 164 h 270"/>
                <a:gd name="T48" fmla="*/ 276 w 288"/>
                <a:gd name="T49" fmla="*/ 170 h 270"/>
                <a:gd name="T50" fmla="*/ 269 w 288"/>
                <a:gd name="T51" fmla="*/ 182 h 270"/>
                <a:gd name="T52" fmla="*/ 249 w 288"/>
                <a:gd name="T53" fmla="*/ 211 h 270"/>
                <a:gd name="T54" fmla="*/ 260 w 288"/>
                <a:gd name="T55" fmla="*/ 230 h 270"/>
                <a:gd name="T56" fmla="*/ 240 w 288"/>
                <a:gd name="T57" fmla="*/ 225 h 270"/>
                <a:gd name="T58" fmla="*/ 222 w 288"/>
                <a:gd name="T59" fmla="*/ 234 h 270"/>
                <a:gd name="T60" fmla="*/ 207 w 288"/>
                <a:gd name="T61" fmla="*/ 228 h 270"/>
                <a:gd name="T62" fmla="*/ 188 w 288"/>
                <a:gd name="T63" fmla="*/ 235 h 270"/>
                <a:gd name="T64" fmla="*/ 171 w 288"/>
                <a:gd name="T65" fmla="*/ 242 h 270"/>
                <a:gd name="T66" fmla="*/ 154 w 288"/>
                <a:gd name="T67" fmla="*/ 242 h 270"/>
                <a:gd name="T68" fmla="*/ 129 w 288"/>
                <a:gd name="T69" fmla="*/ 240 h 270"/>
                <a:gd name="T70" fmla="*/ 87 w 288"/>
                <a:gd name="T71" fmla="*/ 242 h 270"/>
                <a:gd name="T72" fmla="*/ 56 w 288"/>
                <a:gd name="T73" fmla="*/ 249 h 270"/>
                <a:gd name="T74" fmla="*/ 51 w 288"/>
                <a:gd name="T75" fmla="*/ 253 h 270"/>
                <a:gd name="T76" fmla="*/ 44 w 288"/>
                <a:gd name="T77" fmla="*/ 266 h 270"/>
                <a:gd name="T78" fmla="*/ 27 w 288"/>
                <a:gd name="T79" fmla="*/ 270 h 270"/>
                <a:gd name="T80" fmla="*/ 25 w 288"/>
                <a:gd name="T81" fmla="*/ 249 h 270"/>
                <a:gd name="T82" fmla="*/ 8 w 288"/>
                <a:gd name="T83" fmla="*/ 237 h 270"/>
                <a:gd name="T84" fmla="*/ 21 w 288"/>
                <a:gd name="T85" fmla="*/ 216 h 270"/>
                <a:gd name="T86" fmla="*/ 22 w 288"/>
                <a:gd name="T87" fmla="*/ 194 h 270"/>
                <a:gd name="T88" fmla="*/ 13 w 288"/>
                <a:gd name="T89" fmla="*/ 175 h 270"/>
                <a:gd name="T90" fmla="*/ 9 w 288"/>
                <a:gd name="T91" fmla="*/ 145 h 270"/>
                <a:gd name="T92" fmla="*/ 36 w 288"/>
                <a:gd name="T93" fmla="*/ 136 h 270"/>
                <a:gd name="T94" fmla="*/ 47 w 288"/>
                <a:gd name="T95" fmla="*/ 127 h 270"/>
                <a:gd name="T96" fmla="*/ 59 w 288"/>
                <a:gd name="T97" fmla="*/ 116 h 270"/>
                <a:gd name="T98" fmla="*/ 67 w 288"/>
                <a:gd name="T99" fmla="*/ 115 h 270"/>
                <a:gd name="T100" fmla="*/ 61 w 288"/>
                <a:gd name="T101" fmla="*/ 103 h 270"/>
                <a:gd name="T102" fmla="*/ 60 w 288"/>
                <a:gd name="T103" fmla="*/ 82 h 270"/>
                <a:gd name="T104" fmla="*/ 73 w 288"/>
                <a:gd name="T105" fmla="*/ 6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8" h="270">
                  <a:moveTo>
                    <a:pt x="81" y="66"/>
                  </a:moveTo>
                  <a:cubicBezTo>
                    <a:pt x="80" y="61"/>
                    <a:pt x="80" y="61"/>
                    <a:pt x="80" y="61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76" y="56"/>
                    <a:pt x="76" y="56"/>
                    <a:pt x="76" y="56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2" y="36"/>
                    <a:pt x="75" y="34"/>
                  </a:cubicBezTo>
                  <a:cubicBezTo>
                    <a:pt x="79" y="33"/>
                    <a:pt x="81" y="33"/>
                    <a:pt x="81" y="33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4" y="24"/>
                    <a:pt x="88" y="24"/>
                  </a:cubicBezTo>
                  <a:cubicBezTo>
                    <a:pt x="92" y="24"/>
                    <a:pt x="93" y="24"/>
                    <a:pt x="93" y="24"/>
                  </a:cubicBezTo>
                  <a:cubicBezTo>
                    <a:pt x="101" y="24"/>
                    <a:pt x="101" y="24"/>
                    <a:pt x="101" y="24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7" y="4"/>
                    <a:pt x="107" y="4"/>
                    <a:pt x="107" y="4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2" y="1"/>
                    <a:pt x="115" y="4"/>
                    <a:pt x="116" y="4"/>
                  </a:cubicBezTo>
                  <a:cubicBezTo>
                    <a:pt x="117" y="4"/>
                    <a:pt x="118" y="5"/>
                    <a:pt x="119" y="4"/>
                  </a:cubicBezTo>
                  <a:cubicBezTo>
                    <a:pt x="120" y="4"/>
                    <a:pt x="121" y="2"/>
                    <a:pt x="121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31" y="5"/>
                    <a:pt x="131" y="5"/>
                    <a:pt x="131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7" y="3"/>
                    <a:pt x="137" y="3"/>
                    <a:pt x="137" y="3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52" y="1"/>
                    <a:pt x="152" y="1"/>
                    <a:pt x="152" y="1"/>
                  </a:cubicBezTo>
                  <a:cubicBezTo>
                    <a:pt x="153" y="7"/>
                    <a:pt x="153" y="7"/>
                    <a:pt x="153" y="7"/>
                  </a:cubicBezTo>
                  <a:cubicBezTo>
                    <a:pt x="153" y="10"/>
                    <a:pt x="153" y="10"/>
                    <a:pt x="153" y="10"/>
                  </a:cubicBezTo>
                  <a:cubicBezTo>
                    <a:pt x="153" y="10"/>
                    <a:pt x="155" y="13"/>
                    <a:pt x="157" y="12"/>
                  </a:cubicBezTo>
                  <a:cubicBezTo>
                    <a:pt x="158" y="12"/>
                    <a:pt x="162" y="11"/>
                    <a:pt x="163" y="9"/>
                  </a:cubicBezTo>
                  <a:cubicBezTo>
                    <a:pt x="163" y="7"/>
                    <a:pt x="164" y="5"/>
                    <a:pt x="166" y="4"/>
                  </a:cubicBezTo>
                  <a:cubicBezTo>
                    <a:pt x="168" y="4"/>
                    <a:pt x="167" y="3"/>
                    <a:pt x="170" y="2"/>
                  </a:cubicBezTo>
                  <a:cubicBezTo>
                    <a:pt x="174" y="1"/>
                    <a:pt x="177" y="0"/>
                    <a:pt x="177" y="0"/>
                  </a:cubicBezTo>
                  <a:cubicBezTo>
                    <a:pt x="186" y="2"/>
                    <a:pt x="186" y="2"/>
                    <a:pt x="186" y="2"/>
                  </a:cubicBezTo>
                  <a:cubicBezTo>
                    <a:pt x="189" y="5"/>
                    <a:pt x="189" y="5"/>
                    <a:pt x="189" y="5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5" y="6"/>
                    <a:pt x="195" y="6"/>
                    <a:pt x="195" y="6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200" y="6"/>
                    <a:pt x="200" y="6"/>
                    <a:pt x="200" y="6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28"/>
                    <a:pt x="208" y="28"/>
                    <a:pt x="208" y="28"/>
                  </a:cubicBezTo>
                  <a:cubicBezTo>
                    <a:pt x="211" y="31"/>
                    <a:pt x="211" y="31"/>
                    <a:pt x="211" y="31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210" y="39"/>
                    <a:pt x="210" y="39"/>
                    <a:pt x="210" y="39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14" y="49"/>
                    <a:pt x="214" y="49"/>
                    <a:pt x="214" y="49"/>
                  </a:cubicBezTo>
                  <a:cubicBezTo>
                    <a:pt x="218" y="53"/>
                    <a:pt x="218" y="53"/>
                    <a:pt x="218" y="53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22" y="58"/>
                    <a:pt x="222" y="58"/>
                    <a:pt x="222" y="58"/>
                  </a:cubicBezTo>
                  <a:cubicBezTo>
                    <a:pt x="222" y="58"/>
                    <a:pt x="220" y="61"/>
                    <a:pt x="223" y="61"/>
                  </a:cubicBezTo>
                  <a:cubicBezTo>
                    <a:pt x="226" y="62"/>
                    <a:pt x="227" y="62"/>
                    <a:pt x="227" y="62"/>
                  </a:cubicBezTo>
                  <a:cubicBezTo>
                    <a:pt x="228" y="65"/>
                    <a:pt x="228" y="65"/>
                    <a:pt x="228" y="65"/>
                  </a:cubicBezTo>
                  <a:cubicBezTo>
                    <a:pt x="233" y="72"/>
                    <a:pt x="233" y="72"/>
                    <a:pt x="233" y="72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9" y="76"/>
                    <a:pt x="249" y="76"/>
                    <a:pt x="249" y="76"/>
                  </a:cubicBezTo>
                  <a:cubicBezTo>
                    <a:pt x="251" y="80"/>
                    <a:pt x="251" y="80"/>
                    <a:pt x="251" y="80"/>
                  </a:cubicBezTo>
                  <a:cubicBezTo>
                    <a:pt x="252" y="89"/>
                    <a:pt x="252" y="89"/>
                    <a:pt x="252" y="89"/>
                  </a:cubicBezTo>
                  <a:cubicBezTo>
                    <a:pt x="257" y="89"/>
                    <a:pt x="257" y="89"/>
                    <a:pt x="257" y="89"/>
                  </a:cubicBezTo>
                  <a:cubicBezTo>
                    <a:pt x="260" y="86"/>
                    <a:pt x="260" y="86"/>
                    <a:pt x="260" y="86"/>
                  </a:cubicBezTo>
                  <a:cubicBezTo>
                    <a:pt x="263" y="85"/>
                    <a:pt x="263" y="85"/>
                    <a:pt x="263" y="85"/>
                  </a:cubicBezTo>
                  <a:cubicBezTo>
                    <a:pt x="267" y="86"/>
                    <a:pt x="267" y="86"/>
                    <a:pt x="267" y="86"/>
                  </a:cubicBezTo>
                  <a:cubicBezTo>
                    <a:pt x="272" y="87"/>
                    <a:pt x="272" y="87"/>
                    <a:pt x="272" y="87"/>
                  </a:cubicBezTo>
                  <a:cubicBezTo>
                    <a:pt x="277" y="87"/>
                    <a:pt x="277" y="87"/>
                    <a:pt x="277" y="87"/>
                  </a:cubicBezTo>
                  <a:cubicBezTo>
                    <a:pt x="275" y="92"/>
                    <a:pt x="275" y="92"/>
                    <a:pt x="275" y="92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8" y="98"/>
                    <a:pt x="288" y="98"/>
                    <a:pt x="288" y="98"/>
                  </a:cubicBezTo>
                  <a:cubicBezTo>
                    <a:pt x="288" y="104"/>
                    <a:pt x="288" y="104"/>
                    <a:pt x="288" y="104"/>
                  </a:cubicBezTo>
                  <a:cubicBezTo>
                    <a:pt x="286" y="107"/>
                    <a:pt x="286" y="107"/>
                    <a:pt x="286" y="107"/>
                  </a:cubicBezTo>
                  <a:cubicBezTo>
                    <a:pt x="282" y="108"/>
                    <a:pt x="282" y="108"/>
                    <a:pt x="282" y="108"/>
                  </a:cubicBezTo>
                  <a:cubicBezTo>
                    <a:pt x="282" y="108"/>
                    <a:pt x="284" y="113"/>
                    <a:pt x="282" y="114"/>
                  </a:cubicBezTo>
                  <a:cubicBezTo>
                    <a:pt x="281" y="115"/>
                    <a:pt x="274" y="121"/>
                    <a:pt x="274" y="121"/>
                  </a:cubicBezTo>
                  <a:cubicBezTo>
                    <a:pt x="267" y="123"/>
                    <a:pt x="267" y="123"/>
                    <a:pt x="267" y="123"/>
                  </a:cubicBezTo>
                  <a:cubicBezTo>
                    <a:pt x="261" y="121"/>
                    <a:pt x="261" y="121"/>
                    <a:pt x="261" y="121"/>
                  </a:cubicBezTo>
                  <a:cubicBezTo>
                    <a:pt x="261" y="121"/>
                    <a:pt x="260" y="120"/>
                    <a:pt x="256" y="121"/>
                  </a:cubicBezTo>
                  <a:cubicBezTo>
                    <a:pt x="252" y="123"/>
                    <a:pt x="252" y="124"/>
                    <a:pt x="252" y="124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34"/>
                    <a:pt x="250" y="134"/>
                    <a:pt x="250" y="134"/>
                  </a:cubicBezTo>
                  <a:cubicBezTo>
                    <a:pt x="254" y="137"/>
                    <a:pt x="254" y="137"/>
                    <a:pt x="254" y="137"/>
                  </a:cubicBezTo>
                  <a:cubicBezTo>
                    <a:pt x="259" y="138"/>
                    <a:pt x="259" y="138"/>
                    <a:pt x="259" y="138"/>
                  </a:cubicBezTo>
                  <a:cubicBezTo>
                    <a:pt x="262" y="142"/>
                    <a:pt x="262" y="142"/>
                    <a:pt x="262" y="142"/>
                  </a:cubicBezTo>
                  <a:cubicBezTo>
                    <a:pt x="264" y="145"/>
                    <a:pt x="264" y="145"/>
                    <a:pt x="264" y="145"/>
                  </a:cubicBezTo>
                  <a:cubicBezTo>
                    <a:pt x="262" y="149"/>
                    <a:pt x="262" y="149"/>
                    <a:pt x="262" y="149"/>
                  </a:cubicBezTo>
                  <a:cubicBezTo>
                    <a:pt x="264" y="151"/>
                    <a:pt x="264" y="151"/>
                    <a:pt x="264" y="151"/>
                  </a:cubicBezTo>
                  <a:cubicBezTo>
                    <a:pt x="268" y="153"/>
                    <a:pt x="268" y="153"/>
                    <a:pt x="268" y="153"/>
                  </a:cubicBezTo>
                  <a:cubicBezTo>
                    <a:pt x="266" y="155"/>
                    <a:pt x="266" y="155"/>
                    <a:pt x="266" y="155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1" y="164"/>
                    <a:pt x="271" y="164"/>
                    <a:pt x="271" y="164"/>
                  </a:cubicBezTo>
                  <a:cubicBezTo>
                    <a:pt x="269" y="166"/>
                    <a:pt x="269" y="166"/>
                    <a:pt x="269" y="166"/>
                  </a:cubicBezTo>
                  <a:cubicBezTo>
                    <a:pt x="272" y="167"/>
                    <a:pt x="272" y="167"/>
                    <a:pt x="272" y="167"/>
                  </a:cubicBezTo>
                  <a:cubicBezTo>
                    <a:pt x="276" y="167"/>
                    <a:pt x="276" y="167"/>
                    <a:pt x="276" y="167"/>
                  </a:cubicBezTo>
                  <a:cubicBezTo>
                    <a:pt x="276" y="170"/>
                    <a:pt x="276" y="170"/>
                    <a:pt x="276" y="170"/>
                  </a:cubicBezTo>
                  <a:cubicBezTo>
                    <a:pt x="283" y="174"/>
                    <a:pt x="283" y="174"/>
                    <a:pt x="283" y="174"/>
                  </a:cubicBezTo>
                  <a:cubicBezTo>
                    <a:pt x="281" y="174"/>
                    <a:pt x="281" y="174"/>
                    <a:pt x="281" y="174"/>
                  </a:cubicBezTo>
                  <a:cubicBezTo>
                    <a:pt x="273" y="176"/>
                    <a:pt x="273" y="176"/>
                    <a:pt x="273" y="176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57" y="182"/>
                    <a:pt x="257" y="182"/>
                    <a:pt x="257" y="182"/>
                  </a:cubicBezTo>
                  <a:cubicBezTo>
                    <a:pt x="255" y="194"/>
                    <a:pt x="255" y="194"/>
                    <a:pt x="255" y="194"/>
                  </a:cubicBezTo>
                  <a:cubicBezTo>
                    <a:pt x="252" y="202"/>
                    <a:pt x="252" y="202"/>
                    <a:pt x="252" y="202"/>
                  </a:cubicBezTo>
                  <a:cubicBezTo>
                    <a:pt x="249" y="211"/>
                    <a:pt x="249" y="211"/>
                    <a:pt x="249" y="211"/>
                  </a:cubicBezTo>
                  <a:cubicBezTo>
                    <a:pt x="251" y="216"/>
                    <a:pt x="251" y="216"/>
                    <a:pt x="251" y="216"/>
                  </a:cubicBezTo>
                  <a:cubicBezTo>
                    <a:pt x="254" y="223"/>
                    <a:pt x="254" y="223"/>
                    <a:pt x="254" y="223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60" y="230"/>
                    <a:pt x="260" y="230"/>
                    <a:pt x="260" y="230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46" y="227"/>
                    <a:pt x="246" y="227"/>
                    <a:pt x="246" y="227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33" y="228"/>
                    <a:pt x="233" y="228"/>
                    <a:pt x="233" y="228"/>
                  </a:cubicBezTo>
                  <a:cubicBezTo>
                    <a:pt x="226" y="230"/>
                    <a:pt x="226" y="230"/>
                    <a:pt x="226" y="230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222" y="234"/>
                    <a:pt x="222" y="234"/>
                    <a:pt x="222" y="234"/>
                  </a:cubicBezTo>
                  <a:cubicBezTo>
                    <a:pt x="216" y="237"/>
                    <a:pt x="216" y="237"/>
                    <a:pt x="216" y="237"/>
                  </a:cubicBezTo>
                  <a:cubicBezTo>
                    <a:pt x="216" y="237"/>
                    <a:pt x="214" y="235"/>
                    <a:pt x="213" y="234"/>
                  </a:cubicBezTo>
                  <a:cubicBezTo>
                    <a:pt x="212" y="233"/>
                    <a:pt x="209" y="231"/>
                    <a:pt x="209" y="231"/>
                  </a:cubicBezTo>
                  <a:cubicBezTo>
                    <a:pt x="209" y="231"/>
                    <a:pt x="208" y="229"/>
                    <a:pt x="207" y="228"/>
                  </a:cubicBezTo>
                  <a:cubicBezTo>
                    <a:pt x="206" y="228"/>
                    <a:pt x="200" y="232"/>
                    <a:pt x="200" y="232"/>
                  </a:cubicBezTo>
                  <a:cubicBezTo>
                    <a:pt x="200" y="232"/>
                    <a:pt x="195" y="235"/>
                    <a:pt x="195" y="236"/>
                  </a:cubicBezTo>
                  <a:cubicBezTo>
                    <a:pt x="196" y="236"/>
                    <a:pt x="195" y="241"/>
                    <a:pt x="195" y="241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79" y="236"/>
                    <a:pt x="179" y="236"/>
                    <a:pt x="179" y="236"/>
                  </a:cubicBezTo>
                  <a:cubicBezTo>
                    <a:pt x="177" y="235"/>
                    <a:pt x="177" y="235"/>
                    <a:pt x="177" y="235"/>
                  </a:cubicBezTo>
                  <a:cubicBezTo>
                    <a:pt x="171" y="242"/>
                    <a:pt x="171" y="242"/>
                    <a:pt x="171" y="242"/>
                  </a:cubicBezTo>
                  <a:cubicBezTo>
                    <a:pt x="167" y="240"/>
                    <a:pt x="167" y="240"/>
                    <a:pt x="167" y="240"/>
                  </a:cubicBezTo>
                  <a:cubicBezTo>
                    <a:pt x="165" y="247"/>
                    <a:pt x="165" y="247"/>
                    <a:pt x="165" y="247"/>
                  </a:cubicBezTo>
                  <a:cubicBezTo>
                    <a:pt x="160" y="243"/>
                    <a:pt x="160" y="243"/>
                    <a:pt x="160" y="243"/>
                  </a:cubicBezTo>
                  <a:cubicBezTo>
                    <a:pt x="160" y="243"/>
                    <a:pt x="155" y="242"/>
                    <a:pt x="154" y="242"/>
                  </a:cubicBezTo>
                  <a:cubicBezTo>
                    <a:pt x="153" y="242"/>
                    <a:pt x="150" y="246"/>
                    <a:pt x="150" y="246"/>
                  </a:cubicBezTo>
                  <a:cubicBezTo>
                    <a:pt x="145" y="242"/>
                    <a:pt x="145" y="242"/>
                    <a:pt x="145" y="242"/>
                  </a:cubicBezTo>
                  <a:cubicBezTo>
                    <a:pt x="141" y="239"/>
                    <a:pt x="141" y="239"/>
                    <a:pt x="141" y="239"/>
                  </a:cubicBezTo>
                  <a:cubicBezTo>
                    <a:pt x="141" y="239"/>
                    <a:pt x="130" y="240"/>
                    <a:pt x="129" y="240"/>
                  </a:cubicBezTo>
                  <a:cubicBezTo>
                    <a:pt x="128" y="240"/>
                    <a:pt x="121" y="239"/>
                    <a:pt x="121" y="239"/>
                  </a:cubicBezTo>
                  <a:cubicBezTo>
                    <a:pt x="112" y="241"/>
                    <a:pt x="112" y="241"/>
                    <a:pt x="112" y="241"/>
                  </a:cubicBezTo>
                  <a:cubicBezTo>
                    <a:pt x="99" y="241"/>
                    <a:pt x="99" y="241"/>
                    <a:pt x="99" y="241"/>
                  </a:cubicBezTo>
                  <a:cubicBezTo>
                    <a:pt x="87" y="242"/>
                    <a:pt x="87" y="242"/>
                    <a:pt x="87" y="242"/>
                  </a:cubicBezTo>
                  <a:cubicBezTo>
                    <a:pt x="78" y="242"/>
                    <a:pt x="78" y="242"/>
                    <a:pt x="78" y="242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5" y="249"/>
                    <a:pt x="55" y="249"/>
                    <a:pt x="55" y="249"/>
                  </a:cubicBezTo>
                  <a:cubicBezTo>
                    <a:pt x="54" y="250"/>
                    <a:pt x="54" y="250"/>
                    <a:pt x="54" y="250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49" y="255"/>
                    <a:pt x="49" y="255"/>
                    <a:pt x="49" y="255"/>
                  </a:cubicBezTo>
                  <a:cubicBezTo>
                    <a:pt x="48" y="260"/>
                    <a:pt x="48" y="260"/>
                    <a:pt x="48" y="260"/>
                  </a:cubicBezTo>
                  <a:cubicBezTo>
                    <a:pt x="47" y="262"/>
                    <a:pt x="45" y="264"/>
                    <a:pt x="44" y="266"/>
                  </a:cubicBezTo>
                  <a:cubicBezTo>
                    <a:pt x="44" y="266"/>
                    <a:pt x="44" y="266"/>
                    <a:pt x="44" y="266"/>
                  </a:cubicBezTo>
                  <a:cubicBezTo>
                    <a:pt x="44" y="266"/>
                    <a:pt x="41" y="265"/>
                    <a:pt x="41" y="267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38" y="269"/>
                    <a:pt x="33" y="267"/>
                    <a:pt x="33" y="267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69"/>
                    <a:pt x="25" y="265"/>
                    <a:pt x="25" y="265"/>
                  </a:cubicBezTo>
                  <a:cubicBezTo>
                    <a:pt x="25" y="265"/>
                    <a:pt x="26" y="258"/>
                    <a:pt x="26" y="258"/>
                  </a:cubicBezTo>
                  <a:cubicBezTo>
                    <a:pt x="26" y="257"/>
                    <a:pt x="25" y="249"/>
                    <a:pt x="25" y="249"/>
                  </a:cubicBezTo>
                  <a:cubicBezTo>
                    <a:pt x="25" y="245"/>
                    <a:pt x="25" y="245"/>
                    <a:pt x="25" y="245"/>
                  </a:cubicBezTo>
                  <a:cubicBezTo>
                    <a:pt x="19" y="241"/>
                    <a:pt x="19" y="241"/>
                    <a:pt x="19" y="241"/>
                  </a:cubicBezTo>
                  <a:cubicBezTo>
                    <a:pt x="19" y="241"/>
                    <a:pt x="12" y="240"/>
                    <a:pt x="10" y="240"/>
                  </a:cubicBezTo>
                  <a:cubicBezTo>
                    <a:pt x="9" y="240"/>
                    <a:pt x="8" y="237"/>
                    <a:pt x="8" y="237"/>
                  </a:cubicBezTo>
                  <a:cubicBezTo>
                    <a:pt x="9" y="234"/>
                    <a:pt x="9" y="234"/>
                    <a:pt x="9" y="234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17" y="218"/>
                    <a:pt x="17" y="218"/>
                    <a:pt x="17" y="218"/>
                  </a:cubicBezTo>
                  <a:cubicBezTo>
                    <a:pt x="21" y="216"/>
                    <a:pt x="21" y="216"/>
                    <a:pt x="21" y="216"/>
                  </a:cubicBezTo>
                  <a:cubicBezTo>
                    <a:pt x="21" y="216"/>
                    <a:pt x="25" y="210"/>
                    <a:pt x="26" y="209"/>
                  </a:cubicBezTo>
                  <a:cubicBezTo>
                    <a:pt x="27" y="209"/>
                    <a:pt x="26" y="204"/>
                    <a:pt x="25" y="204"/>
                  </a:cubicBezTo>
                  <a:cubicBezTo>
                    <a:pt x="25" y="203"/>
                    <a:pt x="25" y="200"/>
                    <a:pt x="25" y="199"/>
                  </a:cubicBezTo>
                  <a:cubicBezTo>
                    <a:pt x="25" y="197"/>
                    <a:pt x="22" y="194"/>
                    <a:pt x="22" y="194"/>
                  </a:cubicBezTo>
                  <a:cubicBezTo>
                    <a:pt x="21" y="186"/>
                    <a:pt x="21" y="186"/>
                    <a:pt x="21" y="186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9" y="183"/>
                    <a:pt x="19" y="183"/>
                    <a:pt x="19" y="183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4"/>
                    <a:pt x="2" y="154"/>
                    <a:pt x="1" y="15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2" y="141"/>
                    <a:pt x="32" y="141"/>
                    <a:pt x="32" y="141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40" y="126"/>
                    <a:pt x="41" y="127"/>
                  </a:cubicBezTo>
                  <a:cubicBezTo>
                    <a:pt x="43" y="127"/>
                    <a:pt x="47" y="127"/>
                    <a:pt x="47" y="127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6" y="119"/>
                    <a:pt x="56" y="119"/>
                    <a:pt x="56" y="119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61" y="118"/>
                    <a:pt x="61" y="118"/>
                    <a:pt x="61" y="118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5" y="121"/>
                    <a:pt x="65" y="121"/>
                    <a:pt x="65" y="121"/>
                  </a:cubicBezTo>
                  <a:cubicBezTo>
                    <a:pt x="67" y="115"/>
                    <a:pt x="67" y="115"/>
                    <a:pt x="67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0" y="112"/>
                    <a:pt x="58" y="113"/>
                    <a:pt x="58" y="111"/>
                  </a:cubicBezTo>
                  <a:cubicBezTo>
                    <a:pt x="59" y="108"/>
                    <a:pt x="61" y="103"/>
                    <a:pt x="61" y="103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73" y="65"/>
                    <a:pt x="73" y="65"/>
                    <a:pt x="73" y="65"/>
                  </a:cubicBezTo>
                  <a:lnTo>
                    <a:pt x="81" y="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49" name="Freeform 17"/>
            <p:cNvSpPr>
              <a:spLocks/>
            </p:cNvSpPr>
            <p:nvPr/>
          </p:nvSpPr>
          <p:spPr bwMode="auto">
            <a:xfrm>
              <a:off x="5773624" y="4436519"/>
              <a:ext cx="368972" cy="350986"/>
            </a:xfrm>
            <a:custGeom>
              <a:avLst/>
              <a:gdLst>
                <a:gd name="T0" fmla="*/ 110 w 155"/>
                <a:gd name="T1" fmla="*/ 145 h 152"/>
                <a:gd name="T2" fmla="*/ 107 w 155"/>
                <a:gd name="T3" fmla="*/ 137 h 152"/>
                <a:gd name="T4" fmla="*/ 112 w 155"/>
                <a:gd name="T5" fmla="*/ 127 h 152"/>
                <a:gd name="T6" fmla="*/ 117 w 155"/>
                <a:gd name="T7" fmla="*/ 116 h 152"/>
                <a:gd name="T8" fmla="*/ 115 w 155"/>
                <a:gd name="T9" fmla="*/ 104 h 152"/>
                <a:gd name="T10" fmla="*/ 114 w 155"/>
                <a:gd name="T11" fmla="*/ 88 h 152"/>
                <a:gd name="T12" fmla="*/ 123 w 155"/>
                <a:gd name="T13" fmla="*/ 92 h 152"/>
                <a:gd name="T14" fmla="*/ 128 w 155"/>
                <a:gd name="T15" fmla="*/ 90 h 152"/>
                <a:gd name="T16" fmla="*/ 136 w 155"/>
                <a:gd name="T17" fmla="*/ 90 h 152"/>
                <a:gd name="T18" fmla="*/ 143 w 155"/>
                <a:gd name="T19" fmla="*/ 86 h 152"/>
                <a:gd name="T20" fmla="*/ 155 w 155"/>
                <a:gd name="T21" fmla="*/ 83 h 152"/>
                <a:gd name="T22" fmla="*/ 143 w 155"/>
                <a:gd name="T23" fmla="*/ 77 h 152"/>
                <a:gd name="T24" fmla="*/ 141 w 155"/>
                <a:gd name="T25" fmla="*/ 63 h 152"/>
                <a:gd name="T26" fmla="*/ 131 w 155"/>
                <a:gd name="T27" fmla="*/ 62 h 152"/>
                <a:gd name="T28" fmla="*/ 125 w 155"/>
                <a:gd name="T29" fmla="*/ 54 h 152"/>
                <a:gd name="T30" fmla="*/ 122 w 155"/>
                <a:gd name="T31" fmla="*/ 48 h 152"/>
                <a:gd name="T32" fmla="*/ 116 w 155"/>
                <a:gd name="T33" fmla="*/ 44 h 152"/>
                <a:gd name="T34" fmla="*/ 108 w 155"/>
                <a:gd name="T35" fmla="*/ 38 h 152"/>
                <a:gd name="T36" fmla="*/ 103 w 155"/>
                <a:gd name="T37" fmla="*/ 32 h 152"/>
                <a:gd name="T38" fmla="*/ 100 w 155"/>
                <a:gd name="T39" fmla="*/ 21 h 152"/>
                <a:gd name="T40" fmla="*/ 94 w 155"/>
                <a:gd name="T41" fmla="*/ 12 h 152"/>
                <a:gd name="T42" fmla="*/ 83 w 155"/>
                <a:gd name="T43" fmla="*/ 12 h 152"/>
                <a:gd name="T44" fmla="*/ 70 w 155"/>
                <a:gd name="T45" fmla="*/ 11 h 152"/>
                <a:gd name="T46" fmla="*/ 66 w 155"/>
                <a:gd name="T47" fmla="*/ 9 h 152"/>
                <a:gd name="T48" fmla="*/ 65 w 155"/>
                <a:gd name="T49" fmla="*/ 9 h 152"/>
                <a:gd name="T50" fmla="*/ 59 w 155"/>
                <a:gd name="T51" fmla="*/ 10 h 152"/>
                <a:gd name="T52" fmla="*/ 54 w 155"/>
                <a:gd name="T53" fmla="*/ 7 h 152"/>
                <a:gd name="T54" fmla="*/ 44 w 155"/>
                <a:gd name="T55" fmla="*/ 3 h 152"/>
                <a:gd name="T56" fmla="*/ 34 w 155"/>
                <a:gd name="T57" fmla="*/ 2 h 152"/>
                <a:gd name="T58" fmla="*/ 28 w 155"/>
                <a:gd name="T59" fmla="*/ 7 h 152"/>
                <a:gd name="T60" fmla="*/ 24 w 155"/>
                <a:gd name="T61" fmla="*/ 10 h 152"/>
                <a:gd name="T62" fmla="*/ 16 w 155"/>
                <a:gd name="T63" fmla="*/ 12 h 152"/>
                <a:gd name="T64" fmla="*/ 9 w 155"/>
                <a:gd name="T65" fmla="*/ 14 h 152"/>
                <a:gd name="T66" fmla="*/ 8 w 155"/>
                <a:gd name="T67" fmla="*/ 19 h 152"/>
                <a:gd name="T68" fmla="*/ 0 w 155"/>
                <a:gd name="T69" fmla="*/ 22 h 152"/>
                <a:gd name="T70" fmla="*/ 10 w 155"/>
                <a:gd name="T71" fmla="*/ 22 h 152"/>
                <a:gd name="T72" fmla="*/ 16 w 155"/>
                <a:gd name="T73" fmla="*/ 24 h 152"/>
                <a:gd name="T74" fmla="*/ 20 w 155"/>
                <a:gd name="T75" fmla="*/ 27 h 152"/>
                <a:gd name="T76" fmla="*/ 26 w 155"/>
                <a:gd name="T77" fmla="*/ 33 h 152"/>
                <a:gd name="T78" fmla="*/ 29 w 155"/>
                <a:gd name="T79" fmla="*/ 37 h 152"/>
                <a:gd name="T80" fmla="*/ 32 w 155"/>
                <a:gd name="T81" fmla="*/ 42 h 152"/>
                <a:gd name="T82" fmla="*/ 38 w 155"/>
                <a:gd name="T83" fmla="*/ 49 h 152"/>
                <a:gd name="T84" fmla="*/ 44 w 155"/>
                <a:gd name="T85" fmla="*/ 54 h 152"/>
                <a:gd name="T86" fmla="*/ 50 w 155"/>
                <a:gd name="T87" fmla="*/ 61 h 152"/>
                <a:gd name="T88" fmla="*/ 63 w 155"/>
                <a:gd name="T89" fmla="*/ 71 h 152"/>
                <a:gd name="T90" fmla="*/ 76 w 155"/>
                <a:gd name="T91" fmla="*/ 82 h 152"/>
                <a:gd name="T92" fmla="*/ 83 w 155"/>
                <a:gd name="T93" fmla="*/ 94 h 152"/>
                <a:gd name="T94" fmla="*/ 86 w 155"/>
                <a:gd name="T95" fmla="*/ 104 h 152"/>
                <a:gd name="T96" fmla="*/ 85 w 155"/>
                <a:gd name="T97" fmla="*/ 112 h 152"/>
                <a:gd name="T98" fmla="*/ 86 w 155"/>
                <a:gd name="T99" fmla="*/ 122 h 152"/>
                <a:gd name="T100" fmla="*/ 91 w 155"/>
                <a:gd name="T101" fmla="*/ 135 h 152"/>
                <a:gd name="T102" fmla="*/ 94 w 155"/>
                <a:gd name="T103" fmla="*/ 144 h 152"/>
                <a:gd name="T104" fmla="*/ 97 w 155"/>
                <a:gd name="T105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5" h="152">
                  <a:moveTo>
                    <a:pt x="99" y="152"/>
                  </a:moveTo>
                  <a:cubicBezTo>
                    <a:pt x="100" y="148"/>
                    <a:pt x="100" y="148"/>
                    <a:pt x="100" y="148"/>
                  </a:cubicBezTo>
                  <a:cubicBezTo>
                    <a:pt x="100" y="148"/>
                    <a:pt x="103" y="147"/>
                    <a:pt x="104" y="147"/>
                  </a:cubicBezTo>
                  <a:cubicBezTo>
                    <a:pt x="105" y="146"/>
                    <a:pt x="106" y="147"/>
                    <a:pt x="107" y="146"/>
                  </a:cubicBezTo>
                  <a:cubicBezTo>
                    <a:pt x="108" y="146"/>
                    <a:pt x="110" y="145"/>
                    <a:pt x="110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6" y="139"/>
                    <a:pt x="106" y="139"/>
                    <a:pt x="106" y="139"/>
                  </a:cubicBezTo>
                  <a:cubicBezTo>
                    <a:pt x="107" y="137"/>
                    <a:pt x="107" y="137"/>
                    <a:pt x="107" y="137"/>
                  </a:cubicBezTo>
                  <a:cubicBezTo>
                    <a:pt x="107" y="137"/>
                    <a:pt x="106" y="135"/>
                    <a:pt x="107" y="135"/>
                  </a:cubicBezTo>
                  <a:cubicBezTo>
                    <a:pt x="108" y="135"/>
                    <a:pt x="108" y="132"/>
                    <a:pt x="108" y="132"/>
                  </a:cubicBezTo>
                  <a:cubicBezTo>
                    <a:pt x="109" y="130"/>
                    <a:pt x="109" y="130"/>
                    <a:pt x="109" y="130"/>
                  </a:cubicBezTo>
                  <a:cubicBezTo>
                    <a:pt x="111" y="130"/>
                    <a:pt x="111" y="130"/>
                    <a:pt x="111" y="130"/>
                  </a:cubicBezTo>
                  <a:cubicBezTo>
                    <a:pt x="111" y="130"/>
                    <a:pt x="111" y="128"/>
                    <a:pt x="112" y="127"/>
                  </a:cubicBezTo>
                  <a:cubicBezTo>
                    <a:pt x="112" y="127"/>
                    <a:pt x="113" y="126"/>
                    <a:pt x="113" y="126"/>
                  </a:cubicBezTo>
                  <a:cubicBezTo>
                    <a:pt x="112" y="123"/>
                    <a:pt x="112" y="123"/>
                    <a:pt x="112" y="123"/>
                  </a:cubicBezTo>
                  <a:cubicBezTo>
                    <a:pt x="112" y="123"/>
                    <a:pt x="110" y="120"/>
                    <a:pt x="111" y="120"/>
                  </a:cubicBezTo>
                  <a:cubicBezTo>
                    <a:pt x="112" y="120"/>
                    <a:pt x="113" y="119"/>
                    <a:pt x="113" y="119"/>
                  </a:cubicBezTo>
                  <a:cubicBezTo>
                    <a:pt x="113" y="119"/>
                    <a:pt x="116" y="116"/>
                    <a:pt x="117" y="116"/>
                  </a:cubicBezTo>
                  <a:cubicBezTo>
                    <a:pt x="117" y="116"/>
                    <a:pt x="119" y="114"/>
                    <a:pt x="119" y="113"/>
                  </a:cubicBezTo>
                  <a:cubicBezTo>
                    <a:pt x="118" y="112"/>
                    <a:pt x="117" y="111"/>
                    <a:pt x="117" y="111"/>
                  </a:cubicBezTo>
                  <a:cubicBezTo>
                    <a:pt x="118" y="107"/>
                    <a:pt x="118" y="107"/>
                    <a:pt x="118" y="107"/>
                  </a:cubicBezTo>
                  <a:cubicBezTo>
                    <a:pt x="118" y="107"/>
                    <a:pt x="119" y="105"/>
                    <a:pt x="118" y="105"/>
                  </a:cubicBezTo>
                  <a:cubicBezTo>
                    <a:pt x="117" y="104"/>
                    <a:pt x="115" y="104"/>
                    <a:pt x="115" y="104"/>
                  </a:cubicBezTo>
                  <a:cubicBezTo>
                    <a:pt x="113" y="102"/>
                    <a:pt x="113" y="102"/>
                    <a:pt x="113" y="102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2" y="93"/>
                    <a:pt x="114" y="89"/>
                    <a:pt x="114" y="88"/>
                  </a:cubicBezTo>
                  <a:cubicBezTo>
                    <a:pt x="115" y="88"/>
                    <a:pt x="119" y="84"/>
                    <a:pt x="119" y="84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93"/>
                    <a:pt x="121" y="93"/>
                    <a:pt x="121" y="93"/>
                  </a:cubicBezTo>
                  <a:cubicBezTo>
                    <a:pt x="121" y="93"/>
                    <a:pt x="120" y="95"/>
                    <a:pt x="121" y="95"/>
                  </a:cubicBezTo>
                  <a:cubicBezTo>
                    <a:pt x="123" y="94"/>
                    <a:pt x="123" y="92"/>
                    <a:pt x="123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2" y="88"/>
                    <a:pt x="123" y="88"/>
                  </a:cubicBezTo>
                  <a:cubicBezTo>
                    <a:pt x="124" y="88"/>
                    <a:pt x="124" y="86"/>
                    <a:pt x="124" y="88"/>
                  </a:cubicBezTo>
                  <a:cubicBezTo>
                    <a:pt x="125" y="89"/>
                    <a:pt x="125" y="91"/>
                    <a:pt x="126" y="90"/>
                  </a:cubicBezTo>
                  <a:cubicBezTo>
                    <a:pt x="128" y="90"/>
                    <a:pt x="128" y="91"/>
                    <a:pt x="128" y="90"/>
                  </a:cubicBezTo>
                  <a:cubicBezTo>
                    <a:pt x="129" y="89"/>
                    <a:pt x="129" y="88"/>
                    <a:pt x="129" y="88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30" y="87"/>
                    <a:pt x="130" y="89"/>
                    <a:pt x="131" y="89"/>
                  </a:cubicBezTo>
                  <a:cubicBezTo>
                    <a:pt x="132" y="89"/>
                    <a:pt x="134" y="89"/>
                    <a:pt x="134" y="8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0"/>
                    <a:pt x="137" y="90"/>
                    <a:pt x="137" y="89"/>
                  </a:cubicBezTo>
                  <a:cubicBezTo>
                    <a:pt x="137" y="88"/>
                    <a:pt x="137" y="87"/>
                    <a:pt x="137" y="87"/>
                  </a:cubicBezTo>
                  <a:cubicBezTo>
                    <a:pt x="139" y="86"/>
                    <a:pt x="139" y="86"/>
                    <a:pt x="139" y="86"/>
                  </a:cubicBezTo>
                  <a:cubicBezTo>
                    <a:pt x="139" y="83"/>
                    <a:pt x="139" y="83"/>
                    <a:pt x="139" y="83"/>
                  </a:cubicBezTo>
                  <a:cubicBezTo>
                    <a:pt x="143" y="86"/>
                    <a:pt x="143" y="86"/>
                    <a:pt x="143" y="86"/>
                  </a:cubicBezTo>
                  <a:cubicBezTo>
                    <a:pt x="144" y="89"/>
                    <a:pt x="144" y="89"/>
                    <a:pt x="144" y="89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47" y="85"/>
                    <a:pt x="147" y="85"/>
                    <a:pt x="147" y="85"/>
                  </a:cubicBezTo>
                  <a:cubicBezTo>
                    <a:pt x="147" y="85"/>
                    <a:pt x="150" y="85"/>
                    <a:pt x="151" y="84"/>
                  </a:cubicBezTo>
                  <a:cubicBezTo>
                    <a:pt x="152" y="84"/>
                    <a:pt x="155" y="83"/>
                    <a:pt x="155" y="83"/>
                  </a:cubicBezTo>
                  <a:cubicBezTo>
                    <a:pt x="155" y="82"/>
                    <a:pt x="153" y="81"/>
                    <a:pt x="152" y="82"/>
                  </a:cubicBezTo>
                  <a:cubicBezTo>
                    <a:pt x="151" y="82"/>
                    <a:pt x="149" y="83"/>
                    <a:pt x="148" y="82"/>
                  </a:cubicBezTo>
                  <a:cubicBezTo>
                    <a:pt x="148" y="81"/>
                    <a:pt x="146" y="79"/>
                    <a:pt x="146" y="79"/>
                  </a:cubicBezTo>
                  <a:cubicBezTo>
                    <a:pt x="144" y="79"/>
                    <a:pt x="144" y="79"/>
                    <a:pt x="144" y="79"/>
                  </a:cubicBezTo>
                  <a:cubicBezTo>
                    <a:pt x="144" y="79"/>
                    <a:pt x="142" y="78"/>
                    <a:pt x="143" y="77"/>
                  </a:cubicBezTo>
                  <a:cubicBezTo>
                    <a:pt x="144" y="76"/>
                    <a:pt x="145" y="76"/>
                    <a:pt x="145" y="76"/>
                  </a:cubicBezTo>
                  <a:cubicBezTo>
                    <a:pt x="145" y="76"/>
                    <a:pt x="144" y="74"/>
                    <a:pt x="144" y="73"/>
                  </a:cubicBezTo>
                  <a:cubicBezTo>
                    <a:pt x="144" y="72"/>
                    <a:pt x="144" y="70"/>
                    <a:pt x="143" y="69"/>
                  </a:cubicBezTo>
                  <a:cubicBezTo>
                    <a:pt x="143" y="69"/>
                    <a:pt x="141" y="65"/>
                    <a:pt x="141" y="65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7" y="62"/>
                    <a:pt x="135" y="62"/>
                    <a:pt x="135" y="63"/>
                  </a:cubicBezTo>
                  <a:cubicBezTo>
                    <a:pt x="134" y="63"/>
                    <a:pt x="133" y="62"/>
                    <a:pt x="133" y="62"/>
                  </a:cubicBezTo>
                  <a:cubicBezTo>
                    <a:pt x="131" y="62"/>
                    <a:pt x="131" y="62"/>
                    <a:pt x="131" y="62"/>
                  </a:cubicBezTo>
                  <a:cubicBezTo>
                    <a:pt x="131" y="62"/>
                    <a:pt x="131" y="62"/>
                    <a:pt x="129" y="62"/>
                  </a:cubicBezTo>
                  <a:cubicBezTo>
                    <a:pt x="128" y="62"/>
                    <a:pt x="126" y="61"/>
                    <a:pt x="125" y="61"/>
                  </a:cubicBezTo>
                  <a:cubicBezTo>
                    <a:pt x="125" y="60"/>
                    <a:pt x="125" y="59"/>
                    <a:pt x="125" y="59"/>
                  </a:cubicBezTo>
                  <a:cubicBezTo>
                    <a:pt x="126" y="58"/>
                    <a:pt x="126" y="57"/>
                    <a:pt x="126" y="57"/>
                  </a:cubicBezTo>
                  <a:cubicBezTo>
                    <a:pt x="126" y="57"/>
                    <a:pt x="126" y="54"/>
                    <a:pt x="125" y="54"/>
                  </a:cubicBezTo>
                  <a:cubicBezTo>
                    <a:pt x="124" y="54"/>
                    <a:pt x="122" y="54"/>
                    <a:pt x="122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2" y="50"/>
                    <a:pt x="122" y="48"/>
                    <a:pt x="122" y="48"/>
                  </a:cubicBezTo>
                  <a:cubicBezTo>
                    <a:pt x="122" y="47"/>
                    <a:pt x="121" y="46"/>
                    <a:pt x="121" y="46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4"/>
                    <a:pt x="116" y="44"/>
                    <a:pt x="116" y="44"/>
                  </a:cubicBezTo>
                  <a:cubicBezTo>
                    <a:pt x="114" y="45"/>
                    <a:pt x="114" y="45"/>
                    <a:pt x="114" y="45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41"/>
                    <a:pt x="104" y="39"/>
                  </a:cubicBezTo>
                  <a:cubicBezTo>
                    <a:pt x="103" y="38"/>
                    <a:pt x="103" y="35"/>
                    <a:pt x="103" y="35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29"/>
                    <a:pt x="103" y="29"/>
                    <a:pt x="103" y="29"/>
                  </a:cubicBezTo>
                  <a:cubicBezTo>
                    <a:pt x="103" y="29"/>
                    <a:pt x="102" y="27"/>
                    <a:pt x="102" y="27"/>
                  </a:cubicBezTo>
                  <a:cubicBezTo>
                    <a:pt x="102" y="26"/>
                    <a:pt x="101" y="24"/>
                    <a:pt x="101" y="24"/>
                  </a:cubicBezTo>
                  <a:cubicBezTo>
                    <a:pt x="102" y="22"/>
                    <a:pt x="102" y="22"/>
                    <a:pt x="102" y="22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7" y="16"/>
                    <a:pt x="97" y="15"/>
                    <a:pt x="96" y="14"/>
                  </a:cubicBezTo>
                  <a:cubicBezTo>
                    <a:pt x="96" y="14"/>
                    <a:pt x="94" y="12"/>
                    <a:pt x="94" y="12"/>
                  </a:cubicBezTo>
                  <a:cubicBezTo>
                    <a:pt x="94" y="12"/>
                    <a:pt x="93" y="12"/>
                    <a:pt x="93" y="13"/>
                  </a:cubicBezTo>
                  <a:cubicBezTo>
                    <a:pt x="92" y="14"/>
                    <a:pt x="92" y="16"/>
                    <a:pt x="91" y="16"/>
                  </a:cubicBezTo>
                  <a:cubicBezTo>
                    <a:pt x="91" y="16"/>
                    <a:pt x="92" y="16"/>
                    <a:pt x="89" y="16"/>
                  </a:cubicBezTo>
                  <a:cubicBezTo>
                    <a:pt x="87" y="15"/>
                    <a:pt x="87" y="15"/>
                    <a:pt x="86" y="14"/>
                  </a:cubicBezTo>
                  <a:cubicBezTo>
                    <a:pt x="85" y="14"/>
                    <a:pt x="83" y="12"/>
                    <a:pt x="83" y="12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8"/>
                    <a:pt x="83" y="9"/>
                    <a:pt x="79" y="9"/>
                  </a:cubicBezTo>
                  <a:cubicBezTo>
                    <a:pt x="75" y="9"/>
                    <a:pt x="71" y="9"/>
                    <a:pt x="71" y="9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1"/>
                    <a:pt x="69" y="13"/>
                    <a:pt x="69" y="14"/>
                  </a:cubicBezTo>
                  <a:cubicBezTo>
                    <a:pt x="69" y="14"/>
                    <a:pt x="70" y="15"/>
                    <a:pt x="69" y="14"/>
                  </a:cubicBezTo>
                  <a:cubicBezTo>
                    <a:pt x="69" y="13"/>
                    <a:pt x="68" y="13"/>
                    <a:pt x="68" y="12"/>
                  </a:cubicBezTo>
                  <a:cubicBezTo>
                    <a:pt x="68" y="12"/>
                    <a:pt x="68" y="11"/>
                    <a:pt x="68" y="11"/>
                  </a:cubicBezTo>
                  <a:cubicBezTo>
                    <a:pt x="68" y="10"/>
                    <a:pt x="66" y="9"/>
                    <a:pt x="66" y="9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1"/>
                    <a:pt x="66" y="12"/>
                    <a:pt x="64" y="12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2"/>
                    <a:pt x="64" y="11"/>
                    <a:pt x="64" y="11"/>
                  </a:cubicBezTo>
                  <a:cubicBezTo>
                    <a:pt x="64" y="11"/>
                    <a:pt x="65" y="9"/>
                    <a:pt x="65" y="9"/>
                  </a:cubicBezTo>
                  <a:cubicBezTo>
                    <a:pt x="65" y="9"/>
                    <a:pt x="65" y="7"/>
                    <a:pt x="64" y="7"/>
                  </a:cubicBezTo>
                  <a:cubicBezTo>
                    <a:pt x="64" y="7"/>
                    <a:pt x="62" y="7"/>
                    <a:pt x="61" y="7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1" y="9"/>
                    <a:pt x="60" y="9"/>
                  </a:cubicBezTo>
                  <a:cubicBezTo>
                    <a:pt x="60" y="9"/>
                    <a:pt x="59" y="9"/>
                    <a:pt x="59" y="10"/>
                  </a:cubicBezTo>
                  <a:cubicBezTo>
                    <a:pt x="58" y="10"/>
                    <a:pt x="58" y="8"/>
                    <a:pt x="58" y="8"/>
                  </a:cubicBezTo>
                  <a:cubicBezTo>
                    <a:pt x="58" y="8"/>
                    <a:pt x="57" y="7"/>
                    <a:pt x="57" y="7"/>
                  </a:cubicBezTo>
                  <a:cubicBezTo>
                    <a:pt x="57" y="8"/>
                    <a:pt x="56" y="10"/>
                    <a:pt x="56" y="10"/>
                  </a:cubicBezTo>
                  <a:cubicBezTo>
                    <a:pt x="55" y="10"/>
                    <a:pt x="55" y="10"/>
                    <a:pt x="55" y="9"/>
                  </a:cubicBezTo>
                  <a:cubicBezTo>
                    <a:pt x="54" y="9"/>
                    <a:pt x="54" y="7"/>
                    <a:pt x="54" y="7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0" y="6"/>
                    <a:pt x="49" y="6"/>
                  </a:cubicBezTo>
                  <a:cubicBezTo>
                    <a:pt x="49" y="6"/>
                    <a:pt x="47" y="6"/>
                    <a:pt x="47" y="5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4"/>
                    <a:pt x="45" y="4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2"/>
                    <a:pt x="42" y="2"/>
                    <a:pt x="40" y="2"/>
                  </a:cubicBezTo>
                  <a:cubicBezTo>
                    <a:pt x="38" y="2"/>
                    <a:pt x="38" y="4"/>
                    <a:pt x="37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1"/>
                    <a:pt x="33" y="0"/>
                    <a:pt x="33" y="1"/>
                  </a:cubicBezTo>
                  <a:cubicBezTo>
                    <a:pt x="33" y="3"/>
                    <a:pt x="33" y="2"/>
                    <a:pt x="32" y="3"/>
                  </a:cubicBezTo>
                  <a:cubicBezTo>
                    <a:pt x="32" y="4"/>
                    <a:pt x="30" y="5"/>
                    <a:pt x="30" y="5"/>
                  </a:cubicBezTo>
                  <a:cubicBezTo>
                    <a:pt x="30" y="5"/>
                    <a:pt x="29" y="5"/>
                    <a:pt x="29" y="6"/>
                  </a:cubicBezTo>
                  <a:cubicBezTo>
                    <a:pt x="29" y="6"/>
                    <a:pt x="28" y="7"/>
                    <a:pt x="28" y="7"/>
                  </a:cubicBezTo>
                  <a:cubicBezTo>
                    <a:pt x="28" y="7"/>
                    <a:pt x="28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5" y="6"/>
                    <a:pt x="25" y="7"/>
                  </a:cubicBezTo>
                  <a:cubicBezTo>
                    <a:pt x="25" y="7"/>
                    <a:pt x="25" y="8"/>
                    <a:pt x="25" y="9"/>
                  </a:cubicBezTo>
                  <a:cubicBezTo>
                    <a:pt x="25" y="9"/>
                    <a:pt x="24" y="10"/>
                    <a:pt x="24" y="10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2" y="11"/>
                    <a:pt x="21" y="11"/>
                  </a:cubicBezTo>
                  <a:cubicBezTo>
                    <a:pt x="20" y="11"/>
                    <a:pt x="18" y="11"/>
                    <a:pt x="18" y="11"/>
                  </a:cubicBezTo>
                  <a:cubicBezTo>
                    <a:pt x="17" y="11"/>
                    <a:pt x="16" y="11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4" y="15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9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5"/>
                    <a:pt x="9" y="16"/>
                  </a:cubicBezTo>
                  <a:cubicBezTo>
                    <a:pt x="9" y="16"/>
                    <a:pt x="9" y="17"/>
                    <a:pt x="9" y="18"/>
                  </a:cubicBezTo>
                  <a:cubicBezTo>
                    <a:pt x="9" y="18"/>
                    <a:pt x="8" y="19"/>
                    <a:pt x="8" y="19"/>
                  </a:cubicBezTo>
                  <a:cubicBezTo>
                    <a:pt x="7" y="19"/>
                    <a:pt x="6" y="18"/>
                    <a:pt x="6" y="18"/>
                  </a:cubicBezTo>
                  <a:cubicBezTo>
                    <a:pt x="6" y="18"/>
                    <a:pt x="6" y="17"/>
                    <a:pt x="5" y="17"/>
                  </a:cubicBezTo>
                  <a:cubicBezTo>
                    <a:pt x="5" y="18"/>
                    <a:pt x="2" y="19"/>
                    <a:pt x="2" y="1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2"/>
                  </a:cubicBezTo>
                  <a:cubicBezTo>
                    <a:pt x="10" y="22"/>
                    <a:pt x="12" y="23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6" y="24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1" y="28"/>
                    <a:pt x="22" y="29"/>
                  </a:cubicBezTo>
                  <a:cubicBezTo>
                    <a:pt x="22" y="29"/>
                    <a:pt x="23" y="30"/>
                    <a:pt x="23" y="30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4"/>
                    <a:pt x="26" y="35"/>
                    <a:pt x="27" y="35"/>
                  </a:cubicBezTo>
                  <a:cubicBezTo>
                    <a:pt x="27" y="35"/>
                    <a:pt x="27" y="35"/>
                    <a:pt x="28" y="35"/>
                  </a:cubicBezTo>
                  <a:cubicBezTo>
                    <a:pt x="28" y="35"/>
                    <a:pt x="28" y="35"/>
                    <a:pt x="28" y="36"/>
                  </a:cubicBezTo>
                  <a:cubicBezTo>
                    <a:pt x="28" y="36"/>
                    <a:pt x="28" y="36"/>
                    <a:pt x="29" y="37"/>
                  </a:cubicBezTo>
                  <a:cubicBezTo>
                    <a:pt x="29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9"/>
                  </a:cubicBezTo>
                  <a:cubicBezTo>
                    <a:pt x="30" y="40"/>
                    <a:pt x="31" y="41"/>
                    <a:pt x="31" y="41"/>
                  </a:cubicBezTo>
                  <a:cubicBezTo>
                    <a:pt x="31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3" y="42"/>
                    <a:pt x="33" y="43"/>
                  </a:cubicBezTo>
                  <a:cubicBezTo>
                    <a:pt x="33" y="44"/>
                    <a:pt x="32" y="45"/>
                    <a:pt x="33" y="45"/>
                  </a:cubicBezTo>
                  <a:cubicBezTo>
                    <a:pt x="33" y="45"/>
                    <a:pt x="34" y="47"/>
                    <a:pt x="35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1"/>
                  </a:cubicBezTo>
                  <a:cubicBezTo>
                    <a:pt x="41" y="51"/>
                    <a:pt x="43" y="53"/>
                    <a:pt x="43" y="53"/>
                  </a:cubicBezTo>
                  <a:cubicBezTo>
                    <a:pt x="43" y="53"/>
                    <a:pt x="44" y="54"/>
                    <a:pt x="44" y="54"/>
                  </a:cubicBezTo>
                  <a:cubicBezTo>
                    <a:pt x="44" y="54"/>
                    <a:pt x="45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6"/>
                    <a:pt x="48" y="56"/>
                    <a:pt x="48" y="57"/>
                  </a:cubicBezTo>
                  <a:cubicBezTo>
                    <a:pt x="48" y="58"/>
                    <a:pt x="49" y="58"/>
                    <a:pt x="49" y="59"/>
                  </a:cubicBezTo>
                  <a:cubicBezTo>
                    <a:pt x="49" y="59"/>
                    <a:pt x="50" y="61"/>
                    <a:pt x="50" y="61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8" y="67"/>
                    <a:pt x="58" y="67"/>
                  </a:cubicBezTo>
                  <a:cubicBezTo>
                    <a:pt x="59" y="68"/>
                    <a:pt x="60" y="68"/>
                    <a:pt x="60" y="68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8" y="73"/>
                    <a:pt x="69" y="73"/>
                  </a:cubicBezTo>
                  <a:cubicBezTo>
                    <a:pt x="69" y="73"/>
                    <a:pt x="71" y="74"/>
                    <a:pt x="72" y="74"/>
                  </a:cubicBezTo>
                  <a:cubicBezTo>
                    <a:pt x="72" y="75"/>
                    <a:pt x="73" y="78"/>
                    <a:pt x="73" y="78"/>
                  </a:cubicBezTo>
                  <a:cubicBezTo>
                    <a:pt x="74" y="78"/>
                    <a:pt x="76" y="80"/>
                    <a:pt x="76" y="82"/>
                  </a:cubicBezTo>
                  <a:cubicBezTo>
                    <a:pt x="77" y="83"/>
                    <a:pt x="77" y="83"/>
                    <a:pt x="77" y="85"/>
                  </a:cubicBezTo>
                  <a:cubicBezTo>
                    <a:pt x="78" y="86"/>
                    <a:pt x="80" y="88"/>
                    <a:pt x="80" y="88"/>
                  </a:cubicBezTo>
                  <a:cubicBezTo>
                    <a:pt x="80" y="88"/>
                    <a:pt x="80" y="88"/>
                    <a:pt x="81" y="90"/>
                  </a:cubicBezTo>
                  <a:cubicBezTo>
                    <a:pt x="82" y="91"/>
                    <a:pt x="83" y="92"/>
                    <a:pt x="83" y="93"/>
                  </a:cubicBezTo>
                  <a:cubicBezTo>
                    <a:pt x="83" y="93"/>
                    <a:pt x="83" y="93"/>
                    <a:pt x="83" y="94"/>
                  </a:cubicBezTo>
                  <a:cubicBezTo>
                    <a:pt x="83" y="94"/>
                    <a:pt x="83" y="95"/>
                    <a:pt x="83" y="95"/>
                  </a:cubicBezTo>
                  <a:cubicBezTo>
                    <a:pt x="83" y="95"/>
                    <a:pt x="84" y="97"/>
                    <a:pt x="84" y="98"/>
                  </a:cubicBezTo>
                  <a:cubicBezTo>
                    <a:pt x="84" y="98"/>
                    <a:pt x="85" y="100"/>
                    <a:pt x="85" y="100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6" y="104"/>
                    <a:pt x="86" y="104"/>
                    <a:pt x="86" y="104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6"/>
                    <a:pt x="84" y="107"/>
                    <a:pt x="85" y="107"/>
                  </a:cubicBezTo>
                  <a:cubicBezTo>
                    <a:pt x="86" y="107"/>
                    <a:pt x="87" y="108"/>
                    <a:pt x="86" y="109"/>
                  </a:cubicBezTo>
                  <a:cubicBezTo>
                    <a:pt x="86" y="109"/>
                    <a:pt x="85" y="111"/>
                    <a:pt x="85" y="111"/>
                  </a:cubicBezTo>
                  <a:cubicBezTo>
                    <a:pt x="85" y="112"/>
                    <a:pt x="85" y="112"/>
                    <a:pt x="85" y="112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4" y="114"/>
                    <a:pt x="86" y="115"/>
                    <a:pt x="86" y="115"/>
                  </a:cubicBezTo>
                  <a:cubicBezTo>
                    <a:pt x="86" y="116"/>
                    <a:pt x="87" y="117"/>
                    <a:pt x="86" y="118"/>
                  </a:cubicBezTo>
                  <a:cubicBezTo>
                    <a:pt x="86" y="118"/>
                    <a:pt x="86" y="120"/>
                    <a:pt x="86" y="120"/>
                  </a:cubicBezTo>
                  <a:cubicBezTo>
                    <a:pt x="86" y="120"/>
                    <a:pt x="86" y="122"/>
                    <a:pt x="86" y="122"/>
                  </a:cubicBezTo>
                  <a:cubicBezTo>
                    <a:pt x="86" y="122"/>
                    <a:pt x="88" y="123"/>
                    <a:pt x="87" y="124"/>
                  </a:cubicBezTo>
                  <a:cubicBezTo>
                    <a:pt x="87" y="124"/>
                    <a:pt x="87" y="125"/>
                    <a:pt x="87" y="126"/>
                  </a:cubicBezTo>
                  <a:cubicBezTo>
                    <a:pt x="88" y="128"/>
                    <a:pt x="90" y="131"/>
                    <a:pt x="90" y="131"/>
                  </a:cubicBezTo>
                  <a:cubicBezTo>
                    <a:pt x="90" y="131"/>
                    <a:pt x="91" y="133"/>
                    <a:pt x="91" y="133"/>
                  </a:cubicBezTo>
                  <a:cubicBezTo>
                    <a:pt x="91" y="134"/>
                    <a:pt x="90" y="134"/>
                    <a:pt x="91" y="135"/>
                  </a:cubicBezTo>
                  <a:cubicBezTo>
                    <a:pt x="91" y="135"/>
                    <a:pt x="90" y="136"/>
                    <a:pt x="91" y="136"/>
                  </a:cubicBezTo>
                  <a:cubicBezTo>
                    <a:pt x="92" y="137"/>
                    <a:pt x="93" y="139"/>
                    <a:pt x="93" y="139"/>
                  </a:cubicBezTo>
                  <a:cubicBezTo>
                    <a:pt x="93" y="139"/>
                    <a:pt x="93" y="139"/>
                    <a:pt x="94" y="140"/>
                  </a:cubicBezTo>
                  <a:cubicBezTo>
                    <a:pt x="94" y="141"/>
                    <a:pt x="94" y="143"/>
                    <a:pt x="94" y="143"/>
                  </a:cubicBezTo>
                  <a:cubicBezTo>
                    <a:pt x="94" y="144"/>
                    <a:pt x="95" y="144"/>
                    <a:pt x="94" y="144"/>
                  </a:cubicBezTo>
                  <a:cubicBezTo>
                    <a:pt x="94" y="144"/>
                    <a:pt x="93" y="145"/>
                    <a:pt x="93" y="145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7"/>
                    <a:pt x="93" y="148"/>
                    <a:pt x="94" y="148"/>
                  </a:cubicBezTo>
                  <a:cubicBezTo>
                    <a:pt x="94" y="148"/>
                    <a:pt x="95" y="148"/>
                    <a:pt x="95" y="148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52"/>
                    <a:pt x="97" y="152"/>
                    <a:pt x="97" y="152"/>
                  </a:cubicBezTo>
                  <a:lnTo>
                    <a:pt x="99" y="1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auto">
            <a:xfrm>
              <a:off x="3762616" y="4243254"/>
              <a:ext cx="307094" cy="251022"/>
            </a:xfrm>
            <a:custGeom>
              <a:avLst/>
              <a:gdLst>
                <a:gd name="T0" fmla="*/ 27 w 129"/>
                <a:gd name="T1" fmla="*/ 5 h 109"/>
                <a:gd name="T2" fmla="*/ 33 w 129"/>
                <a:gd name="T3" fmla="*/ 7 h 109"/>
                <a:gd name="T4" fmla="*/ 40 w 129"/>
                <a:gd name="T5" fmla="*/ 5 h 109"/>
                <a:gd name="T6" fmla="*/ 57 w 129"/>
                <a:gd name="T7" fmla="*/ 8 h 109"/>
                <a:gd name="T8" fmla="*/ 64 w 129"/>
                <a:gd name="T9" fmla="*/ 7 h 109"/>
                <a:gd name="T10" fmla="*/ 66 w 129"/>
                <a:gd name="T11" fmla="*/ 1 h 109"/>
                <a:gd name="T12" fmla="*/ 70 w 129"/>
                <a:gd name="T13" fmla="*/ 5 h 109"/>
                <a:gd name="T14" fmla="*/ 77 w 129"/>
                <a:gd name="T15" fmla="*/ 1 h 109"/>
                <a:gd name="T16" fmla="*/ 79 w 129"/>
                <a:gd name="T17" fmla="*/ 5 h 109"/>
                <a:gd name="T18" fmla="*/ 86 w 129"/>
                <a:gd name="T19" fmla="*/ 3 h 109"/>
                <a:gd name="T20" fmla="*/ 89 w 129"/>
                <a:gd name="T21" fmla="*/ 9 h 109"/>
                <a:gd name="T22" fmla="*/ 92 w 129"/>
                <a:gd name="T23" fmla="*/ 12 h 109"/>
                <a:gd name="T24" fmla="*/ 98 w 129"/>
                <a:gd name="T25" fmla="*/ 15 h 109"/>
                <a:gd name="T26" fmla="*/ 102 w 129"/>
                <a:gd name="T27" fmla="*/ 18 h 109"/>
                <a:gd name="T28" fmla="*/ 113 w 129"/>
                <a:gd name="T29" fmla="*/ 22 h 109"/>
                <a:gd name="T30" fmla="*/ 109 w 129"/>
                <a:gd name="T31" fmla="*/ 30 h 109"/>
                <a:gd name="T32" fmla="*/ 104 w 129"/>
                <a:gd name="T33" fmla="*/ 36 h 109"/>
                <a:gd name="T34" fmla="*/ 105 w 129"/>
                <a:gd name="T35" fmla="*/ 43 h 109"/>
                <a:gd name="T36" fmla="*/ 114 w 129"/>
                <a:gd name="T37" fmla="*/ 42 h 109"/>
                <a:gd name="T38" fmla="*/ 120 w 129"/>
                <a:gd name="T39" fmla="*/ 46 h 109"/>
                <a:gd name="T40" fmla="*/ 124 w 129"/>
                <a:gd name="T41" fmla="*/ 50 h 109"/>
                <a:gd name="T42" fmla="*/ 124 w 129"/>
                <a:gd name="T43" fmla="*/ 57 h 109"/>
                <a:gd name="T44" fmla="*/ 129 w 129"/>
                <a:gd name="T45" fmla="*/ 61 h 109"/>
                <a:gd name="T46" fmla="*/ 127 w 129"/>
                <a:gd name="T47" fmla="*/ 67 h 109"/>
                <a:gd name="T48" fmla="*/ 123 w 129"/>
                <a:gd name="T49" fmla="*/ 70 h 109"/>
                <a:gd name="T50" fmla="*/ 120 w 129"/>
                <a:gd name="T51" fmla="*/ 74 h 109"/>
                <a:gd name="T52" fmla="*/ 117 w 129"/>
                <a:gd name="T53" fmla="*/ 75 h 109"/>
                <a:gd name="T54" fmla="*/ 112 w 129"/>
                <a:gd name="T55" fmla="*/ 77 h 109"/>
                <a:gd name="T56" fmla="*/ 109 w 129"/>
                <a:gd name="T57" fmla="*/ 82 h 109"/>
                <a:gd name="T58" fmla="*/ 105 w 129"/>
                <a:gd name="T59" fmla="*/ 88 h 109"/>
                <a:gd name="T60" fmla="*/ 106 w 129"/>
                <a:gd name="T61" fmla="*/ 92 h 109"/>
                <a:gd name="T62" fmla="*/ 107 w 129"/>
                <a:gd name="T63" fmla="*/ 96 h 109"/>
                <a:gd name="T64" fmla="*/ 110 w 129"/>
                <a:gd name="T65" fmla="*/ 101 h 109"/>
                <a:gd name="T66" fmla="*/ 107 w 129"/>
                <a:gd name="T67" fmla="*/ 107 h 109"/>
                <a:gd name="T68" fmla="*/ 103 w 129"/>
                <a:gd name="T69" fmla="*/ 108 h 109"/>
                <a:gd name="T70" fmla="*/ 96 w 129"/>
                <a:gd name="T71" fmla="*/ 109 h 109"/>
                <a:gd name="T72" fmla="*/ 93 w 129"/>
                <a:gd name="T73" fmla="*/ 104 h 109"/>
                <a:gd name="T74" fmla="*/ 90 w 129"/>
                <a:gd name="T75" fmla="*/ 101 h 109"/>
                <a:gd name="T76" fmla="*/ 85 w 129"/>
                <a:gd name="T77" fmla="*/ 97 h 109"/>
                <a:gd name="T78" fmla="*/ 79 w 129"/>
                <a:gd name="T79" fmla="*/ 94 h 109"/>
                <a:gd name="T80" fmla="*/ 74 w 129"/>
                <a:gd name="T81" fmla="*/ 89 h 109"/>
                <a:gd name="T82" fmla="*/ 74 w 129"/>
                <a:gd name="T83" fmla="*/ 81 h 109"/>
                <a:gd name="T84" fmla="*/ 74 w 129"/>
                <a:gd name="T85" fmla="*/ 73 h 109"/>
                <a:gd name="T86" fmla="*/ 69 w 129"/>
                <a:gd name="T87" fmla="*/ 78 h 109"/>
                <a:gd name="T88" fmla="*/ 63 w 129"/>
                <a:gd name="T89" fmla="*/ 82 h 109"/>
                <a:gd name="T90" fmla="*/ 55 w 129"/>
                <a:gd name="T91" fmla="*/ 82 h 109"/>
                <a:gd name="T92" fmla="*/ 51 w 129"/>
                <a:gd name="T93" fmla="*/ 77 h 109"/>
                <a:gd name="T94" fmla="*/ 52 w 129"/>
                <a:gd name="T95" fmla="*/ 73 h 109"/>
                <a:gd name="T96" fmla="*/ 53 w 129"/>
                <a:gd name="T97" fmla="*/ 66 h 109"/>
                <a:gd name="T98" fmla="*/ 49 w 129"/>
                <a:gd name="T99" fmla="*/ 62 h 109"/>
                <a:gd name="T100" fmla="*/ 42 w 129"/>
                <a:gd name="T101" fmla="*/ 61 h 109"/>
                <a:gd name="T102" fmla="*/ 35 w 129"/>
                <a:gd name="T103" fmla="*/ 60 h 109"/>
                <a:gd name="T104" fmla="*/ 33 w 129"/>
                <a:gd name="T105" fmla="*/ 52 h 109"/>
                <a:gd name="T106" fmla="*/ 27 w 129"/>
                <a:gd name="T107" fmla="*/ 51 h 109"/>
                <a:gd name="T108" fmla="*/ 23 w 129"/>
                <a:gd name="T109" fmla="*/ 46 h 109"/>
                <a:gd name="T110" fmla="*/ 19 w 129"/>
                <a:gd name="T111" fmla="*/ 37 h 109"/>
                <a:gd name="T112" fmla="*/ 11 w 129"/>
                <a:gd name="T113" fmla="*/ 37 h 109"/>
                <a:gd name="T114" fmla="*/ 6 w 129"/>
                <a:gd name="T115" fmla="*/ 35 h 109"/>
                <a:gd name="T116" fmla="*/ 2 w 129"/>
                <a:gd name="T117" fmla="*/ 29 h 109"/>
                <a:gd name="T118" fmla="*/ 0 w 129"/>
                <a:gd name="T119" fmla="*/ 2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109">
                  <a:moveTo>
                    <a:pt x="1" y="18"/>
                  </a:moveTo>
                  <a:cubicBezTo>
                    <a:pt x="1" y="18"/>
                    <a:pt x="21" y="6"/>
                    <a:pt x="21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2" y="7"/>
                    <a:pt x="33" y="7"/>
                  </a:cubicBezTo>
                  <a:cubicBezTo>
                    <a:pt x="33" y="7"/>
                    <a:pt x="35" y="9"/>
                    <a:pt x="35" y="8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5"/>
                    <a:pt x="38" y="4"/>
                    <a:pt x="40" y="5"/>
                  </a:cubicBezTo>
                  <a:cubicBezTo>
                    <a:pt x="41" y="6"/>
                    <a:pt x="41" y="10"/>
                    <a:pt x="41" y="10"/>
                  </a:cubicBezTo>
                  <a:cubicBezTo>
                    <a:pt x="49" y="12"/>
                    <a:pt x="44" y="13"/>
                    <a:pt x="55" y="10"/>
                  </a:cubicBezTo>
                  <a:cubicBezTo>
                    <a:pt x="55" y="10"/>
                    <a:pt x="57" y="8"/>
                    <a:pt x="57" y="8"/>
                  </a:cubicBezTo>
                  <a:cubicBezTo>
                    <a:pt x="57" y="7"/>
                    <a:pt x="56" y="5"/>
                    <a:pt x="58" y="6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2" y="7"/>
                    <a:pt x="64" y="7"/>
                    <a:pt x="64" y="7"/>
                  </a:cubicBezTo>
                  <a:cubicBezTo>
                    <a:pt x="64" y="7"/>
                    <a:pt x="65" y="6"/>
                    <a:pt x="64" y="5"/>
                  </a:cubicBezTo>
                  <a:cubicBezTo>
                    <a:pt x="64" y="4"/>
                    <a:pt x="63" y="3"/>
                    <a:pt x="64" y="3"/>
                  </a:cubicBezTo>
                  <a:cubicBezTo>
                    <a:pt x="64" y="2"/>
                    <a:pt x="66" y="1"/>
                    <a:pt x="66" y="1"/>
                  </a:cubicBezTo>
                  <a:cubicBezTo>
                    <a:pt x="66" y="1"/>
                    <a:pt x="67" y="1"/>
                    <a:pt x="67" y="2"/>
                  </a:cubicBezTo>
                  <a:cubicBezTo>
                    <a:pt x="68" y="3"/>
                    <a:pt x="68" y="3"/>
                    <a:pt x="68" y="4"/>
                  </a:cubicBezTo>
                  <a:cubicBezTo>
                    <a:pt x="69" y="4"/>
                    <a:pt x="69" y="5"/>
                    <a:pt x="70" y="5"/>
                  </a:cubicBezTo>
                  <a:cubicBezTo>
                    <a:pt x="72" y="5"/>
                    <a:pt x="72" y="5"/>
                    <a:pt x="73" y="4"/>
                  </a:cubicBezTo>
                  <a:cubicBezTo>
                    <a:pt x="74" y="3"/>
                    <a:pt x="74" y="3"/>
                    <a:pt x="75" y="2"/>
                  </a:cubicBezTo>
                  <a:cubicBezTo>
                    <a:pt x="76" y="0"/>
                    <a:pt x="76" y="0"/>
                    <a:pt x="77" y="1"/>
                  </a:cubicBezTo>
                  <a:cubicBezTo>
                    <a:pt x="78" y="1"/>
                    <a:pt x="80" y="2"/>
                    <a:pt x="80" y="2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7" y="4"/>
                    <a:pt x="79" y="5"/>
                  </a:cubicBezTo>
                  <a:cubicBezTo>
                    <a:pt x="82" y="6"/>
                    <a:pt x="83" y="6"/>
                    <a:pt x="83" y="6"/>
                  </a:cubicBezTo>
                  <a:cubicBezTo>
                    <a:pt x="85" y="3"/>
                    <a:pt x="85" y="3"/>
                    <a:pt x="85" y="3"/>
                  </a:cubicBezTo>
                  <a:cubicBezTo>
                    <a:pt x="85" y="3"/>
                    <a:pt x="85" y="1"/>
                    <a:pt x="86" y="3"/>
                  </a:cubicBezTo>
                  <a:cubicBezTo>
                    <a:pt x="86" y="4"/>
                    <a:pt x="87" y="6"/>
                    <a:pt x="87" y="6"/>
                  </a:cubicBezTo>
                  <a:cubicBezTo>
                    <a:pt x="87" y="6"/>
                    <a:pt x="87" y="9"/>
                    <a:pt x="88" y="9"/>
                  </a:cubicBezTo>
                  <a:cubicBezTo>
                    <a:pt x="89" y="9"/>
                    <a:pt x="89" y="8"/>
                    <a:pt x="89" y="9"/>
                  </a:cubicBezTo>
                  <a:cubicBezTo>
                    <a:pt x="89" y="10"/>
                    <a:pt x="88" y="10"/>
                    <a:pt x="89" y="10"/>
                  </a:cubicBezTo>
                  <a:cubicBezTo>
                    <a:pt x="89" y="11"/>
                    <a:pt x="91" y="11"/>
                    <a:pt x="91" y="11"/>
                  </a:cubicBezTo>
                  <a:cubicBezTo>
                    <a:pt x="91" y="11"/>
                    <a:pt x="92" y="11"/>
                    <a:pt x="92" y="12"/>
                  </a:cubicBezTo>
                  <a:cubicBezTo>
                    <a:pt x="92" y="13"/>
                    <a:pt x="92" y="14"/>
                    <a:pt x="92" y="14"/>
                  </a:cubicBezTo>
                  <a:cubicBezTo>
                    <a:pt x="92" y="14"/>
                    <a:pt x="95" y="14"/>
                    <a:pt x="95" y="14"/>
                  </a:cubicBezTo>
                  <a:cubicBezTo>
                    <a:pt x="96" y="14"/>
                    <a:pt x="97" y="15"/>
                    <a:pt x="98" y="15"/>
                  </a:cubicBezTo>
                  <a:cubicBezTo>
                    <a:pt x="99" y="14"/>
                    <a:pt x="100" y="13"/>
                    <a:pt x="100" y="13"/>
                  </a:cubicBezTo>
                  <a:cubicBezTo>
                    <a:pt x="100" y="14"/>
                    <a:pt x="102" y="14"/>
                    <a:pt x="102" y="15"/>
                  </a:cubicBezTo>
                  <a:cubicBezTo>
                    <a:pt x="101" y="17"/>
                    <a:pt x="100" y="17"/>
                    <a:pt x="102" y="18"/>
                  </a:cubicBezTo>
                  <a:cubicBezTo>
                    <a:pt x="104" y="18"/>
                    <a:pt x="106" y="19"/>
                    <a:pt x="107" y="19"/>
                  </a:cubicBezTo>
                  <a:cubicBezTo>
                    <a:pt x="108" y="20"/>
                    <a:pt x="111" y="21"/>
                    <a:pt x="111" y="21"/>
                  </a:cubicBezTo>
                  <a:cubicBezTo>
                    <a:pt x="112" y="21"/>
                    <a:pt x="113" y="21"/>
                    <a:pt x="113" y="22"/>
                  </a:cubicBezTo>
                  <a:cubicBezTo>
                    <a:pt x="113" y="23"/>
                    <a:pt x="111" y="25"/>
                    <a:pt x="111" y="25"/>
                  </a:cubicBezTo>
                  <a:cubicBezTo>
                    <a:pt x="111" y="25"/>
                    <a:pt x="110" y="26"/>
                    <a:pt x="110" y="27"/>
                  </a:cubicBezTo>
                  <a:cubicBezTo>
                    <a:pt x="110" y="27"/>
                    <a:pt x="109" y="30"/>
                    <a:pt x="109" y="30"/>
                  </a:cubicBezTo>
                  <a:cubicBezTo>
                    <a:pt x="108" y="31"/>
                    <a:pt x="107" y="33"/>
                    <a:pt x="107" y="33"/>
                  </a:cubicBezTo>
                  <a:cubicBezTo>
                    <a:pt x="107" y="33"/>
                    <a:pt x="106" y="35"/>
                    <a:pt x="105" y="35"/>
                  </a:cubicBezTo>
                  <a:cubicBezTo>
                    <a:pt x="105" y="35"/>
                    <a:pt x="104" y="36"/>
                    <a:pt x="104" y="36"/>
                  </a:cubicBezTo>
                  <a:cubicBezTo>
                    <a:pt x="104" y="37"/>
                    <a:pt x="104" y="39"/>
                    <a:pt x="104" y="39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10" y="43"/>
                  </a:cubicBezTo>
                  <a:cubicBezTo>
                    <a:pt x="112" y="43"/>
                    <a:pt x="113" y="42"/>
                    <a:pt x="114" y="42"/>
                  </a:cubicBezTo>
                  <a:cubicBezTo>
                    <a:pt x="114" y="42"/>
                    <a:pt x="116" y="44"/>
                    <a:pt x="116" y="44"/>
                  </a:cubicBezTo>
                  <a:cubicBezTo>
                    <a:pt x="116" y="44"/>
                    <a:pt x="117" y="45"/>
                    <a:pt x="117" y="45"/>
                  </a:cubicBezTo>
                  <a:cubicBezTo>
                    <a:pt x="118" y="45"/>
                    <a:pt x="120" y="46"/>
                    <a:pt x="120" y="46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20" y="49"/>
                    <a:pt x="122" y="49"/>
                    <a:pt x="122" y="49"/>
                  </a:cubicBezTo>
                  <a:cubicBezTo>
                    <a:pt x="123" y="49"/>
                    <a:pt x="124" y="50"/>
                    <a:pt x="124" y="50"/>
                  </a:cubicBezTo>
                  <a:cubicBezTo>
                    <a:pt x="124" y="50"/>
                    <a:pt x="124" y="53"/>
                    <a:pt x="123" y="53"/>
                  </a:cubicBezTo>
                  <a:cubicBezTo>
                    <a:pt x="123" y="54"/>
                    <a:pt x="122" y="55"/>
                    <a:pt x="122" y="55"/>
                  </a:cubicBezTo>
                  <a:cubicBezTo>
                    <a:pt x="122" y="55"/>
                    <a:pt x="123" y="57"/>
                    <a:pt x="124" y="57"/>
                  </a:cubicBezTo>
                  <a:cubicBezTo>
                    <a:pt x="124" y="57"/>
                    <a:pt x="126" y="57"/>
                    <a:pt x="126" y="57"/>
                  </a:cubicBezTo>
                  <a:cubicBezTo>
                    <a:pt x="127" y="57"/>
                    <a:pt x="128" y="59"/>
                    <a:pt x="128" y="59"/>
                  </a:cubicBezTo>
                  <a:cubicBezTo>
                    <a:pt x="128" y="59"/>
                    <a:pt x="129" y="60"/>
                    <a:pt x="129" y="61"/>
                  </a:cubicBezTo>
                  <a:cubicBezTo>
                    <a:pt x="129" y="62"/>
                    <a:pt x="128" y="64"/>
                    <a:pt x="128" y="64"/>
                  </a:cubicBezTo>
                  <a:cubicBezTo>
                    <a:pt x="128" y="64"/>
                    <a:pt x="128" y="65"/>
                    <a:pt x="128" y="66"/>
                  </a:cubicBezTo>
                  <a:cubicBezTo>
                    <a:pt x="128" y="66"/>
                    <a:pt x="127" y="67"/>
                    <a:pt x="127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7"/>
                    <a:pt x="125" y="70"/>
                    <a:pt x="124" y="70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2" y="70"/>
                    <a:pt x="121" y="71"/>
                    <a:pt x="121" y="71"/>
                  </a:cubicBezTo>
                  <a:cubicBezTo>
                    <a:pt x="121" y="72"/>
                    <a:pt x="121" y="72"/>
                    <a:pt x="121" y="72"/>
                  </a:cubicBezTo>
                  <a:cubicBezTo>
                    <a:pt x="120" y="74"/>
                    <a:pt x="120" y="74"/>
                    <a:pt x="120" y="74"/>
                  </a:cubicBezTo>
                  <a:cubicBezTo>
                    <a:pt x="120" y="74"/>
                    <a:pt x="120" y="74"/>
                    <a:pt x="119" y="74"/>
                  </a:cubicBezTo>
                  <a:cubicBezTo>
                    <a:pt x="119" y="74"/>
                    <a:pt x="119" y="74"/>
                    <a:pt x="118" y="74"/>
                  </a:cubicBezTo>
                  <a:cubicBezTo>
                    <a:pt x="118" y="75"/>
                    <a:pt x="117" y="75"/>
                    <a:pt x="117" y="75"/>
                  </a:cubicBezTo>
                  <a:cubicBezTo>
                    <a:pt x="117" y="75"/>
                    <a:pt x="116" y="74"/>
                    <a:pt x="115" y="74"/>
                  </a:cubicBezTo>
                  <a:cubicBezTo>
                    <a:pt x="115" y="74"/>
                    <a:pt x="114" y="74"/>
                    <a:pt x="114" y="75"/>
                  </a:cubicBezTo>
                  <a:cubicBezTo>
                    <a:pt x="113" y="76"/>
                    <a:pt x="113" y="77"/>
                    <a:pt x="112" y="77"/>
                  </a:cubicBezTo>
                  <a:cubicBezTo>
                    <a:pt x="112" y="77"/>
                    <a:pt x="111" y="78"/>
                    <a:pt x="111" y="78"/>
                  </a:cubicBezTo>
                  <a:cubicBezTo>
                    <a:pt x="111" y="78"/>
                    <a:pt x="111" y="80"/>
                    <a:pt x="110" y="80"/>
                  </a:cubicBezTo>
                  <a:cubicBezTo>
                    <a:pt x="110" y="81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09" y="84"/>
                    <a:pt x="109" y="85"/>
                    <a:pt x="108" y="86"/>
                  </a:cubicBezTo>
                  <a:cubicBezTo>
                    <a:pt x="107" y="86"/>
                    <a:pt x="105" y="88"/>
                    <a:pt x="105" y="88"/>
                  </a:cubicBezTo>
                  <a:cubicBezTo>
                    <a:pt x="105" y="88"/>
                    <a:pt x="105" y="88"/>
                    <a:pt x="105" y="89"/>
                  </a:cubicBezTo>
                  <a:cubicBezTo>
                    <a:pt x="106" y="89"/>
                    <a:pt x="106" y="90"/>
                    <a:pt x="106" y="90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92"/>
                    <a:pt x="105" y="93"/>
                    <a:pt x="105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7" y="96"/>
                    <a:pt x="107" y="96"/>
                    <a:pt x="107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09" y="98"/>
                    <a:pt x="110" y="100"/>
                    <a:pt x="110" y="101"/>
                  </a:cubicBezTo>
                  <a:cubicBezTo>
                    <a:pt x="110" y="101"/>
                    <a:pt x="110" y="103"/>
                    <a:pt x="110" y="103"/>
                  </a:cubicBezTo>
                  <a:cubicBezTo>
                    <a:pt x="108" y="105"/>
                    <a:pt x="108" y="105"/>
                    <a:pt x="108" y="105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7"/>
                    <a:pt x="106" y="107"/>
                    <a:pt x="106" y="107"/>
                  </a:cubicBezTo>
                  <a:cubicBezTo>
                    <a:pt x="105" y="107"/>
                    <a:pt x="104" y="107"/>
                    <a:pt x="104" y="107"/>
                  </a:cubicBezTo>
                  <a:cubicBezTo>
                    <a:pt x="103" y="108"/>
                    <a:pt x="103" y="108"/>
                    <a:pt x="103" y="108"/>
                  </a:cubicBezTo>
                  <a:cubicBezTo>
                    <a:pt x="101" y="108"/>
                    <a:pt x="101" y="108"/>
                    <a:pt x="101" y="108"/>
                  </a:cubicBezTo>
                  <a:cubicBezTo>
                    <a:pt x="99" y="109"/>
                    <a:pt x="99" y="109"/>
                    <a:pt x="99" y="109"/>
                  </a:cubicBezTo>
                  <a:cubicBezTo>
                    <a:pt x="96" y="109"/>
                    <a:pt x="96" y="109"/>
                    <a:pt x="96" y="109"/>
                  </a:cubicBezTo>
                  <a:cubicBezTo>
                    <a:pt x="95" y="107"/>
                    <a:pt x="95" y="107"/>
                    <a:pt x="95" y="107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90" y="101"/>
                    <a:pt x="90" y="101"/>
                    <a:pt x="90" y="101"/>
                  </a:cubicBezTo>
                  <a:cubicBezTo>
                    <a:pt x="90" y="101"/>
                    <a:pt x="89" y="99"/>
                    <a:pt x="89" y="99"/>
                  </a:cubicBezTo>
                  <a:cubicBezTo>
                    <a:pt x="88" y="99"/>
                    <a:pt x="87" y="99"/>
                    <a:pt x="87" y="99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7"/>
                    <a:pt x="85" y="96"/>
                    <a:pt x="84" y="95"/>
                  </a:cubicBezTo>
                  <a:cubicBezTo>
                    <a:pt x="83" y="95"/>
                    <a:pt x="83" y="94"/>
                    <a:pt x="82" y="94"/>
                  </a:cubicBezTo>
                  <a:cubicBezTo>
                    <a:pt x="81" y="94"/>
                    <a:pt x="79" y="94"/>
                    <a:pt x="79" y="94"/>
                  </a:cubicBezTo>
                  <a:cubicBezTo>
                    <a:pt x="79" y="94"/>
                    <a:pt x="78" y="92"/>
                    <a:pt x="77" y="92"/>
                  </a:cubicBezTo>
                  <a:cubicBezTo>
                    <a:pt x="77" y="92"/>
                    <a:pt x="73" y="92"/>
                    <a:pt x="73" y="92"/>
                  </a:cubicBezTo>
                  <a:cubicBezTo>
                    <a:pt x="73" y="92"/>
                    <a:pt x="74" y="89"/>
                    <a:pt x="74" y="89"/>
                  </a:cubicBezTo>
                  <a:cubicBezTo>
                    <a:pt x="74" y="88"/>
                    <a:pt x="74" y="85"/>
                    <a:pt x="74" y="85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84"/>
                    <a:pt x="73" y="83"/>
                    <a:pt x="74" y="81"/>
                  </a:cubicBezTo>
                  <a:cubicBezTo>
                    <a:pt x="75" y="79"/>
                    <a:pt x="74" y="80"/>
                    <a:pt x="75" y="78"/>
                  </a:cubicBezTo>
                  <a:cubicBezTo>
                    <a:pt x="76" y="75"/>
                    <a:pt x="76" y="74"/>
                    <a:pt x="76" y="74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3"/>
                    <a:pt x="73" y="72"/>
                    <a:pt x="72" y="73"/>
                  </a:cubicBezTo>
                  <a:cubicBezTo>
                    <a:pt x="72" y="75"/>
                    <a:pt x="71" y="75"/>
                    <a:pt x="71" y="75"/>
                  </a:cubicBezTo>
                  <a:cubicBezTo>
                    <a:pt x="69" y="78"/>
                    <a:pt x="69" y="78"/>
                    <a:pt x="69" y="78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69" y="81"/>
                    <a:pt x="70" y="82"/>
                    <a:pt x="67" y="82"/>
                  </a:cubicBezTo>
                  <a:cubicBezTo>
                    <a:pt x="65" y="82"/>
                    <a:pt x="63" y="82"/>
                    <a:pt x="63" y="82"/>
                  </a:cubicBezTo>
                  <a:cubicBezTo>
                    <a:pt x="63" y="82"/>
                    <a:pt x="65" y="84"/>
                    <a:pt x="63" y="84"/>
                  </a:cubicBezTo>
                  <a:cubicBezTo>
                    <a:pt x="60" y="84"/>
                    <a:pt x="57" y="84"/>
                    <a:pt x="57" y="84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2"/>
                    <a:pt x="51" y="80"/>
                  </a:cubicBezTo>
                  <a:cubicBezTo>
                    <a:pt x="51" y="79"/>
                    <a:pt x="50" y="77"/>
                    <a:pt x="51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1" y="73"/>
                    <a:pt x="51" y="72"/>
                  </a:cubicBezTo>
                  <a:cubicBezTo>
                    <a:pt x="51" y="71"/>
                    <a:pt x="52" y="69"/>
                    <a:pt x="52" y="69"/>
                  </a:cubicBezTo>
                  <a:cubicBezTo>
                    <a:pt x="53" y="68"/>
                    <a:pt x="53" y="66"/>
                    <a:pt x="53" y="6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6"/>
                    <a:pt x="50" y="67"/>
                    <a:pt x="50" y="65"/>
                  </a:cubicBezTo>
                  <a:cubicBezTo>
                    <a:pt x="50" y="64"/>
                    <a:pt x="49" y="62"/>
                    <a:pt x="49" y="62"/>
                  </a:cubicBezTo>
                  <a:cubicBezTo>
                    <a:pt x="49" y="62"/>
                    <a:pt x="47" y="61"/>
                    <a:pt x="47" y="61"/>
                  </a:cubicBezTo>
                  <a:cubicBezTo>
                    <a:pt x="46" y="61"/>
                    <a:pt x="46" y="61"/>
                    <a:pt x="45" y="62"/>
                  </a:cubicBezTo>
                  <a:cubicBezTo>
                    <a:pt x="45" y="62"/>
                    <a:pt x="42" y="61"/>
                    <a:pt x="42" y="61"/>
                  </a:cubicBezTo>
                  <a:cubicBezTo>
                    <a:pt x="42" y="61"/>
                    <a:pt x="39" y="61"/>
                    <a:pt x="39" y="61"/>
                  </a:cubicBezTo>
                  <a:cubicBezTo>
                    <a:pt x="38" y="61"/>
                    <a:pt x="37" y="63"/>
                    <a:pt x="37" y="63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4" y="55"/>
                    <a:pt x="34" y="54"/>
                  </a:cubicBezTo>
                  <a:cubicBezTo>
                    <a:pt x="34" y="54"/>
                    <a:pt x="33" y="52"/>
                    <a:pt x="33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28" y="51"/>
                    <a:pt x="27" y="51"/>
                  </a:cubicBezTo>
                  <a:cubicBezTo>
                    <a:pt x="26" y="51"/>
                    <a:pt x="26" y="51"/>
                    <a:pt x="25" y="51"/>
                  </a:cubicBezTo>
                  <a:cubicBezTo>
                    <a:pt x="25" y="51"/>
                    <a:pt x="23" y="49"/>
                    <a:pt x="23" y="49"/>
                  </a:cubicBezTo>
                  <a:cubicBezTo>
                    <a:pt x="23" y="48"/>
                    <a:pt x="23" y="47"/>
                    <a:pt x="23" y="46"/>
                  </a:cubicBezTo>
                  <a:cubicBezTo>
                    <a:pt x="22" y="45"/>
                    <a:pt x="21" y="43"/>
                    <a:pt x="21" y="42"/>
                  </a:cubicBezTo>
                  <a:cubicBezTo>
                    <a:pt x="21" y="42"/>
                    <a:pt x="22" y="40"/>
                    <a:pt x="22" y="40"/>
                  </a:cubicBezTo>
                  <a:cubicBezTo>
                    <a:pt x="21" y="39"/>
                    <a:pt x="19" y="37"/>
                    <a:pt x="19" y="3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5" y="37"/>
                    <a:pt x="14" y="37"/>
                  </a:cubicBezTo>
                  <a:cubicBezTo>
                    <a:pt x="13" y="37"/>
                    <a:pt x="11" y="36"/>
                    <a:pt x="11" y="37"/>
                  </a:cubicBezTo>
                  <a:cubicBezTo>
                    <a:pt x="11" y="37"/>
                    <a:pt x="12" y="39"/>
                    <a:pt x="11" y="39"/>
                  </a:cubicBezTo>
                  <a:cubicBezTo>
                    <a:pt x="10" y="39"/>
                    <a:pt x="8" y="39"/>
                    <a:pt x="7" y="38"/>
                  </a:cubicBezTo>
                  <a:cubicBezTo>
                    <a:pt x="6" y="37"/>
                    <a:pt x="6" y="36"/>
                    <a:pt x="6" y="35"/>
                  </a:cubicBezTo>
                  <a:cubicBezTo>
                    <a:pt x="5" y="35"/>
                    <a:pt x="5" y="33"/>
                    <a:pt x="4" y="33"/>
                  </a:cubicBezTo>
                  <a:cubicBezTo>
                    <a:pt x="3" y="33"/>
                    <a:pt x="2" y="33"/>
                    <a:pt x="2" y="32"/>
                  </a:cubicBezTo>
                  <a:cubicBezTo>
                    <a:pt x="2" y="32"/>
                    <a:pt x="2" y="29"/>
                    <a:pt x="2" y="29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4"/>
                    <a:pt x="1" y="24"/>
                  </a:cubicBezTo>
                  <a:cubicBezTo>
                    <a:pt x="1" y="23"/>
                    <a:pt x="0" y="22"/>
                    <a:pt x="0" y="22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1" y="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1" name="Freeform 31"/>
            <p:cNvSpPr>
              <a:spLocks/>
            </p:cNvSpPr>
            <p:nvPr/>
          </p:nvSpPr>
          <p:spPr bwMode="auto">
            <a:xfrm>
              <a:off x="4534935" y="4298790"/>
              <a:ext cx="570645" cy="306557"/>
            </a:xfrm>
            <a:custGeom>
              <a:avLst/>
              <a:gdLst>
                <a:gd name="T0" fmla="*/ 56 w 240"/>
                <a:gd name="T1" fmla="*/ 20 h 133"/>
                <a:gd name="T2" fmla="*/ 62 w 240"/>
                <a:gd name="T3" fmla="*/ 12 h 133"/>
                <a:gd name="T4" fmla="*/ 73 w 240"/>
                <a:gd name="T5" fmla="*/ 5 h 133"/>
                <a:gd name="T6" fmla="*/ 85 w 240"/>
                <a:gd name="T7" fmla="*/ 3 h 133"/>
                <a:gd name="T8" fmla="*/ 87 w 240"/>
                <a:gd name="T9" fmla="*/ 11 h 133"/>
                <a:gd name="T10" fmla="*/ 93 w 240"/>
                <a:gd name="T11" fmla="*/ 10 h 133"/>
                <a:gd name="T12" fmla="*/ 99 w 240"/>
                <a:gd name="T13" fmla="*/ 6 h 133"/>
                <a:gd name="T14" fmla="*/ 103 w 240"/>
                <a:gd name="T15" fmla="*/ 3 h 133"/>
                <a:gd name="T16" fmla="*/ 110 w 240"/>
                <a:gd name="T17" fmla="*/ 10 h 133"/>
                <a:gd name="T18" fmla="*/ 118 w 240"/>
                <a:gd name="T19" fmla="*/ 12 h 133"/>
                <a:gd name="T20" fmla="*/ 126 w 240"/>
                <a:gd name="T21" fmla="*/ 15 h 133"/>
                <a:gd name="T22" fmla="*/ 133 w 240"/>
                <a:gd name="T23" fmla="*/ 17 h 133"/>
                <a:gd name="T24" fmla="*/ 142 w 240"/>
                <a:gd name="T25" fmla="*/ 18 h 133"/>
                <a:gd name="T26" fmla="*/ 146 w 240"/>
                <a:gd name="T27" fmla="*/ 25 h 133"/>
                <a:gd name="T28" fmla="*/ 146 w 240"/>
                <a:gd name="T29" fmla="*/ 31 h 133"/>
                <a:gd name="T30" fmla="*/ 154 w 240"/>
                <a:gd name="T31" fmla="*/ 38 h 133"/>
                <a:gd name="T32" fmla="*/ 164 w 240"/>
                <a:gd name="T33" fmla="*/ 44 h 133"/>
                <a:gd name="T34" fmla="*/ 169 w 240"/>
                <a:gd name="T35" fmla="*/ 31 h 133"/>
                <a:gd name="T36" fmla="*/ 176 w 240"/>
                <a:gd name="T37" fmla="*/ 28 h 133"/>
                <a:gd name="T38" fmla="*/ 194 w 240"/>
                <a:gd name="T39" fmla="*/ 29 h 133"/>
                <a:gd name="T40" fmla="*/ 193 w 240"/>
                <a:gd name="T41" fmla="*/ 39 h 133"/>
                <a:gd name="T42" fmla="*/ 203 w 240"/>
                <a:gd name="T43" fmla="*/ 46 h 133"/>
                <a:gd name="T44" fmla="*/ 213 w 240"/>
                <a:gd name="T45" fmla="*/ 45 h 133"/>
                <a:gd name="T46" fmla="*/ 228 w 240"/>
                <a:gd name="T47" fmla="*/ 54 h 133"/>
                <a:gd name="T48" fmla="*/ 237 w 240"/>
                <a:gd name="T49" fmla="*/ 60 h 133"/>
                <a:gd name="T50" fmla="*/ 236 w 240"/>
                <a:gd name="T51" fmla="*/ 68 h 133"/>
                <a:gd name="T52" fmla="*/ 229 w 240"/>
                <a:gd name="T53" fmla="*/ 70 h 133"/>
                <a:gd name="T54" fmla="*/ 223 w 240"/>
                <a:gd name="T55" fmla="*/ 78 h 133"/>
                <a:gd name="T56" fmla="*/ 216 w 240"/>
                <a:gd name="T57" fmla="*/ 85 h 133"/>
                <a:gd name="T58" fmla="*/ 215 w 240"/>
                <a:gd name="T59" fmla="*/ 97 h 133"/>
                <a:gd name="T60" fmla="*/ 208 w 240"/>
                <a:gd name="T61" fmla="*/ 104 h 133"/>
                <a:gd name="T62" fmla="*/ 203 w 240"/>
                <a:gd name="T63" fmla="*/ 109 h 133"/>
                <a:gd name="T64" fmla="*/ 198 w 240"/>
                <a:gd name="T65" fmla="*/ 111 h 133"/>
                <a:gd name="T66" fmla="*/ 193 w 240"/>
                <a:gd name="T67" fmla="*/ 111 h 133"/>
                <a:gd name="T68" fmla="*/ 189 w 240"/>
                <a:gd name="T69" fmla="*/ 110 h 133"/>
                <a:gd name="T70" fmla="*/ 184 w 240"/>
                <a:gd name="T71" fmla="*/ 111 h 133"/>
                <a:gd name="T72" fmla="*/ 181 w 240"/>
                <a:gd name="T73" fmla="*/ 115 h 133"/>
                <a:gd name="T74" fmla="*/ 179 w 240"/>
                <a:gd name="T75" fmla="*/ 121 h 133"/>
                <a:gd name="T76" fmla="*/ 177 w 240"/>
                <a:gd name="T77" fmla="*/ 123 h 133"/>
                <a:gd name="T78" fmla="*/ 163 w 240"/>
                <a:gd name="T79" fmla="*/ 115 h 133"/>
                <a:gd name="T80" fmla="*/ 147 w 240"/>
                <a:gd name="T81" fmla="*/ 118 h 133"/>
                <a:gd name="T82" fmla="*/ 134 w 240"/>
                <a:gd name="T83" fmla="*/ 112 h 133"/>
                <a:gd name="T84" fmla="*/ 119 w 240"/>
                <a:gd name="T85" fmla="*/ 110 h 133"/>
                <a:gd name="T86" fmla="*/ 106 w 240"/>
                <a:gd name="T87" fmla="*/ 108 h 133"/>
                <a:gd name="T88" fmla="*/ 104 w 240"/>
                <a:gd name="T89" fmla="*/ 121 h 133"/>
                <a:gd name="T90" fmla="*/ 97 w 240"/>
                <a:gd name="T91" fmla="*/ 131 h 133"/>
                <a:gd name="T92" fmla="*/ 86 w 240"/>
                <a:gd name="T93" fmla="*/ 131 h 133"/>
                <a:gd name="T94" fmla="*/ 74 w 240"/>
                <a:gd name="T95" fmla="*/ 131 h 133"/>
                <a:gd name="T96" fmla="*/ 63 w 240"/>
                <a:gd name="T97" fmla="*/ 122 h 133"/>
                <a:gd name="T98" fmla="*/ 55 w 240"/>
                <a:gd name="T99" fmla="*/ 114 h 133"/>
                <a:gd name="T100" fmla="*/ 45 w 240"/>
                <a:gd name="T101" fmla="*/ 107 h 133"/>
                <a:gd name="T102" fmla="*/ 39 w 240"/>
                <a:gd name="T103" fmla="*/ 100 h 133"/>
                <a:gd name="T104" fmla="*/ 24 w 240"/>
                <a:gd name="T105" fmla="*/ 93 h 133"/>
                <a:gd name="T106" fmla="*/ 17 w 240"/>
                <a:gd name="T107" fmla="*/ 79 h 133"/>
                <a:gd name="T108" fmla="*/ 16 w 240"/>
                <a:gd name="T109" fmla="*/ 66 h 133"/>
                <a:gd name="T110" fmla="*/ 4 w 240"/>
                <a:gd name="T111" fmla="*/ 55 h 133"/>
                <a:gd name="T112" fmla="*/ 5 w 240"/>
                <a:gd name="T113" fmla="*/ 44 h 133"/>
                <a:gd name="T114" fmla="*/ 10 w 240"/>
                <a:gd name="T115" fmla="*/ 45 h 133"/>
                <a:gd name="T116" fmla="*/ 23 w 240"/>
                <a:gd name="T117" fmla="*/ 38 h 133"/>
                <a:gd name="T118" fmla="*/ 35 w 240"/>
                <a:gd name="T119" fmla="*/ 3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0" h="133">
                  <a:moveTo>
                    <a:pt x="43" y="27"/>
                  </a:moveTo>
                  <a:cubicBezTo>
                    <a:pt x="44" y="27"/>
                    <a:pt x="50" y="22"/>
                    <a:pt x="50" y="22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4"/>
                    <a:pt x="59" y="12"/>
                    <a:pt x="62" y="12"/>
                  </a:cubicBezTo>
                  <a:cubicBezTo>
                    <a:pt x="65" y="12"/>
                    <a:pt x="74" y="10"/>
                    <a:pt x="74" y="10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1"/>
                    <a:pt x="73" y="1"/>
                  </a:cubicBezTo>
                  <a:cubicBezTo>
                    <a:pt x="74" y="0"/>
                    <a:pt x="78" y="0"/>
                    <a:pt x="80" y="0"/>
                  </a:cubicBezTo>
                  <a:cubicBezTo>
                    <a:pt x="82" y="1"/>
                    <a:pt x="84" y="2"/>
                    <a:pt x="85" y="3"/>
                  </a:cubicBezTo>
                  <a:cubicBezTo>
                    <a:pt x="85" y="4"/>
                    <a:pt x="85" y="3"/>
                    <a:pt x="85" y="5"/>
                  </a:cubicBezTo>
                  <a:cubicBezTo>
                    <a:pt x="85" y="7"/>
                    <a:pt x="85" y="9"/>
                    <a:pt x="85" y="9"/>
                  </a:cubicBezTo>
                  <a:cubicBezTo>
                    <a:pt x="85" y="9"/>
                    <a:pt x="86" y="10"/>
                    <a:pt x="87" y="11"/>
                  </a:cubicBezTo>
                  <a:cubicBezTo>
                    <a:pt x="89" y="11"/>
                    <a:pt x="91" y="13"/>
                    <a:pt x="91" y="12"/>
                  </a:cubicBezTo>
                  <a:cubicBezTo>
                    <a:pt x="91" y="12"/>
                    <a:pt x="92" y="11"/>
                    <a:pt x="93" y="1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93" y="12"/>
                    <a:pt x="94" y="11"/>
                    <a:pt x="95" y="11"/>
                  </a:cubicBezTo>
                  <a:cubicBezTo>
                    <a:pt x="96" y="11"/>
                    <a:pt x="100" y="9"/>
                    <a:pt x="100" y="9"/>
                  </a:cubicBezTo>
                  <a:cubicBezTo>
                    <a:pt x="100" y="9"/>
                    <a:pt x="99" y="6"/>
                    <a:pt x="99" y="6"/>
                  </a:cubicBezTo>
                  <a:cubicBezTo>
                    <a:pt x="99" y="5"/>
                    <a:pt x="99" y="4"/>
                    <a:pt x="99" y="3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1" y="2"/>
                    <a:pt x="103" y="3"/>
                    <a:pt x="103" y="3"/>
                  </a:cubicBezTo>
                  <a:cubicBezTo>
                    <a:pt x="103" y="3"/>
                    <a:pt x="105" y="4"/>
                    <a:pt x="106" y="4"/>
                  </a:cubicBezTo>
                  <a:cubicBezTo>
                    <a:pt x="108" y="4"/>
                    <a:pt x="107" y="6"/>
                    <a:pt x="107" y="6"/>
                  </a:cubicBezTo>
                  <a:cubicBezTo>
                    <a:pt x="107" y="6"/>
                    <a:pt x="108" y="9"/>
                    <a:pt x="110" y="10"/>
                  </a:cubicBezTo>
                  <a:cubicBezTo>
                    <a:pt x="112" y="11"/>
                    <a:pt x="112" y="12"/>
                    <a:pt x="112" y="13"/>
                  </a:cubicBezTo>
                  <a:cubicBezTo>
                    <a:pt x="113" y="13"/>
                    <a:pt x="115" y="13"/>
                    <a:pt x="115" y="13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12"/>
                    <a:pt x="120" y="13"/>
                    <a:pt x="121" y="15"/>
                  </a:cubicBezTo>
                  <a:cubicBezTo>
                    <a:pt x="121" y="16"/>
                    <a:pt x="124" y="16"/>
                    <a:pt x="125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7" y="16"/>
                    <a:pt x="127" y="16"/>
                    <a:pt x="127" y="16"/>
                  </a:cubicBezTo>
                  <a:cubicBezTo>
                    <a:pt x="127" y="16"/>
                    <a:pt x="129" y="20"/>
                    <a:pt x="132" y="17"/>
                  </a:cubicBezTo>
                  <a:cubicBezTo>
                    <a:pt x="135" y="14"/>
                    <a:pt x="133" y="17"/>
                    <a:pt x="133" y="17"/>
                  </a:cubicBezTo>
                  <a:cubicBezTo>
                    <a:pt x="133" y="17"/>
                    <a:pt x="135" y="20"/>
                    <a:pt x="136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5" y="17"/>
                    <a:pt x="145" y="17"/>
                    <a:pt x="145" y="17"/>
                  </a:cubicBezTo>
                  <a:cubicBezTo>
                    <a:pt x="145" y="17"/>
                    <a:pt x="148" y="17"/>
                    <a:pt x="147" y="22"/>
                  </a:cubicBezTo>
                  <a:cubicBezTo>
                    <a:pt x="147" y="26"/>
                    <a:pt x="146" y="25"/>
                    <a:pt x="146" y="25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6" y="31"/>
                  </a:cubicBezTo>
                  <a:cubicBezTo>
                    <a:pt x="147" y="31"/>
                    <a:pt x="148" y="35"/>
                    <a:pt x="14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1" y="36"/>
                    <a:pt x="152" y="37"/>
                    <a:pt x="154" y="38"/>
                  </a:cubicBezTo>
                  <a:cubicBezTo>
                    <a:pt x="155" y="39"/>
                    <a:pt x="156" y="41"/>
                    <a:pt x="156" y="41"/>
                  </a:cubicBezTo>
                  <a:cubicBezTo>
                    <a:pt x="156" y="41"/>
                    <a:pt x="157" y="45"/>
                    <a:pt x="158" y="46"/>
                  </a:cubicBezTo>
                  <a:cubicBezTo>
                    <a:pt x="158" y="48"/>
                    <a:pt x="164" y="44"/>
                    <a:pt x="164" y="4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71" y="37"/>
                    <a:pt x="171" y="37"/>
                    <a:pt x="171" y="37"/>
                  </a:cubicBezTo>
                  <a:cubicBezTo>
                    <a:pt x="169" y="31"/>
                    <a:pt x="169" y="31"/>
                    <a:pt x="169" y="31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7" y="27"/>
                    <a:pt x="171" y="28"/>
                    <a:pt x="172" y="27"/>
                  </a:cubicBezTo>
                  <a:cubicBezTo>
                    <a:pt x="173" y="27"/>
                    <a:pt x="176" y="28"/>
                    <a:pt x="176" y="28"/>
                  </a:cubicBezTo>
                  <a:cubicBezTo>
                    <a:pt x="187" y="33"/>
                    <a:pt x="187" y="33"/>
                    <a:pt x="187" y="33"/>
                  </a:cubicBezTo>
                  <a:cubicBezTo>
                    <a:pt x="187" y="33"/>
                    <a:pt x="190" y="32"/>
                    <a:pt x="192" y="32"/>
                  </a:cubicBezTo>
                  <a:cubicBezTo>
                    <a:pt x="194" y="31"/>
                    <a:pt x="194" y="29"/>
                    <a:pt x="194" y="29"/>
                  </a:cubicBezTo>
                  <a:cubicBezTo>
                    <a:pt x="194" y="29"/>
                    <a:pt x="195" y="30"/>
                    <a:pt x="197" y="32"/>
                  </a:cubicBezTo>
                  <a:cubicBezTo>
                    <a:pt x="198" y="35"/>
                    <a:pt x="196" y="34"/>
                    <a:pt x="196" y="35"/>
                  </a:cubicBezTo>
                  <a:cubicBezTo>
                    <a:pt x="195" y="36"/>
                    <a:pt x="193" y="39"/>
                    <a:pt x="193" y="39"/>
                  </a:cubicBezTo>
                  <a:cubicBezTo>
                    <a:pt x="193" y="39"/>
                    <a:pt x="194" y="41"/>
                    <a:pt x="196" y="41"/>
                  </a:cubicBezTo>
                  <a:cubicBezTo>
                    <a:pt x="197" y="41"/>
                    <a:pt x="196" y="42"/>
                    <a:pt x="198" y="44"/>
                  </a:cubicBezTo>
                  <a:cubicBezTo>
                    <a:pt x="199" y="45"/>
                    <a:pt x="203" y="46"/>
                    <a:pt x="203" y="46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43"/>
                    <a:pt x="209" y="43"/>
                    <a:pt x="209" y="43"/>
                  </a:cubicBezTo>
                  <a:cubicBezTo>
                    <a:pt x="209" y="43"/>
                    <a:pt x="212" y="44"/>
                    <a:pt x="213" y="45"/>
                  </a:cubicBezTo>
                  <a:cubicBezTo>
                    <a:pt x="214" y="46"/>
                    <a:pt x="219" y="48"/>
                    <a:pt x="219" y="48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28" y="54"/>
                    <a:pt x="228" y="54"/>
                    <a:pt x="228" y="54"/>
                  </a:cubicBezTo>
                  <a:cubicBezTo>
                    <a:pt x="228" y="54"/>
                    <a:pt x="230" y="54"/>
                    <a:pt x="232" y="57"/>
                  </a:cubicBezTo>
                  <a:cubicBezTo>
                    <a:pt x="234" y="59"/>
                    <a:pt x="233" y="57"/>
                    <a:pt x="233" y="57"/>
                  </a:cubicBezTo>
                  <a:cubicBezTo>
                    <a:pt x="233" y="57"/>
                    <a:pt x="237" y="59"/>
                    <a:pt x="237" y="60"/>
                  </a:cubicBezTo>
                  <a:cubicBezTo>
                    <a:pt x="237" y="62"/>
                    <a:pt x="238" y="64"/>
                    <a:pt x="238" y="64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39" y="68"/>
                    <a:pt x="237" y="68"/>
                    <a:pt x="236" y="68"/>
                  </a:cubicBezTo>
                  <a:cubicBezTo>
                    <a:pt x="236" y="68"/>
                    <a:pt x="235" y="69"/>
                    <a:pt x="234" y="69"/>
                  </a:cubicBezTo>
                  <a:cubicBezTo>
                    <a:pt x="233" y="69"/>
                    <a:pt x="232" y="69"/>
                    <a:pt x="232" y="69"/>
                  </a:cubicBezTo>
                  <a:cubicBezTo>
                    <a:pt x="229" y="70"/>
                    <a:pt x="229" y="70"/>
                    <a:pt x="229" y="70"/>
                  </a:cubicBezTo>
                  <a:cubicBezTo>
                    <a:pt x="227" y="72"/>
                    <a:pt x="227" y="72"/>
                    <a:pt x="227" y="72"/>
                  </a:cubicBezTo>
                  <a:cubicBezTo>
                    <a:pt x="225" y="74"/>
                    <a:pt x="225" y="74"/>
                    <a:pt x="225" y="74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23" y="80"/>
                    <a:pt x="223" y="80"/>
                    <a:pt x="223" y="80"/>
                  </a:cubicBezTo>
                  <a:cubicBezTo>
                    <a:pt x="220" y="83"/>
                    <a:pt x="220" y="83"/>
                    <a:pt x="220" y="83"/>
                  </a:cubicBezTo>
                  <a:cubicBezTo>
                    <a:pt x="220" y="83"/>
                    <a:pt x="217" y="85"/>
                    <a:pt x="216" y="85"/>
                  </a:cubicBezTo>
                  <a:cubicBezTo>
                    <a:pt x="215" y="85"/>
                    <a:pt x="215" y="89"/>
                    <a:pt x="215" y="89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5" y="97"/>
                    <a:pt x="215" y="97"/>
                    <a:pt x="215" y="97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9" y="102"/>
                    <a:pt x="209" y="102"/>
                    <a:pt x="209" y="10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104"/>
                    <a:pt x="206" y="105"/>
                    <a:pt x="206" y="105"/>
                  </a:cubicBezTo>
                  <a:cubicBezTo>
                    <a:pt x="205" y="104"/>
                    <a:pt x="205" y="107"/>
                    <a:pt x="205" y="107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2" y="109"/>
                    <a:pt x="202" y="109"/>
                    <a:pt x="202" y="109"/>
                  </a:cubicBezTo>
                  <a:cubicBezTo>
                    <a:pt x="200" y="110"/>
                    <a:pt x="200" y="110"/>
                    <a:pt x="200" y="110"/>
                  </a:cubicBezTo>
                  <a:cubicBezTo>
                    <a:pt x="200" y="110"/>
                    <a:pt x="199" y="111"/>
                    <a:pt x="198" y="111"/>
                  </a:cubicBezTo>
                  <a:cubicBezTo>
                    <a:pt x="198" y="112"/>
                    <a:pt x="197" y="111"/>
                    <a:pt x="197" y="111"/>
                  </a:cubicBezTo>
                  <a:cubicBezTo>
                    <a:pt x="197" y="111"/>
                    <a:pt x="195" y="110"/>
                    <a:pt x="194" y="110"/>
                  </a:cubicBezTo>
                  <a:cubicBezTo>
                    <a:pt x="194" y="110"/>
                    <a:pt x="194" y="111"/>
                    <a:pt x="193" y="111"/>
                  </a:cubicBezTo>
                  <a:cubicBezTo>
                    <a:pt x="193" y="111"/>
                    <a:pt x="193" y="111"/>
                    <a:pt x="192" y="112"/>
                  </a:cubicBezTo>
                  <a:cubicBezTo>
                    <a:pt x="192" y="112"/>
                    <a:pt x="191" y="111"/>
                    <a:pt x="190" y="111"/>
                  </a:cubicBezTo>
                  <a:cubicBezTo>
                    <a:pt x="189" y="111"/>
                    <a:pt x="189" y="110"/>
                    <a:pt x="189" y="110"/>
                  </a:cubicBezTo>
                  <a:cubicBezTo>
                    <a:pt x="188" y="110"/>
                    <a:pt x="187" y="110"/>
                    <a:pt x="187" y="110"/>
                  </a:cubicBezTo>
                  <a:cubicBezTo>
                    <a:pt x="186" y="110"/>
                    <a:pt x="185" y="110"/>
                    <a:pt x="185" y="110"/>
                  </a:cubicBezTo>
                  <a:cubicBezTo>
                    <a:pt x="185" y="110"/>
                    <a:pt x="184" y="111"/>
                    <a:pt x="184" y="111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2" y="112"/>
                    <a:pt x="182" y="113"/>
                    <a:pt x="182" y="114"/>
                  </a:cubicBezTo>
                  <a:cubicBezTo>
                    <a:pt x="182" y="114"/>
                    <a:pt x="182" y="115"/>
                    <a:pt x="181" y="115"/>
                  </a:cubicBezTo>
                  <a:cubicBezTo>
                    <a:pt x="181" y="115"/>
                    <a:pt x="180" y="117"/>
                    <a:pt x="180" y="117"/>
                  </a:cubicBezTo>
                  <a:cubicBezTo>
                    <a:pt x="180" y="117"/>
                    <a:pt x="180" y="120"/>
                    <a:pt x="179" y="120"/>
                  </a:cubicBezTo>
                  <a:cubicBezTo>
                    <a:pt x="179" y="120"/>
                    <a:pt x="179" y="121"/>
                    <a:pt x="179" y="121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75" y="117"/>
                    <a:pt x="172" y="118"/>
                    <a:pt x="169" y="118"/>
                  </a:cubicBezTo>
                  <a:cubicBezTo>
                    <a:pt x="166" y="117"/>
                    <a:pt x="164" y="115"/>
                    <a:pt x="163" y="115"/>
                  </a:cubicBezTo>
                  <a:cubicBezTo>
                    <a:pt x="163" y="114"/>
                    <a:pt x="159" y="115"/>
                    <a:pt x="159" y="115"/>
                  </a:cubicBezTo>
                  <a:cubicBezTo>
                    <a:pt x="158" y="119"/>
                    <a:pt x="158" y="119"/>
                    <a:pt x="158" y="119"/>
                  </a:cubicBezTo>
                  <a:cubicBezTo>
                    <a:pt x="147" y="118"/>
                    <a:pt x="147" y="118"/>
                    <a:pt x="147" y="118"/>
                  </a:cubicBezTo>
                  <a:cubicBezTo>
                    <a:pt x="143" y="116"/>
                    <a:pt x="143" y="116"/>
                    <a:pt x="143" y="116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34" y="112"/>
                    <a:pt x="134" y="112"/>
                    <a:pt x="134" y="112"/>
                  </a:cubicBezTo>
                  <a:cubicBezTo>
                    <a:pt x="134" y="112"/>
                    <a:pt x="130" y="112"/>
                    <a:pt x="129" y="112"/>
                  </a:cubicBezTo>
                  <a:cubicBezTo>
                    <a:pt x="128" y="112"/>
                    <a:pt x="124" y="111"/>
                    <a:pt x="124" y="111"/>
                  </a:cubicBezTo>
                  <a:cubicBezTo>
                    <a:pt x="124" y="111"/>
                    <a:pt x="120" y="110"/>
                    <a:pt x="119" y="110"/>
                  </a:cubicBezTo>
                  <a:cubicBezTo>
                    <a:pt x="118" y="110"/>
                    <a:pt x="116" y="110"/>
                    <a:pt x="116" y="110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1" y="109"/>
                    <a:pt x="108" y="107"/>
                    <a:pt x="106" y="108"/>
                  </a:cubicBezTo>
                  <a:cubicBezTo>
                    <a:pt x="105" y="108"/>
                    <a:pt x="106" y="111"/>
                    <a:pt x="106" y="111"/>
                  </a:cubicBezTo>
                  <a:cubicBezTo>
                    <a:pt x="106" y="111"/>
                    <a:pt x="105" y="116"/>
                    <a:pt x="106" y="117"/>
                  </a:cubicBezTo>
                  <a:cubicBezTo>
                    <a:pt x="106" y="119"/>
                    <a:pt x="104" y="121"/>
                    <a:pt x="104" y="121"/>
                  </a:cubicBezTo>
                  <a:cubicBezTo>
                    <a:pt x="101" y="122"/>
                    <a:pt x="101" y="122"/>
                    <a:pt x="101" y="122"/>
                  </a:cubicBezTo>
                  <a:cubicBezTo>
                    <a:pt x="101" y="122"/>
                    <a:pt x="99" y="125"/>
                    <a:pt x="98" y="125"/>
                  </a:cubicBezTo>
                  <a:cubicBezTo>
                    <a:pt x="97" y="125"/>
                    <a:pt x="97" y="131"/>
                    <a:pt x="97" y="131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9" y="129"/>
                    <a:pt x="89" y="129"/>
                    <a:pt x="89" y="129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85" y="133"/>
                    <a:pt x="80" y="132"/>
                    <a:pt x="80" y="132"/>
                  </a:cubicBezTo>
                  <a:cubicBezTo>
                    <a:pt x="79" y="132"/>
                    <a:pt x="74" y="131"/>
                    <a:pt x="74" y="131"/>
                  </a:cubicBezTo>
                  <a:cubicBezTo>
                    <a:pt x="74" y="131"/>
                    <a:pt x="71" y="128"/>
                    <a:pt x="70" y="127"/>
                  </a:cubicBezTo>
                  <a:cubicBezTo>
                    <a:pt x="69" y="126"/>
                    <a:pt x="65" y="124"/>
                    <a:pt x="64" y="123"/>
                  </a:cubicBezTo>
                  <a:cubicBezTo>
                    <a:pt x="63" y="123"/>
                    <a:pt x="63" y="122"/>
                    <a:pt x="63" y="122"/>
                  </a:cubicBezTo>
                  <a:cubicBezTo>
                    <a:pt x="61" y="120"/>
                    <a:pt x="62" y="120"/>
                    <a:pt x="60" y="119"/>
                  </a:cubicBezTo>
                  <a:cubicBezTo>
                    <a:pt x="58" y="118"/>
                    <a:pt x="56" y="118"/>
                    <a:pt x="56" y="117"/>
                  </a:cubicBezTo>
                  <a:cubicBezTo>
                    <a:pt x="56" y="116"/>
                    <a:pt x="57" y="114"/>
                    <a:pt x="55" y="114"/>
                  </a:cubicBezTo>
                  <a:cubicBezTo>
                    <a:pt x="52" y="115"/>
                    <a:pt x="51" y="116"/>
                    <a:pt x="50" y="115"/>
                  </a:cubicBezTo>
                  <a:cubicBezTo>
                    <a:pt x="48" y="113"/>
                    <a:pt x="48" y="113"/>
                    <a:pt x="47" y="111"/>
                  </a:cubicBezTo>
                  <a:cubicBezTo>
                    <a:pt x="47" y="109"/>
                    <a:pt x="47" y="107"/>
                    <a:pt x="45" y="107"/>
                  </a:cubicBezTo>
                  <a:cubicBezTo>
                    <a:pt x="43" y="107"/>
                    <a:pt x="42" y="106"/>
                    <a:pt x="42" y="106"/>
                  </a:cubicBezTo>
                  <a:cubicBezTo>
                    <a:pt x="42" y="106"/>
                    <a:pt x="41" y="107"/>
                    <a:pt x="40" y="105"/>
                  </a:cubicBezTo>
                  <a:cubicBezTo>
                    <a:pt x="39" y="102"/>
                    <a:pt x="42" y="104"/>
                    <a:pt x="39" y="100"/>
                  </a:cubicBezTo>
                  <a:cubicBezTo>
                    <a:pt x="35" y="97"/>
                    <a:pt x="36" y="98"/>
                    <a:pt x="34" y="96"/>
                  </a:cubicBezTo>
                  <a:cubicBezTo>
                    <a:pt x="32" y="94"/>
                    <a:pt x="26" y="96"/>
                    <a:pt x="26" y="96"/>
                  </a:cubicBezTo>
                  <a:cubicBezTo>
                    <a:pt x="26" y="96"/>
                    <a:pt x="26" y="95"/>
                    <a:pt x="24" y="93"/>
                  </a:cubicBezTo>
                  <a:cubicBezTo>
                    <a:pt x="22" y="91"/>
                    <a:pt x="23" y="92"/>
                    <a:pt x="21" y="90"/>
                  </a:cubicBezTo>
                  <a:cubicBezTo>
                    <a:pt x="19" y="87"/>
                    <a:pt x="19" y="88"/>
                    <a:pt x="19" y="85"/>
                  </a:cubicBezTo>
                  <a:cubicBezTo>
                    <a:pt x="18" y="82"/>
                    <a:pt x="19" y="81"/>
                    <a:pt x="17" y="79"/>
                  </a:cubicBezTo>
                  <a:cubicBezTo>
                    <a:pt x="15" y="77"/>
                    <a:pt x="14" y="75"/>
                    <a:pt x="14" y="75"/>
                  </a:cubicBezTo>
                  <a:cubicBezTo>
                    <a:pt x="14" y="75"/>
                    <a:pt x="12" y="73"/>
                    <a:pt x="14" y="70"/>
                  </a:cubicBezTo>
                  <a:cubicBezTo>
                    <a:pt x="16" y="68"/>
                    <a:pt x="16" y="68"/>
                    <a:pt x="16" y="66"/>
                  </a:cubicBezTo>
                  <a:cubicBezTo>
                    <a:pt x="16" y="65"/>
                    <a:pt x="17" y="63"/>
                    <a:pt x="14" y="61"/>
                  </a:cubicBezTo>
                  <a:cubicBezTo>
                    <a:pt x="11" y="59"/>
                    <a:pt x="11" y="59"/>
                    <a:pt x="8" y="57"/>
                  </a:cubicBezTo>
                  <a:cubicBezTo>
                    <a:pt x="6" y="56"/>
                    <a:pt x="5" y="56"/>
                    <a:pt x="4" y="55"/>
                  </a:cubicBezTo>
                  <a:cubicBezTo>
                    <a:pt x="3" y="54"/>
                    <a:pt x="1" y="47"/>
                    <a:pt x="1" y="47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7" y="40"/>
                  </a:cubicBezTo>
                  <a:cubicBezTo>
                    <a:pt x="19" y="40"/>
                    <a:pt x="22" y="38"/>
                    <a:pt x="23" y="38"/>
                  </a:cubicBezTo>
                  <a:cubicBezTo>
                    <a:pt x="25" y="38"/>
                    <a:pt x="28" y="39"/>
                    <a:pt x="29" y="39"/>
                  </a:cubicBezTo>
                  <a:cubicBezTo>
                    <a:pt x="31" y="38"/>
                    <a:pt x="32" y="38"/>
                    <a:pt x="32" y="36"/>
                  </a:cubicBezTo>
                  <a:cubicBezTo>
                    <a:pt x="33" y="35"/>
                    <a:pt x="31" y="33"/>
                    <a:pt x="35" y="32"/>
                  </a:cubicBezTo>
                  <a:cubicBezTo>
                    <a:pt x="38" y="30"/>
                    <a:pt x="39" y="30"/>
                    <a:pt x="39" y="30"/>
                  </a:cubicBezTo>
                  <a:lnTo>
                    <a:pt x="43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7140651" y="4708643"/>
              <a:ext cx="690961" cy="246579"/>
            </a:xfrm>
            <a:custGeom>
              <a:avLst/>
              <a:gdLst>
                <a:gd name="T0" fmla="*/ 233 w 291"/>
                <a:gd name="T1" fmla="*/ 67 h 107"/>
                <a:gd name="T2" fmla="*/ 238 w 291"/>
                <a:gd name="T3" fmla="*/ 67 h 107"/>
                <a:gd name="T4" fmla="*/ 239 w 291"/>
                <a:gd name="T5" fmla="*/ 67 h 107"/>
                <a:gd name="T6" fmla="*/ 240 w 291"/>
                <a:gd name="T7" fmla="*/ 67 h 107"/>
                <a:gd name="T8" fmla="*/ 240 w 291"/>
                <a:gd name="T9" fmla="*/ 68 h 107"/>
                <a:gd name="T10" fmla="*/ 241 w 291"/>
                <a:gd name="T11" fmla="*/ 68 h 107"/>
                <a:gd name="T12" fmla="*/ 242 w 291"/>
                <a:gd name="T13" fmla="*/ 67 h 107"/>
                <a:gd name="T14" fmla="*/ 243 w 291"/>
                <a:gd name="T15" fmla="*/ 67 h 107"/>
                <a:gd name="T16" fmla="*/ 244 w 291"/>
                <a:gd name="T17" fmla="*/ 67 h 107"/>
                <a:gd name="T18" fmla="*/ 245 w 291"/>
                <a:gd name="T19" fmla="*/ 67 h 107"/>
                <a:gd name="T20" fmla="*/ 247 w 291"/>
                <a:gd name="T21" fmla="*/ 67 h 107"/>
                <a:gd name="T22" fmla="*/ 248 w 291"/>
                <a:gd name="T23" fmla="*/ 67 h 107"/>
                <a:gd name="T24" fmla="*/ 249 w 291"/>
                <a:gd name="T25" fmla="*/ 66 h 107"/>
                <a:gd name="T26" fmla="*/ 250 w 291"/>
                <a:gd name="T27" fmla="*/ 66 h 107"/>
                <a:gd name="T28" fmla="*/ 250 w 291"/>
                <a:gd name="T29" fmla="*/ 66 h 107"/>
                <a:gd name="T30" fmla="*/ 267 w 291"/>
                <a:gd name="T31" fmla="*/ 71 h 107"/>
                <a:gd name="T32" fmla="*/ 268 w 291"/>
                <a:gd name="T33" fmla="*/ 71 h 107"/>
                <a:gd name="T34" fmla="*/ 268 w 291"/>
                <a:gd name="T35" fmla="*/ 71 h 107"/>
                <a:gd name="T36" fmla="*/ 268 w 291"/>
                <a:gd name="T37" fmla="*/ 71 h 107"/>
                <a:gd name="T38" fmla="*/ 233 w 291"/>
                <a:gd name="T39" fmla="*/ 67 h 107"/>
                <a:gd name="T40" fmla="*/ 269 w 291"/>
                <a:gd name="T41" fmla="*/ 71 h 107"/>
                <a:gd name="T42" fmla="*/ 269 w 291"/>
                <a:gd name="T43" fmla="*/ 71 h 107"/>
                <a:gd name="T44" fmla="*/ 270 w 291"/>
                <a:gd name="T45" fmla="*/ 71 h 107"/>
                <a:gd name="T46" fmla="*/ 270 w 291"/>
                <a:gd name="T47" fmla="*/ 70 h 107"/>
                <a:gd name="T48" fmla="*/ 271 w 291"/>
                <a:gd name="T49" fmla="*/ 70 h 107"/>
                <a:gd name="T50" fmla="*/ 271 w 291"/>
                <a:gd name="T51" fmla="*/ 70 h 107"/>
                <a:gd name="T52" fmla="*/ 271 w 291"/>
                <a:gd name="T53" fmla="*/ 70 h 107"/>
                <a:gd name="T54" fmla="*/ 272 w 291"/>
                <a:gd name="T55" fmla="*/ 69 h 107"/>
                <a:gd name="T56" fmla="*/ 272 w 291"/>
                <a:gd name="T57" fmla="*/ 69 h 107"/>
                <a:gd name="T58" fmla="*/ 273 w 291"/>
                <a:gd name="T59" fmla="*/ 69 h 107"/>
                <a:gd name="T60" fmla="*/ 273 w 291"/>
                <a:gd name="T61" fmla="*/ 69 h 107"/>
                <a:gd name="T62" fmla="*/ 273 w 291"/>
                <a:gd name="T63" fmla="*/ 69 h 107"/>
                <a:gd name="T64" fmla="*/ 273 w 291"/>
                <a:gd name="T65" fmla="*/ 69 h 107"/>
                <a:gd name="T66" fmla="*/ 274 w 291"/>
                <a:gd name="T67" fmla="*/ 69 h 107"/>
                <a:gd name="T68" fmla="*/ 274 w 291"/>
                <a:gd name="T69" fmla="*/ 69 h 107"/>
                <a:gd name="T70" fmla="*/ 274 w 291"/>
                <a:gd name="T71" fmla="*/ 69 h 107"/>
                <a:gd name="T72" fmla="*/ 275 w 291"/>
                <a:gd name="T73" fmla="*/ 69 h 107"/>
                <a:gd name="T74" fmla="*/ 289 w 291"/>
                <a:gd name="T75" fmla="*/ 72 h 107"/>
                <a:gd name="T76" fmla="*/ 272 w 291"/>
                <a:gd name="T77" fmla="*/ 47 h 107"/>
                <a:gd name="T78" fmla="*/ 266 w 291"/>
                <a:gd name="T79" fmla="*/ 27 h 107"/>
                <a:gd name="T80" fmla="*/ 235 w 291"/>
                <a:gd name="T81" fmla="*/ 11 h 107"/>
                <a:gd name="T82" fmla="*/ 197 w 291"/>
                <a:gd name="T83" fmla="*/ 0 h 107"/>
                <a:gd name="T84" fmla="*/ 173 w 291"/>
                <a:gd name="T85" fmla="*/ 17 h 107"/>
                <a:gd name="T86" fmla="*/ 157 w 291"/>
                <a:gd name="T87" fmla="*/ 16 h 107"/>
                <a:gd name="T88" fmla="*/ 111 w 291"/>
                <a:gd name="T89" fmla="*/ 2 h 107"/>
                <a:gd name="T90" fmla="*/ 68 w 291"/>
                <a:gd name="T91" fmla="*/ 11 h 107"/>
                <a:gd name="T92" fmla="*/ 40 w 291"/>
                <a:gd name="T93" fmla="*/ 10 h 107"/>
                <a:gd name="T94" fmla="*/ 1 w 291"/>
                <a:gd name="T95" fmla="*/ 10 h 107"/>
                <a:gd name="T96" fmla="*/ 18 w 291"/>
                <a:gd name="T97" fmla="*/ 27 h 107"/>
                <a:gd name="T98" fmla="*/ 44 w 291"/>
                <a:gd name="T99" fmla="*/ 31 h 107"/>
                <a:gd name="T100" fmla="*/ 70 w 291"/>
                <a:gd name="T101" fmla="*/ 48 h 107"/>
                <a:gd name="T102" fmla="*/ 83 w 291"/>
                <a:gd name="T103" fmla="*/ 100 h 107"/>
                <a:gd name="T104" fmla="*/ 124 w 291"/>
                <a:gd name="T105" fmla="*/ 91 h 107"/>
                <a:gd name="T106" fmla="*/ 153 w 291"/>
                <a:gd name="T107" fmla="*/ 102 h 107"/>
                <a:gd name="T108" fmla="*/ 163 w 291"/>
                <a:gd name="T109" fmla="*/ 98 h 107"/>
                <a:gd name="T110" fmla="*/ 184 w 291"/>
                <a:gd name="T111" fmla="*/ 85 h 107"/>
                <a:gd name="T112" fmla="*/ 193 w 291"/>
                <a:gd name="T113" fmla="*/ 79 h 107"/>
                <a:gd name="T114" fmla="*/ 206 w 291"/>
                <a:gd name="T115" fmla="*/ 76 h 107"/>
                <a:gd name="T116" fmla="*/ 215 w 291"/>
                <a:gd name="T117" fmla="*/ 68 h 107"/>
                <a:gd name="T118" fmla="*/ 230 w 291"/>
                <a:gd name="T119" fmla="*/ 6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1" h="107">
                  <a:moveTo>
                    <a:pt x="231" y="69"/>
                  </a:moveTo>
                  <a:cubicBezTo>
                    <a:pt x="232" y="69"/>
                    <a:pt x="232" y="69"/>
                    <a:pt x="232" y="69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31" y="68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4" y="67"/>
                    <a:pt x="234" y="67"/>
                    <a:pt x="234" y="67"/>
                  </a:cubicBezTo>
                  <a:cubicBezTo>
                    <a:pt x="235" y="67"/>
                    <a:pt x="237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0" y="68"/>
                    <a:pt x="240" y="68"/>
                    <a:pt x="240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1" y="68"/>
                    <a:pt x="241" y="68"/>
                    <a:pt x="241" y="68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2" y="67"/>
                    <a:pt x="242" y="67"/>
                    <a:pt x="242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3" y="67"/>
                    <a:pt x="243" y="67"/>
                    <a:pt x="243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4" y="67"/>
                    <a:pt x="244" y="67"/>
                    <a:pt x="244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5" y="67"/>
                    <a:pt x="245" y="67"/>
                    <a:pt x="245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6" y="67"/>
                    <a:pt x="246" y="67"/>
                    <a:pt x="246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7" y="67"/>
                    <a:pt x="247" y="67"/>
                    <a:pt x="247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249" y="67"/>
                    <a:pt x="249" y="67"/>
                    <a:pt x="249" y="67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52" y="70"/>
                    <a:pt x="252" y="70"/>
                    <a:pt x="252" y="70"/>
                  </a:cubicBezTo>
                  <a:cubicBezTo>
                    <a:pt x="252" y="70"/>
                    <a:pt x="263" y="72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7" y="71"/>
                    <a:pt x="267" y="71"/>
                    <a:pt x="267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68" y="71"/>
                    <a:pt x="268" y="71"/>
                    <a:pt x="268" y="71"/>
                  </a:cubicBezTo>
                  <a:cubicBezTo>
                    <a:pt x="231" y="69"/>
                    <a:pt x="231" y="69"/>
                    <a:pt x="231" y="69"/>
                  </a:cubicBezTo>
                  <a:close/>
                  <a:moveTo>
                    <a:pt x="233" y="67"/>
                  </a:move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ubicBezTo>
                    <a:pt x="233" y="67"/>
                    <a:pt x="233" y="67"/>
                    <a:pt x="233" y="67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1"/>
                    <a:pt x="270" y="71"/>
                    <a:pt x="270" y="71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0" y="70"/>
                    <a:pt x="270" y="70"/>
                    <a:pt x="270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1" y="70"/>
                    <a:pt x="271" y="70"/>
                    <a:pt x="271" y="70"/>
                  </a:cubicBezTo>
                  <a:cubicBezTo>
                    <a:pt x="272" y="70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2" y="69"/>
                    <a:pt x="272" y="69"/>
                    <a:pt x="272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3" y="69"/>
                    <a:pt x="273" y="69"/>
                    <a:pt x="273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5" y="69"/>
                    <a:pt x="275" y="69"/>
                    <a:pt x="275" y="69"/>
                  </a:cubicBezTo>
                  <a:cubicBezTo>
                    <a:pt x="276" y="69"/>
                    <a:pt x="276" y="69"/>
                    <a:pt x="278" y="70"/>
                  </a:cubicBezTo>
                  <a:cubicBezTo>
                    <a:pt x="280" y="71"/>
                    <a:pt x="283" y="72"/>
                    <a:pt x="285" y="72"/>
                  </a:cubicBezTo>
                  <a:cubicBezTo>
                    <a:pt x="289" y="72"/>
                    <a:pt x="289" y="72"/>
                    <a:pt x="289" y="72"/>
                  </a:cubicBezTo>
                  <a:cubicBezTo>
                    <a:pt x="290" y="69"/>
                    <a:pt x="290" y="69"/>
                    <a:pt x="290" y="69"/>
                  </a:cubicBezTo>
                  <a:cubicBezTo>
                    <a:pt x="291" y="71"/>
                    <a:pt x="289" y="61"/>
                    <a:pt x="290" y="58"/>
                  </a:cubicBezTo>
                  <a:cubicBezTo>
                    <a:pt x="289" y="57"/>
                    <a:pt x="288" y="56"/>
                    <a:pt x="288" y="55"/>
                  </a:cubicBezTo>
                  <a:cubicBezTo>
                    <a:pt x="287" y="54"/>
                    <a:pt x="282" y="54"/>
                    <a:pt x="282" y="54"/>
                  </a:cubicBezTo>
                  <a:cubicBezTo>
                    <a:pt x="278" y="53"/>
                    <a:pt x="278" y="53"/>
                    <a:pt x="278" y="53"/>
                  </a:cubicBezTo>
                  <a:cubicBezTo>
                    <a:pt x="275" y="52"/>
                    <a:pt x="275" y="52"/>
                    <a:pt x="275" y="52"/>
                  </a:cubicBezTo>
                  <a:cubicBezTo>
                    <a:pt x="272" y="47"/>
                    <a:pt x="272" y="47"/>
                    <a:pt x="272" y="47"/>
                  </a:cubicBezTo>
                  <a:cubicBezTo>
                    <a:pt x="269" y="45"/>
                    <a:pt x="269" y="45"/>
                    <a:pt x="269" y="45"/>
                  </a:cubicBezTo>
                  <a:cubicBezTo>
                    <a:pt x="266" y="41"/>
                    <a:pt x="266" y="41"/>
                    <a:pt x="266" y="41"/>
                  </a:cubicBezTo>
                  <a:cubicBezTo>
                    <a:pt x="267" y="39"/>
                    <a:pt x="267" y="39"/>
                    <a:pt x="267" y="39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70" y="35"/>
                    <a:pt x="271" y="35"/>
                    <a:pt x="272" y="33"/>
                  </a:cubicBezTo>
                  <a:cubicBezTo>
                    <a:pt x="274" y="30"/>
                    <a:pt x="272" y="30"/>
                    <a:pt x="272" y="30"/>
                  </a:cubicBezTo>
                  <a:cubicBezTo>
                    <a:pt x="272" y="30"/>
                    <a:pt x="268" y="28"/>
                    <a:pt x="266" y="27"/>
                  </a:cubicBezTo>
                  <a:cubicBezTo>
                    <a:pt x="264" y="26"/>
                    <a:pt x="261" y="29"/>
                    <a:pt x="261" y="29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46" y="24"/>
                    <a:pt x="246" y="24"/>
                    <a:pt x="246" y="24"/>
                  </a:cubicBezTo>
                  <a:cubicBezTo>
                    <a:pt x="239" y="22"/>
                    <a:pt x="239" y="22"/>
                    <a:pt x="239" y="22"/>
                  </a:cubicBezTo>
                  <a:cubicBezTo>
                    <a:pt x="235" y="20"/>
                    <a:pt x="235" y="20"/>
                    <a:pt x="235" y="20"/>
                  </a:cubicBezTo>
                  <a:cubicBezTo>
                    <a:pt x="235" y="20"/>
                    <a:pt x="235" y="12"/>
                    <a:pt x="235" y="11"/>
                  </a:cubicBezTo>
                  <a:cubicBezTo>
                    <a:pt x="235" y="9"/>
                    <a:pt x="235" y="6"/>
                    <a:pt x="235" y="6"/>
                  </a:cubicBezTo>
                  <a:cubicBezTo>
                    <a:pt x="235" y="6"/>
                    <a:pt x="229" y="5"/>
                    <a:pt x="226" y="6"/>
                  </a:cubicBezTo>
                  <a:cubicBezTo>
                    <a:pt x="224" y="7"/>
                    <a:pt x="221" y="6"/>
                    <a:pt x="221" y="6"/>
                  </a:cubicBezTo>
                  <a:cubicBezTo>
                    <a:pt x="221" y="6"/>
                    <a:pt x="213" y="5"/>
                    <a:pt x="212" y="3"/>
                  </a:cubicBezTo>
                  <a:cubicBezTo>
                    <a:pt x="212" y="1"/>
                    <a:pt x="212" y="2"/>
                    <a:pt x="211" y="2"/>
                  </a:cubicBezTo>
                  <a:cubicBezTo>
                    <a:pt x="209" y="2"/>
                    <a:pt x="203" y="2"/>
                    <a:pt x="203" y="2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97" y="9"/>
                    <a:pt x="197" y="9"/>
                    <a:pt x="197" y="9"/>
                  </a:cubicBezTo>
                  <a:cubicBezTo>
                    <a:pt x="196" y="7"/>
                    <a:pt x="196" y="7"/>
                    <a:pt x="19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0" y="18"/>
                    <a:pt x="168" y="18"/>
                  </a:cubicBezTo>
                  <a:cubicBezTo>
                    <a:pt x="168" y="19"/>
                    <a:pt x="167" y="21"/>
                    <a:pt x="167" y="22"/>
                  </a:cubicBezTo>
                  <a:cubicBezTo>
                    <a:pt x="166" y="23"/>
                    <a:pt x="164" y="23"/>
                    <a:pt x="164" y="23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5" y="20"/>
                    <a:pt x="155" y="20"/>
                    <a:pt x="155" y="20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45" y="12"/>
                    <a:pt x="145" y="12"/>
                    <a:pt x="145" y="12"/>
                  </a:cubicBezTo>
                  <a:cubicBezTo>
                    <a:pt x="132" y="11"/>
                    <a:pt x="132" y="11"/>
                    <a:pt x="132" y="11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4" y="7"/>
                    <a:pt x="97" y="4"/>
                    <a:pt x="94" y="4"/>
                  </a:cubicBezTo>
                  <a:cubicBezTo>
                    <a:pt x="92" y="5"/>
                    <a:pt x="88" y="6"/>
                    <a:pt x="87" y="7"/>
                  </a:cubicBezTo>
                  <a:cubicBezTo>
                    <a:pt x="86" y="7"/>
                    <a:pt x="84" y="10"/>
                    <a:pt x="83" y="10"/>
                  </a:cubicBezTo>
                  <a:cubicBezTo>
                    <a:pt x="81" y="11"/>
                    <a:pt x="79" y="10"/>
                    <a:pt x="77" y="10"/>
                  </a:cubicBezTo>
                  <a:cubicBezTo>
                    <a:pt x="76" y="11"/>
                    <a:pt x="75" y="12"/>
                    <a:pt x="73" y="12"/>
                  </a:cubicBezTo>
                  <a:cubicBezTo>
                    <a:pt x="71" y="12"/>
                    <a:pt x="70" y="11"/>
                    <a:pt x="68" y="11"/>
                  </a:cubicBezTo>
                  <a:cubicBezTo>
                    <a:pt x="67" y="12"/>
                    <a:pt x="66" y="13"/>
                    <a:pt x="64" y="13"/>
                  </a:cubicBezTo>
                  <a:cubicBezTo>
                    <a:pt x="62" y="13"/>
                    <a:pt x="61" y="11"/>
                    <a:pt x="61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4" y="10"/>
                    <a:pt x="51" y="10"/>
                  </a:cubicBezTo>
                  <a:cubicBezTo>
                    <a:pt x="49" y="9"/>
                    <a:pt x="47" y="8"/>
                    <a:pt x="45" y="9"/>
                  </a:cubicBezTo>
                  <a:cubicBezTo>
                    <a:pt x="43" y="9"/>
                    <a:pt x="40" y="10"/>
                    <a:pt x="40" y="1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0" y="6"/>
                    <a:pt x="6" y="7"/>
                  </a:cubicBezTo>
                  <a:cubicBezTo>
                    <a:pt x="5" y="7"/>
                    <a:pt x="2" y="10"/>
                    <a:pt x="1" y="10"/>
                  </a:cubicBezTo>
                  <a:cubicBezTo>
                    <a:pt x="0" y="11"/>
                    <a:pt x="1" y="11"/>
                    <a:pt x="2" y="14"/>
                  </a:cubicBezTo>
                  <a:cubicBezTo>
                    <a:pt x="2" y="16"/>
                    <a:pt x="1" y="20"/>
                    <a:pt x="1" y="20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6" y="30"/>
                    <a:pt x="17" y="29"/>
                  </a:cubicBezTo>
                  <a:cubicBezTo>
                    <a:pt x="18" y="29"/>
                    <a:pt x="17" y="28"/>
                    <a:pt x="18" y="27"/>
                  </a:cubicBezTo>
                  <a:cubicBezTo>
                    <a:pt x="18" y="27"/>
                    <a:pt x="19" y="29"/>
                    <a:pt x="21" y="29"/>
                  </a:cubicBezTo>
                  <a:cubicBezTo>
                    <a:pt x="21" y="29"/>
                    <a:pt x="23" y="28"/>
                    <a:pt x="24" y="28"/>
                  </a:cubicBezTo>
                  <a:cubicBezTo>
                    <a:pt x="26" y="29"/>
                    <a:pt x="27" y="30"/>
                    <a:pt x="28" y="30"/>
                  </a:cubicBezTo>
                  <a:cubicBezTo>
                    <a:pt x="29" y="30"/>
                    <a:pt x="31" y="29"/>
                    <a:pt x="31" y="29"/>
                  </a:cubicBezTo>
                  <a:cubicBezTo>
                    <a:pt x="33" y="28"/>
                    <a:pt x="36" y="27"/>
                    <a:pt x="39" y="30"/>
                  </a:cubicBezTo>
                  <a:cubicBezTo>
                    <a:pt x="41" y="32"/>
                    <a:pt x="40" y="33"/>
                    <a:pt x="42" y="33"/>
                  </a:cubicBezTo>
                  <a:cubicBezTo>
                    <a:pt x="43" y="33"/>
                    <a:pt x="43" y="31"/>
                    <a:pt x="44" y="31"/>
                  </a:cubicBezTo>
                  <a:cubicBezTo>
                    <a:pt x="46" y="31"/>
                    <a:pt x="46" y="32"/>
                    <a:pt x="47" y="33"/>
                  </a:cubicBezTo>
                  <a:cubicBezTo>
                    <a:pt x="49" y="35"/>
                    <a:pt x="49" y="37"/>
                    <a:pt x="51" y="38"/>
                  </a:cubicBezTo>
                  <a:cubicBezTo>
                    <a:pt x="51" y="39"/>
                    <a:pt x="52" y="40"/>
                    <a:pt x="54" y="40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7" y="39"/>
                    <a:pt x="59" y="39"/>
                    <a:pt x="60" y="40"/>
                  </a:cubicBezTo>
                  <a:cubicBezTo>
                    <a:pt x="64" y="40"/>
                    <a:pt x="65" y="40"/>
                    <a:pt x="66" y="41"/>
                  </a:cubicBezTo>
                  <a:cubicBezTo>
                    <a:pt x="67" y="43"/>
                    <a:pt x="69" y="46"/>
                    <a:pt x="70" y="48"/>
                  </a:cubicBezTo>
                  <a:cubicBezTo>
                    <a:pt x="71" y="50"/>
                    <a:pt x="72" y="54"/>
                    <a:pt x="73" y="55"/>
                  </a:cubicBezTo>
                  <a:cubicBezTo>
                    <a:pt x="74" y="57"/>
                    <a:pt x="77" y="58"/>
                    <a:pt x="78" y="60"/>
                  </a:cubicBezTo>
                  <a:cubicBezTo>
                    <a:pt x="79" y="61"/>
                    <a:pt x="81" y="67"/>
                    <a:pt x="82" y="69"/>
                  </a:cubicBezTo>
                  <a:cubicBezTo>
                    <a:pt x="82" y="71"/>
                    <a:pt x="85" y="74"/>
                    <a:pt x="86" y="78"/>
                  </a:cubicBezTo>
                  <a:cubicBezTo>
                    <a:pt x="88" y="82"/>
                    <a:pt x="88" y="85"/>
                    <a:pt x="88" y="85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85" y="98"/>
                    <a:pt x="83" y="100"/>
                  </a:cubicBezTo>
                  <a:cubicBezTo>
                    <a:pt x="81" y="102"/>
                    <a:pt x="84" y="105"/>
                    <a:pt x="87" y="106"/>
                  </a:cubicBezTo>
                  <a:cubicBezTo>
                    <a:pt x="90" y="107"/>
                    <a:pt x="98" y="103"/>
                    <a:pt x="98" y="103"/>
                  </a:cubicBezTo>
                  <a:cubicBezTo>
                    <a:pt x="103" y="101"/>
                    <a:pt x="103" y="101"/>
                    <a:pt x="103" y="101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8" y="100"/>
                    <a:pt x="120" y="99"/>
                    <a:pt x="122" y="98"/>
                  </a:cubicBezTo>
                  <a:cubicBezTo>
                    <a:pt x="125" y="96"/>
                    <a:pt x="125" y="94"/>
                    <a:pt x="125" y="94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30" y="88"/>
                    <a:pt x="133" y="87"/>
                  </a:cubicBezTo>
                  <a:cubicBezTo>
                    <a:pt x="135" y="86"/>
                    <a:pt x="137" y="88"/>
                    <a:pt x="137" y="88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4" y="95"/>
                    <a:pt x="144" y="95"/>
                    <a:pt x="144" y="95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9" y="96"/>
                    <a:pt x="152" y="99"/>
                    <a:pt x="153" y="100"/>
                  </a:cubicBezTo>
                  <a:cubicBezTo>
                    <a:pt x="153" y="102"/>
                    <a:pt x="153" y="102"/>
                    <a:pt x="153" y="102"/>
                  </a:cubicBezTo>
                  <a:cubicBezTo>
                    <a:pt x="159" y="102"/>
                    <a:pt x="159" y="102"/>
                    <a:pt x="159" y="102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73" y="100"/>
                    <a:pt x="169" y="99"/>
                    <a:pt x="169" y="99"/>
                  </a:cubicBezTo>
                  <a:cubicBezTo>
                    <a:pt x="164" y="99"/>
                    <a:pt x="164" y="99"/>
                    <a:pt x="164" y="99"/>
                  </a:cubicBezTo>
                  <a:cubicBezTo>
                    <a:pt x="163" y="98"/>
                    <a:pt x="163" y="98"/>
                    <a:pt x="163" y="98"/>
                  </a:cubicBezTo>
                  <a:cubicBezTo>
                    <a:pt x="161" y="96"/>
                    <a:pt x="161" y="96"/>
                    <a:pt x="161" y="96"/>
                  </a:cubicBezTo>
                  <a:cubicBezTo>
                    <a:pt x="165" y="93"/>
                    <a:pt x="165" y="93"/>
                    <a:pt x="165" y="93"/>
                  </a:cubicBezTo>
                  <a:cubicBezTo>
                    <a:pt x="165" y="93"/>
                    <a:pt x="167" y="93"/>
                    <a:pt x="168" y="92"/>
                  </a:cubicBezTo>
                  <a:cubicBezTo>
                    <a:pt x="170" y="92"/>
                    <a:pt x="176" y="90"/>
                    <a:pt x="176" y="90"/>
                  </a:cubicBezTo>
                  <a:cubicBezTo>
                    <a:pt x="178" y="88"/>
                    <a:pt x="178" y="88"/>
                    <a:pt x="178" y="88"/>
                  </a:cubicBezTo>
                  <a:cubicBezTo>
                    <a:pt x="178" y="88"/>
                    <a:pt x="180" y="86"/>
                    <a:pt x="180" y="86"/>
                  </a:cubicBezTo>
                  <a:cubicBezTo>
                    <a:pt x="181" y="86"/>
                    <a:pt x="183" y="86"/>
                    <a:pt x="184" y="85"/>
                  </a:cubicBezTo>
                  <a:cubicBezTo>
                    <a:pt x="184" y="85"/>
                    <a:pt x="185" y="84"/>
                    <a:pt x="185" y="84"/>
                  </a:cubicBezTo>
                  <a:cubicBezTo>
                    <a:pt x="185" y="84"/>
                    <a:pt x="185" y="83"/>
                    <a:pt x="186" y="83"/>
                  </a:cubicBezTo>
                  <a:cubicBezTo>
                    <a:pt x="186" y="83"/>
                    <a:pt x="187" y="83"/>
                    <a:pt x="188" y="82"/>
                  </a:cubicBezTo>
                  <a:cubicBezTo>
                    <a:pt x="189" y="82"/>
                    <a:pt x="189" y="82"/>
                    <a:pt x="190" y="81"/>
                  </a:cubicBezTo>
                  <a:cubicBezTo>
                    <a:pt x="190" y="81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2" y="78"/>
                    <a:pt x="193" y="79"/>
                    <a:pt x="193" y="79"/>
                  </a:cubicBezTo>
                  <a:cubicBezTo>
                    <a:pt x="193" y="79"/>
                    <a:pt x="195" y="79"/>
                    <a:pt x="196" y="79"/>
                  </a:cubicBezTo>
                  <a:cubicBezTo>
                    <a:pt x="196" y="79"/>
                    <a:pt x="198" y="78"/>
                    <a:pt x="198" y="78"/>
                  </a:cubicBezTo>
                  <a:cubicBezTo>
                    <a:pt x="198" y="78"/>
                    <a:pt x="198" y="77"/>
                    <a:pt x="199" y="77"/>
                  </a:cubicBezTo>
                  <a:cubicBezTo>
                    <a:pt x="200" y="77"/>
                    <a:pt x="201" y="77"/>
                    <a:pt x="202" y="77"/>
                  </a:cubicBezTo>
                  <a:cubicBezTo>
                    <a:pt x="202" y="77"/>
                    <a:pt x="204" y="77"/>
                    <a:pt x="204" y="77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06" y="76"/>
                    <a:pt x="205" y="75"/>
                    <a:pt x="206" y="76"/>
                  </a:cubicBezTo>
                  <a:cubicBezTo>
                    <a:pt x="207" y="76"/>
                    <a:pt x="206" y="77"/>
                    <a:pt x="207" y="76"/>
                  </a:cubicBezTo>
                  <a:cubicBezTo>
                    <a:pt x="208" y="75"/>
                    <a:pt x="209" y="73"/>
                    <a:pt x="209" y="73"/>
                  </a:cubicBezTo>
                  <a:cubicBezTo>
                    <a:pt x="209" y="73"/>
                    <a:pt x="208" y="73"/>
                    <a:pt x="210" y="73"/>
                  </a:cubicBezTo>
                  <a:cubicBezTo>
                    <a:pt x="212" y="73"/>
                    <a:pt x="212" y="73"/>
                    <a:pt x="214" y="73"/>
                  </a:cubicBezTo>
                  <a:cubicBezTo>
                    <a:pt x="215" y="73"/>
                    <a:pt x="217" y="72"/>
                    <a:pt x="217" y="72"/>
                  </a:cubicBezTo>
                  <a:cubicBezTo>
                    <a:pt x="218" y="72"/>
                    <a:pt x="219" y="71"/>
                    <a:pt x="219" y="71"/>
                  </a:cubicBezTo>
                  <a:cubicBezTo>
                    <a:pt x="219" y="70"/>
                    <a:pt x="215" y="68"/>
                    <a:pt x="215" y="68"/>
                  </a:cubicBezTo>
                  <a:cubicBezTo>
                    <a:pt x="215" y="68"/>
                    <a:pt x="213" y="67"/>
                    <a:pt x="216" y="67"/>
                  </a:cubicBezTo>
                  <a:cubicBezTo>
                    <a:pt x="219" y="68"/>
                    <a:pt x="220" y="68"/>
                    <a:pt x="220" y="68"/>
                  </a:cubicBezTo>
                  <a:cubicBezTo>
                    <a:pt x="221" y="68"/>
                    <a:pt x="221" y="67"/>
                    <a:pt x="222" y="67"/>
                  </a:cubicBezTo>
                  <a:cubicBezTo>
                    <a:pt x="223" y="66"/>
                    <a:pt x="224" y="65"/>
                    <a:pt x="224" y="65"/>
                  </a:cubicBezTo>
                  <a:cubicBezTo>
                    <a:pt x="225" y="65"/>
                    <a:pt x="227" y="67"/>
                    <a:pt x="227" y="67"/>
                  </a:cubicBezTo>
                  <a:cubicBezTo>
                    <a:pt x="227" y="69"/>
                    <a:pt x="227" y="69"/>
                    <a:pt x="227" y="69"/>
                  </a:cubicBezTo>
                  <a:cubicBezTo>
                    <a:pt x="230" y="69"/>
                    <a:pt x="230" y="69"/>
                    <a:pt x="230" y="69"/>
                  </a:cubicBezTo>
                  <a:cubicBezTo>
                    <a:pt x="230" y="69"/>
                    <a:pt x="231" y="69"/>
                    <a:pt x="231" y="69"/>
                  </a:cubicBezTo>
                  <a:cubicBezTo>
                    <a:pt x="269" y="71"/>
                    <a:pt x="269" y="71"/>
                    <a:pt x="269" y="71"/>
                  </a:cubicBezTo>
                  <a:close/>
                  <a:moveTo>
                    <a:pt x="269" y="71"/>
                  </a:moveTo>
                  <a:cubicBezTo>
                    <a:pt x="269" y="71"/>
                    <a:pt x="269" y="71"/>
                    <a:pt x="269" y="71"/>
                  </a:cubicBezTo>
                  <a:cubicBezTo>
                    <a:pt x="269" y="71"/>
                    <a:pt x="269" y="71"/>
                    <a:pt x="269" y="7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5141102" y="3529065"/>
              <a:ext cx="430849" cy="322107"/>
            </a:xfrm>
            <a:custGeom>
              <a:avLst/>
              <a:gdLst>
                <a:gd name="T0" fmla="*/ 24 w 181"/>
                <a:gd name="T1" fmla="*/ 22 h 140"/>
                <a:gd name="T2" fmla="*/ 34 w 181"/>
                <a:gd name="T3" fmla="*/ 20 h 140"/>
                <a:gd name="T4" fmla="*/ 48 w 181"/>
                <a:gd name="T5" fmla="*/ 17 h 140"/>
                <a:gd name="T6" fmla="*/ 55 w 181"/>
                <a:gd name="T7" fmla="*/ 16 h 140"/>
                <a:gd name="T8" fmla="*/ 62 w 181"/>
                <a:gd name="T9" fmla="*/ 15 h 140"/>
                <a:gd name="T10" fmla="*/ 73 w 181"/>
                <a:gd name="T11" fmla="*/ 13 h 140"/>
                <a:gd name="T12" fmla="*/ 81 w 181"/>
                <a:gd name="T13" fmla="*/ 13 h 140"/>
                <a:gd name="T14" fmla="*/ 92 w 181"/>
                <a:gd name="T15" fmla="*/ 15 h 140"/>
                <a:gd name="T16" fmla="*/ 101 w 181"/>
                <a:gd name="T17" fmla="*/ 12 h 140"/>
                <a:gd name="T18" fmla="*/ 105 w 181"/>
                <a:gd name="T19" fmla="*/ 3 h 140"/>
                <a:gd name="T20" fmla="*/ 112 w 181"/>
                <a:gd name="T21" fmla="*/ 6 h 140"/>
                <a:gd name="T22" fmla="*/ 117 w 181"/>
                <a:gd name="T23" fmla="*/ 10 h 140"/>
                <a:gd name="T24" fmla="*/ 128 w 181"/>
                <a:gd name="T25" fmla="*/ 11 h 140"/>
                <a:gd name="T26" fmla="*/ 135 w 181"/>
                <a:gd name="T27" fmla="*/ 10 h 140"/>
                <a:gd name="T28" fmla="*/ 139 w 181"/>
                <a:gd name="T29" fmla="*/ 14 h 140"/>
                <a:gd name="T30" fmla="*/ 146 w 181"/>
                <a:gd name="T31" fmla="*/ 17 h 140"/>
                <a:gd name="T32" fmla="*/ 153 w 181"/>
                <a:gd name="T33" fmla="*/ 22 h 140"/>
                <a:gd name="T34" fmla="*/ 158 w 181"/>
                <a:gd name="T35" fmla="*/ 27 h 140"/>
                <a:gd name="T36" fmla="*/ 167 w 181"/>
                <a:gd name="T37" fmla="*/ 28 h 140"/>
                <a:gd name="T38" fmla="*/ 170 w 181"/>
                <a:gd name="T39" fmla="*/ 28 h 140"/>
                <a:gd name="T40" fmla="*/ 172 w 181"/>
                <a:gd name="T41" fmla="*/ 37 h 140"/>
                <a:gd name="T42" fmla="*/ 170 w 181"/>
                <a:gd name="T43" fmla="*/ 47 h 140"/>
                <a:gd name="T44" fmla="*/ 180 w 181"/>
                <a:gd name="T45" fmla="*/ 47 h 140"/>
                <a:gd name="T46" fmla="*/ 177 w 181"/>
                <a:gd name="T47" fmla="*/ 53 h 140"/>
                <a:gd name="T48" fmla="*/ 170 w 181"/>
                <a:gd name="T49" fmla="*/ 57 h 140"/>
                <a:gd name="T50" fmla="*/ 167 w 181"/>
                <a:gd name="T51" fmla="*/ 67 h 140"/>
                <a:gd name="T52" fmla="*/ 157 w 181"/>
                <a:gd name="T53" fmla="*/ 74 h 140"/>
                <a:gd name="T54" fmla="*/ 156 w 181"/>
                <a:gd name="T55" fmla="*/ 82 h 140"/>
                <a:gd name="T56" fmla="*/ 158 w 181"/>
                <a:gd name="T57" fmla="*/ 95 h 140"/>
                <a:gd name="T58" fmla="*/ 157 w 181"/>
                <a:gd name="T59" fmla="*/ 104 h 140"/>
                <a:gd name="T60" fmla="*/ 164 w 181"/>
                <a:gd name="T61" fmla="*/ 107 h 140"/>
                <a:gd name="T62" fmla="*/ 157 w 181"/>
                <a:gd name="T63" fmla="*/ 114 h 140"/>
                <a:gd name="T64" fmla="*/ 156 w 181"/>
                <a:gd name="T65" fmla="*/ 108 h 140"/>
                <a:gd name="T66" fmla="*/ 146 w 181"/>
                <a:gd name="T67" fmla="*/ 113 h 140"/>
                <a:gd name="T68" fmla="*/ 144 w 181"/>
                <a:gd name="T69" fmla="*/ 119 h 140"/>
                <a:gd name="T70" fmla="*/ 136 w 181"/>
                <a:gd name="T71" fmla="*/ 121 h 140"/>
                <a:gd name="T72" fmla="*/ 133 w 181"/>
                <a:gd name="T73" fmla="*/ 128 h 140"/>
                <a:gd name="T74" fmla="*/ 122 w 181"/>
                <a:gd name="T75" fmla="*/ 134 h 140"/>
                <a:gd name="T76" fmla="*/ 106 w 181"/>
                <a:gd name="T77" fmla="*/ 137 h 140"/>
                <a:gd name="T78" fmla="*/ 97 w 181"/>
                <a:gd name="T79" fmla="*/ 140 h 140"/>
                <a:gd name="T80" fmla="*/ 93 w 181"/>
                <a:gd name="T81" fmla="*/ 131 h 140"/>
                <a:gd name="T82" fmla="*/ 79 w 181"/>
                <a:gd name="T83" fmla="*/ 124 h 140"/>
                <a:gd name="T84" fmla="*/ 73 w 181"/>
                <a:gd name="T85" fmla="*/ 121 h 140"/>
                <a:gd name="T86" fmla="*/ 69 w 181"/>
                <a:gd name="T87" fmla="*/ 121 h 140"/>
                <a:gd name="T88" fmla="*/ 66 w 181"/>
                <a:gd name="T89" fmla="*/ 107 h 140"/>
                <a:gd name="T90" fmla="*/ 68 w 181"/>
                <a:gd name="T91" fmla="*/ 97 h 140"/>
                <a:gd name="T92" fmla="*/ 61 w 181"/>
                <a:gd name="T93" fmla="*/ 90 h 140"/>
                <a:gd name="T94" fmla="*/ 56 w 181"/>
                <a:gd name="T95" fmla="*/ 86 h 140"/>
                <a:gd name="T96" fmla="*/ 45 w 181"/>
                <a:gd name="T97" fmla="*/ 89 h 140"/>
                <a:gd name="T98" fmla="*/ 31 w 181"/>
                <a:gd name="T99" fmla="*/ 90 h 140"/>
                <a:gd name="T100" fmla="*/ 22 w 181"/>
                <a:gd name="T101" fmla="*/ 86 h 140"/>
                <a:gd name="T102" fmla="*/ 13 w 181"/>
                <a:gd name="T103" fmla="*/ 79 h 140"/>
                <a:gd name="T104" fmla="*/ 11 w 181"/>
                <a:gd name="T105" fmla="*/ 69 h 140"/>
                <a:gd name="T106" fmla="*/ 4 w 181"/>
                <a:gd name="T107" fmla="*/ 60 h 140"/>
                <a:gd name="T108" fmla="*/ 1 w 181"/>
                <a:gd name="T109" fmla="*/ 49 h 140"/>
                <a:gd name="T110" fmla="*/ 1 w 181"/>
                <a:gd name="T111" fmla="*/ 42 h 140"/>
                <a:gd name="T112" fmla="*/ 7 w 181"/>
                <a:gd name="T113" fmla="*/ 35 h 140"/>
                <a:gd name="T114" fmla="*/ 12 w 181"/>
                <a:gd name="T115" fmla="*/ 31 h 140"/>
                <a:gd name="T116" fmla="*/ 18 w 181"/>
                <a:gd name="T117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1" h="140">
                  <a:moveTo>
                    <a:pt x="18" y="26"/>
                  </a:moveTo>
                  <a:cubicBezTo>
                    <a:pt x="24" y="22"/>
                    <a:pt x="24" y="22"/>
                    <a:pt x="24" y="22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9" y="18"/>
                    <a:pt x="40" y="18"/>
                  </a:cubicBezTo>
                  <a:cubicBezTo>
                    <a:pt x="41" y="18"/>
                    <a:pt x="48" y="17"/>
                    <a:pt x="48" y="17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52" y="14"/>
                    <a:pt x="55" y="15"/>
                    <a:pt x="55" y="16"/>
                  </a:cubicBezTo>
                  <a:cubicBezTo>
                    <a:pt x="56" y="17"/>
                    <a:pt x="59" y="20"/>
                    <a:pt x="60" y="20"/>
                  </a:cubicBezTo>
                  <a:cubicBezTo>
                    <a:pt x="61" y="19"/>
                    <a:pt x="62" y="15"/>
                    <a:pt x="62" y="15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3" y="12"/>
                    <a:pt x="74" y="12"/>
                  </a:cubicBezTo>
                  <a:cubicBezTo>
                    <a:pt x="75" y="13"/>
                    <a:pt x="81" y="13"/>
                    <a:pt x="81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13"/>
                    <a:pt x="91" y="15"/>
                    <a:pt x="92" y="15"/>
                  </a:cubicBezTo>
                  <a:cubicBezTo>
                    <a:pt x="92" y="14"/>
                    <a:pt x="95" y="10"/>
                    <a:pt x="95" y="10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8"/>
                    <a:pt x="105" y="3"/>
                    <a:pt x="105" y="3"/>
                  </a:cubicBezTo>
                  <a:cubicBezTo>
                    <a:pt x="106" y="3"/>
                    <a:pt x="110" y="0"/>
                    <a:pt x="110" y="0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6" y="9"/>
                    <a:pt x="116" y="9"/>
                    <a:pt x="116" y="9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28" y="11"/>
                    <a:pt x="128" y="11"/>
                    <a:pt x="128" y="11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53" y="22"/>
                    <a:pt x="153" y="22"/>
                    <a:pt x="153" y="22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62" y="27"/>
                    <a:pt x="162" y="27"/>
                    <a:pt x="162" y="27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0" y="28"/>
                    <a:pt x="170" y="28"/>
                    <a:pt x="170" y="28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72" y="37"/>
                    <a:pt x="172" y="37"/>
                    <a:pt x="172" y="37"/>
                  </a:cubicBezTo>
                  <a:cubicBezTo>
                    <a:pt x="170" y="42"/>
                    <a:pt x="170" y="42"/>
                    <a:pt x="170" y="42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80" y="47"/>
                    <a:pt x="180" y="47"/>
                    <a:pt x="180" y="47"/>
                  </a:cubicBezTo>
                  <a:cubicBezTo>
                    <a:pt x="181" y="51"/>
                    <a:pt x="181" y="51"/>
                    <a:pt x="181" y="51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7" y="67"/>
                    <a:pt x="167" y="67"/>
                    <a:pt x="167" y="67"/>
                  </a:cubicBezTo>
                  <a:cubicBezTo>
                    <a:pt x="159" y="70"/>
                    <a:pt x="159" y="70"/>
                    <a:pt x="159" y="70"/>
                  </a:cubicBezTo>
                  <a:cubicBezTo>
                    <a:pt x="157" y="74"/>
                    <a:pt x="157" y="74"/>
                    <a:pt x="157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7" y="89"/>
                    <a:pt x="157" y="89"/>
                    <a:pt x="157" y="89"/>
                  </a:cubicBezTo>
                  <a:cubicBezTo>
                    <a:pt x="158" y="95"/>
                    <a:pt x="158" y="95"/>
                    <a:pt x="158" y="95"/>
                  </a:cubicBezTo>
                  <a:cubicBezTo>
                    <a:pt x="158" y="95"/>
                    <a:pt x="156" y="100"/>
                    <a:pt x="155" y="103"/>
                  </a:cubicBezTo>
                  <a:cubicBezTo>
                    <a:pt x="155" y="105"/>
                    <a:pt x="157" y="104"/>
                    <a:pt x="157" y="104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4" y="107"/>
                    <a:pt x="164" y="107"/>
                    <a:pt x="164" y="107"/>
                  </a:cubicBezTo>
                  <a:cubicBezTo>
                    <a:pt x="162" y="113"/>
                    <a:pt x="162" y="113"/>
                    <a:pt x="162" y="113"/>
                  </a:cubicBezTo>
                  <a:cubicBezTo>
                    <a:pt x="157" y="114"/>
                    <a:pt x="157" y="114"/>
                    <a:pt x="157" y="114"/>
                  </a:cubicBezTo>
                  <a:cubicBezTo>
                    <a:pt x="158" y="110"/>
                    <a:pt x="158" y="110"/>
                    <a:pt x="158" y="110"/>
                  </a:cubicBezTo>
                  <a:cubicBezTo>
                    <a:pt x="156" y="108"/>
                    <a:pt x="156" y="108"/>
                    <a:pt x="156" y="108"/>
                  </a:cubicBezTo>
                  <a:cubicBezTo>
                    <a:pt x="153" y="111"/>
                    <a:pt x="153" y="111"/>
                    <a:pt x="153" y="111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4" y="119"/>
                    <a:pt x="144" y="119"/>
                    <a:pt x="144" y="119"/>
                  </a:cubicBezTo>
                  <a:cubicBezTo>
                    <a:pt x="144" y="119"/>
                    <a:pt x="140" y="119"/>
                    <a:pt x="138" y="119"/>
                  </a:cubicBezTo>
                  <a:cubicBezTo>
                    <a:pt x="137" y="118"/>
                    <a:pt x="136" y="121"/>
                    <a:pt x="136" y="121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3" y="128"/>
                    <a:pt x="133" y="128"/>
                    <a:pt x="133" y="128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2" y="134"/>
                    <a:pt x="122" y="134"/>
                    <a:pt x="122" y="134"/>
                  </a:cubicBezTo>
                  <a:cubicBezTo>
                    <a:pt x="116" y="133"/>
                    <a:pt x="116" y="133"/>
                    <a:pt x="116" y="133"/>
                  </a:cubicBezTo>
                  <a:cubicBezTo>
                    <a:pt x="106" y="137"/>
                    <a:pt x="106" y="137"/>
                    <a:pt x="106" y="137"/>
                  </a:cubicBezTo>
                  <a:cubicBezTo>
                    <a:pt x="97" y="139"/>
                    <a:pt x="97" y="139"/>
                    <a:pt x="97" y="139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96" y="134"/>
                    <a:pt x="96" y="134"/>
                    <a:pt x="96" y="134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3" y="131"/>
                    <a:pt x="90" y="125"/>
                    <a:pt x="90" y="124"/>
                  </a:cubicBezTo>
                  <a:cubicBezTo>
                    <a:pt x="90" y="124"/>
                    <a:pt x="79" y="124"/>
                    <a:pt x="79" y="124"/>
                  </a:cubicBezTo>
                  <a:cubicBezTo>
                    <a:pt x="79" y="124"/>
                    <a:pt x="77" y="121"/>
                    <a:pt x="76" y="119"/>
                  </a:cubicBezTo>
                  <a:cubicBezTo>
                    <a:pt x="76" y="118"/>
                    <a:pt x="73" y="121"/>
                    <a:pt x="73" y="121"/>
                  </a:cubicBezTo>
                  <a:cubicBezTo>
                    <a:pt x="69" y="122"/>
                    <a:pt x="69" y="122"/>
                    <a:pt x="69" y="122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6" y="117"/>
                    <a:pt x="66" y="117"/>
                    <a:pt x="66" y="11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7"/>
                    <a:pt x="66" y="96"/>
                    <a:pt x="65" y="94"/>
                  </a:cubicBezTo>
                  <a:cubicBezTo>
                    <a:pt x="63" y="92"/>
                    <a:pt x="61" y="90"/>
                    <a:pt x="61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3" y="91"/>
                    <a:pt x="43" y="91"/>
                    <a:pt x="43" y="91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0" y="43"/>
                    <a:pt x="1" y="42"/>
                  </a:cubicBezTo>
                  <a:cubicBezTo>
                    <a:pt x="3" y="42"/>
                    <a:pt x="6" y="41"/>
                    <a:pt x="6" y="41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26"/>
                    <a:pt x="14" y="26"/>
                    <a:pt x="14" y="26"/>
                  </a:cubicBezTo>
                  <a:lnTo>
                    <a:pt x="18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5138810" y="3115880"/>
              <a:ext cx="418244" cy="276568"/>
            </a:xfrm>
            <a:custGeom>
              <a:avLst/>
              <a:gdLst>
                <a:gd name="T0" fmla="*/ 39 w 176"/>
                <a:gd name="T1" fmla="*/ 45 h 120"/>
                <a:gd name="T2" fmla="*/ 46 w 176"/>
                <a:gd name="T3" fmla="*/ 36 h 120"/>
                <a:gd name="T4" fmla="*/ 51 w 176"/>
                <a:gd name="T5" fmla="*/ 29 h 120"/>
                <a:gd name="T6" fmla="*/ 59 w 176"/>
                <a:gd name="T7" fmla="*/ 23 h 120"/>
                <a:gd name="T8" fmla="*/ 69 w 176"/>
                <a:gd name="T9" fmla="*/ 17 h 120"/>
                <a:gd name="T10" fmla="*/ 81 w 176"/>
                <a:gd name="T11" fmla="*/ 15 h 120"/>
                <a:gd name="T12" fmla="*/ 89 w 176"/>
                <a:gd name="T13" fmla="*/ 6 h 120"/>
                <a:gd name="T14" fmla="*/ 97 w 176"/>
                <a:gd name="T15" fmla="*/ 7 h 120"/>
                <a:gd name="T16" fmla="*/ 109 w 176"/>
                <a:gd name="T17" fmla="*/ 4 h 120"/>
                <a:gd name="T18" fmla="*/ 128 w 176"/>
                <a:gd name="T19" fmla="*/ 7 h 120"/>
                <a:gd name="T20" fmla="*/ 154 w 176"/>
                <a:gd name="T21" fmla="*/ 3 h 120"/>
                <a:gd name="T22" fmla="*/ 157 w 176"/>
                <a:gd name="T23" fmla="*/ 15 h 120"/>
                <a:gd name="T24" fmla="*/ 162 w 176"/>
                <a:gd name="T25" fmla="*/ 70 h 120"/>
                <a:gd name="T26" fmla="*/ 171 w 176"/>
                <a:gd name="T27" fmla="*/ 80 h 120"/>
                <a:gd name="T28" fmla="*/ 168 w 176"/>
                <a:gd name="T29" fmla="*/ 90 h 120"/>
                <a:gd name="T30" fmla="*/ 165 w 176"/>
                <a:gd name="T31" fmla="*/ 105 h 120"/>
                <a:gd name="T32" fmla="*/ 146 w 176"/>
                <a:gd name="T33" fmla="*/ 109 h 120"/>
                <a:gd name="T34" fmla="*/ 124 w 176"/>
                <a:gd name="T35" fmla="*/ 99 h 120"/>
                <a:gd name="T36" fmla="*/ 102 w 176"/>
                <a:gd name="T37" fmla="*/ 94 h 120"/>
                <a:gd name="T38" fmla="*/ 78 w 176"/>
                <a:gd name="T39" fmla="*/ 107 h 120"/>
                <a:gd name="T40" fmla="*/ 77 w 176"/>
                <a:gd name="T41" fmla="*/ 87 h 120"/>
                <a:gd name="T42" fmla="*/ 71 w 176"/>
                <a:gd name="T43" fmla="*/ 83 h 120"/>
                <a:gd name="T44" fmla="*/ 61 w 176"/>
                <a:gd name="T45" fmla="*/ 86 h 120"/>
                <a:gd name="T46" fmla="*/ 48 w 176"/>
                <a:gd name="T47" fmla="*/ 75 h 120"/>
                <a:gd name="T48" fmla="*/ 48 w 176"/>
                <a:gd name="T49" fmla="*/ 67 h 120"/>
                <a:gd name="T50" fmla="*/ 53 w 176"/>
                <a:gd name="T51" fmla="*/ 62 h 120"/>
                <a:gd name="T52" fmla="*/ 42 w 176"/>
                <a:gd name="T53" fmla="*/ 59 h 120"/>
                <a:gd name="T54" fmla="*/ 45 w 176"/>
                <a:gd name="T55" fmla="*/ 51 h 120"/>
                <a:gd name="T56" fmla="*/ 23 w 176"/>
                <a:gd name="T57" fmla="*/ 103 h 120"/>
                <a:gd name="T58" fmla="*/ 22 w 176"/>
                <a:gd name="T59" fmla="*/ 105 h 120"/>
                <a:gd name="T60" fmla="*/ 64 w 176"/>
                <a:gd name="T61" fmla="*/ 98 h 120"/>
                <a:gd name="T62" fmla="*/ 9 w 176"/>
                <a:gd name="T63" fmla="*/ 91 h 120"/>
                <a:gd name="T64" fmla="*/ 4 w 176"/>
                <a:gd name="T65" fmla="*/ 87 h 120"/>
                <a:gd name="T66" fmla="*/ 3 w 176"/>
                <a:gd name="T67" fmla="*/ 91 h 120"/>
                <a:gd name="T68" fmla="*/ 5 w 176"/>
                <a:gd name="T69" fmla="*/ 98 h 120"/>
                <a:gd name="T70" fmla="*/ 10 w 176"/>
                <a:gd name="T71" fmla="*/ 103 h 120"/>
                <a:gd name="T72" fmla="*/ 14 w 176"/>
                <a:gd name="T73" fmla="*/ 110 h 120"/>
                <a:gd name="T74" fmla="*/ 13 w 176"/>
                <a:gd name="T75" fmla="*/ 119 h 120"/>
                <a:gd name="T76" fmla="*/ 17 w 176"/>
                <a:gd name="T77" fmla="*/ 109 h 120"/>
                <a:gd name="T78" fmla="*/ 23 w 176"/>
                <a:gd name="T79" fmla="*/ 99 h 120"/>
                <a:gd name="T80" fmla="*/ 29 w 176"/>
                <a:gd name="T81" fmla="*/ 97 h 120"/>
                <a:gd name="T82" fmla="*/ 33 w 176"/>
                <a:gd name="T83" fmla="*/ 89 h 120"/>
                <a:gd name="T84" fmla="*/ 37 w 176"/>
                <a:gd name="T85" fmla="*/ 84 h 120"/>
                <a:gd name="T86" fmla="*/ 41 w 176"/>
                <a:gd name="T87" fmla="*/ 81 h 120"/>
                <a:gd name="T88" fmla="*/ 28 w 176"/>
                <a:gd name="T89" fmla="*/ 77 h 120"/>
                <a:gd name="T90" fmla="*/ 19 w 176"/>
                <a:gd name="T91" fmla="*/ 81 h 120"/>
                <a:gd name="T92" fmla="*/ 12 w 176"/>
                <a:gd name="T93" fmla="*/ 86 h 120"/>
                <a:gd name="T94" fmla="*/ 35 w 176"/>
                <a:gd name="T95" fmla="*/ 76 h 120"/>
                <a:gd name="T96" fmla="*/ 43 w 176"/>
                <a:gd name="T97" fmla="*/ 76 h 120"/>
                <a:gd name="T98" fmla="*/ 36 w 176"/>
                <a:gd name="T99" fmla="*/ 75 h 120"/>
                <a:gd name="T100" fmla="*/ 27 w 176"/>
                <a:gd name="T101" fmla="*/ 59 h 120"/>
                <a:gd name="T102" fmla="*/ 27 w 176"/>
                <a:gd name="T103" fmla="*/ 65 h 120"/>
                <a:gd name="T104" fmla="*/ 22 w 176"/>
                <a:gd name="T105" fmla="*/ 70 h 120"/>
                <a:gd name="T106" fmla="*/ 14 w 176"/>
                <a:gd name="T107" fmla="*/ 68 h 120"/>
                <a:gd name="T108" fmla="*/ 3 w 176"/>
                <a:gd name="T109" fmla="*/ 64 h 120"/>
                <a:gd name="T110" fmla="*/ 16 w 176"/>
                <a:gd name="T111" fmla="*/ 54 h 120"/>
                <a:gd name="T112" fmla="*/ 36 w 176"/>
                <a:gd name="T113" fmla="*/ 52 h 120"/>
                <a:gd name="T114" fmla="*/ 33 w 176"/>
                <a:gd name="T115" fmla="*/ 57 h 120"/>
                <a:gd name="T116" fmla="*/ 36 w 176"/>
                <a:gd name="T117" fmla="*/ 5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6" h="120">
                  <a:moveTo>
                    <a:pt x="39" y="52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9" y="41"/>
                    <a:pt x="40" y="41"/>
                  </a:cubicBezTo>
                  <a:cubicBezTo>
                    <a:pt x="40" y="40"/>
                    <a:pt x="43" y="40"/>
                    <a:pt x="43" y="40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4" y="36"/>
                    <a:pt x="46" y="36"/>
                  </a:cubicBezTo>
                  <a:cubicBezTo>
                    <a:pt x="47" y="36"/>
                    <a:pt x="49" y="36"/>
                    <a:pt x="50" y="36"/>
                  </a:cubicBezTo>
                  <a:cubicBezTo>
                    <a:pt x="51" y="36"/>
                    <a:pt x="52" y="35"/>
                    <a:pt x="52" y="35"/>
                  </a:cubicBezTo>
                  <a:cubicBezTo>
                    <a:pt x="54" y="35"/>
                    <a:pt x="55" y="36"/>
                    <a:pt x="54" y="35"/>
                  </a:cubicBezTo>
                  <a:cubicBezTo>
                    <a:pt x="54" y="35"/>
                    <a:pt x="54" y="34"/>
                    <a:pt x="53" y="33"/>
                  </a:cubicBezTo>
                  <a:cubicBezTo>
                    <a:pt x="52" y="32"/>
                    <a:pt x="49" y="30"/>
                    <a:pt x="51" y="29"/>
                  </a:cubicBezTo>
                  <a:cubicBezTo>
                    <a:pt x="52" y="28"/>
                    <a:pt x="53" y="28"/>
                    <a:pt x="54" y="29"/>
                  </a:cubicBezTo>
                  <a:cubicBezTo>
                    <a:pt x="55" y="29"/>
                    <a:pt x="56" y="31"/>
                    <a:pt x="56" y="31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9" y="27"/>
                    <a:pt x="60" y="26"/>
                  </a:cubicBezTo>
                  <a:cubicBezTo>
                    <a:pt x="60" y="25"/>
                    <a:pt x="59" y="23"/>
                    <a:pt x="59" y="23"/>
                  </a:cubicBezTo>
                  <a:cubicBezTo>
                    <a:pt x="59" y="23"/>
                    <a:pt x="59" y="23"/>
                    <a:pt x="62" y="23"/>
                  </a:cubicBezTo>
                  <a:cubicBezTo>
                    <a:pt x="65" y="22"/>
                    <a:pt x="64" y="22"/>
                    <a:pt x="66" y="22"/>
                  </a:cubicBezTo>
                  <a:cubicBezTo>
                    <a:pt x="67" y="22"/>
                    <a:pt x="70" y="22"/>
                    <a:pt x="70" y="22"/>
                  </a:cubicBezTo>
                  <a:cubicBezTo>
                    <a:pt x="70" y="22"/>
                    <a:pt x="72" y="21"/>
                    <a:pt x="71" y="20"/>
                  </a:cubicBezTo>
                  <a:cubicBezTo>
                    <a:pt x="71" y="19"/>
                    <a:pt x="69" y="17"/>
                    <a:pt x="69" y="17"/>
                  </a:cubicBezTo>
                  <a:cubicBezTo>
                    <a:pt x="69" y="17"/>
                    <a:pt x="70" y="14"/>
                    <a:pt x="70" y="15"/>
                  </a:cubicBezTo>
                  <a:cubicBezTo>
                    <a:pt x="70" y="17"/>
                    <a:pt x="73" y="19"/>
                    <a:pt x="73" y="19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4" y="15"/>
                    <a:pt x="86" y="15"/>
                  </a:cubicBezTo>
                  <a:cubicBezTo>
                    <a:pt x="87" y="15"/>
                    <a:pt x="90" y="14"/>
                    <a:pt x="90" y="14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9" y="5"/>
                    <a:pt x="89" y="6"/>
                  </a:cubicBezTo>
                  <a:cubicBezTo>
                    <a:pt x="90" y="7"/>
                    <a:pt x="90" y="9"/>
                    <a:pt x="91" y="9"/>
                  </a:cubicBezTo>
                  <a:cubicBezTo>
                    <a:pt x="92" y="9"/>
                    <a:pt x="93" y="10"/>
                    <a:pt x="94" y="9"/>
                  </a:cubicBezTo>
                  <a:cubicBezTo>
                    <a:pt x="94" y="8"/>
                    <a:pt x="94" y="5"/>
                    <a:pt x="94" y="5"/>
                  </a:cubicBezTo>
                  <a:cubicBezTo>
                    <a:pt x="94" y="5"/>
                    <a:pt x="93" y="4"/>
                    <a:pt x="94" y="4"/>
                  </a:cubicBezTo>
                  <a:cubicBezTo>
                    <a:pt x="95" y="5"/>
                    <a:pt x="97" y="7"/>
                    <a:pt x="97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4" y="6"/>
                    <a:pt x="106" y="5"/>
                    <a:pt x="107" y="5"/>
                  </a:cubicBezTo>
                  <a:cubicBezTo>
                    <a:pt x="108" y="5"/>
                    <a:pt x="108" y="4"/>
                    <a:pt x="109" y="4"/>
                  </a:cubicBezTo>
                  <a:cubicBezTo>
                    <a:pt x="110" y="4"/>
                    <a:pt x="112" y="5"/>
                    <a:pt x="112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9" y="3"/>
                    <a:pt x="119" y="3"/>
                    <a:pt x="119" y="3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7" y="5"/>
                    <a:pt x="138" y="5"/>
                  </a:cubicBezTo>
                  <a:cubicBezTo>
                    <a:pt x="140" y="4"/>
                    <a:pt x="144" y="4"/>
                    <a:pt x="144" y="4"/>
                  </a:cubicBezTo>
                  <a:cubicBezTo>
                    <a:pt x="144" y="4"/>
                    <a:pt x="145" y="4"/>
                    <a:pt x="147" y="4"/>
                  </a:cubicBezTo>
                  <a:cubicBezTo>
                    <a:pt x="149" y="3"/>
                    <a:pt x="154" y="3"/>
                    <a:pt x="154" y="3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2" y="4"/>
                    <a:pt x="162" y="4"/>
                    <a:pt x="162" y="4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56" y="25"/>
                    <a:pt x="153" y="30"/>
                    <a:pt x="152" y="36"/>
                  </a:cubicBezTo>
                  <a:cubicBezTo>
                    <a:pt x="151" y="39"/>
                    <a:pt x="149" y="40"/>
                    <a:pt x="152" y="45"/>
                  </a:cubicBezTo>
                  <a:cubicBezTo>
                    <a:pt x="154" y="47"/>
                    <a:pt x="154" y="54"/>
                    <a:pt x="158" y="58"/>
                  </a:cubicBezTo>
                  <a:cubicBezTo>
                    <a:pt x="160" y="60"/>
                    <a:pt x="158" y="65"/>
                    <a:pt x="161" y="67"/>
                  </a:cubicBezTo>
                  <a:cubicBezTo>
                    <a:pt x="161" y="67"/>
                    <a:pt x="161" y="68"/>
                    <a:pt x="162" y="70"/>
                  </a:cubicBezTo>
                  <a:cubicBezTo>
                    <a:pt x="164" y="72"/>
                    <a:pt x="164" y="71"/>
                    <a:pt x="165" y="72"/>
                  </a:cubicBezTo>
                  <a:cubicBezTo>
                    <a:pt x="165" y="72"/>
                    <a:pt x="167" y="73"/>
                    <a:pt x="168" y="74"/>
                  </a:cubicBezTo>
                  <a:cubicBezTo>
                    <a:pt x="169" y="75"/>
                    <a:pt x="169" y="77"/>
                    <a:pt x="169" y="78"/>
                  </a:cubicBezTo>
                  <a:cubicBezTo>
                    <a:pt x="169" y="79"/>
                    <a:pt x="170" y="80"/>
                    <a:pt x="170" y="80"/>
                  </a:cubicBezTo>
                  <a:cubicBezTo>
                    <a:pt x="170" y="80"/>
                    <a:pt x="171" y="79"/>
                    <a:pt x="171" y="80"/>
                  </a:cubicBezTo>
                  <a:cubicBezTo>
                    <a:pt x="171" y="81"/>
                    <a:pt x="170" y="79"/>
                    <a:pt x="171" y="81"/>
                  </a:cubicBezTo>
                  <a:cubicBezTo>
                    <a:pt x="173" y="83"/>
                    <a:pt x="176" y="83"/>
                    <a:pt x="176" y="83"/>
                  </a:cubicBezTo>
                  <a:cubicBezTo>
                    <a:pt x="175" y="87"/>
                    <a:pt x="175" y="87"/>
                    <a:pt x="175" y="87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3" y="88"/>
                    <a:pt x="168" y="88"/>
                    <a:pt x="168" y="90"/>
                  </a:cubicBezTo>
                  <a:cubicBezTo>
                    <a:pt x="168" y="91"/>
                    <a:pt x="168" y="95"/>
                    <a:pt x="168" y="95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98"/>
                    <a:pt x="167" y="102"/>
                    <a:pt x="167" y="103"/>
                  </a:cubicBezTo>
                  <a:cubicBezTo>
                    <a:pt x="167" y="104"/>
                    <a:pt x="168" y="104"/>
                    <a:pt x="168" y="104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153" y="103"/>
                    <a:pt x="153" y="103"/>
                    <a:pt x="153" y="103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6"/>
                    <a:pt x="148" y="108"/>
                    <a:pt x="146" y="109"/>
                  </a:cubicBezTo>
                  <a:cubicBezTo>
                    <a:pt x="145" y="110"/>
                    <a:pt x="144" y="111"/>
                    <a:pt x="143" y="111"/>
                  </a:cubicBezTo>
                  <a:cubicBezTo>
                    <a:pt x="141" y="112"/>
                    <a:pt x="139" y="110"/>
                    <a:pt x="139" y="110"/>
                  </a:cubicBezTo>
                  <a:cubicBezTo>
                    <a:pt x="136" y="109"/>
                    <a:pt x="136" y="109"/>
                    <a:pt x="136" y="109"/>
                  </a:cubicBezTo>
                  <a:cubicBezTo>
                    <a:pt x="133" y="105"/>
                    <a:pt x="133" y="105"/>
                    <a:pt x="133" y="105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6"/>
                    <a:pt x="115" y="96"/>
                    <a:pt x="115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02" y="94"/>
                    <a:pt x="102" y="94"/>
                    <a:pt x="102" y="94"/>
                  </a:cubicBezTo>
                  <a:cubicBezTo>
                    <a:pt x="97" y="92"/>
                    <a:pt x="97" y="92"/>
                    <a:pt x="97" y="92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103"/>
                    <a:pt x="83" y="103"/>
                    <a:pt x="83" y="103"/>
                  </a:cubicBezTo>
                  <a:cubicBezTo>
                    <a:pt x="83" y="103"/>
                    <a:pt x="80" y="106"/>
                    <a:pt x="78" y="107"/>
                  </a:cubicBezTo>
                  <a:cubicBezTo>
                    <a:pt x="77" y="106"/>
                    <a:pt x="77" y="106"/>
                    <a:pt x="77" y="106"/>
                  </a:cubicBezTo>
                  <a:cubicBezTo>
                    <a:pt x="77" y="106"/>
                    <a:pt x="77" y="103"/>
                    <a:pt x="78" y="101"/>
                  </a:cubicBezTo>
                  <a:cubicBezTo>
                    <a:pt x="79" y="100"/>
                    <a:pt x="79" y="98"/>
                    <a:pt x="79" y="97"/>
                  </a:cubicBezTo>
                  <a:cubicBezTo>
                    <a:pt x="79" y="96"/>
                    <a:pt x="79" y="94"/>
                    <a:pt x="78" y="92"/>
                  </a:cubicBezTo>
                  <a:cubicBezTo>
                    <a:pt x="78" y="90"/>
                    <a:pt x="77" y="87"/>
                    <a:pt x="77" y="87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1" y="83"/>
                    <a:pt x="71" y="83"/>
                    <a:pt x="71" y="83"/>
                  </a:cubicBezTo>
                  <a:cubicBezTo>
                    <a:pt x="71" y="83"/>
                    <a:pt x="72" y="85"/>
                    <a:pt x="72" y="86"/>
                  </a:cubicBezTo>
                  <a:cubicBezTo>
                    <a:pt x="71" y="87"/>
                    <a:pt x="69" y="87"/>
                    <a:pt x="69" y="87"/>
                  </a:cubicBezTo>
                  <a:cubicBezTo>
                    <a:pt x="68" y="88"/>
                    <a:pt x="68" y="91"/>
                    <a:pt x="68" y="91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7"/>
                    <a:pt x="62" y="87"/>
                    <a:pt x="61" y="86"/>
                  </a:cubicBezTo>
                  <a:cubicBezTo>
                    <a:pt x="60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ubicBezTo>
                    <a:pt x="55" y="86"/>
                    <a:pt x="55" y="86"/>
                    <a:pt x="54" y="84"/>
                  </a:cubicBezTo>
                  <a:cubicBezTo>
                    <a:pt x="53" y="82"/>
                    <a:pt x="50" y="77"/>
                    <a:pt x="50" y="77"/>
                  </a:cubicBezTo>
                  <a:cubicBezTo>
                    <a:pt x="50" y="77"/>
                    <a:pt x="49" y="75"/>
                    <a:pt x="48" y="75"/>
                  </a:cubicBezTo>
                  <a:cubicBezTo>
                    <a:pt x="48" y="75"/>
                    <a:pt x="47" y="77"/>
                    <a:pt x="47" y="77"/>
                  </a:cubicBezTo>
                  <a:cubicBezTo>
                    <a:pt x="46" y="77"/>
                    <a:pt x="46" y="75"/>
                    <a:pt x="46" y="74"/>
                  </a:cubicBezTo>
                  <a:cubicBezTo>
                    <a:pt x="46" y="73"/>
                    <a:pt x="46" y="72"/>
                    <a:pt x="46" y="70"/>
                  </a:cubicBezTo>
                  <a:cubicBezTo>
                    <a:pt x="46" y="68"/>
                    <a:pt x="45" y="66"/>
                    <a:pt x="46" y="66"/>
                  </a:cubicBezTo>
                  <a:cubicBezTo>
                    <a:pt x="46" y="66"/>
                    <a:pt x="47" y="67"/>
                    <a:pt x="48" y="67"/>
                  </a:cubicBezTo>
                  <a:cubicBezTo>
                    <a:pt x="49" y="67"/>
                    <a:pt x="49" y="65"/>
                    <a:pt x="49" y="65"/>
                  </a:cubicBezTo>
                  <a:cubicBezTo>
                    <a:pt x="50" y="65"/>
                    <a:pt x="51" y="66"/>
                    <a:pt x="51" y="66"/>
                  </a:cubicBezTo>
                  <a:cubicBezTo>
                    <a:pt x="52" y="66"/>
                    <a:pt x="53" y="66"/>
                    <a:pt x="53" y="66"/>
                  </a:cubicBezTo>
                  <a:cubicBezTo>
                    <a:pt x="54" y="65"/>
                    <a:pt x="54" y="65"/>
                    <a:pt x="54" y="64"/>
                  </a:cubicBezTo>
                  <a:cubicBezTo>
                    <a:pt x="54" y="63"/>
                    <a:pt x="53" y="62"/>
                    <a:pt x="53" y="62"/>
                  </a:cubicBezTo>
                  <a:cubicBezTo>
                    <a:pt x="52" y="62"/>
                    <a:pt x="46" y="65"/>
                    <a:pt x="46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3" y="103"/>
                  </a:moveTo>
                  <a:cubicBezTo>
                    <a:pt x="23" y="103"/>
                    <a:pt x="23" y="103"/>
                    <a:pt x="23" y="103"/>
                  </a:cubicBezTo>
                  <a:cubicBezTo>
                    <a:pt x="23" y="103"/>
                    <a:pt x="25" y="103"/>
                    <a:pt x="25" y="103"/>
                  </a:cubicBezTo>
                  <a:cubicBezTo>
                    <a:pt x="25" y="103"/>
                    <a:pt x="26" y="104"/>
                    <a:pt x="25" y="104"/>
                  </a:cubicBezTo>
                  <a:cubicBezTo>
                    <a:pt x="25" y="105"/>
                    <a:pt x="26" y="105"/>
                    <a:pt x="25" y="105"/>
                  </a:cubicBezTo>
                  <a:cubicBezTo>
                    <a:pt x="24" y="105"/>
                    <a:pt x="22" y="106"/>
                    <a:pt x="22" y="105"/>
                  </a:cubicBezTo>
                  <a:cubicBezTo>
                    <a:pt x="22" y="105"/>
                    <a:pt x="23" y="104"/>
                    <a:pt x="23" y="104"/>
                  </a:cubicBezTo>
                  <a:cubicBezTo>
                    <a:pt x="23" y="103"/>
                    <a:pt x="23" y="103"/>
                    <a:pt x="23" y="103"/>
                  </a:cubicBezTo>
                  <a:close/>
                  <a:moveTo>
                    <a:pt x="64" y="95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3" y="98"/>
                    <a:pt x="64" y="98"/>
                  </a:cubicBezTo>
                  <a:cubicBezTo>
                    <a:pt x="64" y="98"/>
                    <a:pt x="65" y="98"/>
                    <a:pt x="66" y="98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6"/>
                    <a:pt x="67" y="95"/>
                    <a:pt x="67" y="95"/>
                  </a:cubicBezTo>
                  <a:cubicBezTo>
                    <a:pt x="64" y="95"/>
                    <a:pt x="64" y="95"/>
                    <a:pt x="64" y="95"/>
                  </a:cubicBezTo>
                  <a:close/>
                  <a:moveTo>
                    <a:pt x="9" y="91"/>
                  </a:moveTo>
                  <a:cubicBezTo>
                    <a:pt x="9" y="91"/>
                    <a:pt x="9" y="91"/>
                    <a:pt x="9" y="91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2"/>
                    <a:pt x="7" y="89"/>
                    <a:pt x="7" y="88"/>
                  </a:cubicBezTo>
                  <a:cubicBezTo>
                    <a:pt x="7" y="88"/>
                    <a:pt x="5" y="87"/>
                    <a:pt x="5" y="87"/>
                  </a:cubicBezTo>
                  <a:cubicBezTo>
                    <a:pt x="5" y="87"/>
                    <a:pt x="4" y="87"/>
                    <a:pt x="4" y="87"/>
                  </a:cubicBezTo>
                  <a:cubicBezTo>
                    <a:pt x="3" y="87"/>
                    <a:pt x="3" y="88"/>
                    <a:pt x="3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1" y="88"/>
                    <a:pt x="1" y="88"/>
                  </a:cubicBezTo>
                  <a:cubicBezTo>
                    <a:pt x="0" y="89"/>
                    <a:pt x="1" y="90"/>
                    <a:pt x="1" y="90"/>
                  </a:cubicBezTo>
                  <a:cubicBezTo>
                    <a:pt x="1" y="90"/>
                    <a:pt x="2" y="90"/>
                    <a:pt x="3" y="91"/>
                  </a:cubicBezTo>
                  <a:cubicBezTo>
                    <a:pt x="4" y="91"/>
                    <a:pt x="4" y="91"/>
                    <a:pt x="4" y="91"/>
                  </a:cubicBezTo>
                  <a:cubicBezTo>
                    <a:pt x="4" y="91"/>
                    <a:pt x="6" y="93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5" y="98"/>
                    <a:pt x="5" y="98"/>
                  </a:cubicBezTo>
                  <a:cubicBezTo>
                    <a:pt x="6" y="98"/>
                    <a:pt x="4" y="99"/>
                    <a:pt x="4" y="99"/>
                  </a:cubicBezTo>
                  <a:cubicBezTo>
                    <a:pt x="4" y="99"/>
                    <a:pt x="4" y="101"/>
                    <a:pt x="4" y="101"/>
                  </a:cubicBezTo>
                  <a:cubicBezTo>
                    <a:pt x="4" y="101"/>
                    <a:pt x="5" y="102"/>
                    <a:pt x="7" y="102"/>
                  </a:cubicBezTo>
                  <a:cubicBezTo>
                    <a:pt x="9" y="103"/>
                    <a:pt x="9" y="102"/>
                    <a:pt x="9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3" y="110"/>
                    <a:pt x="12" y="110"/>
                  </a:cubicBezTo>
                  <a:cubicBezTo>
                    <a:pt x="12" y="111"/>
                    <a:pt x="12" y="112"/>
                    <a:pt x="11" y="112"/>
                  </a:cubicBezTo>
                  <a:cubicBezTo>
                    <a:pt x="11" y="112"/>
                    <a:pt x="11" y="114"/>
                    <a:pt x="10" y="115"/>
                  </a:cubicBezTo>
                  <a:cubicBezTo>
                    <a:pt x="10" y="116"/>
                    <a:pt x="11" y="117"/>
                    <a:pt x="11" y="118"/>
                  </a:cubicBezTo>
                  <a:cubicBezTo>
                    <a:pt x="11" y="120"/>
                    <a:pt x="12" y="119"/>
                    <a:pt x="13" y="119"/>
                  </a:cubicBezTo>
                  <a:cubicBezTo>
                    <a:pt x="13" y="119"/>
                    <a:pt x="14" y="118"/>
                    <a:pt x="14" y="118"/>
                  </a:cubicBezTo>
                  <a:cubicBezTo>
                    <a:pt x="15" y="118"/>
                    <a:pt x="16" y="116"/>
                    <a:pt x="17" y="115"/>
                  </a:cubicBezTo>
                  <a:cubicBezTo>
                    <a:pt x="17" y="114"/>
                    <a:pt x="17" y="113"/>
                    <a:pt x="17" y="113"/>
                  </a:cubicBezTo>
                  <a:cubicBezTo>
                    <a:pt x="16" y="112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99"/>
                    <a:pt x="25" y="98"/>
                  </a:cubicBezTo>
                  <a:cubicBezTo>
                    <a:pt x="27" y="98"/>
                    <a:pt x="26" y="99"/>
                    <a:pt x="27" y="99"/>
                  </a:cubicBezTo>
                  <a:cubicBezTo>
                    <a:pt x="27" y="100"/>
                    <a:pt x="28" y="100"/>
                    <a:pt x="29" y="100"/>
                  </a:cubicBezTo>
                  <a:cubicBezTo>
                    <a:pt x="29" y="100"/>
                    <a:pt x="30" y="98"/>
                    <a:pt x="30" y="98"/>
                  </a:cubicBezTo>
                  <a:cubicBezTo>
                    <a:pt x="30" y="97"/>
                    <a:pt x="29" y="97"/>
                    <a:pt x="29" y="97"/>
                  </a:cubicBezTo>
                  <a:cubicBezTo>
                    <a:pt x="28" y="95"/>
                    <a:pt x="28" y="95"/>
                    <a:pt x="28" y="95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2" y="93"/>
                    <a:pt x="32" y="93"/>
                    <a:pt x="32" y="93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33" y="89"/>
                    <a:pt x="33" y="89"/>
                    <a:pt x="33" y="89"/>
                  </a:cubicBezTo>
                  <a:cubicBezTo>
                    <a:pt x="33" y="89"/>
                    <a:pt x="35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5" y="86"/>
                    <a:pt x="37" y="86"/>
                    <a:pt x="38" y="85"/>
                  </a:cubicBezTo>
                  <a:cubicBezTo>
                    <a:pt x="38" y="85"/>
                    <a:pt x="37" y="84"/>
                    <a:pt x="37" y="84"/>
                  </a:cubicBezTo>
                  <a:cubicBezTo>
                    <a:pt x="37" y="83"/>
                    <a:pt x="38" y="82"/>
                    <a:pt x="38" y="82"/>
                  </a:cubicBezTo>
                  <a:cubicBezTo>
                    <a:pt x="38" y="82"/>
                    <a:pt x="40" y="84"/>
                    <a:pt x="41" y="84"/>
                  </a:cubicBezTo>
                  <a:cubicBezTo>
                    <a:pt x="42" y="85"/>
                    <a:pt x="42" y="84"/>
                    <a:pt x="43" y="84"/>
                  </a:cubicBezTo>
                  <a:cubicBezTo>
                    <a:pt x="43" y="83"/>
                    <a:pt x="42" y="82"/>
                    <a:pt x="42" y="82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4" y="78"/>
                    <a:pt x="31" y="78"/>
                    <a:pt x="31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28" y="77"/>
                    <a:pt x="28" y="77"/>
                  </a:cubicBezTo>
                  <a:cubicBezTo>
                    <a:pt x="27" y="77"/>
                    <a:pt x="26" y="78"/>
                    <a:pt x="25" y="79"/>
                  </a:cubicBezTo>
                  <a:cubicBezTo>
                    <a:pt x="25" y="79"/>
                    <a:pt x="24" y="80"/>
                    <a:pt x="23" y="80"/>
                  </a:cubicBezTo>
                  <a:cubicBezTo>
                    <a:pt x="23" y="80"/>
                    <a:pt x="22" y="78"/>
                    <a:pt x="22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8"/>
                    <a:pt x="19" y="80"/>
                    <a:pt x="19" y="81"/>
                  </a:cubicBezTo>
                  <a:cubicBezTo>
                    <a:pt x="19" y="81"/>
                    <a:pt x="17" y="81"/>
                    <a:pt x="16" y="81"/>
                  </a:cubicBezTo>
                  <a:cubicBezTo>
                    <a:pt x="15" y="82"/>
                    <a:pt x="14" y="82"/>
                    <a:pt x="13" y="83"/>
                  </a:cubicBezTo>
                  <a:cubicBezTo>
                    <a:pt x="12" y="83"/>
                    <a:pt x="14" y="84"/>
                    <a:pt x="14" y="84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8" y="89"/>
                    <a:pt x="9" y="91"/>
                    <a:pt x="9" y="91"/>
                  </a:cubicBezTo>
                  <a:close/>
                  <a:moveTo>
                    <a:pt x="35" y="76"/>
                  </a:move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6" y="77"/>
                    <a:pt x="37" y="78"/>
                    <a:pt x="39" y="78"/>
                  </a:cubicBezTo>
                  <a:cubicBezTo>
                    <a:pt x="42" y="78"/>
                    <a:pt x="42" y="80"/>
                    <a:pt x="44" y="78"/>
                  </a:cubicBezTo>
                  <a:cubicBezTo>
                    <a:pt x="44" y="77"/>
                    <a:pt x="44" y="77"/>
                    <a:pt x="43" y="76"/>
                  </a:cubicBezTo>
                  <a:cubicBezTo>
                    <a:pt x="43" y="75"/>
                    <a:pt x="42" y="75"/>
                    <a:pt x="42" y="74"/>
                  </a:cubicBezTo>
                  <a:cubicBezTo>
                    <a:pt x="42" y="74"/>
                    <a:pt x="42" y="74"/>
                    <a:pt x="40" y="72"/>
                  </a:cubicBezTo>
                  <a:cubicBezTo>
                    <a:pt x="39" y="71"/>
                    <a:pt x="39" y="72"/>
                    <a:pt x="38" y="72"/>
                  </a:cubicBezTo>
                  <a:cubicBezTo>
                    <a:pt x="37" y="72"/>
                    <a:pt x="36" y="72"/>
                    <a:pt x="35" y="72"/>
                  </a:cubicBezTo>
                  <a:cubicBezTo>
                    <a:pt x="34" y="73"/>
                    <a:pt x="36" y="74"/>
                    <a:pt x="36" y="75"/>
                  </a:cubicBezTo>
                  <a:cubicBezTo>
                    <a:pt x="36" y="75"/>
                    <a:pt x="35" y="76"/>
                    <a:pt x="35" y="76"/>
                  </a:cubicBezTo>
                  <a:close/>
                  <a:moveTo>
                    <a:pt x="22" y="57"/>
                  </a:moveTo>
                  <a:cubicBezTo>
                    <a:pt x="22" y="57"/>
                    <a:pt x="22" y="57"/>
                    <a:pt x="22" y="57"/>
                  </a:cubicBezTo>
                  <a:cubicBezTo>
                    <a:pt x="22" y="56"/>
                    <a:pt x="24" y="56"/>
                    <a:pt x="25" y="57"/>
                  </a:cubicBezTo>
                  <a:cubicBezTo>
                    <a:pt x="25" y="57"/>
                    <a:pt x="27" y="58"/>
                    <a:pt x="27" y="59"/>
                  </a:cubicBezTo>
                  <a:cubicBezTo>
                    <a:pt x="27" y="59"/>
                    <a:pt x="28" y="59"/>
                    <a:pt x="28" y="60"/>
                  </a:cubicBezTo>
                  <a:cubicBezTo>
                    <a:pt x="28" y="60"/>
                    <a:pt x="29" y="61"/>
                    <a:pt x="29" y="62"/>
                  </a:cubicBezTo>
                  <a:cubicBezTo>
                    <a:pt x="30" y="63"/>
                    <a:pt x="31" y="64"/>
                    <a:pt x="31" y="64"/>
                  </a:cubicBezTo>
                  <a:cubicBezTo>
                    <a:pt x="31" y="64"/>
                    <a:pt x="32" y="65"/>
                    <a:pt x="31" y="65"/>
                  </a:cubicBezTo>
                  <a:cubicBezTo>
                    <a:pt x="30" y="65"/>
                    <a:pt x="27" y="65"/>
                    <a:pt x="27" y="65"/>
                  </a:cubicBezTo>
                  <a:cubicBezTo>
                    <a:pt x="27" y="65"/>
                    <a:pt x="26" y="66"/>
                    <a:pt x="26" y="66"/>
                  </a:cubicBezTo>
                  <a:cubicBezTo>
                    <a:pt x="26" y="67"/>
                    <a:pt x="28" y="68"/>
                    <a:pt x="27" y="68"/>
                  </a:cubicBezTo>
                  <a:cubicBezTo>
                    <a:pt x="26" y="69"/>
                    <a:pt x="26" y="69"/>
                    <a:pt x="25" y="69"/>
                  </a:cubicBezTo>
                  <a:cubicBezTo>
                    <a:pt x="24" y="68"/>
                    <a:pt x="23" y="66"/>
                    <a:pt x="23" y="66"/>
                  </a:cubicBezTo>
                  <a:cubicBezTo>
                    <a:pt x="22" y="67"/>
                    <a:pt x="22" y="70"/>
                    <a:pt x="22" y="70"/>
                  </a:cubicBezTo>
                  <a:cubicBezTo>
                    <a:pt x="22" y="71"/>
                    <a:pt x="23" y="72"/>
                    <a:pt x="22" y="73"/>
                  </a:cubicBezTo>
                  <a:cubicBezTo>
                    <a:pt x="22" y="73"/>
                    <a:pt x="19" y="74"/>
                    <a:pt x="19" y="74"/>
                  </a:cubicBezTo>
                  <a:cubicBezTo>
                    <a:pt x="19" y="74"/>
                    <a:pt x="18" y="74"/>
                    <a:pt x="18" y="74"/>
                  </a:cubicBezTo>
                  <a:cubicBezTo>
                    <a:pt x="17" y="74"/>
                    <a:pt x="15" y="72"/>
                    <a:pt x="14" y="71"/>
                  </a:cubicBezTo>
                  <a:cubicBezTo>
                    <a:pt x="14" y="70"/>
                    <a:pt x="14" y="68"/>
                    <a:pt x="14" y="68"/>
                  </a:cubicBezTo>
                  <a:cubicBezTo>
                    <a:pt x="13" y="67"/>
                    <a:pt x="12" y="66"/>
                    <a:pt x="12" y="66"/>
                  </a:cubicBezTo>
                  <a:cubicBezTo>
                    <a:pt x="12" y="66"/>
                    <a:pt x="13" y="65"/>
                    <a:pt x="11" y="66"/>
                  </a:cubicBezTo>
                  <a:cubicBezTo>
                    <a:pt x="8" y="66"/>
                    <a:pt x="9" y="67"/>
                    <a:pt x="8" y="67"/>
                  </a:cubicBezTo>
                  <a:cubicBezTo>
                    <a:pt x="7" y="66"/>
                    <a:pt x="7" y="65"/>
                    <a:pt x="5" y="65"/>
                  </a:cubicBezTo>
                  <a:cubicBezTo>
                    <a:pt x="4" y="65"/>
                    <a:pt x="3" y="64"/>
                    <a:pt x="3" y="64"/>
                  </a:cubicBezTo>
                  <a:cubicBezTo>
                    <a:pt x="3" y="64"/>
                    <a:pt x="6" y="62"/>
                    <a:pt x="7" y="62"/>
                  </a:cubicBezTo>
                  <a:cubicBezTo>
                    <a:pt x="8" y="62"/>
                    <a:pt x="7" y="62"/>
                    <a:pt x="9" y="62"/>
                  </a:cubicBezTo>
                  <a:cubicBezTo>
                    <a:pt x="12" y="61"/>
                    <a:pt x="13" y="63"/>
                    <a:pt x="13" y="61"/>
                  </a:cubicBezTo>
                  <a:cubicBezTo>
                    <a:pt x="14" y="59"/>
                    <a:pt x="14" y="58"/>
                    <a:pt x="15" y="57"/>
                  </a:cubicBezTo>
                  <a:cubicBezTo>
                    <a:pt x="15" y="56"/>
                    <a:pt x="16" y="54"/>
                    <a:pt x="16" y="54"/>
                  </a:cubicBezTo>
                  <a:cubicBezTo>
                    <a:pt x="16" y="53"/>
                    <a:pt x="19" y="53"/>
                    <a:pt x="19" y="53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0" y="56"/>
                    <a:pt x="20" y="57"/>
                    <a:pt x="21" y="57"/>
                  </a:cubicBezTo>
                  <a:cubicBezTo>
                    <a:pt x="22" y="57"/>
                    <a:pt x="22" y="57"/>
                    <a:pt x="22" y="57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6"/>
                    <a:pt x="35" y="56"/>
                  </a:cubicBezTo>
                  <a:cubicBezTo>
                    <a:pt x="36" y="56"/>
                    <a:pt x="38" y="56"/>
                    <a:pt x="38" y="56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2"/>
                    <a:pt x="38" y="52"/>
                    <a:pt x="38" y="52"/>
                  </a:cubicBezTo>
                  <a:lnTo>
                    <a:pt x="3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6" name="Freeform 195"/>
            <p:cNvSpPr>
              <a:spLocks/>
            </p:cNvSpPr>
            <p:nvPr/>
          </p:nvSpPr>
          <p:spPr bwMode="auto">
            <a:xfrm>
              <a:off x="5531844" y="4974104"/>
              <a:ext cx="579812" cy="423182"/>
            </a:xfrm>
            <a:custGeom>
              <a:avLst/>
              <a:gdLst>
                <a:gd name="T0" fmla="*/ 7 w 244"/>
                <a:gd name="T1" fmla="*/ 36 h 184"/>
                <a:gd name="T2" fmla="*/ 21 w 244"/>
                <a:gd name="T3" fmla="*/ 52 h 184"/>
                <a:gd name="T4" fmla="*/ 77 w 244"/>
                <a:gd name="T5" fmla="*/ 49 h 184"/>
                <a:gd name="T6" fmla="*/ 144 w 244"/>
                <a:gd name="T7" fmla="*/ 21 h 184"/>
                <a:gd name="T8" fmla="*/ 203 w 244"/>
                <a:gd name="T9" fmla="*/ 3 h 184"/>
                <a:gd name="T10" fmla="*/ 238 w 244"/>
                <a:gd name="T11" fmla="*/ 8 h 184"/>
                <a:gd name="T12" fmla="*/ 241 w 244"/>
                <a:gd name="T13" fmla="*/ 22 h 184"/>
                <a:gd name="T14" fmla="*/ 232 w 244"/>
                <a:gd name="T15" fmla="*/ 27 h 184"/>
                <a:gd name="T16" fmla="*/ 225 w 244"/>
                <a:gd name="T17" fmla="*/ 36 h 184"/>
                <a:gd name="T18" fmla="*/ 225 w 244"/>
                <a:gd name="T19" fmla="*/ 56 h 184"/>
                <a:gd name="T20" fmla="*/ 222 w 244"/>
                <a:gd name="T21" fmla="*/ 69 h 184"/>
                <a:gd name="T22" fmla="*/ 220 w 244"/>
                <a:gd name="T23" fmla="*/ 76 h 184"/>
                <a:gd name="T24" fmla="*/ 216 w 244"/>
                <a:gd name="T25" fmla="*/ 83 h 184"/>
                <a:gd name="T26" fmla="*/ 232 w 244"/>
                <a:gd name="T27" fmla="*/ 92 h 184"/>
                <a:gd name="T28" fmla="*/ 244 w 244"/>
                <a:gd name="T29" fmla="*/ 102 h 184"/>
                <a:gd name="T30" fmla="*/ 231 w 244"/>
                <a:gd name="T31" fmla="*/ 108 h 184"/>
                <a:gd name="T32" fmla="*/ 211 w 244"/>
                <a:gd name="T33" fmla="*/ 106 h 184"/>
                <a:gd name="T34" fmla="*/ 201 w 244"/>
                <a:gd name="T35" fmla="*/ 115 h 184"/>
                <a:gd name="T36" fmla="*/ 188 w 244"/>
                <a:gd name="T37" fmla="*/ 126 h 184"/>
                <a:gd name="T38" fmla="*/ 181 w 244"/>
                <a:gd name="T39" fmla="*/ 135 h 184"/>
                <a:gd name="T40" fmla="*/ 179 w 244"/>
                <a:gd name="T41" fmla="*/ 147 h 184"/>
                <a:gd name="T42" fmla="*/ 174 w 244"/>
                <a:gd name="T43" fmla="*/ 158 h 184"/>
                <a:gd name="T44" fmla="*/ 155 w 244"/>
                <a:gd name="T45" fmla="*/ 165 h 184"/>
                <a:gd name="T46" fmla="*/ 139 w 244"/>
                <a:gd name="T47" fmla="*/ 167 h 184"/>
                <a:gd name="T48" fmla="*/ 116 w 244"/>
                <a:gd name="T49" fmla="*/ 164 h 184"/>
                <a:gd name="T50" fmla="*/ 104 w 244"/>
                <a:gd name="T51" fmla="*/ 163 h 184"/>
                <a:gd name="T52" fmla="*/ 92 w 244"/>
                <a:gd name="T53" fmla="*/ 169 h 184"/>
                <a:gd name="T54" fmla="*/ 70 w 244"/>
                <a:gd name="T55" fmla="*/ 177 h 184"/>
                <a:gd name="T56" fmla="*/ 57 w 244"/>
                <a:gd name="T57" fmla="*/ 184 h 184"/>
                <a:gd name="T58" fmla="*/ 51 w 244"/>
                <a:gd name="T59" fmla="*/ 183 h 184"/>
                <a:gd name="T60" fmla="*/ 48 w 244"/>
                <a:gd name="T61" fmla="*/ 172 h 184"/>
                <a:gd name="T62" fmla="*/ 50 w 244"/>
                <a:gd name="T63" fmla="*/ 165 h 184"/>
                <a:gd name="T64" fmla="*/ 24 w 244"/>
                <a:gd name="T65" fmla="*/ 143 h 184"/>
                <a:gd name="T66" fmla="*/ 21 w 244"/>
                <a:gd name="T67" fmla="*/ 138 h 184"/>
                <a:gd name="T68" fmla="*/ 20 w 244"/>
                <a:gd name="T69" fmla="*/ 133 h 184"/>
                <a:gd name="T70" fmla="*/ 20 w 244"/>
                <a:gd name="T71" fmla="*/ 125 h 184"/>
                <a:gd name="T72" fmla="*/ 16 w 244"/>
                <a:gd name="T73" fmla="*/ 113 h 184"/>
                <a:gd name="T74" fmla="*/ 19 w 244"/>
                <a:gd name="T75" fmla="*/ 106 h 184"/>
                <a:gd name="T76" fmla="*/ 25 w 244"/>
                <a:gd name="T77" fmla="*/ 99 h 184"/>
                <a:gd name="T78" fmla="*/ 33 w 244"/>
                <a:gd name="T79" fmla="*/ 84 h 184"/>
                <a:gd name="T80" fmla="*/ 21 w 244"/>
                <a:gd name="T81" fmla="*/ 77 h 184"/>
                <a:gd name="T82" fmla="*/ 11 w 244"/>
                <a:gd name="T83" fmla="*/ 73 h 184"/>
                <a:gd name="T84" fmla="*/ 2 w 244"/>
                <a:gd name="T85" fmla="*/ 60 h 184"/>
                <a:gd name="T86" fmla="*/ 1 w 244"/>
                <a:gd name="T87" fmla="*/ 47 h 184"/>
                <a:gd name="T88" fmla="*/ 7 w 244"/>
                <a:gd name="T89" fmla="*/ 3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84">
                  <a:moveTo>
                    <a:pt x="7" y="38"/>
                  </a:move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14" y="34"/>
                    <a:pt x="20" y="38"/>
                    <a:pt x="23" y="38"/>
                  </a:cubicBezTo>
                  <a:cubicBezTo>
                    <a:pt x="29" y="39"/>
                    <a:pt x="16" y="46"/>
                    <a:pt x="18" y="46"/>
                  </a:cubicBezTo>
                  <a:cubicBezTo>
                    <a:pt x="20" y="45"/>
                    <a:pt x="18" y="51"/>
                    <a:pt x="21" y="52"/>
                  </a:cubicBezTo>
                  <a:cubicBezTo>
                    <a:pt x="26" y="53"/>
                    <a:pt x="30" y="49"/>
                    <a:pt x="36" y="49"/>
                  </a:cubicBezTo>
                  <a:cubicBezTo>
                    <a:pt x="41" y="48"/>
                    <a:pt x="47" y="51"/>
                    <a:pt x="49" y="49"/>
                  </a:cubicBezTo>
                  <a:cubicBezTo>
                    <a:pt x="53" y="44"/>
                    <a:pt x="69" y="54"/>
                    <a:pt x="77" y="49"/>
                  </a:cubicBezTo>
                  <a:cubicBezTo>
                    <a:pt x="82" y="45"/>
                    <a:pt x="102" y="43"/>
                    <a:pt x="109" y="43"/>
                  </a:cubicBezTo>
                  <a:cubicBezTo>
                    <a:pt x="127" y="42"/>
                    <a:pt x="128" y="42"/>
                    <a:pt x="136" y="37"/>
                  </a:cubicBezTo>
                  <a:cubicBezTo>
                    <a:pt x="136" y="37"/>
                    <a:pt x="141" y="26"/>
                    <a:pt x="144" y="21"/>
                  </a:cubicBezTo>
                  <a:cubicBezTo>
                    <a:pt x="146" y="17"/>
                    <a:pt x="152" y="15"/>
                    <a:pt x="158" y="11"/>
                  </a:cubicBezTo>
                  <a:cubicBezTo>
                    <a:pt x="163" y="7"/>
                    <a:pt x="176" y="3"/>
                    <a:pt x="179" y="2"/>
                  </a:cubicBezTo>
                  <a:cubicBezTo>
                    <a:pt x="182" y="2"/>
                    <a:pt x="203" y="3"/>
                    <a:pt x="203" y="3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0"/>
                    <a:pt x="216" y="8"/>
                    <a:pt x="219" y="9"/>
                  </a:cubicBezTo>
                  <a:cubicBezTo>
                    <a:pt x="228" y="10"/>
                    <a:pt x="235" y="10"/>
                    <a:pt x="238" y="8"/>
                  </a:cubicBezTo>
                  <a:cubicBezTo>
                    <a:pt x="239" y="8"/>
                    <a:pt x="239" y="10"/>
                    <a:pt x="240" y="11"/>
                  </a:cubicBezTo>
                  <a:cubicBezTo>
                    <a:pt x="241" y="13"/>
                    <a:pt x="242" y="17"/>
                    <a:pt x="242" y="17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3"/>
                    <a:pt x="240" y="23"/>
                    <a:pt x="240" y="23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5" y="26"/>
                    <a:pt x="233" y="26"/>
                    <a:pt x="232" y="27"/>
                  </a:cubicBezTo>
                  <a:cubicBezTo>
                    <a:pt x="231" y="27"/>
                    <a:pt x="229" y="28"/>
                    <a:pt x="229" y="28"/>
                  </a:cubicBezTo>
                  <a:cubicBezTo>
                    <a:pt x="229" y="28"/>
                    <a:pt x="227" y="30"/>
                    <a:pt x="227" y="31"/>
                  </a:cubicBezTo>
                  <a:cubicBezTo>
                    <a:pt x="226" y="33"/>
                    <a:pt x="225" y="36"/>
                    <a:pt x="225" y="36"/>
                  </a:cubicBezTo>
                  <a:cubicBezTo>
                    <a:pt x="223" y="41"/>
                    <a:pt x="223" y="41"/>
                    <a:pt x="223" y="41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5" y="56"/>
                    <a:pt x="225" y="56"/>
                    <a:pt x="225" y="56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5"/>
                    <a:pt x="224" y="68"/>
                    <a:pt x="223" y="68"/>
                  </a:cubicBezTo>
                  <a:cubicBezTo>
                    <a:pt x="223" y="68"/>
                    <a:pt x="222" y="69"/>
                    <a:pt x="222" y="69"/>
                  </a:cubicBezTo>
                  <a:cubicBezTo>
                    <a:pt x="222" y="71"/>
                    <a:pt x="222" y="71"/>
                    <a:pt x="222" y="71"/>
                  </a:cubicBezTo>
                  <a:cubicBezTo>
                    <a:pt x="221" y="74"/>
                    <a:pt x="221" y="74"/>
                    <a:pt x="221" y="74"/>
                  </a:cubicBezTo>
                  <a:cubicBezTo>
                    <a:pt x="220" y="76"/>
                    <a:pt x="220" y="76"/>
                    <a:pt x="220" y="76"/>
                  </a:cubicBezTo>
                  <a:cubicBezTo>
                    <a:pt x="220" y="76"/>
                    <a:pt x="219" y="78"/>
                    <a:pt x="218" y="78"/>
                  </a:cubicBezTo>
                  <a:cubicBezTo>
                    <a:pt x="217" y="79"/>
                    <a:pt x="215" y="81"/>
                    <a:pt x="215" y="81"/>
                  </a:cubicBezTo>
                  <a:cubicBezTo>
                    <a:pt x="216" y="83"/>
                    <a:pt x="216" y="83"/>
                    <a:pt x="216" y="83"/>
                  </a:cubicBezTo>
                  <a:cubicBezTo>
                    <a:pt x="227" y="85"/>
                    <a:pt x="227" y="85"/>
                    <a:pt x="227" y="85"/>
                  </a:cubicBezTo>
                  <a:cubicBezTo>
                    <a:pt x="227" y="87"/>
                    <a:pt x="227" y="87"/>
                    <a:pt x="227" y="87"/>
                  </a:cubicBezTo>
                  <a:cubicBezTo>
                    <a:pt x="232" y="92"/>
                    <a:pt x="232" y="92"/>
                    <a:pt x="232" y="92"/>
                  </a:cubicBezTo>
                  <a:cubicBezTo>
                    <a:pt x="235" y="97"/>
                    <a:pt x="235" y="97"/>
                    <a:pt x="235" y="97"/>
                  </a:cubicBezTo>
                  <a:cubicBezTo>
                    <a:pt x="240" y="99"/>
                    <a:pt x="240" y="99"/>
                    <a:pt x="240" y="99"/>
                  </a:cubicBezTo>
                  <a:cubicBezTo>
                    <a:pt x="240" y="99"/>
                    <a:pt x="244" y="102"/>
                    <a:pt x="244" y="102"/>
                  </a:cubicBezTo>
                  <a:cubicBezTo>
                    <a:pt x="243" y="103"/>
                    <a:pt x="238" y="105"/>
                    <a:pt x="238" y="105"/>
                  </a:cubicBezTo>
                  <a:cubicBezTo>
                    <a:pt x="235" y="107"/>
                    <a:pt x="235" y="107"/>
                    <a:pt x="235" y="107"/>
                  </a:cubicBezTo>
                  <a:cubicBezTo>
                    <a:pt x="235" y="107"/>
                    <a:pt x="233" y="107"/>
                    <a:pt x="231" y="108"/>
                  </a:cubicBezTo>
                  <a:cubicBezTo>
                    <a:pt x="230" y="109"/>
                    <a:pt x="224" y="112"/>
                    <a:pt x="224" y="112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09" y="109"/>
                    <a:pt x="209" y="109"/>
                    <a:pt x="209" y="109"/>
                  </a:cubicBezTo>
                  <a:cubicBezTo>
                    <a:pt x="204" y="110"/>
                    <a:pt x="204" y="110"/>
                    <a:pt x="204" y="110"/>
                  </a:cubicBezTo>
                  <a:cubicBezTo>
                    <a:pt x="201" y="115"/>
                    <a:pt x="201" y="115"/>
                    <a:pt x="201" y="115"/>
                  </a:cubicBezTo>
                  <a:cubicBezTo>
                    <a:pt x="201" y="115"/>
                    <a:pt x="194" y="117"/>
                    <a:pt x="192" y="118"/>
                  </a:cubicBezTo>
                  <a:cubicBezTo>
                    <a:pt x="191" y="119"/>
                    <a:pt x="187" y="122"/>
                    <a:pt x="187" y="122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9"/>
                    <a:pt x="181" y="130"/>
                    <a:pt x="180" y="132"/>
                  </a:cubicBezTo>
                  <a:cubicBezTo>
                    <a:pt x="180" y="134"/>
                    <a:pt x="181" y="135"/>
                    <a:pt x="181" y="135"/>
                  </a:cubicBezTo>
                  <a:cubicBezTo>
                    <a:pt x="179" y="135"/>
                    <a:pt x="176" y="136"/>
                    <a:pt x="175" y="137"/>
                  </a:cubicBezTo>
                  <a:cubicBezTo>
                    <a:pt x="174" y="137"/>
                    <a:pt x="174" y="139"/>
                    <a:pt x="175" y="141"/>
                  </a:cubicBezTo>
                  <a:cubicBezTo>
                    <a:pt x="175" y="142"/>
                    <a:pt x="177" y="144"/>
                    <a:pt x="179" y="147"/>
                  </a:cubicBezTo>
                  <a:cubicBezTo>
                    <a:pt x="180" y="150"/>
                    <a:pt x="181" y="150"/>
                    <a:pt x="181" y="151"/>
                  </a:cubicBezTo>
                  <a:cubicBezTo>
                    <a:pt x="181" y="152"/>
                    <a:pt x="180" y="155"/>
                    <a:pt x="179" y="156"/>
                  </a:cubicBezTo>
                  <a:cubicBezTo>
                    <a:pt x="177" y="158"/>
                    <a:pt x="175" y="158"/>
                    <a:pt x="174" y="158"/>
                  </a:cubicBezTo>
                  <a:cubicBezTo>
                    <a:pt x="173" y="159"/>
                    <a:pt x="170" y="161"/>
                    <a:pt x="169" y="161"/>
                  </a:cubicBezTo>
                  <a:cubicBezTo>
                    <a:pt x="168" y="162"/>
                    <a:pt x="163" y="163"/>
                    <a:pt x="162" y="163"/>
                  </a:cubicBezTo>
                  <a:cubicBezTo>
                    <a:pt x="161" y="163"/>
                    <a:pt x="155" y="165"/>
                    <a:pt x="155" y="165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47" y="169"/>
                    <a:pt x="147" y="169"/>
                    <a:pt x="147" y="169"/>
                  </a:cubicBezTo>
                  <a:cubicBezTo>
                    <a:pt x="139" y="167"/>
                    <a:pt x="139" y="167"/>
                    <a:pt x="139" y="167"/>
                  </a:cubicBezTo>
                  <a:cubicBezTo>
                    <a:pt x="129" y="164"/>
                    <a:pt x="129" y="164"/>
                    <a:pt x="129" y="164"/>
                  </a:cubicBezTo>
                  <a:cubicBezTo>
                    <a:pt x="129" y="164"/>
                    <a:pt x="124" y="168"/>
                    <a:pt x="123" y="168"/>
                  </a:cubicBezTo>
                  <a:cubicBezTo>
                    <a:pt x="122" y="168"/>
                    <a:pt x="116" y="164"/>
                    <a:pt x="116" y="164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07" y="160"/>
                    <a:pt x="106" y="160"/>
                  </a:cubicBezTo>
                  <a:cubicBezTo>
                    <a:pt x="105" y="160"/>
                    <a:pt x="104" y="162"/>
                    <a:pt x="104" y="163"/>
                  </a:cubicBezTo>
                  <a:cubicBezTo>
                    <a:pt x="103" y="163"/>
                    <a:pt x="101" y="163"/>
                    <a:pt x="99" y="163"/>
                  </a:cubicBezTo>
                  <a:cubicBezTo>
                    <a:pt x="96" y="163"/>
                    <a:pt x="94" y="165"/>
                    <a:pt x="94" y="165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69"/>
                    <a:pt x="87" y="171"/>
                    <a:pt x="87" y="171"/>
                  </a:cubicBezTo>
                  <a:cubicBezTo>
                    <a:pt x="86" y="172"/>
                    <a:pt x="77" y="175"/>
                    <a:pt x="77" y="175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177"/>
                    <a:pt x="68" y="178"/>
                    <a:pt x="67" y="177"/>
                  </a:cubicBezTo>
                  <a:cubicBezTo>
                    <a:pt x="66" y="177"/>
                    <a:pt x="63" y="180"/>
                    <a:pt x="63" y="180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51" y="184"/>
                    <a:pt x="51" y="184"/>
                    <a:pt x="51" y="184"/>
                  </a:cubicBezTo>
                  <a:cubicBezTo>
                    <a:pt x="51" y="184"/>
                    <a:pt x="51" y="183"/>
                    <a:pt x="51" y="183"/>
                  </a:cubicBezTo>
                  <a:cubicBezTo>
                    <a:pt x="51" y="183"/>
                    <a:pt x="51" y="183"/>
                    <a:pt x="51" y="183"/>
                  </a:cubicBezTo>
                  <a:cubicBezTo>
                    <a:pt x="51" y="182"/>
                    <a:pt x="51" y="182"/>
                    <a:pt x="51" y="182"/>
                  </a:cubicBezTo>
                  <a:cubicBezTo>
                    <a:pt x="51" y="181"/>
                    <a:pt x="50" y="180"/>
                    <a:pt x="50" y="178"/>
                  </a:cubicBezTo>
                  <a:cubicBezTo>
                    <a:pt x="49" y="176"/>
                    <a:pt x="48" y="174"/>
                    <a:pt x="48" y="172"/>
                  </a:cubicBezTo>
                  <a:cubicBezTo>
                    <a:pt x="48" y="171"/>
                    <a:pt x="49" y="170"/>
                    <a:pt x="49" y="169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50" y="168"/>
                    <a:pt x="50" y="167"/>
                    <a:pt x="50" y="165"/>
                  </a:cubicBezTo>
                  <a:cubicBezTo>
                    <a:pt x="49" y="161"/>
                    <a:pt x="45" y="161"/>
                    <a:pt x="44" y="157"/>
                  </a:cubicBezTo>
                  <a:cubicBezTo>
                    <a:pt x="43" y="154"/>
                    <a:pt x="39" y="151"/>
                    <a:pt x="39" y="150"/>
                  </a:cubicBezTo>
                  <a:cubicBezTo>
                    <a:pt x="32" y="146"/>
                    <a:pt x="28" y="147"/>
                    <a:pt x="24" y="143"/>
                  </a:cubicBezTo>
                  <a:cubicBezTo>
                    <a:pt x="23" y="142"/>
                    <a:pt x="22" y="141"/>
                    <a:pt x="22" y="140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2" y="139"/>
                    <a:pt x="21" y="138"/>
                  </a:cubicBezTo>
                  <a:cubicBezTo>
                    <a:pt x="20" y="137"/>
                    <a:pt x="19" y="136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5"/>
                    <a:pt x="20" y="133"/>
                    <a:pt x="20" y="133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2" y="128"/>
                    <a:pt x="21" y="125"/>
                    <a:pt x="20" y="125"/>
                  </a:cubicBezTo>
                  <a:cubicBezTo>
                    <a:pt x="20" y="124"/>
                    <a:pt x="17" y="123"/>
                    <a:pt x="17" y="123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6" y="108"/>
                    <a:pt x="17" y="107"/>
                  </a:cubicBezTo>
                  <a:cubicBezTo>
                    <a:pt x="17" y="107"/>
                    <a:pt x="18" y="106"/>
                    <a:pt x="19" y="106"/>
                  </a:cubicBezTo>
                  <a:cubicBezTo>
                    <a:pt x="20" y="105"/>
                    <a:pt x="22" y="105"/>
                    <a:pt x="23" y="105"/>
                  </a:cubicBezTo>
                  <a:cubicBezTo>
                    <a:pt x="24" y="105"/>
                    <a:pt x="26" y="103"/>
                    <a:pt x="26" y="103"/>
                  </a:cubicBezTo>
                  <a:cubicBezTo>
                    <a:pt x="26" y="103"/>
                    <a:pt x="26" y="100"/>
                    <a:pt x="25" y="99"/>
                  </a:cubicBezTo>
                  <a:cubicBezTo>
                    <a:pt x="25" y="97"/>
                    <a:pt x="27" y="95"/>
                    <a:pt x="27" y="95"/>
                  </a:cubicBezTo>
                  <a:cubicBezTo>
                    <a:pt x="27" y="95"/>
                    <a:pt x="30" y="91"/>
                    <a:pt x="31" y="90"/>
                  </a:cubicBezTo>
                  <a:cubicBezTo>
                    <a:pt x="32" y="89"/>
                    <a:pt x="33" y="84"/>
                    <a:pt x="33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1" y="77"/>
                    <a:pt x="21" y="77"/>
                  </a:cubicBezTo>
                  <a:cubicBezTo>
                    <a:pt x="21" y="76"/>
                    <a:pt x="19" y="76"/>
                    <a:pt x="19" y="76"/>
                  </a:cubicBezTo>
                  <a:cubicBezTo>
                    <a:pt x="19" y="76"/>
                    <a:pt x="15" y="74"/>
                    <a:pt x="15" y="74"/>
                  </a:cubicBezTo>
                  <a:cubicBezTo>
                    <a:pt x="14" y="74"/>
                    <a:pt x="11" y="73"/>
                    <a:pt x="11" y="73"/>
                  </a:cubicBezTo>
                  <a:cubicBezTo>
                    <a:pt x="11" y="73"/>
                    <a:pt x="7" y="68"/>
                    <a:pt x="6" y="66"/>
                  </a:cubicBezTo>
                  <a:cubicBezTo>
                    <a:pt x="5" y="64"/>
                    <a:pt x="4" y="63"/>
                    <a:pt x="4" y="63"/>
                  </a:cubicBezTo>
                  <a:cubicBezTo>
                    <a:pt x="4" y="63"/>
                    <a:pt x="3" y="61"/>
                    <a:pt x="2" y="60"/>
                  </a:cubicBezTo>
                  <a:cubicBezTo>
                    <a:pt x="1" y="59"/>
                    <a:pt x="1" y="57"/>
                    <a:pt x="1" y="57"/>
                  </a:cubicBezTo>
                  <a:cubicBezTo>
                    <a:pt x="1" y="57"/>
                    <a:pt x="2" y="54"/>
                    <a:pt x="1" y="52"/>
                  </a:cubicBezTo>
                  <a:cubicBezTo>
                    <a:pt x="1" y="51"/>
                    <a:pt x="0" y="47"/>
                    <a:pt x="1" y="47"/>
                  </a:cubicBezTo>
                  <a:cubicBezTo>
                    <a:pt x="2" y="45"/>
                    <a:pt x="3" y="43"/>
                    <a:pt x="5" y="42"/>
                  </a:cubicBezTo>
                  <a:cubicBezTo>
                    <a:pt x="6" y="42"/>
                    <a:pt x="6" y="42"/>
                    <a:pt x="7" y="42"/>
                  </a:cubicBezTo>
                  <a:cubicBezTo>
                    <a:pt x="8" y="42"/>
                    <a:pt x="7" y="39"/>
                    <a:pt x="7" y="39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7" name="Freeform 212"/>
            <p:cNvSpPr>
              <a:spLocks noEditPoints="1"/>
            </p:cNvSpPr>
            <p:nvPr/>
          </p:nvSpPr>
          <p:spPr bwMode="auto">
            <a:xfrm>
              <a:off x="7687234" y="4706421"/>
              <a:ext cx="648565" cy="514261"/>
            </a:xfrm>
            <a:custGeom>
              <a:avLst/>
              <a:gdLst>
                <a:gd name="T0" fmla="*/ 3 w 273"/>
                <a:gd name="T1" fmla="*/ 68 h 223"/>
                <a:gd name="T2" fmla="*/ 41 w 273"/>
                <a:gd name="T3" fmla="*/ 71 h 223"/>
                <a:gd name="T4" fmla="*/ 60 w 273"/>
                <a:gd name="T5" fmla="*/ 70 h 223"/>
                <a:gd name="T6" fmla="*/ 73 w 273"/>
                <a:gd name="T7" fmla="*/ 54 h 223"/>
                <a:gd name="T8" fmla="*/ 49 w 273"/>
                <a:gd name="T9" fmla="*/ 36 h 223"/>
                <a:gd name="T10" fmla="*/ 65 w 273"/>
                <a:gd name="T11" fmla="*/ 28 h 223"/>
                <a:gd name="T12" fmla="*/ 87 w 273"/>
                <a:gd name="T13" fmla="*/ 33 h 223"/>
                <a:gd name="T14" fmla="*/ 101 w 273"/>
                <a:gd name="T15" fmla="*/ 44 h 223"/>
                <a:gd name="T16" fmla="*/ 128 w 273"/>
                <a:gd name="T17" fmla="*/ 54 h 223"/>
                <a:gd name="T18" fmla="*/ 145 w 273"/>
                <a:gd name="T19" fmla="*/ 30 h 223"/>
                <a:gd name="T20" fmla="*/ 161 w 273"/>
                <a:gd name="T21" fmla="*/ 0 h 223"/>
                <a:gd name="T22" fmla="*/ 202 w 273"/>
                <a:gd name="T23" fmla="*/ 43 h 223"/>
                <a:gd name="T24" fmla="*/ 227 w 273"/>
                <a:gd name="T25" fmla="*/ 63 h 223"/>
                <a:gd name="T26" fmla="*/ 260 w 273"/>
                <a:gd name="T27" fmla="*/ 65 h 223"/>
                <a:gd name="T28" fmla="*/ 262 w 273"/>
                <a:gd name="T29" fmla="*/ 72 h 223"/>
                <a:gd name="T30" fmla="*/ 240 w 273"/>
                <a:gd name="T31" fmla="*/ 85 h 223"/>
                <a:gd name="T32" fmla="*/ 233 w 273"/>
                <a:gd name="T33" fmla="*/ 106 h 223"/>
                <a:gd name="T34" fmla="*/ 236 w 273"/>
                <a:gd name="T35" fmla="*/ 125 h 223"/>
                <a:gd name="T36" fmla="*/ 243 w 273"/>
                <a:gd name="T37" fmla="*/ 148 h 223"/>
                <a:gd name="T38" fmla="*/ 237 w 273"/>
                <a:gd name="T39" fmla="*/ 172 h 223"/>
                <a:gd name="T40" fmla="*/ 229 w 273"/>
                <a:gd name="T41" fmla="*/ 161 h 223"/>
                <a:gd name="T42" fmla="*/ 223 w 273"/>
                <a:gd name="T43" fmla="*/ 178 h 223"/>
                <a:gd name="T44" fmla="*/ 230 w 273"/>
                <a:gd name="T45" fmla="*/ 201 h 223"/>
                <a:gd name="T46" fmla="*/ 211 w 273"/>
                <a:gd name="T47" fmla="*/ 207 h 223"/>
                <a:gd name="T48" fmla="*/ 195 w 273"/>
                <a:gd name="T49" fmla="*/ 200 h 223"/>
                <a:gd name="T50" fmla="*/ 193 w 273"/>
                <a:gd name="T51" fmla="*/ 177 h 223"/>
                <a:gd name="T52" fmla="*/ 189 w 273"/>
                <a:gd name="T53" fmla="*/ 154 h 223"/>
                <a:gd name="T54" fmla="*/ 152 w 273"/>
                <a:gd name="T55" fmla="*/ 156 h 223"/>
                <a:gd name="T56" fmla="*/ 123 w 273"/>
                <a:gd name="T57" fmla="*/ 193 h 223"/>
                <a:gd name="T58" fmla="*/ 98 w 273"/>
                <a:gd name="T59" fmla="*/ 195 h 223"/>
                <a:gd name="T60" fmla="*/ 96 w 273"/>
                <a:gd name="T61" fmla="*/ 182 h 223"/>
                <a:gd name="T62" fmla="*/ 98 w 273"/>
                <a:gd name="T63" fmla="*/ 169 h 223"/>
                <a:gd name="T64" fmla="*/ 89 w 273"/>
                <a:gd name="T65" fmla="*/ 162 h 223"/>
                <a:gd name="T66" fmla="*/ 91 w 273"/>
                <a:gd name="T67" fmla="*/ 154 h 223"/>
                <a:gd name="T68" fmla="*/ 89 w 273"/>
                <a:gd name="T69" fmla="*/ 147 h 223"/>
                <a:gd name="T70" fmla="*/ 78 w 273"/>
                <a:gd name="T71" fmla="*/ 142 h 223"/>
                <a:gd name="T72" fmla="*/ 62 w 273"/>
                <a:gd name="T73" fmla="*/ 137 h 223"/>
                <a:gd name="T74" fmla="*/ 47 w 273"/>
                <a:gd name="T75" fmla="*/ 132 h 223"/>
                <a:gd name="T76" fmla="*/ 50 w 273"/>
                <a:gd name="T77" fmla="*/ 125 h 223"/>
                <a:gd name="T78" fmla="*/ 55 w 273"/>
                <a:gd name="T79" fmla="*/ 116 h 223"/>
                <a:gd name="T80" fmla="*/ 44 w 273"/>
                <a:gd name="T81" fmla="*/ 111 h 223"/>
                <a:gd name="T82" fmla="*/ 26 w 273"/>
                <a:gd name="T83" fmla="*/ 100 h 223"/>
                <a:gd name="T84" fmla="*/ 24 w 273"/>
                <a:gd name="T85" fmla="*/ 88 h 223"/>
                <a:gd name="T86" fmla="*/ 24 w 273"/>
                <a:gd name="T87" fmla="*/ 83 h 223"/>
                <a:gd name="T88" fmla="*/ 16 w 273"/>
                <a:gd name="T89" fmla="*/ 76 h 223"/>
                <a:gd name="T90" fmla="*/ 4 w 273"/>
                <a:gd name="T91" fmla="*/ 76 h 223"/>
                <a:gd name="T92" fmla="*/ 10 w 273"/>
                <a:gd name="T93" fmla="*/ 182 h 223"/>
                <a:gd name="T94" fmla="*/ 26 w 273"/>
                <a:gd name="T95" fmla="*/ 198 h 223"/>
                <a:gd name="T96" fmla="*/ 44 w 273"/>
                <a:gd name="T97" fmla="*/ 209 h 223"/>
                <a:gd name="T98" fmla="*/ 76 w 273"/>
                <a:gd name="T99" fmla="*/ 223 h 223"/>
                <a:gd name="T100" fmla="*/ 78 w 273"/>
                <a:gd name="T101" fmla="*/ 204 h 223"/>
                <a:gd name="T102" fmla="*/ 69 w 273"/>
                <a:gd name="T103" fmla="*/ 195 h 223"/>
                <a:gd name="T104" fmla="*/ 61 w 273"/>
                <a:gd name="T105" fmla="*/ 180 h 223"/>
                <a:gd name="T106" fmla="*/ 34 w 273"/>
                <a:gd name="T107" fmla="*/ 186 h 223"/>
                <a:gd name="T108" fmla="*/ 18 w 273"/>
                <a:gd name="T109" fmla="*/ 18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223">
                  <a:moveTo>
                    <a:pt x="0" y="75"/>
                  </a:moveTo>
                  <a:cubicBezTo>
                    <a:pt x="1" y="75"/>
                    <a:pt x="3" y="74"/>
                    <a:pt x="4" y="74"/>
                  </a:cubicBezTo>
                  <a:cubicBezTo>
                    <a:pt x="4" y="73"/>
                    <a:pt x="5" y="73"/>
                    <a:pt x="5" y="72"/>
                  </a:cubicBezTo>
                  <a:cubicBezTo>
                    <a:pt x="5" y="72"/>
                    <a:pt x="2" y="71"/>
                    <a:pt x="1" y="69"/>
                  </a:cubicBezTo>
                  <a:cubicBezTo>
                    <a:pt x="1" y="69"/>
                    <a:pt x="3" y="68"/>
                    <a:pt x="3" y="68"/>
                  </a:cubicBezTo>
                  <a:cubicBezTo>
                    <a:pt x="3" y="68"/>
                    <a:pt x="9" y="69"/>
                    <a:pt x="11" y="69"/>
                  </a:cubicBezTo>
                  <a:cubicBezTo>
                    <a:pt x="13" y="69"/>
                    <a:pt x="20" y="67"/>
                    <a:pt x="20" y="67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2" y="71"/>
                    <a:pt x="33" y="71"/>
                    <a:pt x="37" y="72"/>
                  </a:cubicBezTo>
                  <a:cubicBezTo>
                    <a:pt x="39" y="73"/>
                    <a:pt x="39" y="72"/>
                    <a:pt x="41" y="71"/>
                  </a:cubicBezTo>
                  <a:cubicBezTo>
                    <a:pt x="42" y="70"/>
                    <a:pt x="44" y="69"/>
                    <a:pt x="45" y="70"/>
                  </a:cubicBezTo>
                  <a:cubicBezTo>
                    <a:pt x="46" y="70"/>
                    <a:pt x="46" y="70"/>
                    <a:pt x="48" y="71"/>
                  </a:cubicBezTo>
                  <a:cubicBezTo>
                    <a:pt x="50" y="72"/>
                    <a:pt x="53" y="73"/>
                    <a:pt x="55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2" y="72"/>
                    <a:pt x="58" y="59"/>
                    <a:pt x="60" y="59"/>
                  </a:cubicBezTo>
                  <a:cubicBezTo>
                    <a:pt x="63" y="58"/>
                    <a:pt x="64" y="61"/>
                    <a:pt x="68" y="60"/>
                  </a:cubicBezTo>
                  <a:cubicBezTo>
                    <a:pt x="72" y="58"/>
                    <a:pt x="78" y="66"/>
                    <a:pt x="79" y="62"/>
                  </a:cubicBezTo>
                  <a:cubicBezTo>
                    <a:pt x="80" y="59"/>
                    <a:pt x="86" y="63"/>
                    <a:pt x="81" y="59"/>
                  </a:cubicBezTo>
                  <a:cubicBezTo>
                    <a:pt x="75" y="54"/>
                    <a:pt x="77" y="55"/>
                    <a:pt x="73" y="54"/>
                  </a:cubicBezTo>
                  <a:cubicBezTo>
                    <a:pt x="69" y="52"/>
                    <a:pt x="66" y="51"/>
                    <a:pt x="64" y="50"/>
                  </a:cubicBezTo>
                  <a:cubicBezTo>
                    <a:pt x="62" y="50"/>
                    <a:pt x="63" y="50"/>
                    <a:pt x="60" y="48"/>
                  </a:cubicBezTo>
                  <a:cubicBezTo>
                    <a:pt x="57" y="46"/>
                    <a:pt x="54" y="44"/>
                    <a:pt x="54" y="44"/>
                  </a:cubicBezTo>
                  <a:cubicBezTo>
                    <a:pt x="54" y="44"/>
                    <a:pt x="51" y="43"/>
                    <a:pt x="51" y="41"/>
                  </a:cubicBezTo>
                  <a:cubicBezTo>
                    <a:pt x="50" y="39"/>
                    <a:pt x="49" y="36"/>
                    <a:pt x="49" y="36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4" y="23"/>
                    <a:pt x="59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4" y="29"/>
                    <a:pt x="65" y="28"/>
                  </a:cubicBezTo>
                  <a:cubicBezTo>
                    <a:pt x="67" y="28"/>
                    <a:pt x="68" y="26"/>
                    <a:pt x="69" y="25"/>
                  </a:cubicBezTo>
                  <a:cubicBezTo>
                    <a:pt x="70" y="24"/>
                    <a:pt x="73" y="21"/>
                    <a:pt x="74" y="22"/>
                  </a:cubicBezTo>
                  <a:cubicBezTo>
                    <a:pt x="74" y="24"/>
                    <a:pt x="71" y="27"/>
                    <a:pt x="75" y="27"/>
                  </a:cubicBezTo>
                  <a:cubicBezTo>
                    <a:pt x="79" y="27"/>
                    <a:pt x="78" y="29"/>
                    <a:pt x="81" y="30"/>
                  </a:cubicBezTo>
                  <a:cubicBezTo>
                    <a:pt x="84" y="30"/>
                    <a:pt x="87" y="32"/>
                    <a:pt x="87" y="33"/>
                  </a:cubicBezTo>
                  <a:cubicBezTo>
                    <a:pt x="87" y="34"/>
                    <a:pt x="87" y="35"/>
                    <a:pt x="88" y="36"/>
                  </a:cubicBezTo>
                  <a:cubicBezTo>
                    <a:pt x="90" y="37"/>
                    <a:pt x="91" y="36"/>
                    <a:pt x="93" y="36"/>
                  </a:cubicBezTo>
                  <a:cubicBezTo>
                    <a:pt x="95" y="36"/>
                    <a:pt x="95" y="34"/>
                    <a:pt x="96" y="36"/>
                  </a:cubicBezTo>
                  <a:cubicBezTo>
                    <a:pt x="96" y="38"/>
                    <a:pt x="97" y="39"/>
                    <a:pt x="97" y="39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2" y="48"/>
                    <a:pt x="106" y="50"/>
                  </a:cubicBezTo>
                  <a:cubicBezTo>
                    <a:pt x="110" y="51"/>
                    <a:pt x="113" y="51"/>
                    <a:pt x="113" y="51"/>
                  </a:cubicBezTo>
                  <a:cubicBezTo>
                    <a:pt x="113" y="51"/>
                    <a:pt x="113" y="51"/>
                    <a:pt x="117" y="52"/>
                  </a:cubicBezTo>
                  <a:cubicBezTo>
                    <a:pt x="121" y="53"/>
                    <a:pt x="124" y="55"/>
                    <a:pt x="128" y="54"/>
                  </a:cubicBezTo>
                  <a:cubicBezTo>
                    <a:pt x="133" y="54"/>
                    <a:pt x="137" y="49"/>
                    <a:pt x="137" y="49"/>
                  </a:cubicBezTo>
                  <a:cubicBezTo>
                    <a:pt x="137" y="49"/>
                    <a:pt x="139" y="46"/>
                    <a:pt x="138" y="44"/>
                  </a:cubicBezTo>
                  <a:cubicBezTo>
                    <a:pt x="138" y="42"/>
                    <a:pt x="140" y="38"/>
                    <a:pt x="142" y="37"/>
                  </a:cubicBezTo>
                  <a:cubicBezTo>
                    <a:pt x="144" y="36"/>
                    <a:pt x="141" y="35"/>
                    <a:pt x="142" y="33"/>
                  </a:cubicBezTo>
                  <a:cubicBezTo>
                    <a:pt x="143" y="32"/>
                    <a:pt x="144" y="31"/>
                    <a:pt x="145" y="30"/>
                  </a:cubicBezTo>
                  <a:cubicBezTo>
                    <a:pt x="147" y="29"/>
                    <a:pt x="153" y="23"/>
                    <a:pt x="153" y="23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5" y="12"/>
                    <a:pt x="156" y="11"/>
                  </a:cubicBezTo>
                  <a:cubicBezTo>
                    <a:pt x="157" y="10"/>
                    <a:pt x="160" y="2"/>
                    <a:pt x="160" y="2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1" y="0"/>
                    <a:pt x="181" y="18"/>
                    <a:pt x="182" y="18"/>
                  </a:cubicBezTo>
                  <a:cubicBezTo>
                    <a:pt x="183" y="18"/>
                    <a:pt x="191" y="23"/>
                    <a:pt x="192" y="25"/>
                  </a:cubicBezTo>
                  <a:cubicBezTo>
                    <a:pt x="193" y="26"/>
                    <a:pt x="199" y="34"/>
                    <a:pt x="199" y="34"/>
                  </a:cubicBezTo>
                  <a:cubicBezTo>
                    <a:pt x="200" y="38"/>
                    <a:pt x="200" y="38"/>
                    <a:pt x="200" y="38"/>
                  </a:cubicBezTo>
                  <a:cubicBezTo>
                    <a:pt x="200" y="38"/>
                    <a:pt x="200" y="41"/>
                    <a:pt x="202" y="43"/>
                  </a:cubicBezTo>
                  <a:cubicBezTo>
                    <a:pt x="204" y="44"/>
                    <a:pt x="208" y="48"/>
                    <a:pt x="210" y="49"/>
                  </a:cubicBezTo>
                  <a:cubicBezTo>
                    <a:pt x="212" y="49"/>
                    <a:pt x="220" y="54"/>
                    <a:pt x="220" y="54"/>
                  </a:cubicBezTo>
                  <a:cubicBezTo>
                    <a:pt x="220" y="54"/>
                    <a:pt x="221" y="51"/>
                    <a:pt x="222" y="53"/>
                  </a:cubicBezTo>
                  <a:cubicBezTo>
                    <a:pt x="223" y="55"/>
                    <a:pt x="224" y="58"/>
                    <a:pt x="224" y="59"/>
                  </a:cubicBezTo>
                  <a:cubicBezTo>
                    <a:pt x="224" y="60"/>
                    <a:pt x="225" y="64"/>
                    <a:pt x="227" y="63"/>
                  </a:cubicBezTo>
                  <a:cubicBezTo>
                    <a:pt x="229" y="63"/>
                    <a:pt x="235" y="63"/>
                    <a:pt x="235" y="63"/>
                  </a:cubicBezTo>
                  <a:cubicBezTo>
                    <a:pt x="235" y="63"/>
                    <a:pt x="236" y="65"/>
                    <a:pt x="239" y="65"/>
                  </a:cubicBezTo>
                  <a:cubicBezTo>
                    <a:pt x="242" y="65"/>
                    <a:pt x="243" y="64"/>
                    <a:pt x="245" y="63"/>
                  </a:cubicBezTo>
                  <a:cubicBezTo>
                    <a:pt x="246" y="63"/>
                    <a:pt x="254" y="62"/>
                    <a:pt x="254" y="62"/>
                  </a:cubicBezTo>
                  <a:cubicBezTo>
                    <a:pt x="260" y="65"/>
                    <a:pt x="260" y="65"/>
                    <a:pt x="260" y="65"/>
                  </a:cubicBezTo>
                  <a:cubicBezTo>
                    <a:pt x="266" y="67"/>
                    <a:pt x="266" y="67"/>
                    <a:pt x="266" y="67"/>
                  </a:cubicBezTo>
                  <a:cubicBezTo>
                    <a:pt x="271" y="72"/>
                    <a:pt x="271" y="72"/>
                    <a:pt x="271" y="72"/>
                  </a:cubicBezTo>
                  <a:cubicBezTo>
                    <a:pt x="273" y="76"/>
                    <a:pt x="273" y="76"/>
                    <a:pt x="273" y="76"/>
                  </a:cubicBezTo>
                  <a:cubicBezTo>
                    <a:pt x="273" y="76"/>
                    <a:pt x="267" y="71"/>
                    <a:pt x="266" y="71"/>
                  </a:cubicBezTo>
                  <a:cubicBezTo>
                    <a:pt x="265" y="72"/>
                    <a:pt x="263" y="72"/>
                    <a:pt x="262" y="72"/>
                  </a:cubicBezTo>
                  <a:cubicBezTo>
                    <a:pt x="260" y="73"/>
                    <a:pt x="255" y="74"/>
                    <a:pt x="255" y="74"/>
                  </a:cubicBezTo>
                  <a:cubicBezTo>
                    <a:pt x="252" y="76"/>
                    <a:pt x="252" y="76"/>
                    <a:pt x="252" y="76"/>
                  </a:cubicBezTo>
                  <a:cubicBezTo>
                    <a:pt x="248" y="76"/>
                    <a:pt x="248" y="76"/>
                    <a:pt x="248" y="76"/>
                  </a:cubicBezTo>
                  <a:cubicBezTo>
                    <a:pt x="245" y="81"/>
                    <a:pt x="245" y="81"/>
                    <a:pt x="245" y="81"/>
                  </a:cubicBezTo>
                  <a:cubicBezTo>
                    <a:pt x="240" y="85"/>
                    <a:pt x="240" y="85"/>
                    <a:pt x="240" y="85"/>
                  </a:cubicBezTo>
                  <a:cubicBezTo>
                    <a:pt x="234" y="90"/>
                    <a:pt x="234" y="90"/>
                    <a:pt x="234" y="90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31" y="97"/>
                    <a:pt x="235" y="100"/>
                    <a:pt x="234" y="100"/>
                  </a:cubicBezTo>
                  <a:cubicBezTo>
                    <a:pt x="233" y="101"/>
                    <a:pt x="231" y="103"/>
                    <a:pt x="231" y="103"/>
                  </a:cubicBezTo>
                  <a:cubicBezTo>
                    <a:pt x="233" y="106"/>
                    <a:pt x="233" y="106"/>
                    <a:pt x="233" y="106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36" y="114"/>
                    <a:pt x="236" y="114"/>
                    <a:pt x="236" y="114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6" y="121"/>
                    <a:pt x="236" y="121"/>
                    <a:pt x="236" y="121"/>
                  </a:cubicBezTo>
                  <a:cubicBezTo>
                    <a:pt x="236" y="121"/>
                    <a:pt x="240" y="121"/>
                    <a:pt x="236" y="125"/>
                  </a:cubicBezTo>
                  <a:cubicBezTo>
                    <a:pt x="233" y="128"/>
                    <a:pt x="232" y="129"/>
                    <a:pt x="232" y="130"/>
                  </a:cubicBezTo>
                  <a:cubicBezTo>
                    <a:pt x="233" y="132"/>
                    <a:pt x="234" y="136"/>
                    <a:pt x="234" y="136"/>
                  </a:cubicBezTo>
                  <a:cubicBezTo>
                    <a:pt x="234" y="136"/>
                    <a:pt x="233" y="139"/>
                    <a:pt x="235" y="141"/>
                  </a:cubicBezTo>
                  <a:cubicBezTo>
                    <a:pt x="236" y="142"/>
                    <a:pt x="241" y="144"/>
                    <a:pt x="241" y="144"/>
                  </a:cubicBezTo>
                  <a:cubicBezTo>
                    <a:pt x="241" y="144"/>
                    <a:pt x="243" y="147"/>
                    <a:pt x="243" y="148"/>
                  </a:cubicBezTo>
                  <a:cubicBezTo>
                    <a:pt x="242" y="149"/>
                    <a:pt x="236" y="150"/>
                    <a:pt x="236" y="150"/>
                  </a:cubicBezTo>
                  <a:cubicBezTo>
                    <a:pt x="236" y="150"/>
                    <a:pt x="236" y="153"/>
                    <a:pt x="236" y="154"/>
                  </a:cubicBezTo>
                  <a:cubicBezTo>
                    <a:pt x="236" y="155"/>
                    <a:pt x="237" y="160"/>
                    <a:pt x="237" y="160"/>
                  </a:cubicBezTo>
                  <a:cubicBezTo>
                    <a:pt x="239" y="166"/>
                    <a:pt x="239" y="166"/>
                    <a:pt x="239" y="166"/>
                  </a:cubicBezTo>
                  <a:cubicBezTo>
                    <a:pt x="239" y="166"/>
                    <a:pt x="239" y="170"/>
                    <a:pt x="237" y="172"/>
                  </a:cubicBezTo>
                  <a:cubicBezTo>
                    <a:pt x="234" y="174"/>
                    <a:pt x="233" y="175"/>
                    <a:pt x="231" y="173"/>
                  </a:cubicBezTo>
                  <a:cubicBezTo>
                    <a:pt x="235" y="169"/>
                    <a:pt x="235" y="169"/>
                    <a:pt x="235" y="169"/>
                  </a:cubicBezTo>
                  <a:cubicBezTo>
                    <a:pt x="234" y="165"/>
                    <a:pt x="234" y="165"/>
                    <a:pt x="234" y="165"/>
                  </a:cubicBezTo>
                  <a:cubicBezTo>
                    <a:pt x="231" y="166"/>
                    <a:pt x="231" y="166"/>
                    <a:pt x="231" y="166"/>
                  </a:cubicBezTo>
                  <a:cubicBezTo>
                    <a:pt x="229" y="161"/>
                    <a:pt x="229" y="161"/>
                    <a:pt x="229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6" y="177"/>
                    <a:pt x="224" y="177"/>
                    <a:pt x="223" y="178"/>
                  </a:cubicBezTo>
                  <a:cubicBezTo>
                    <a:pt x="223" y="178"/>
                    <a:pt x="221" y="179"/>
                    <a:pt x="222" y="180"/>
                  </a:cubicBezTo>
                  <a:cubicBezTo>
                    <a:pt x="223" y="181"/>
                    <a:pt x="224" y="183"/>
                    <a:pt x="224" y="183"/>
                  </a:cubicBezTo>
                  <a:cubicBezTo>
                    <a:pt x="224" y="184"/>
                    <a:pt x="225" y="188"/>
                    <a:pt x="225" y="188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30" y="200"/>
                    <a:pt x="230" y="201"/>
                  </a:cubicBezTo>
                  <a:cubicBezTo>
                    <a:pt x="230" y="201"/>
                    <a:pt x="232" y="209"/>
                    <a:pt x="232" y="209"/>
                  </a:cubicBezTo>
                  <a:cubicBezTo>
                    <a:pt x="232" y="209"/>
                    <a:pt x="227" y="214"/>
                    <a:pt x="226" y="215"/>
                  </a:cubicBezTo>
                  <a:cubicBezTo>
                    <a:pt x="224" y="216"/>
                    <a:pt x="224" y="218"/>
                    <a:pt x="223" y="217"/>
                  </a:cubicBezTo>
                  <a:cubicBezTo>
                    <a:pt x="222" y="216"/>
                    <a:pt x="220" y="214"/>
                    <a:pt x="218" y="213"/>
                  </a:cubicBezTo>
                  <a:cubicBezTo>
                    <a:pt x="217" y="212"/>
                    <a:pt x="212" y="208"/>
                    <a:pt x="211" y="207"/>
                  </a:cubicBezTo>
                  <a:cubicBezTo>
                    <a:pt x="210" y="206"/>
                    <a:pt x="208" y="205"/>
                    <a:pt x="208" y="205"/>
                  </a:cubicBezTo>
                  <a:cubicBezTo>
                    <a:pt x="208" y="205"/>
                    <a:pt x="207" y="207"/>
                    <a:pt x="206" y="207"/>
                  </a:cubicBezTo>
                  <a:cubicBezTo>
                    <a:pt x="205" y="207"/>
                    <a:pt x="203" y="206"/>
                    <a:pt x="203" y="206"/>
                  </a:cubicBezTo>
                  <a:cubicBezTo>
                    <a:pt x="202" y="206"/>
                    <a:pt x="200" y="205"/>
                    <a:pt x="199" y="204"/>
                  </a:cubicBezTo>
                  <a:cubicBezTo>
                    <a:pt x="197" y="202"/>
                    <a:pt x="196" y="200"/>
                    <a:pt x="195" y="200"/>
                  </a:cubicBezTo>
                  <a:cubicBezTo>
                    <a:pt x="195" y="200"/>
                    <a:pt x="195" y="199"/>
                    <a:pt x="191" y="199"/>
                  </a:cubicBezTo>
                  <a:cubicBezTo>
                    <a:pt x="187" y="200"/>
                    <a:pt x="179" y="200"/>
                    <a:pt x="184" y="194"/>
                  </a:cubicBezTo>
                  <a:cubicBezTo>
                    <a:pt x="185" y="192"/>
                    <a:pt x="183" y="189"/>
                    <a:pt x="189" y="186"/>
                  </a:cubicBezTo>
                  <a:cubicBezTo>
                    <a:pt x="189" y="186"/>
                    <a:pt x="194" y="184"/>
                    <a:pt x="195" y="182"/>
                  </a:cubicBezTo>
                  <a:cubicBezTo>
                    <a:pt x="197" y="180"/>
                    <a:pt x="193" y="177"/>
                    <a:pt x="193" y="177"/>
                  </a:cubicBezTo>
                  <a:cubicBezTo>
                    <a:pt x="192" y="177"/>
                    <a:pt x="191" y="177"/>
                    <a:pt x="189" y="176"/>
                  </a:cubicBezTo>
                  <a:cubicBezTo>
                    <a:pt x="188" y="176"/>
                    <a:pt x="183" y="173"/>
                    <a:pt x="183" y="172"/>
                  </a:cubicBezTo>
                  <a:cubicBezTo>
                    <a:pt x="182" y="170"/>
                    <a:pt x="182" y="169"/>
                    <a:pt x="183" y="165"/>
                  </a:cubicBezTo>
                  <a:cubicBezTo>
                    <a:pt x="184" y="161"/>
                    <a:pt x="185" y="163"/>
                    <a:pt x="187" y="161"/>
                  </a:cubicBezTo>
                  <a:cubicBezTo>
                    <a:pt x="190" y="158"/>
                    <a:pt x="192" y="156"/>
                    <a:pt x="189" y="154"/>
                  </a:cubicBezTo>
                  <a:cubicBezTo>
                    <a:pt x="186" y="153"/>
                    <a:pt x="185" y="154"/>
                    <a:pt x="179" y="150"/>
                  </a:cubicBezTo>
                  <a:cubicBezTo>
                    <a:pt x="173" y="146"/>
                    <a:pt x="171" y="144"/>
                    <a:pt x="170" y="144"/>
                  </a:cubicBezTo>
                  <a:cubicBezTo>
                    <a:pt x="169" y="143"/>
                    <a:pt x="168" y="142"/>
                    <a:pt x="166" y="143"/>
                  </a:cubicBezTo>
                  <a:cubicBezTo>
                    <a:pt x="165" y="144"/>
                    <a:pt x="160" y="149"/>
                    <a:pt x="159" y="150"/>
                  </a:cubicBezTo>
                  <a:cubicBezTo>
                    <a:pt x="158" y="151"/>
                    <a:pt x="152" y="156"/>
                    <a:pt x="152" y="156"/>
                  </a:cubicBezTo>
                  <a:cubicBezTo>
                    <a:pt x="151" y="157"/>
                    <a:pt x="141" y="164"/>
                    <a:pt x="141" y="164"/>
                  </a:cubicBezTo>
                  <a:cubicBezTo>
                    <a:pt x="141" y="164"/>
                    <a:pt x="138" y="172"/>
                    <a:pt x="136" y="175"/>
                  </a:cubicBezTo>
                  <a:cubicBezTo>
                    <a:pt x="135" y="178"/>
                    <a:pt x="129" y="182"/>
                    <a:pt x="129" y="184"/>
                  </a:cubicBezTo>
                  <a:cubicBezTo>
                    <a:pt x="129" y="185"/>
                    <a:pt x="129" y="188"/>
                    <a:pt x="128" y="189"/>
                  </a:cubicBezTo>
                  <a:cubicBezTo>
                    <a:pt x="128" y="189"/>
                    <a:pt x="125" y="193"/>
                    <a:pt x="123" y="193"/>
                  </a:cubicBezTo>
                  <a:cubicBezTo>
                    <a:pt x="122" y="194"/>
                    <a:pt x="116" y="195"/>
                    <a:pt x="116" y="197"/>
                  </a:cubicBezTo>
                  <a:cubicBezTo>
                    <a:pt x="116" y="199"/>
                    <a:pt x="119" y="199"/>
                    <a:pt x="116" y="203"/>
                  </a:cubicBezTo>
                  <a:cubicBezTo>
                    <a:pt x="113" y="206"/>
                    <a:pt x="110" y="220"/>
                    <a:pt x="107" y="208"/>
                  </a:cubicBezTo>
                  <a:cubicBezTo>
                    <a:pt x="105" y="200"/>
                    <a:pt x="105" y="199"/>
                    <a:pt x="103" y="198"/>
                  </a:cubicBezTo>
                  <a:cubicBezTo>
                    <a:pt x="100" y="196"/>
                    <a:pt x="98" y="195"/>
                    <a:pt x="98" y="195"/>
                  </a:cubicBezTo>
                  <a:cubicBezTo>
                    <a:pt x="98" y="195"/>
                    <a:pt x="96" y="192"/>
                    <a:pt x="100" y="191"/>
                  </a:cubicBezTo>
                  <a:cubicBezTo>
                    <a:pt x="104" y="191"/>
                    <a:pt x="105" y="193"/>
                    <a:pt x="107" y="191"/>
                  </a:cubicBezTo>
                  <a:cubicBezTo>
                    <a:pt x="110" y="189"/>
                    <a:pt x="111" y="188"/>
                    <a:pt x="107" y="187"/>
                  </a:cubicBezTo>
                  <a:cubicBezTo>
                    <a:pt x="103" y="186"/>
                    <a:pt x="105" y="188"/>
                    <a:pt x="101" y="186"/>
                  </a:cubicBezTo>
                  <a:cubicBezTo>
                    <a:pt x="98" y="183"/>
                    <a:pt x="97" y="183"/>
                    <a:pt x="96" y="182"/>
                  </a:cubicBezTo>
                  <a:cubicBezTo>
                    <a:pt x="96" y="181"/>
                    <a:pt x="96" y="181"/>
                    <a:pt x="97" y="180"/>
                  </a:cubicBezTo>
                  <a:cubicBezTo>
                    <a:pt x="99" y="177"/>
                    <a:pt x="99" y="177"/>
                    <a:pt x="99" y="177"/>
                  </a:cubicBezTo>
                  <a:cubicBezTo>
                    <a:pt x="99" y="177"/>
                    <a:pt x="99" y="177"/>
                    <a:pt x="98" y="177"/>
                  </a:cubicBezTo>
                  <a:cubicBezTo>
                    <a:pt x="98" y="175"/>
                    <a:pt x="100" y="173"/>
                    <a:pt x="100" y="171"/>
                  </a:cubicBezTo>
                  <a:cubicBezTo>
                    <a:pt x="100" y="170"/>
                    <a:pt x="99" y="169"/>
                    <a:pt x="98" y="169"/>
                  </a:cubicBezTo>
                  <a:cubicBezTo>
                    <a:pt x="97" y="169"/>
                    <a:pt x="98" y="169"/>
                    <a:pt x="96" y="169"/>
                  </a:cubicBezTo>
                  <a:cubicBezTo>
                    <a:pt x="96" y="168"/>
                    <a:pt x="95" y="168"/>
                    <a:pt x="95" y="167"/>
                  </a:cubicBezTo>
                  <a:cubicBezTo>
                    <a:pt x="94" y="166"/>
                    <a:pt x="94" y="166"/>
                    <a:pt x="94" y="166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89" y="162"/>
                    <a:pt x="92" y="163"/>
                    <a:pt x="93" y="163"/>
                  </a:cubicBezTo>
                  <a:cubicBezTo>
                    <a:pt x="94" y="163"/>
                    <a:pt x="98" y="160"/>
                    <a:pt x="98" y="160"/>
                  </a:cubicBezTo>
                  <a:cubicBezTo>
                    <a:pt x="98" y="160"/>
                    <a:pt x="96" y="159"/>
                    <a:pt x="95" y="159"/>
                  </a:cubicBezTo>
                  <a:cubicBezTo>
                    <a:pt x="94" y="159"/>
                    <a:pt x="94" y="156"/>
                    <a:pt x="94" y="156"/>
                  </a:cubicBezTo>
                  <a:cubicBezTo>
                    <a:pt x="91" y="154"/>
                    <a:pt x="91" y="154"/>
                    <a:pt x="91" y="154"/>
                  </a:cubicBezTo>
                  <a:cubicBezTo>
                    <a:pt x="87" y="153"/>
                    <a:pt x="87" y="153"/>
                    <a:pt x="87" y="153"/>
                  </a:cubicBezTo>
                  <a:cubicBezTo>
                    <a:pt x="87" y="153"/>
                    <a:pt x="86" y="152"/>
                    <a:pt x="85" y="152"/>
                  </a:cubicBezTo>
                  <a:cubicBezTo>
                    <a:pt x="85" y="151"/>
                    <a:pt x="85" y="150"/>
                    <a:pt x="85" y="150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87" y="141"/>
                    <a:pt x="87" y="141"/>
                    <a:pt x="87" y="141"/>
                  </a:cubicBezTo>
                  <a:cubicBezTo>
                    <a:pt x="87" y="141"/>
                    <a:pt x="83" y="143"/>
                    <a:pt x="81" y="141"/>
                  </a:cubicBezTo>
                  <a:cubicBezTo>
                    <a:pt x="79" y="140"/>
                    <a:pt x="80" y="141"/>
                    <a:pt x="78" y="142"/>
                  </a:cubicBezTo>
                  <a:cubicBezTo>
                    <a:pt x="77" y="142"/>
                    <a:pt x="75" y="144"/>
                    <a:pt x="75" y="144"/>
                  </a:cubicBezTo>
                  <a:cubicBezTo>
                    <a:pt x="75" y="144"/>
                    <a:pt x="74" y="145"/>
                    <a:pt x="72" y="145"/>
                  </a:cubicBezTo>
                  <a:cubicBezTo>
                    <a:pt x="71" y="145"/>
                    <a:pt x="71" y="142"/>
                    <a:pt x="71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2" y="137"/>
                    <a:pt x="62" y="137"/>
                    <a:pt x="62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52" y="134"/>
                    <a:pt x="51" y="132"/>
                    <a:pt x="50" y="132"/>
                  </a:cubicBezTo>
                  <a:cubicBezTo>
                    <a:pt x="48" y="131"/>
                    <a:pt x="48" y="132"/>
                    <a:pt x="47" y="132"/>
                  </a:cubicBezTo>
                  <a:cubicBezTo>
                    <a:pt x="46" y="132"/>
                    <a:pt x="46" y="132"/>
                    <a:pt x="43" y="132"/>
                  </a:cubicBezTo>
                  <a:cubicBezTo>
                    <a:pt x="41" y="132"/>
                    <a:pt x="41" y="130"/>
                    <a:pt x="41" y="130"/>
                  </a:cubicBezTo>
                  <a:cubicBezTo>
                    <a:pt x="41" y="130"/>
                    <a:pt x="42" y="128"/>
                    <a:pt x="42" y="127"/>
                  </a:cubicBezTo>
                  <a:cubicBezTo>
                    <a:pt x="42" y="127"/>
                    <a:pt x="44" y="127"/>
                    <a:pt x="44" y="127"/>
                  </a:cubicBezTo>
                  <a:cubicBezTo>
                    <a:pt x="45" y="126"/>
                    <a:pt x="48" y="125"/>
                    <a:pt x="50" y="125"/>
                  </a:cubicBezTo>
                  <a:cubicBezTo>
                    <a:pt x="51" y="125"/>
                    <a:pt x="51" y="125"/>
                    <a:pt x="53" y="124"/>
                  </a:cubicBezTo>
                  <a:cubicBezTo>
                    <a:pt x="54" y="124"/>
                    <a:pt x="54" y="123"/>
                    <a:pt x="54" y="123"/>
                  </a:cubicBezTo>
                  <a:cubicBezTo>
                    <a:pt x="54" y="123"/>
                    <a:pt x="54" y="119"/>
                    <a:pt x="54" y="119"/>
                  </a:cubicBezTo>
                  <a:cubicBezTo>
                    <a:pt x="54" y="118"/>
                    <a:pt x="54" y="118"/>
                    <a:pt x="55" y="118"/>
                  </a:cubicBezTo>
                  <a:cubicBezTo>
                    <a:pt x="55" y="117"/>
                    <a:pt x="55" y="116"/>
                    <a:pt x="55" y="116"/>
                  </a:cubicBezTo>
                  <a:cubicBezTo>
                    <a:pt x="55" y="116"/>
                    <a:pt x="54" y="114"/>
                    <a:pt x="54" y="113"/>
                  </a:cubicBezTo>
                  <a:cubicBezTo>
                    <a:pt x="53" y="111"/>
                    <a:pt x="52" y="112"/>
                    <a:pt x="52" y="112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50" y="112"/>
                    <a:pt x="47" y="112"/>
                    <a:pt x="47" y="111"/>
                  </a:cubicBezTo>
                  <a:cubicBezTo>
                    <a:pt x="46" y="111"/>
                    <a:pt x="44" y="111"/>
                    <a:pt x="44" y="111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39" y="108"/>
                    <a:pt x="37" y="108"/>
                  </a:cubicBezTo>
                  <a:cubicBezTo>
                    <a:pt x="35" y="107"/>
                    <a:pt x="33" y="106"/>
                    <a:pt x="33" y="106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4" y="99"/>
                    <a:pt x="24" y="99"/>
                    <a:pt x="24" y="99"/>
                  </a:cubicBezTo>
                  <a:cubicBezTo>
                    <a:pt x="24" y="99"/>
                    <a:pt x="21" y="95"/>
                    <a:pt x="21" y="94"/>
                  </a:cubicBezTo>
                  <a:cubicBezTo>
                    <a:pt x="21" y="94"/>
                    <a:pt x="21" y="94"/>
                    <a:pt x="22" y="93"/>
                  </a:cubicBezTo>
                  <a:cubicBezTo>
                    <a:pt x="22" y="93"/>
                    <a:pt x="22" y="92"/>
                    <a:pt x="23" y="91"/>
                  </a:cubicBezTo>
                  <a:cubicBezTo>
                    <a:pt x="23" y="90"/>
                    <a:pt x="24" y="89"/>
                    <a:pt x="24" y="88"/>
                  </a:cubicBezTo>
                  <a:cubicBezTo>
                    <a:pt x="24" y="88"/>
                    <a:pt x="25" y="87"/>
                    <a:pt x="26" y="87"/>
                  </a:cubicBezTo>
                  <a:cubicBezTo>
                    <a:pt x="27" y="87"/>
                    <a:pt x="28" y="86"/>
                    <a:pt x="28" y="86"/>
                  </a:cubicBezTo>
                  <a:cubicBezTo>
                    <a:pt x="28" y="85"/>
                    <a:pt x="28" y="84"/>
                    <a:pt x="29" y="83"/>
                  </a:cubicBezTo>
                  <a:cubicBezTo>
                    <a:pt x="29" y="82"/>
                    <a:pt x="27" y="83"/>
                    <a:pt x="26" y="82"/>
                  </a:cubicBezTo>
                  <a:cubicBezTo>
                    <a:pt x="25" y="82"/>
                    <a:pt x="25" y="82"/>
                    <a:pt x="24" y="83"/>
                  </a:cubicBezTo>
                  <a:cubicBezTo>
                    <a:pt x="23" y="83"/>
                    <a:pt x="22" y="81"/>
                    <a:pt x="22" y="81"/>
                  </a:cubicBezTo>
                  <a:cubicBezTo>
                    <a:pt x="22" y="80"/>
                    <a:pt x="20" y="80"/>
                    <a:pt x="19" y="79"/>
                  </a:cubicBezTo>
                  <a:cubicBezTo>
                    <a:pt x="18" y="79"/>
                    <a:pt x="18" y="79"/>
                    <a:pt x="18" y="78"/>
                  </a:cubicBezTo>
                  <a:cubicBezTo>
                    <a:pt x="17" y="77"/>
                    <a:pt x="18" y="77"/>
                    <a:pt x="17" y="77"/>
                  </a:cubicBezTo>
                  <a:cubicBezTo>
                    <a:pt x="17" y="76"/>
                    <a:pt x="16" y="76"/>
                    <a:pt x="16" y="76"/>
                  </a:cubicBezTo>
                  <a:cubicBezTo>
                    <a:pt x="16" y="76"/>
                    <a:pt x="15" y="78"/>
                    <a:pt x="14" y="78"/>
                  </a:cubicBezTo>
                  <a:cubicBezTo>
                    <a:pt x="13" y="78"/>
                    <a:pt x="12" y="77"/>
                    <a:pt x="12" y="77"/>
                  </a:cubicBezTo>
                  <a:cubicBezTo>
                    <a:pt x="11" y="77"/>
                    <a:pt x="10" y="77"/>
                    <a:pt x="9" y="78"/>
                  </a:cubicBezTo>
                  <a:cubicBezTo>
                    <a:pt x="9" y="78"/>
                    <a:pt x="7" y="77"/>
                    <a:pt x="7" y="77"/>
                  </a:cubicBezTo>
                  <a:cubicBezTo>
                    <a:pt x="7" y="76"/>
                    <a:pt x="4" y="76"/>
                    <a:pt x="4" y="76"/>
                  </a:cubicBezTo>
                  <a:cubicBezTo>
                    <a:pt x="4" y="76"/>
                    <a:pt x="4" y="77"/>
                    <a:pt x="3" y="77"/>
                  </a:cubicBezTo>
                  <a:cubicBezTo>
                    <a:pt x="2" y="78"/>
                    <a:pt x="1" y="77"/>
                    <a:pt x="1" y="77"/>
                  </a:cubicBezTo>
                  <a:cubicBezTo>
                    <a:pt x="0" y="77"/>
                    <a:pt x="0" y="76"/>
                    <a:pt x="0" y="75"/>
                  </a:cubicBezTo>
                  <a:close/>
                  <a:moveTo>
                    <a:pt x="10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16" y="187"/>
                    <a:pt x="16" y="187"/>
                    <a:pt x="16" y="187"/>
                  </a:cubicBez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2" y="195"/>
                    <a:pt x="22" y="196"/>
                  </a:cubicBezTo>
                  <a:cubicBezTo>
                    <a:pt x="22" y="198"/>
                    <a:pt x="25" y="198"/>
                    <a:pt x="26" y="198"/>
                  </a:cubicBezTo>
                  <a:cubicBezTo>
                    <a:pt x="26" y="198"/>
                    <a:pt x="30" y="199"/>
                    <a:pt x="30" y="199"/>
                  </a:cubicBezTo>
                  <a:cubicBezTo>
                    <a:pt x="30" y="199"/>
                    <a:pt x="32" y="201"/>
                    <a:pt x="33" y="202"/>
                  </a:cubicBezTo>
                  <a:cubicBezTo>
                    <a:pt x="33" y="203"/>
                    <a:pt x="33" y="205"/>
                    <a:pt x="33" y="205"/>
                  </a:cubicBezTo>
                  <a:cubicBezTo>
                    <a:pt x="37" y="209"/>
                    <a:pt x="37" y="209"/>
                    <a:pt x="37" y="209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209"/>
                    <a:pt x="51" y="215"/>
                    <a:pt x="52" y="216"/>
                  </a:cubicBezTo>
                  <a:cubicBezTo>
                    <a:pt x="52" y="217"/>
                    <a:pt x="56" y="221"/>
                    <a:pt x="56" y="221"/>
                  </a:cubicBezTo>
                  <a:cubicBezTo>
                    <a:pt x="56" y="221"/>
                    <a:pt x="63" y="221"/>
                    <a:pt x="64" y="221"/>
                  </a:cubicBezTo>
                  <a:cubicBezTo>
                    <a:pt x="64" y="221"/>
                    <a:pt x="71" y="221"/>
                    <a:pt x="71" y="221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81" y="222"/>
                    <a:pt x="81" y="222"/>
                    <a:pt x="81" y="222"/>
                  </a:cubicBezTo>
                  <a:cubicBezTo>
                    <a:pt x="92" y="219"/>
                    <a:pt x="92" y="219"/>
                    <a:pt x="92" y="219"/>
                  </a:cubicBezTo>
                  <a:cubicBezTo>
                    <a:pt x="92" y="219"/>
                    <a:pt x="89" y="217"/>
                    <a:pt x="89" y="217"/>
                  </a:cubicBezTo>
                  <a:cubicBezTo>
                    <a:pt x="89" y="216"/>
                    <a:pt x="85" y="211"/>
                    <a:pt x="85" y="211"/>
                  </a:cubicBezTo>
                  <a:cubicBezTo>
                    <a:pt x="85" y="211"/>
                    <a:pt x="79" y="204"/>
                    <a:pt x="78" y="204"/>
                  </a:cubicBezTo>
                  <a:cubicBezTo>
                    <a:pt x="78" y="203"/>
                    <a:pt x="77" y="202"/>
                    <a:pt x="77" y="201"/>
                  </a:cubicBezTo>
                  <a:cubicBezTo>
                    <a:pt x="77" y="199"/>
                    <a:pt x="78" y="198"/>
                    <a:pt x="78" y="197"/>
                  </a:cubicBezTo>
                  <a:cubicBezTo>
                    <a:pt x="79" y="196"/>
                    <a:pt x="79" y="194"/>
                    <a:pt x="79" y="194"/>
                  </a:cubicBezTo>
                  <a:cubicBezTo>
                    <a:pt x="79" y="194"/>
                    <a:pt x="76" y="194"/>
                    <a:pt x="74" y="194"/>
                  </a:cubicBezTo>
                  <a:cubicBezTo>
                    <a:pt x="73" y="194"/>
                    <a:pt x="71" y="195"/>
                    <a:pt x="69" y="195"/>
                  </a:cubicBezTo>
                  <a:cubicBezTo>
                    <a:pt x="68" y="195"/>
                    <a:pt x="66" y="194"/>
                    <a:pt x="66" y="194"/>
                  </a:cubicBezTo>
                  <a:cubicBezTo>
                    <a:pt x="65" y="194"/>
                    <a:pt x="65" y="191"/>
                    <a:pt x="65" y="191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61" y="180"/>
                    <a:pt x="61" y="180"/>
                    <a:pt x="61" y="180"/>
                  </a:cubicBezTo>
                  <a:cubicBezTo>
                    <a:pt x="61" y="180"/>
                    <a:pt x="54" y="183"/>
                    <a:pt x="53" y="183"/>
                  </a:cubicBezTo>
                  <a:cubicBezTo>
                    <a:pt x="52" y="183"/>
                    <a:pt x="48" y="188"/>
                    <a:pt x="47" y="188"/>
                  </a:cubicBezTo>
                  <a:cubicBezTo>
                    <a:pt x="47" y="188"/>
                    <a:pt x="44" y="185"/>
                    <a:pt x="44" y="185"/>
                  </a:cubicBezTo>
                  <a:cubicBezTo>
                    <a:pt x="36" y="183"/>
                    <a:pt x="36" y="183"/>
                    <a:pt x="36" y="183"/>
                  </a:cubicBezTo>
                  <a:cubicBezTo>
                    <a:pt x="36" y="183"/>
                    <a:pt x="35" y="185"/>
                    <a:pt x="34" y="186"/>
                  </a:cubicBezTo>
                  <a:cubicBezTo>
                    <a:pt x="33" y="187"/>
                    <a:pt x="32" y="186"/>
                    <a:pt x="32" y="185"/>
                  </a:cubicBezTo>
                  <a:cubicBezTo>
                    <a:pt x="31" y="183"/>
                    <a:pt x="33" y="180"/>
                    <a:pt x="33" y="180"/>
                  </a:cubicBezTo>
                  <a:cubicBezTo>
                    <a:pt x="27" y="177"/>
                    <a:pt x="27" y="177"/>
                    <a:pt x="27" y="177"/>
                  </a:cubicBezTo>
                  <a:cubicBezTo>
                    <a:pt x="23" y="175"/>
                    <a:pt x="23" y="175"/>
                    <a:pt x="23" y="175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8" y="180"/>
                    <a:pt x="11" y="181"/>
                    <a:pt x="10" y="18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8" name="Freeform 221"/>
            <p:cNvSpPr>
              <a:spLocks noEditPoints="1"/>
            </p:cNvSpPr>
            <p:nvPr/>
          </p:nvSpPr>
          <p:spPr bwMode="auto">
            <a:xfrm>
              <a:off x="4321802" y="4545369"/>
              <a:ext cx="662315" cy="326550"/>
            </a:xfrm>
            <a:custGeom>
              <a:avLst/>
              <a:gdLst>
                <a:gd name="T0" fmla="*/ 196 w 279"/>
                <a:gd name="T1" fmla="*/ 4 h 142"/>
                <a:gd name="T2" fmla="*/ 219 w 279"/>
                <a:gd name="T3" fmla="*/ 5 h 142"/>
                <a:gd name="T4" fmla="*/ 249 w 279"/>
                <a:gd name="T5" fmla="*/ 8 h 142"/>
                <a:gd name="T6" fmla="*/ 268 w 279"/>
                <a:gd name="T7" fmla="*/ 17 h 142"/>
                <a:gd name="T8" fmla="*/ 266 w 279"/>
                <a:gd name="T9" fmla="*/ 29 h 142"/>
                <a:gd name="T10" fmla="*/ 271 w 279"/>
                <a:gd name="T11" fmla="*/ 39 h 142"/>
                <a:gd name="T12" fmla="*/ 277 w 279"/>
                <a:gd name="T13" fmla="*/ 56 h 142"/>
                <a:gd name="T14" fmla="*/ 259 w 279"/>
                <a:gd name="T15" fmla="*/ 63 h 142"/>
                <a:gd name="T16" fmla="*/ 260 w 279"/>
                <a:gd name="T17" fmla="*/ 82 h 142"/>
                <a:gd name="T18" fmla="*/ 255 w 279"/>
                <a:gd name="T19" fmla="*/ 104 h 142"/>
                <a:gd name="T20" fmla="*/ 238 w 279"/>
                <a:gd name="T21" fmla="*/ 121 h 142"/>
                <a:gd name="T22" fmla="*/ 206 w 279"/>
                <a:gd name="T23" fmla="*/ 128 h 142"/>
                <a:gd name="T24" fmla="*/ 191 w 279"/>
                <a:gd name="T25" fmla="*/ 142 h 142"/>
                <a:gd name="T26" fmla="*/ 146 w 279"/>
                <a:gd name="T27" fmla="*/ 138 h 142"/>
                <a:gd name="T28" fmla="*/ 104 w 279"/>
                <a:gd name="T29" fmla="*/ 126 h 142"/>
                <a:gd name="T30" fmla="*/ 94 w 279"/>
                <a:gd name="T31" fmla="*/ 112 h 142"/>
                <a:gd name="T32" fmla="*/ 60 w 279"/>
                <a:gd name="T33" fmla="*/ 121 h 142"/>
                <a:gd name="T34" fmla="*/ 39 w 279"/>
                <a:gd name="T35" fmla="*/ 126 h 142"/>
                <a:gd name="T36" fmla="*/ 37 w 279"/>
                <a:gd name="T37" fmla="*/ 118 h 142"/>
                <a:gd name="T38" fmla="*/ 31 w 279"/>
                <a:gd name="T39" fmla="*/ 120 h 142"/>
                <a:gd name="T40" fmla="*/ 26 w 279"/>
                <a:gd name="T41" fmla="*/ 124 h 142"/>
                <a:gd name="T42" fmla="*/ 17 w 279"/>
                <a:gd name="T43" fmla="*/ 120 h 142"/>
                <a:gd name="T44" fmla="*/ 2 w 279"/>
                <a:gd name="T45" fmla="*/ 114 h 142"/>
                <a:gd name="T46" fmla="*/ 2 w 279"/>
                <a:gd name="T47" fmla="*/ 113 h 142"/>
                <a:gd name="T48" fmla="*/ 4 w 279"/>
                <a:gd name="T49" fmla="*/ 113 h 142"/>
                <a:gd name="T50" fmla="*/ 5 w 279"/>
                <a:gd name="T51" fmla="*/ 112 h 142"/>
                <a:gd name="T52" fmla="*/ 4 w 279"/>
                <a:gd name="T53" fmla="*/ 111 h 142"/>
                <a:gd name="T54" fmla="*/ 4 w 279"/>
                <a:gd name="T55" fmla="*/ 110 h 142"/>
                <a:gd name="T56" fmla="*/ 3 w 279"/>
                <a:gd name="T57" fmla="*/ 109 h 142"/>
                <a:gd name="T58" fmla="*/ 3 w 279"/>
                <a:gd name="T59" fmla="*/ 108 h 142"/>
                <a:gd name="T60" fmla="*/ 2 w 279"/>
                <a:gd name="T61" fmla="*/ 106 h 142"/>
                <a:gd name="T62" fmla="*/ 2 w 279"/>
                <a:gd name="T63" fmla="*/ 104 h 142"/>
                <a:gd name="T64" fmla="*/ 7 w 279"/>
                <a:gd name="T65" fmla="*/ 94 h 142"/>
                <a:gd name="T66" fmla="*/ 6 w 279"/>
                <a:gd name="T67" fmla="*/ 91 h 142"/>
                <a:gd name="T68" fmla="*/ 6 w 279"/>
                <a:gd name="T69" fmla="*/ 91 h 142"/>
                <a:gd name="T70" fmla="*/ 6 w 279"/>
                <a:gd name="T71" fmla="*/ 90 h 142"/>
                <a:gd name="T72" fmla="*/ 6 w 279"/>
                <a:gd name="T73" fmla="*/ 90 h 142"/>
                <a:gd name="T74" fmla="*/ 23 w 279"/>
                <a:gd name="T75" fmla="*/ 94 h 142"/>
                <a:gd name="T76" fmla="*/ 32 w 279"/>
                <a:gd name="T77" fmla="*/ 101 h 142"/>
                <a:gd name="T78" fmla="*/ 38 w 279"/>
                <a:gd name="T79" fmla="*/ 88 h 142"/>
                <a:gd name="T80" fmla="*/ 55 w 279"/>
                <a:gd name="T81" fmla="*/ 95 h 142"/>
                <a:gd name="T82" fmla="*/ 73 w 279"/>
                <a:gd name="T83" fmla="*/ 88 h 142"/>
                <a:gd name="T84" fmla="*/ 95 w 279"/>
                <a:gd name="T85" fmla="*/ 82 h 142"/>
                <a:gd name="T86" fmla="*/ 110 w 279"/>
                <a:gd name="T87" fmla="*/ 80 h 142"/>
                <a:gd name="T88" fmla="*/ 123 w 279"/>
                <a:gd name="T89" fmla="*/ 85 h 142"/>
                <a:gd name="T90" fmla="*/ 130 w 279"/>
                <a:gd name="T91" fmla="*/ 76 h 142"/>
                <a:gd name="T92" fmla="*/ 123 w 279"/>
                <a:gd name="T93" fmla="*/ 62 h 142"/>
                <a:gd name="T94" fmla="*/ 126 w 279"/>
                <a:gd name="T95" fmla="*/ 48 h 142"/>
                <a:gd name="T96" fmla="*/ 141 w 279"/>
                <a:gd name="T97" fmla="*/ 38 h 142"/>
                <a:gd name="T98" fmla="*/ 152 w 279"/>
                <a:gd name="T99" fmla="*/ 29 h 142"/>
                <a:gd name="T100" fmla="*/ 160 w 279"/>
                <a:gd name="T101" fmla="*/ 20 h 142"/>
                <a:gd name="T102" fmla="*/ 183 w 279"/>
                <a:gd name="T103" fmla="*/ 25 h 142"/>
                <a:gd name="T104" fmla="*/ 1 w 279"/>
                <a:gd name="T105" fmla="*/ 114 h 142"/>
                <a:gd name="T106" fmla="*/ 1 w 279"/>
                <a:gd name="T107" fmla="*/ 114 h 142"/>
                <a:gd name="T108" fmla="*/ 2 w 279"/>
                <a:gd name="T109" fmla="*/ 11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2">
                  <a:moveTo>
                    <a:pt x="187" y="24"/>
                  </a:moveTo>
                  <a:cubicBezTo>
                    <a:pt x="187" y="24"/>
                    <a:pt x="187" y="18"/>
                    <a:pt x="188" y="18"/>
                  </a:cubicBezTo>
                  <a:cubicBezTo>
                    <a:pt x="189" y="18"/>
                    <a:pt x="191" y="15"/>
                    <a:pt x="191" y="15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6" y="12"/>
                    <a:pt x="196" y="10"/>
                  </a:cubicBezTo>
                  <a:cubicBezTo>
                    <a:pt x="195" y="9"/>
                    <a:pt x="196" y="4"/>
                    <a:pt x="196" y="4"/>
                  </a:cubicBezTo>
                  <a:cubicBezTo>
                    <a:pt x="196" y="4"/>
                    <a:pt x="195" y="1"/>
                    <a:pt x="196" y="1"/>
                  </a:cubicBezTo>
                  <a:cubicBezTo>
                    <a:pt x="198" y="0"/>
                    <a:pt x="201" y="2"/>
                    <a:pt x="201" y="2"/>
                  </a:cubicBezTo>
                  <a:cubicBezTo>
                    <a:pt x="206" y="3"/>
                    <a:pt x="206" y="3"/>
                    <a:pt x="206" y="3"/>
                  </a:cubicBezTo>
                  <a:cubicBezTo>
                    <a:pt x="206" y="3"/>
                    <a:pt x="208" y="3"/>
                    <a:pt x="209" y="3"/>
                  </a:cubicBezTo>
                  <a:cubicBezTo>
                    <a:pt x="210" y="3"/>
                    <a:pt x="214" y="4"/>
                    <a:pt x="214" y="4"/>
                  </a:cubicBezTo>
                  <a:cubicBezTo>
                    <a:pt x="214" y="4"/>
                    <a:pt x="218" y="5"/>
                    <a:pt x="219" y="5"/>
                  </a:cubicBezTo>
                  <a:cubicBezTo>
                    <a:pt x="220" y="5"/>
                    <a:pt x="224" y="5"/>
                    <a:pt x="224" y="5"/>
                  </a:cubicBezTo>
                  <a:cubicBezTo>
                    <a:pt x="226" y="6"/>
                    <a:pt x="226" y="6"/>
                    <a:pt x="226" y="6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7" y="11"/>
                    <a:pt x="237" y="11"/>
                    <a:pt x="237" y="11"/>
                  </a:cubicBezTo>
                  <a:cubicBezTo>
                    <a:pt x="248" y="12"/>
                    <a:pt x="248" y="12"/>
                    <a:pt x="248" y="12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53" y="7"/>
                    <a:pt x="253" y="8"/>
                  </a:cubicBezTo>
                  <a:cubicBezTo>
                    <a:pt x="254" y="8"/>
                    <a:pt x="256" y="10"/>
                    <a:pt x="259" y="11"/>
                  </a:cubicBezTo>
                  <a:cubicBezTo>
                    <a:pt x="262" y="11"/>
                    <a:pt x="265" y="10"/>
                    <a:pt x="265" y="10"/>
                  </a:cubicBezTo>
                  <a:cubicBezTo>
                    <a:pt x="267" y="16"/>
                    <a:pt x="267" y="16"/>
                    <a:pt x="267" y="16"/>
                  </a:cubicBezTo>
                  <a:cubicBezTo>
                    <a:pt x="269" y="17"/>
                    <a:pt x="269" y="17"/>
                    <a:pt x="269" y="17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8" y="20"/>
                    <a:pt x="268" y="20"/>
                    <a:pt x="268" y="20"/>
                  </a:cubicBezTo>
                  <a:cubicBezTo>
                    <a:pt x="269" y="21"/>
                    <a:pt x="269" y="21"/>
                    <a:pt x="269" y="21"/>
                  </a:cubicBezTo>
                  <a:cubicBezTo>
                    <a:pt x="269" y="21"/>
                    <a:pt x="268" y="23"/>
                    <a:pt x="268" y="23"/>
                  </a:cubicBezTo>
                  <a:cubicBezTo>
                    <a:pt x="268" y="23"/>
                    <a:pt x="268" y="25"/>
                    <a:pt x="268" y="25"/>
                  </a:cubicBezTo>
                  <a:cubicBezTo>
                    <a:pt x="266" y="27"/>
                    <a:pt x="266" y="27"/>
                    <a:pt x="266" y="27"/>
                  </a:cubicBezTo>
                  <a:cubicBezTo>
                    <a:pt x="266" y="29"/>
                    <a:pt x="266" y="29"/>
                    <a:pt x="266" y="29"/>
                  </a:cubicBezTo>
                  <a:cubicBezTo>
                    <a:pt x="266" y="29"/>
                    <a:pt x="266" y="32"/>
                    <a:pt x="266" y="32"/>
                  </a:cubicBezTo>
                  <a:cubicBezTo>
                    <a:pt x="266" y="32"/>
                    <a:pt x="267" y="33"/>
                    <a:pt x="268" y="33"/>
                  </a:cubicBezTo>
                  <a:cubicBezTo>
                    <a:pt x="268" y="33"/>
                    <a:pt x="268" y="34"/>
                    <a:pt x="268" y="34"/>
                  </a:cubicBezTo>
                  <a:cubicBezTo>
                    <a:pt x="268" y="34"/>
                    <a:pt x="269" y="35"/>
                    <a:pt x="270" y="36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70" y="36"/>
                    <a:pt x="271" y="38"/>
                    <a:pt x="271" y="39"/>
                  </a:cubicBezTo>
                  <a:cubicBezTo>
                    <a:pt x="272" y="40"/>
                    <a:pt x="272" y="41"/>
                    <a:pt x="272" y="41"/>
                  </a:cubicBezTo>
                  <a:cubicBezTo>
                    <a:pt x="272" y="41"/>
                    <a:pt x="273" y="43"/>
                    <a:pt x="274" y="43"/>
                  </a:cubicBezTo>
                  <a:cubicBezTo>
                    <a:pt x="274" y="43"/>
                    <a:pt x="275" y="43"/>
                    <a:pt x="276" y="43"/>
                  </a:cubicBezTo>
                  <a:cubicBezTo>
                    <a:pt x="276" y="43"/>
                    <a:pt x="277" y="43"/>
                    <a:pt x="277" y="43"/>
                  </a:cubicBezTo>
                  <a:cubicBezTo>
                    <a:pt x="277" y="44"/>
                    <a:pt x="276" y="50"/>
                    <a:pt x="276" y="50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7" y="56"/>
                    <a:pt x="276" y="59"/>
                    <a:pt x="276" y="60"/>
                  </a:cubicBezTo>
                  <a:cubicBezTo>
                    <a:pt x="277" y="62"/>
                    <a:pt x="279" y="64"/>
                    <a:pt x="276" y="65"/>
                  </a:cubicBezTo>
                  <a:cubicBezTo>
                    <a:pt x="274" y="65"/>
                    <a:pt x="271" y="67"/>
                    <a:pt x="270" y="65"/>
                  </a:cubicBezTo>
                  <a:cubicBezTo>
                    <a:pt x="270" y="65"/>
                    <a:pt x="269" y="63"/>
                    <a:pt x="269" y="66"/>
                  </a:cubicBezTo>
                  <a:cubicBezTo>
                    <a:pt x="270" y="67"/>
                    <a:pt x="267" y="66"/>
                    <a:pt x="267" y="66"/>
                  </a:cubicBezTo>
                  <a:cubicBezTo>
                    <a:pt x="259" y="63"/>
                    <a:pt x="259" y="63"/>
                    <a:pt x="259" y="63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259" y="70"/>
                    <a:pt x="259" y="70"/>
                    <a:pt x="259" y="70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60" y="82"/>
                    <a:pt x="260" y="82"/>
                    <a:pt x="260" y="82"/>
                  </a:cubicBezTo>
                  <a:cubicBezTo>
                    <a:pt x="260" y="82"/>
                    <a:pt x="257" y="84"/>
                    <a:pt x="256" y="84"/>
                  </a:cubicBezTo>
                  <a:cubicBezTo>
                    <a:pt x="255" y="84"/>
                    <a:pt x="254" y="85"/>
                    <a:pt x="254" y="85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3"/>
                    <a:pt x="257" y="93"/>
                    <a:pt x="257" y="93"/>
                  </a:cubicBezTo>
                  <a:cubicBezTo>
                    <a:pt x="258" y="99"/>
                    <a:pt x="258" y="99"/>
                    <a:pt x="258" y="99"/>
                  </a:cubicBezTo>
                  <a:cubicBezTo>
                    <a:pt x="255" y="104"/>
                    <a:pt x="255" y="104"/>
                    <a:pt x="255" y="104"/>
                  </a:cubicBezTo>
                  <a:cubicBezTo>
                    <a:pt x="252" y="105"/>
                    <a:pt x="252" y="105"/>
                    <a:pt x="252" y="105"/>
                  </a:cubicBezTo>
                  <a:cubicBezTo>
                    <a:pt x="249" y="112"/>
                    <a:pt x="249" y="112"/>
                    <a:pt x="249" y="112"/>
                  </a:cubicBezTo>
                  <a:cubicBezTo>
                    <a:pt x="244" y="115"/>
                    <a:pt x="244" y="115"/>
                    <a:pt x="244" y="115"/>
                  </a:cubicBezTo>
                  <a:cubicBezTo>
                    <a:pt x="243" y="119"/>
                    <a:pt x="243" y="119"/>
                    <a:pt x="243" y="119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38" y="121"/>
                    <a:pt x="238" y="121"/>
                    <a:pt x="238" y="121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0" y="124"/>
                    <a:pt x="230" y="124"/>
                    <a:pt x="230" y="124"/>
                  </a:cubicBezTo>
                  <a:cubicBezTo>
                    <a:pt x="224" y="128"/>
                    <a:pt x="224" y="128"/>
                    <a:pt x="224" y="128"/>
                  </a:cubicBezTo>
                  <a:cubicBezTo>
                    <a:pt x="219" y="126"/>
                    <a:pt x="219" y="126"/>
                    <a:pt x="219" y="126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3" y="130"/>
                    <a:pt x="203" y="130"/>
                    <a:pt x="203" y="130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4" y="140"/>
                    <a:pt x="194" y="140"/>
                    <a:pt x="194" y="14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89" y="142"/>
                    <a:pt x="189" y="142"/>
                    <a:pt x="189" y="142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61" y="138"/>
                    <a:pt x="161" y="138"/>
                    <a:pt x="161" y="138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4" y="139"/>
                    <a:pt x="149" y="138"/>
                    <a:pt x="146" y="138"/>
                  </a:cubicBezTo>
                  <a:cubicBezTo>
                    <a:pt x="142" y="138"/>
                    <a:pt x="134" y="136"/>
                    <a:pt x="134" y="136"/>
                  </a:cubicBezTo>
                  <a:cubicBezTo>
                    <a:pt x="124" y="133"/>
                    <a:pt x="124" y="133"/>
                    <a:pt x="124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109" y="132"/>
                    <a:pt x="108" y="130"/>
                    <a:pt x="107" y="129"/>
                  </a:cubicBezTo>
                  <a:cubicBezTo>
                    <a:pt x="107" y="128"/>
                    <a:pt x="104" y="126"/>
                    <a:pt x="104" y="126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100" y="111"/>
                    <a:pt x="96" y="112"/>
                    <a:pt x="94" y="112"/>
                  </a:cubicBezTo>
                  <a:cubicBezTo>
                    <a:pt x="93" y="113"/>
                    <a:pt x="87" y="114"/>
                    <a:pt x="87" y="114"/>
                  </a:cubicBezTo>
                  <a:cubicBezTo>
                    <a:pt x="85" y="115"/>
                    <a:pt x="85" y="115"/>
                    <a:pt x="85" y="115"/>
                  </a:cubicBezTo>
                  <a:cubicBezTo>
                    <a:pt x="77" y="115"/>
                    <a:pt x="77" y="115"/>
                    <a:pt x="77" y="115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7" y="129"/>
                    <a:pt x="57" y="129"/>
                    <a:pt x="57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5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0"/>
                  </a:cubicBezTo>
                  <a:cubicBezTo>
                    <a:pt x="39" y="120"/>
                    <a:pt x="38" y="119"/>
                    <a:pt x="38" y="119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6" y="116"/>
                    <a:pt x="36" y="116"/>
                  </a:cubicBezTo>
                  <a:cubicBezTo>
                    <a:pt x="35" y="117"/>
                    <a:pt x="34" y="117"/>
                    <a:pt x="34" y="117"/>
                  </a:cubicBezTo>
                  <a:cubicBezTo>
                    <a:pt x="34" y="117"/>
                    <a:pt x="34" y="119"/>
                    <a:pt x="34" y="119"/>
                  </a:cubicBezTo>
                  <a:cubicBezTo>
                    <a:pt x="33" y="120"/>
                    <a:pt x="32" y="120"/>
                    <a:pt x="32" y="120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1" y="120"/>
                    <a:pt x="31" y="120"/>
                    <a:pt x="31" y="120"/>
                  </a:cubicBezTo>
                  <a:cubicBezTo>
                    <a:pt x="30" y="122"/>
                    <a:pt x="30" y="122"/>
                    <a:pt x="30" y="12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3"/>
                    <a:pt x="28" y="123"/>
                    <a:pt x="28" y="124"/>
                  </a:cubicBezTo>
                  <a:cubicBezTo>
                    <a:pt x="28" y="124"/>
                    <a:pt x="27" y="124"/>
                    <a:pt x="26" y="124"/>
                  </a:cubicBezTo>
                  <a:cubicBezTo>
                    <a:pt x="26" y="124"/>
                    <a:pt x="24" y="124"/>
                    <a:pt x="24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6" y="114"/>
                    <a:pt x="6" y="114"/>
                    <a:pt x="6" y="114"/>
                  </a:cubicBezTo>
                  <a:cubicBezTo>
                    <a:pt x="6" y="114"/>
                    <a:pt x="2" y="114"/>
                    <a:pt x="2" y="114"/>
                  </a:cubicBezTo>
                  <a:cubicBezTo>
                    <a:pt x="2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2" y="113"/>
                    <a:pt x="2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2" y="113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4" y="113"/>
                    <a:pt x="4" y="113"/>
                    <a:pt x="5" y="113"/>
                  </a:cubicBezTo>
                  <a:cubicBezTo>
                    <a:pt x="5" y="113"/>
                    <a:pt x="5" y="113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4" y="112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2"/>
                    <a:pt x="4" y="112"/>
                    <a:pt x="4" y="111"/>
                  </a:cubicBezTo>
                  <a:cubicBezTo>
                    <a:pt x="4" y="111"/>
                    <a:pt x="5" y="111"/>
                    <a:pt x="5" y="111"/>
                  </a:cubicBezTo>
                  <a:cubicBezTo>
                    <a:pt x="5" y="111"/>
                    <a:pt x="5" y="111"/>
                    <a:pt x="4" y="111"/>
                  </a:cubicBezTo>
                  <a:cubicBezTo>
                    <a:pt x="4" y="111"/>
                    <a:pt x="4" y="111"/>
                    <a:pt x="4" y="111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4" y="110"/>
                    <a:pt x="4" y="110"/>
                    <a:pt x="4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3" y="109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7"/>
                    <a:pt x="3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2" y="107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2" y="104"/>
                    <a:pt x="2" y="104"/>
                    <a:pt x="2" y="104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2"/>
                    <a:pt x="4" y="100"/>
                    <a:pt x="5" y="100"/>
                  </a:cubicBezTo>
                  <a:cubicBezTo>
                    <a:pt x="5" y="99"/>
                    <a:pt x="5" y="98"/>
                    <a:pt x="5" y="98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8" y="96"/>
                    <a:pt x="8" y="96"/>
                  </a:cubicBezTo>
                  <a:cubicBezTo>
                    <a:pt x="8" y="95"/>
                    <a:pt x="7" y="94"/>
                    <a:pt x="7" y="94"/>
                  </a:cubicBezTo>
                  <a:cubicBezTo>
                    <a:pt x="7" y="93"/>
                    <a:pt x="8" y="92"/>
                    <a:pt x="8" y="92"/>
                  </a:cubicBezTo>
                  <a:cubicBezTo>
                    <a:pt x="7" y="92"/>
                    <a:pt x="7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8" y="88"/>
                    <a:pt x="10" y="86"/>
                    <a:pt x="10" y="86"/>
                  </a:cubicBezTo>
                  <a:cubicBezTo>
                    <a:pt x="10" y="86"/>
                    <a:pt x="12" y="85"/>
                    <a:pt x="14" y="86"/>
                  </a:cubicBezTo>
                  <a:cubicBezTo>
                    <a:pt x="15" y="87"/>
                    <a:pt x="17" y="89"/>
                    <a:pt x="18" y="90"/>
                  </a:cubicBezTo>
                  <a:cubicBezTo>
                    <a:pt x="18" y="90"/>
                    <a:pt x="19" y="91"/>
                    <a:pt x="20" y="91"/>
                  </a:cubicBezTo>
                  <a:cubicBezTo>
                    <a:pt x="21" y="91"/>
                    <a:pt x="22" y="92"/>
                    <a:pt x="22" y="92"/>
                  </a:cubicBezTo>
                  <a:cubicBezTo>
                    <a:pt x="22" y="93"/>
                    <a:pt x="23" y="92"/>
                    <a:pt x="23" y="94"/>
                  </a:cubicBezTo>
                  <a:cubicBezTo>
                    <a:pt x="22" y="96"/>
                    <a:pt x="22" y="98"/>
                    <a:pt x="23" y="98"/>
                  </a:cubicBezTo>
                  <a:cubicBezTo>
                    <a:pt x="25" y="97"/>
                    <a:pt x="26" y="96"/>
                    <a:pt x="26" y="97"/>
                  </a:cubicBezTo>
                  <a:cubicBezTo>
                    <a:pt x="26" y="98"/>
                    <a:pt x="27" y="97"/>
                    <a:pt x="26" y="99"/>
                  </a:cubicBezTo>
                  <a:cubicBezTo>
                    <a:pt x="26" y="101"/>
                    <a:pt x="25" y="102"/>
                    <a:pt x="26" y="102"/>
                  </a:cubicBezTo>
                  <a:cubicBezTo>
                    <a:pt x="28" y="103"/>
                    <a:pt x="30" y="104"/>
                    <a:pt x="31" y="103"/>
                  </a:cubicBezTo>
                  <a:cubicBezTo>
                    <a:pt x="32" y="101"/>
                    <a:pt x="31" y="103"/>
                    <a:pt x="32" y="101"/>
                  </a:cubicBezTo>
                  <a:cubicBezTo>
                    <a:pt x="33" y="98"/>
                    <a:pt x="33" y="99"/>
                    <a:pt x="34" y="98"/>
                  </a:cubicBezTo>
                  <a:cubicBezTo>
                    <a:pt x="34" y="96"/>
                    <a:pt x="34" y="97"/>
                    <a:pt x="35" y="95"/>
                  </a:cubicBezTo>
                  <a:cubicBezTo>
                    <a:pt x="35" y="93"/>
                    <a:pt x="36" y="94"/>
                    <a:pt x="35" y="93"/>
                  </a:cubicBezTo>
                  <a:cubicBezTo>
                    <a:pt x="35" y="93"/>
                    <a:pt x="35" y="92"/>
                    <a:pt x="34" y="91"/>
                  </a:cubicBezTo>
                  <a:cubicBezTo>
                    <a:pt x="34" y="89"/>
                    <a:pt x="32" y="90"/>
                    <a:pt x="35" y="89"/>
                  </a:cubicBezTo>
                  <a:cubicBezTo>
                    <a:pt x="37" y="88"/>
                    <a:pt x="38" y="88"/>
                    <a:pt x="38" y="88"/>
                  </a:cubicBezTo>
                  <a:cubicBezTo>
                    <a:pt x="38" y="87"/>
                    <a:pt x="41" y="87"/>
                    <a:pt x="41" y="87"/>
                  </a:cubicBezTo>
                  <a:cubicBezTo>
                    <a:pt x="41" y="87"/>
                    <a:pt x="44" y="87"/>
                    <a:pt x="44" y="87"/>
                  </a:cubicBezTo>
                  <a:cubicBezTo>
                    <a:pt x="45" y="87"/>
                    <a:pt x="49" y="87"/>
                    <a:pt x="49" y="88"/>
                  </a:cubicBezTo>
                  <a:cubicBezTo>
                    <a:pt x="49" y="89"/>
                    <a:pt x="51" y="89"/>
                    <a:pt x="51" y="89"/>
                  </a:cubicBezTo>
                  <a:cubicBezTo>
                    <a:pt x="51" y="89"/>
                    <a:pt x="53" y="89"/>
                    <a:pt x="54" y="91"/>
                  </a:cubicBezTo>
                  <a:cubicBezTo>
                    <a:pt x="54" y="94"/>
                    <a:pt x="54" y="96"/>
                    <a:pt x="55" y="95"/>
                  </a:cubicBezTo>
                  <a:cubicBezTo>
                    <a:pt x="56" y="95"/>
                    <a:pt x="58" y="97"/>
                    <a:pt x="58" y="96"/>
                  </a:cubicBezTo>
                  <a:cubicBezTo>
                    <a:pt x="59" y="95"/>
                    <a:pt x="60" y="94"/>
                    <a:pt x="61" y="94"/>
                  </a:cubicBezTo>
                  <a:cubicBezTo>
                    <a:pt x="62" y="94"/>
                    <a:pt x="60" y="93"/>
                    <a:pt x="63" y="93"/>
                  </a:cubicBezTo>
                  <a:cubicBezTo>
                    <a:pt x="67" y="94"/>
                    <a:pt x="66" y="95"/>
                    <a:pt x="68" y="93"/>
                  </a:cubicBezTo>
                  <a:cubicBezTo>
                    <a:pt x="69" y="91"/>
                    <a:pt x="69" y="91"/>
                    <a:pt x="71" y="90"/>
                  </a:cubicBezTo>
                  <a:cubicBezTo>
                    <a:pt x="72" y="89"/>
                    <a:pt x="72" y="89"/>
                    <a:pt x="73" y="88"/>
                  </a:cubicBezTo>
                  <a:cubicBezTo>
                    <a:pt x="73" y="88"/>
                    <a:pt x="77" y="88"/>
                    <a:pt x="77" y="88"/>
                  </a:cubicBezTo>
                  <a:cubicBezTo>
                    <a:pt x="78" y="87"/>
                    <a:pt x="79" y="85"/>
                    <a:pt x="80" y="85"/>
                  </a:cubicBezTo>
                  <a:cubicBezTo>
                    <a:pt x="80" y="85"/>
                    <a:pt x="84" y="85"/>
                    <a:pt x="85" y="85"/>
                  </a:cubicBezTo>
                  <a:cubicBezTo>
                    <a:pt x="86" y="85"/>
                    <a:pt x="88" y="85"/>
                    <a:pt x="89" y="84"/>
                  </a:cubicBezTo>
                  <a:cubicBezTo>
                    <a:pt x="89" y="83"/>
                    <a:pt x="89" y="83"/>
                    <a:pt x="90" y="82"/>
                  </a:cubicBezTo>
                  <a:cubicBezTo>
                    <a:pt x="92" y="82"/>
                    <a:pt x="93" y="82"/>
                    <a:pt x="95" y="82"/>
                  </a:cubicBezTo>
                  <a:cubicBezTo>
                    <a:pt x="97" y="82"/>
                    <a:pt x="97" y="82"/>
                    <a:pt x="98" y="82"/>
                  </a:cubicBezTo>
                  <a:cubicBezTo>
                    <a:pt x="99" y="82"/>
                    <a:pt x="100" y="84"/>
                    <a:pt x="100" y="81"/>
                  </a:cubicBezTo>
                  <a:cubicBezTo>
                    <a:pt x="99" y="78"/>
                    <a:pt x="98" y="78"/>
                    <a:pt x="99" y="77"/>
                  </a:cubicBezTo>
                  <a:cubicBezTo>
                    <a:pt x="101" y="77"/>
                    <a:pt x="103" y="77"/>
                    <a:pt x="103" y="77"/>
                  </a:cubicBezTo>
                  <a:cubicBezTo>
                    <a:pt x="104" y="77"/>
                    <a:pt x="108" y="78"/>
                    <a:pt x="109" y="78"/>
                  </a:cubicBezTo>
                  <a:cubicBezTo>
                    <a:pt x="109" y="78"/>
                    <a:pt x="110" y="80"/>
                    <a:pt x="110" y="80"/>
                  </a:cubicBezTo>
                  <a:cubicBezTo>
                    <a:pt x="111" y="80"/>
                    <a:pt x="112" y="81"/>
                    <a:pt x="113" y="80"/>
                  </a:cubicBezTo>
                  <a:cubicBezTo>
                    <a:pt x="113" y="80"/>
                    <a:pt x="114" y="78"/>
                    <a:pt x="115" y="78"/>
                  </a:cubicBezTo>
                  <a:cubicBezTo>
                    <a:pt x="116" y="78"/>
                    <a:pt x="119" y="78"/>
                    <a:pt x="119" y="78"/>
                  </a:cubicBezTo>
                  <a:cubicBezTo>
                    <a:pt x="119" y="78"/>
                    <a:pt x="123" y="79"/>
                    <a:pt x="123" y="79"/>
                  </a:cubicBezTo>
                  <a:cubicBezTo>
                    <a:pt x="123" y="79"/>
                    <a:pt x="122" y="81"/>
                    <a:pt x="122" y="82"/>
                  </a:cubicBezTo>
                  <a:cubicBezTo>
                    <a:pt x="122" y="83"/>
                    <a:pt x="122" y="84"/>
                    <a:pt x="123" y="85"/>
                  </a:cubicBezTo>
                  <a:cubicBezTo>
                    <a:pt x="123" y="85"/>
                    <a:pt x="125" y="87"/>
                    <a:pt x="125" y="87"/>
                  </a:cubicBezTo>
                  <a:cubicBezTo>
                    <a:pt x="125" y="87"/>
                    <a:pt x="130" y="89"/>
                    <a:pt x="130" y="89"/>
                  </a:cubicBezTo>
                  <a:cubicBezTo>
                    <a:pt x="130" y="89"/>
                    <a:pt x="131" y="90"/>
                    <a:pt x="131" y="86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77"/>
                    <a:pt x="131" y="77"/>
                    <a:pt x="131" y="77"/>
                  </a:cubicBezTo>
                  <a:cubicBezTo>
                    <a:pt x="131" y="77"/>
                    <a:pt x="131" y="76"/>
                    <a:pt x="130" y="76"/>
                  </a:cubicBezTo>
                  <a:cubicBezTo>
                    <a:pt x="130" y="76"/>
                    <a:pt x="129" y="76"/>
                    <a:pt x="129" y="76"/>
                  </a:cubicBezTo>
                  <a:cubicBezTo>
                    <a:pt x="129" y="76"/>
                    <a:pt x="125" y="75"/>
                    <a:pt x="124" y="75"/>
                  </a:cubicBezTo>
                  <a:cubicBezTo>
                    <a:pt x="123" y="75"/>
                    <a:pt x="124" y="73"/>
                    <a:pt x="124" y="72"/>
                  </a:cubicBezTo>
                  <a:cubicBezTo>
                    <a:pt x="124" y="72"/>
                    <a:pt x="126" y="70"/>
                    <a:pt x="126" y="70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121" y="52"/>
                    <a:pt x="121" y="52"/>
                    <a:pt x="121" y="52"/>
                  </a:cubicBezTo>
                  <a:cubicBezTo>
                    <a:pt x="123" y="50"/>
                    <a:pt x="126" y="48"/>
                    <a:pt x="126" y="48"/>
                  </a:cubicBezTo>
                  <a:cubicBezTo>
                    <a:pt x="126" y="48"/>
                    <a:pt x="126" y="48"/>
                    <a:pt x="127" y="48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34" y="44"/>
                    <a:pt x="134" y="44"/>
                  </a:cubicBezTo>
                  <a:cubicBezTo>
                    <a:pt x="134" y="44"/>
                    <a:pt x="135" y="43"/>
                    <a:pt x="135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0"/>
                    <a:pt x="142" y="28"/>
                    <a:pt x="142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9" y="29"/>
                    <a:pt x="150" y="30"/>
                  </a:cubicBezTo>
                  <a:cubicBezTo>
                    <a:pt x="151" y="30"/>
                    <a:pt x="152" y="29"/>
                    <a:pt x="152" y="29"/>
                  </a:cubicBezTo>
                  <a:cubicBezTo>
                    <a:pt x="153" y="29"/>
                    <a:pt x="154" y="27"/>
                    <a:pt x="154" y="27"/>
                  </a:cubicBezTo>
                  <a:cubicBezTo>
                    <a:pt x="154" y="24"/>
                    <a:pt x="154" y="24"/>
                    <a:pt x="154" y="24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4" y="16"/>
                    <a:pt x="158" y="19"/>
                    <a:pt x="160" y="20"/>
                  </a:cubicBezTo>
                  <a:cubicBezTo>
                    <a:pt x="161" y="21"/>
                    <a:pt x="164" y="24"/>
                    <a:pt x="164" y="24"/>
                  </a:cubicBezTo>
                  <a:cubicBezTo>
                    <a:pt x="164" y="24"/>
                    <a:pt x="169" y="25"/>
                    <a:pt x="170" y="25"/>
                  </a:cubicBezTo>
                  <a:cubicBezTo>
                    <a:pt x="170" y="25"/>
                    <a:pt x="175" y="26"/>
                    <a:pt x="175" y="26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7" y="24"/>
                    <a:pt x="187" y="24"/>
                    <a:pt x="187" y="24"/>
                  </a:cubicBezTo>
                  <a:close/>
                  <a:moveTo>
                    <a:pt x="5" y="91"/>
                  </a:move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5" y="91"/>
                    <a:pt x="5" y="91"/>
                    <a:pt x="5" y="91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4"/>
                    <a:pt x="1" y="114"/>
                  </a:cubicBezTo>
                  <a:close/>
                  <a:moveTo>
                    <a:pt x="1" y="114"/>
                  </a:moveTo>
                  <a:cubicBezTo>
                    <a:pt x="1" y="114"/>
                    <a:pt x="1" y="114"/>
                    <a:pt x="1" y="114"/>
                  </a:cubicBezTo>
                  <a:cubicBezTo>
                    <a:pt x="1" y="114"/>
                    <a:pt x="1" y="113"/>
                    <a:pt x="1" y="113"/>
                  </a:cubicBezTo>
                  <a:cubicBezTo>
                    <a:pt x="1" y="113"/>
                    <a:pt x="1" y="113"/>
                    <a:pt x="1" y="113"/>
                  </a:cubicBezTo>
                  <a:cubicBezTo>
                    <a:pt x="1" y="113"/>
                    <a:pt x="2" y="113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2" y="112"/>
                    <a:pt x="2" y="112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4"/>
                    <a:pt x="0" y="114"/>
                    <a:pt x="0" y="114"/>
                  </a:cubicBezTo>
                  <a:lnTo>
                    <a:pt x="1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3098008" y="4282129"/>
              <a:ext cx="1235252" cy="1240668"/>
            </a:xfrm>
            <a:custGeom>
              <a:avLst/>
              <a:gdLst>
                <a:gd name="T0" fmla="*/ 269 w 520"/>
                <a:gd name="T1" fmla="*/ 424 h 538"/>
                <a:gd name="T2" fmla="*/ 326 w 520"/>
                <a:gd name="T3" fmla="*/ 423 h 538"/>
                <a:gd name="T4" fmla="*/ 401 w 520"/>
                <a:gd name="T5" fmla="*/ 437 h 538"/>
                <a:gd name="T6" fmla="*/ 432 w 520"/>
                <a:gd name="T7" fmla="*/ 408 h 538"/>
                <a:gd name="T8" fmla="*/ 434 w 520"/>
                <a:gd name="T9" fmla="*/ 407 h 538"/>
                <a:gd name="T10" fmla="*/ 435 w 520"/>
                <a:gd name="T11" fmla="*/ 406 h 538"/>
                <a:gd name="T12" fmla="*/ 436 w 520"/>
                <a:gd name="T13" fmla="*/ 406 h 538"/>
                <a:gd name="T14" fmla="*/ 421 w 520"/>
                <a:gd name="T15" fmla="*/ 359 h 538"/>
                <a:gd name="T16" fmla="*/ 425 w 520"/>
                <a:gd name="T17" fmla="*/ 310 h 538"/>
                <a:gd name="T18" fmla="*/ 418 w 520"/>
                <a:gd name="T19" fmla="*/ 279 h 538"/>
                <a:gd name="T20" fmla="*/ 414 w 520"/>
                <a:gd name="T21" fmla="*/ 263 h 538"/>
                <a:gd name="T22" fmla="*/ 395 w 520"/>
                <a:gd name="T23" fmla="*/ 272 h 538"/>
                <a:gd name="T24" fmla="*/ 384 w 520"/>
                <a:gd name="T25" fmla="*/ 274 h 538"/>
                <a:gd name="T26" fmla="*/ 389 w 520"/>
                <a:gd name="T27" fmla="*/ 259 h 538"/>
                <a:gd name="T28" fmla="*/ 402 w 520"/>
                <a:gd name="T29" fmla="*/ 242 h 538"/>
                <a:gd name="T30" fmla="*/ 411 w 520"/>
                <a:gd name="T31" fmla="*/ 230 h 538"/>
                <a:gd name="T32" fmla="*/ 424 w 520"/>
                <a:gd name="T33" fmla="*/ 215 h 538"/>
                <a:gd name="T34" fmla="*/ 422 w 520"/>
                <a:gd name="T35" fmla="*/ 208 h 538"/>
                <a:gd name="T36" fmla="*/ 434 w 520"/>
                <a:gd name="T37" fmla="*/ 208 h 538"/>
                <a:gd name="T38" fmla="*/ 443 w 520"/>
                <a:gd name="T39" fmla="*/ 202 h 538"/>
                <a:gd name="T40" fmla="*/ 451 w 520"/>
                <a:gd name="T41" fmla="*/ 160 h 538"/>
                <a:gd name="T42" fmla="*/ 430 w 520"/>
                <a:gd name="T43" fmla="*/ 116 h 538"/>
                <a:gd name="T44" fmla="*/ 401 w 520"/>
                <a:gd name="T45" fmla="*/ 94 h 538"/>
                <a:gd name="T46" fmla="*/ 391 w 520"/>
                <a:gd name="T47" fmla="*/ 95 h 538"/>
                <a:gd name="T48" fmla="*/ 383 w 520"/>
                <a:gd name="T49" fmla="*/ 91 h 538"/>
                <a:gd name="T50" fmla="*/ 367 w 520"/>
                <a:gd name="T51" fmla="*/ 82 h 538"/>
                <a:gd name="T52" fmla="*/ 355 w 520"/>
                <a:gd name="T53" fmla="*/ 61 h 538"/>
                <a:gd name="T54" fmla="*/ 335 w 520"/>
                <a:gd name="T55" fmla="*/ 65 h 538"/>
                <a:gd name="T56" fmla="*/ 330 w 520"/>
                <a:gd name="T57" fmla="*/ 48 h 538"/>
                <a:gd name="T58" fmla="*/ 311 w 520"/>
                <a:gd name="T59" fmla="*/ 35 h 538"/>
                <a:gd name="T60" fmla="*/ 291 w 520"/>
                <a:gd name="T61" fmla="*/ 20 h 538"/>
                <a:gd name="T62" fmla="*/ 281 w 520"/>
                <a:gd name="T63" fmla="*/ 1 h 538"/>
                <a:gd name="T64" fmla="*/ 229 w 520"/>
                <a:gd name="T65" fmla="*/ 53 h 538"/>
                <a:gd name="T66" fmla="*/ 145 w 520"/>
                <a:gd name="T67" fmla="*/ 76 h 538"/>
                <a:gd name="T68" fmla="*/ 117 w 520"/>
                <a:gd name="T69" fmla="*/ 65 h 538"/>
                <a:gd name="T70" fmla="*/ 107 w 520"/>
                <a:gd name="T71" fmla="*/ 111 h 538"/>
                <a:gd name="T72" fmla="*/ 46 w 520"/>
                <a:gd name="T73" fmla="*/ 99 h 538"/>
                <a:gd name="T74" fmla="*/ 16 w 520"/>
                <a:gd name="T75" fmla="*/ 117 h 538"/>
                <a:gd name="T76" fmla="*/ 19 w 520"/>
                <a:gd name="T77" fmla="*/ 145 h 538"/>
                <a:gd name="T78" fmla="*/ 58 w 520"/>
                <a:gd name="T79" fmla="*/ 167 h 538"/>
                <a:gd name="T80" fmla="*/ 91 w 520"/>
                <a:gd name="T81" fmla="*/ 200 h 538"/>
                <a:gd name="T82" fmla="*/ 95 w 520"/>
                <a:gd name="T83" fmla="*/ 228 h 538"/>
                <a:gd name="T84" fmla="*/ 109 w 520"/>
                <a:gd name="T85" fmla="*/ 250 h 538"/>
                <a:gd name="T86" fmla="*/ 109 w 520"/>
                <a:gd name="T87" fmla="*/ 265 h 538"/>
                <a:gd name="T88" fmla="*/ 114 w 520"/>
                <a:gd name="T89" fmla="*/ 284 h 538"/>
                <a:gd name="T90" fmla="*/ 92 w 520"/>
                <a:gd name="T91" fmla="*/ 371 h 538"/>
                <a:gd name="T92" fmla="*/ 159 w 520"/>
                <a:gd name="T93" fmla="*/ 443 h 538"/>
                <a:gd name="T94" fmla="*/ 193 w 520"/>
                <a:gd name="T95" fmla="*/ 453 h 538"/>
                <a:gd name="T96" fmla="*/ 197 w 520"/>
                <a:gd name="T97" fmla="*/ 450 h 538"/>
                <a:gd name="T98" fmla="*/ 203 w 520"/>
                <a:gd name="T99" fmla="*/ 453 h 538"/>
                <a:gd name="T100" fmla="*/ 208 w 520"/>
                <a:gd name="T101" fmla="*/ 456 h 538"/>
                <a:gd name="T102" fmla="*/ 203 w 520"/>
                <a:gd name="T103" fmla="*/ 460 h 538"/>
                <a:gd name="T104" fmla="*/ 198 w 520"/>
                <a:gd name="T105" fmla="*/ 462 h 538"/>
                <a:gd name="T106" fmla="*/ 243 w 520"/>
                <a:gd name="T107" fmla="*/ 471 h 538"/>
                <a:gd name="T108" fmla="*/ 193 w 520"/>
                <a:gd name="T109" fmla="*/ 458 h 538"/>
                <a:gd name="T110" fmla="*/ 449 w 520"/>
                <a:gd name="T111" fmla="*/ 200 h 538"/>
                <a:gd name="T112" fmla="*/ 511 w 520"/>
                <a:gd name="T113" fmla="*/ 523 h 538"/>
                <a:gd name="T114" fmla="*/ 517 w 520"/>
                <a:gd name="T115" fmla="*/ 468 h 538"/>
                <a:gd name="T116" fmla="*/ 485 w 520"/>
                <a:gd name="T117" fmla="*/ 478 h 538"/>
                <a:gd name="T118" fmla="*/ 493 w 520"/>
                <a:gd name="T119" fmla="*/ 52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0" h="538">
                  <a:moveTo>
                    <a:pt x="259" y="471"/>
                  </a:moveTo>
                  <a:cubicBezTo>
                    <a:pt x="261" y="468"/>
                    <a:pt x="261" y="468"/>
                    <a:pt x="261" y="468"/>
                  </a:cubicBezTo>
                  <a:cubicBezTo>
                    <a:pt x="261" y="468"/>
                    <a:pt x="261" y="462"/>
                    <a:pt x="259" y="461"/>
                  </a:cubicBezTo>
                  <a:cubicBezTo>
                    <a:pt x="258" y="460"/>
                    <a:pt x="257" y="459"/>
                    <a:pt x="257" y="459"/>
                  </a:cubicBezTo>
                  <a:cubicBezTo>
                    <a:pt x="257" y="459"/>
                    <a:pt x="257" y="455"/>
                    <a:pt x="257" y="453"/>
                  </a:cubicBezTo>
                  <a:cubicBezTo>
                    <a:pt x="257" y="452"/>
                    <a:pt x="257" y="448"/>
                    <a:pt x="257" y="447"/>
                  </a:cubicBezTo>
                  <a:cubicBezTo>
                    <a:pt x="257" y="446"/>
                    <a:pt x="258" y="442"/>
                    <a:pt x="258" y="441"/>
                  </a:cubicBezTo>
                  <a:cubicBezTo>
                    <a:pt x="258" y="441"/>
                    <a:pt x="257" y="441"/>
                    <a:pt x="259" y="439"/>
                  </a:cubicBezTo>
                  <a:cubicBezTo>
                    <a:pt x="261" y="436"/>
                    <a:pt x="261" y="434"/>
                    <a:pt x="261" y="434"/>
                  </a:cubicBezTo>
                  <a:cubicBezTo>
                    <a:pt x="265" y="429"/>
                    <a:pt x="265" y="429"/>
                    <a:pt x="265" y="429"/>
                  </a:cubicBezTo>
                  <a:cubicBezTo>
                    <a:pt x="265" y="429"/>
                    <a:pt x="268" y="424"/>
                    <a:pt x="269" y="424"/>
                  </a:cubicBezTo>
                  <a:cubicBezTo>
                    <a:pt x="270" y="425"/>
                    <a:pt x="274" y="424"/>
                    <a:pt x="275" y="424"/>
                  </a:cubicBezTo>
                  <a:cubicBezTo>
                    <a:pt x="276" y="424"/>
                    <a:pt x="280" y="428"/>
                    <a:pt x="282" y="424"/>
                  </a:cubicBezTo>
                  <a:cubicBezTo>
                    <a:pt x="284" y="421"/>
                    <a:pt x="285" y="419"/>
                    <a:pt x="285" y="418"/>
                  </a:cubicBezTo>
                  <a:cubicBezTo>
                    <a:pt x="286" y="417"/>
                    <a:pt x="287" y="414"/>
                    <a:pt x="290" y="414"/>
                  </a:cubicBezTo>
                  <a:cubicBezTo>
                    <a:pt x="293" y="413"/>
                    <a:pt x="300" y="413"/>
                    <a:pt x="300" y="413"/>
                  </a:cubicBezTo>
                  <a:cubicBezTo>
                    <a:pt x="303" y="414"/>
                    <a:pt x="303" y="414"/>
                    <a:pt x="303" y="414"/>
                  </a:cubicBezTo>
                  <a:cubicBezTo>
                    <a:pt x="311" y="417"/>
                    <a:pt x="311" y="417"/>
                    <a:pt x="311" y="417"/>
                  </a:cubicBezTo>
                  <a:cubicBezTo>
                    <a:pt x="311" y="417"/>
                    <a:pt x="314" y="417"/>
                    <a:pt x="316" y="417"/>
                  </a:cubicBezTo>
                  <a:cubicBezTo>
                    <a:pt x="317" y="417"/>
                    <a:pt x="318" y="417"/>
                    <a:pt x="318" y="417"/>
                  </a:cubicBezTo>
                  <a:cubicBezTo>
                    <a:pt x="321" y="421"/>
                    <a:pt x="321" y="421"/>
                    <a:pt x="321" y="421"/>
                  </a:cubicBezTo>
                  <a:cubicBezTo>
                    <a:pt x="321" y="421"/>
                    <a:pt x="325" y="423"/>
                    <a:pt x="326" y="423"/>
                  </a:cubicBezTo>
                  <a:cubicBezTo>
                    <a:pt x="327" y="423"/>
                    <a:pt x="335" y="421"/>
                    <a:pt x="335" y="421"/>
                  </a:cubicBezTo>
                  <a:cubicBezTo>
                    <a:pt x="335" y="421"/>
                    <a:pt x="338" y="420"/>
                    <a:pt x="339" y="421"/>
                  </a:cubicBezTo>
                  <a:cubicBezTo>
                    <a:pt x="340" y="422"/>
                    <a:pt x="343" y="423"/>
                    <a:pt x="344" y="424"/>
                  </a:cubicBezTo>
                  <a:cubicBezTo>
                    <a:pt x="344" y="425"/>
                    <a:pt x="352" y="429"/>
                    <a:pt x="354" y="430"/>
                  </a:cubicBezTo>
                  <a:cubicBezTo>
                    <a:pt x="355" y="431"/>
                    <a:pt x="359" y="430"/>
                    <a:pt x="359" y="430"/>
                  </a:cubicBezTo>
                  <a:cubicBezTo>
                    <a:pt x="361" y="435"/>
                    <a:pt x="361" y="435"/>
                    <a:pt x="361" y="435"/>
                  </a:cubicBezTo>
                  <a:cubicBezTo>
                    <a:pt x="371" y="438"/>
                    <a:pt x="371" y="438"/>
                    <a:pt x="371" y="438"/>
                  </a:cubicBezTo>
                  <a:cubicBezTo>
                    <a:pt x="375" y="438"/>
                    <a:pt x="375" y="438"/>
                    <a:pt x="375" y="438"/>
                  </a:cubicBezTo>
                  <a:cubicBezTo>
                    <a:pt x="389" y="443"/>
                    <a:pt x="389" y="443"/>
                    <a:pt x="389" y="443"/>
                  </a:cubicBezTo>
                  <a:cubicBezTo>
                    <a:pt x="398" y="436"/>
                    <a:pt x="398" y="436"/>
                    <a:pt x="398" y="436"/>
                  </a:cubicBezTo>
                  <a:cubicBezTo>
                    <a:pt x="398" y="436"/>
                    <a:pt x="400" y="437"/>
                    <a:pt x="401" y="437"/>
                  </a:cubicBezTo>
                  <a:cubicBezTo>
                    <a:pt x="402" y="437"/>
                    <a:pt x="404" y="429"/>
                    <a:pt x="404" y="429"/>
                  </a:cubicBezTo>
                  <a:cubicBezTo>
                    <a:pt x="404" y="429"/>
                    <a:pt x="404" y="427"/>
                    <a:pt x="405" y="427"/>
                  </a:cubicBezTo>
                  <a:cubicBezTo>
                    <a:pt x="407" y="427"/>
                    <a:pt x="414" y="424"/>
                    <a:pt x="414" y="424"/>
                  </a:cubicBezTo>
                  <a:cubicBezTo>
                    <a:pt x="414" y="423"/>
                    <a:pt x="413" y="419"/>
                    <a:pt x="416" y="418"/>
                  </a:cubicBezTo>
                  <a:cubicBezTo>
                    <a:pt x="418" y="417"/>
                    <a:pt x="422" y="414"/>
                    <a:pt x="422" y="414"/>
                  </a:cubicBezTo>
                  <a:cubicBezTo>
                    <a:pt x="423" y="413"/>
                    <a:pt x="421" y="411"/>
                    <a:pt x="424" y="410"/>
                  </a:cubicBezTo>
                  <a:cubicBezTo>
                    <a:pt x="426" y="410"/>
                    <a:pt x="429" y="409"/>
                    <a:pt x="431" y="409"/>
                  </a:cubicBezTo>
                  <a:cubicBezTo>
                    <a:pt x="431" y="409"/>
                    <a:pt x="431" y="409"/>
                    <a:pt x="431" y="409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1" y="408"/>
                    <a:pt x="431" y="408"/>
                    <a:pt x="431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2" y="408"/>
                    <a:pt x="432" y="408"/>
                    <a:pt x="432" y="408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3" y="407"/>
                    <a:pt x="433" y="407"/>
                    <a:pt x="433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4" y="407"/>
                    <a:pt x="434" y="407"/>
                    <a:pt x="434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7"/>
                    <a:pt x="435" y="407"/>
                    <a:pt x="435" y="40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6" y="406"/>
                    <a:pt x="436" y="406"/>
                    <a:pt x="436" y="406"/>
                  </a:cubicBezTo>
                  <a:cubicBezTo>
                    <a:pt x="437" y="405"/>
                    <a:pt x="438" y="405"/>
                    <a:pt x="438" y="405"/>
                  </a:cubicBezTo>
                  <a:cubicBezTo>
                    <a:pt x="444" y="400"/>
                    <a:pt x="444" y="400"/>
                    <a:pt x="444" y="400"/>
                  </a:cubicBezTo>
                  <a:cubicBezTo>
                    <a:pt x="447" y="389"/>
                    <a:pt x="447" y="389"/>
                    <a:pt x="447" y="389"/>
                  </a:cubicBezTo>
                  <a:cubicBezTo>
                    <a:pt x="443" y="386"/>
                    <a:pt x="443" y="386"/>
                    <a:pt x="443" y="386"/>
                  </a:cubicBezTo>
                  <a:cubicBezTo>
                    <a:pt x="434" y="386"/>
                    <a:pt x="434" y="386"/>
                    <a:pt x="434" y="386"/>
                  </a:cubicBezTo>
                  <a:cubicBezTo>
                    <a:pt x="424" y="382"/>
                    <a:pt x="424" y="382"/>
                    <a:pt x="424" y="382"/>
                  </a:cubicBezTo>
                  <a:cubicBezTo>
                    <a:pt x="419" y="374"/>
                    <a:pt x="419" y="374"/>
                    <a:pt x="419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5" y="367"/>
                    <a:pt x="413" y="370"/>
                    <a:pt x="417" y="365"/>
                  </a:cubicBezTo>
                  <a:cubicBezTo>
                    <a:pt x="421" y="359"/>
                    <a:pt x="421" y="359"/>
                    <a:pt x="421" y="359"/>
                  </a:cubicBezTo>
                  <a:cubicBezTo>
                    <a:pt x="420" y="349"/>
                    <a:pt x="420" y="349"/>
                    <a:pt x="420" y="349"/>
                  </a:cubicBezTo>
                  <a:cubicBezTo>
                    <a:pt x="417" y="346"/>
                    <a:pt x="417" y="346"/>
                    <a:pt x="417" y="346"/>
                  </a:cubicBezTo>
                  <a:cubicBezTo>
                    <a:pt x="412" y="343"/>
                    <a:pt x="412" y="343"/>
                    <a:pt x="412" y="343"/>
                  </a:cubicBezTo>
                  <a:cubicBezTo>
                    <a:pt x="412" y="343"/>
                    <a:pt x="409" y="339"/>
                    <a:pt x="408" y="338"/>
                  </a:cubicBezTo>
                  <a:cubicBezTo>
                    <a:pt x="408" y="338"/>
                    <a:pt x="408" y="336"/>
                    <a:pt x="408" y="336"/>
                  </a:cubicBezTo>
                  <a:cubicBezTo>
                    <a:pt x="407" y="335"/>
                    <a:pt x="411" y="335"/>
                    <a:pt x="411" y="335"/>
                  </a:cubicBezTo>
                  <a:cubicBezTo>
                    <a:pt x="412" y="335"/>
                    <a:pt x="415" y="334"/>
                    <a:pt x="416" y="334"/>
                  </a:cubicBezTo>
                  <a:cubicBezTo>
                    <a:pt x="417" y="334"/>
                    <a:pt x="421" y="330"/>
                    <a:pt x="421" y="330"/>
                  </a:cubicBezTo>
                  <a:cubicBezTo>
                    <a:pt x="421" y="330"/>
                    <a:pt x="423" y="326"/>
                    <a:pt x="425" y="325"/>
                  </a:cubicBezTo>
                  <a:cubicBezTo>
                    <a:pt x="426" y="324"/>
                    <a:pt x="428" y="316"/>
                    <a:pt x="428" y="315"/>
                  </a:cubicBezTo>
                  <a:cubicBezTo>
                    <a:pt x="428" y="315"/>
                    <a:pt x="426" y="310"/>
                    <a:pt x="425" y="310"/>
                  </a:cubicBezTo>
                  <a:cubicBezTo>
                    <a:pt x="416" y="306"/>
                    <a:pt x="418" y="304"/>
                    <a:pt x="414" y="302"/>
                  </a:cubicBezTo>
                  <a:cubicBezTo>
                    <a:pt x="414" y="297"/>
                    <a:pt x="414" y="297"/>
                    <a:pt x="414" y="297"/>
                  </a:cubicBezTo>
                  <a:cubicBezTo>
                    <a:pt x="419" y="293"/>
                    <a:pt x="419" y="293"/>
                    <a:pt x="419" y="293"/>
                  </a:cubicBezTo>
                  <a:cubicBezTo>
                    <a:pt x="420" y="292"/>
                    <a:pt x="422" y="291"/>
                    <a:pt x="423" y="291"/>
                  </a:cubicBezTo>
                  <a:cubicBezTo>
                    <a:pt x="424" y="289"/>
                    <a:pt x="424" y="289"/>
                    <a:pt x="424" y="289"/>
                  </a:cubicBezTo>
                  <a:cubicBezTo>
                    <a:pt x="424" y="289"/>
                    <a:pt x="422" y="287"/>
                    <a:pt x="422" y="287"/>
                  </a:cubicBezTo>
                  <a:cubicBezTo>
                    <a:pt x="422" y="287"/>
                    <a:pt x="421" y="286"/>
                    <a:pt x="420" y="286"/>
                  </a:cubicBezTo>
                  <a:cubicBezTo>
                    <a:pt x="420" y="286"/>
                    <a:pt x="419" y="285"/>
                    <a:pt x="419" y="285"/>
                  </a:cubicBezTo>
                  <a:cubicBezTo>
                    <a:pt x="419" y="285"/>
                    <a:pt x="418" y="284"/>
                    <a:pt x="417" y="284"/>
                  </a:cubicBezTo>
                  <a:cubicBezTo>
                    <a:pt x="416" y="284"/>
                    <a:pt x="417" y="282"/>
                    <a:pt x="418" y="282"/>
                  </a:cubicBezTo>
                  <a:cubicBezTo>
                    <a:pt x="418" y="281"/>
                    <a:pt x="418" y="279"/>
                    <a:pt x="418" y="279"/>
                  </a:cubicBezTo>
                  <a:cubicBezTo>
                    <a:pt x="418" y="279"/>
                    <a:pt x="415" y="279"/>
                    <a:pt x="414" y="279"/>
                  </a:cubicBezTo>
                  <a:cubicBezTo>
                    <a:pt x="414" y="278"/>
                    <a:pt x="414" y="278"/>
                    <a:pt x="414" y="278"/>
                  </a:cubicBezTo>
                  <a:cubicBezTo>
                    <a:pt x="414" y="278"/>
                    <a:pt x="415" y="275"/>
                    <a:pt x="416" y="275"/>
                  </a:cubicBezTo>
                  <a:cubicBezTo>
                    <a:pt x="416" y="274"/>
                    <a:pt x="416" y="273"/>
                    <a:pt x="416" y="273"/>
                  </a:cubicBezTo>
                  <a:cubicBezTo>
                    <a:pt x="416" y="273"/>
                    <a:pt x="416" y="272"/>
                    <a:pt x="416" y="270"/>
                  </a:cubicBezTo>
                  <a:cubicBezTo>
                    <a:pt x="417" y="269"/>
                    <a:pt x="416" y="269"/>
                    <a:pt x="416" y="269"/>
                  </a:cubicBezTo>
                  <a:cubicBezTo>
                    <a:pt x="416" y="269"/>
                    <a:pt x="415" y="268"/>
                    <a:pt x="414" y="268"/>
                  </a:cubicBezTo>
                  <a:cubicBezTo>
                    <a:pt x="414" y="268"/>
                    <a:pt x="414" y="268"/>
                    <a:pt x="415" y="267"/>
                  </a:cubicBezTo>
                  <a:cubicBezTo>
                    <a:pt x="416" y="265"/>
                    <a:pt x="416" y="266"/>
                    <a:pt x="416" y="266"/>
                  </a:cubicBezTo>
                  <a:cubicBezTo>
                    <a:pt x="416" y="264"/>
                    <a:pt x="416" y="264"/>
                    <a:pt x="416" y="264"/>
                  </a:cubicBezTo>
                  <a:cubicBezTo>
                    <a:pt x="414" y="263"/>
                    <a:pt x="414" y="263"/>
                    <a:pt x="414" y="263"/>
                  </a:cubicBezTo>
                  <a:cubicBezTo>
                    <a:pt x="411" y="261"/>
                    <a:pt x="411" y="261"/>
                    <a:pt x="411" y="261"/>
                  </a:cubicBezTo>
                  <a:cubicBezTo>
                    <a:pt x="411" y="261"/>
                    <a:pt x="407" y="261"/>
                    <a:pt x="407" y="261"/>
                  </a:cubicBezTo>
                  <a:cubicBezTo>
                    <a:pt x="407" y="261"/>
                    <a:pt x="404" y="261"/>
                    <a:pt x="404" y="261"/>
                  </a:cubicBezTo>
                  <a:cubicBezTo>
                    <a:pt x="402" y="262"/>
                    <a:pt x="402" y="262"/>
                    <a:pt x="402" y="262"/>
                  </a:cubicBezTo>
                  <a:cubicBezTo>
                    <a:pt x="401" y="263"/>
                    <a:pt x="401" y="263"/>
                    <a:pt x="401" y="263"/>
                  </a:cubicBezTo>
                  <a:cubicBezTo>
                    <a:pt x="398" y="264"/>
                    <a:pt x="398" y="264"/>
                    <a:pt x="398" y="264"/>
                  </a:cubicBezTo>
                  <a:cubicBezTo>
                    <a:pt x="395" y="265"/>
                    <a:pt x="395" y="265"/>
                    <a:pt x="395" y="265"/>
                  </a:cubicBezTo>
                  <a:cubicBezTo>
                    <a:pt x="395" y="265"/>
                    <a:pt x="394" y="267"/>
                    <a:pt x="393" y="268"/>
                  </a:cubicBezTo>
                  <a:cubicBezTo>
                    <a:pt x="393" y="268"/>
                    <a:pt x="393" y="269"/>
                    <a:pt x="393" y="269"/>
                  </a:cubicBezTo>
                  <a:cubicBezTo>
                    <a:pt x="395" y="270"/>
                    <a:pt x="395" y="270"/>
                    <a:pt x="395" y="270"/>
                  </a:cubicBezTo>
                  <a:cubicBezTo>
                    <a:pt x="395" y="272"/>
                    <a:pt x="395" y="272"/>
                    <a:pt x="395" y="272"/>
                  </a:cubicBezTo>
                  <a:cubicBezTo>
                    <a:pt x="396" y="272"/>
                    <a:pt x="396" y="272"/>
                    <a:pt x="396" y="272"/>
                  </a:cubicBezTo>
                  <a:cubicBezTo>
                    <a:pt x="395" y="274"/>
                    <a:pt x="395" y="274"/>
                    <a:pt x="395" y="274"/>
                  </a:cubicBezTo>
                  <a:cubicBezTo>
                    <a:pt x="395" y="274"/>
                    <a:pt x="394" y="274"/>
                    <a:pt x="393" y="275"/>
                  </a:cubicBezTo>
                  <a:cubicBezTo>
                    <a:pt x="392" y="276"/>
                    <a:pt x="392" y="277"/>
                    <a:pt x="392" y="277"/>
                  </a:cubicBezTo>
                  <a:cubicBezTo>
                    <a:pt x="389" y="278"/>
                    <a:pt x="389" y="278"/>
                    <a:pt x="389" y="278"/>
                  </a:cubicBezTo>
                  <a:cubicBezTo>
                    <a:pt x="387" y="277"/>
                    <a:pt x="387" y="277"/>
                    <a:pt x="387" y="277"/>
                  </a:cubicBezTo>
                  <a:cubicBezTo>
                    <a:pt x="385" y="278"/>
                    <a:pt x="385" y="278"/>
                    <a:pt x="385" y="278"/>
                  </a:cubicBezTo>
                  <a:cubicBezTo>
                    <a:pt x="384" y="278"/>
                    <a:pt x="384" y="278"/>
                    <a:pt x="384" y="278"/>
                  </a:cubicBezTo>
                  <a:cubicBezTo>
                    <a:pt x="384" y="276"/>
                    <a:pt x="384" y="276"/>
                    <a:pt x="384" y="276"/>
                  </a:cubicBezTo>
                  <a:cubicBezTo>
                    <a:pt x="383" y="275"/>
                    <a:pt x="383" y="275"/>
                    <a:pt x="383" y="275"/>
                  </a:cubicBezTo>
                  <a:cubicBezTo>
                    <a:pt x="384" y="274"/>
                    <a:pt x="384" y="274"/>
                    <a:pt x="384" y="274"/>
                  </a:cubicBezTo>
                  <a:cubicBezTo>
                    <a:pt x="384" y="274"/>
                    <a:pt x="385" y="273"/>
                    <a:pt x="385" y="273"/>
                  </a:cubicBezTo>
                  <a:cubicBezTo>
                    <a:pt x="386" y="273"/>
                    <a:pt x="387" y="272"/>
                    <a:pt x="387" y="272"/>
                  </a:cubicBezTo>
                  <a:cubicBezTo>
                    <a:pt x="389" y="272"/>
                    <a:pt x="389" y="272"/>
                    <a:pt x="389" y="272"/>
                  </a:cubicBezTo>
                  <a:cubicBezTo>
                    <a:pt x="389" y="270"/>
                    <a:pt x="389" y="270"/>
                    <a:pt x="389" y="270"/>
                  </a:cubicBezTo>
                  <a:cubicBezTo>
                    <a:pt x="390" y="268"/>
                    <a:pt x="390" y="268"/>
                    <a:pt x="390" y="268"/>
                  </a:cubicBezTo>
                  <a:cubicBezTo>
                    <a:pt x="390" y="265"/>
                    <a:pt x="390" y="265"/>
                    <a:pt x="390" y="265"/>
                  </a:cubicBezTo>
                  <a:cubicBezTo>
                    <a:pt x="389" y="264"/>
                    <a:pt x="389" y="264"/>
                    <a:pt x="389" y="264"/>
                  </a:cubicBezTo>
                  <a:cubicBezTo>
                    <a:pt x="388" y="263"/>
                    <a:pt x="388" y="263"/>
                    <a:pt x="388" y="263"/>
                  </a:cubicBezTo>
                  <a:cubicBezTo>
                    <a:pt x="388" y="262"/>
                    <a:pt x="388" y="262"/>
                    <a:pt x="388" y="262"/>
                  </a:cubicBezTo>
                  <a:cubicBezTo>
                    <a:pt x="388" y="260"/>
                    <a:pt x="388" y="260"/>
                    <a:pt x="388" y="260"/>
                  </a:cubicBezTo>
                  <a:cubicBezTo>
                    <a:pt x="389" y="259"/>
                    <a:pt x="389" y="259"/>
                    <a:pt x="389" y="259"/>
                  </a:cubicBezTo>
                  <a:cubicBezTo>
                    <a:pt x="389" y="259"/>
                    <a:pt x="390" y="258"/>
                    <a:pt x="390" y="257"/>
                  </a:cubicBezTo>
                  <a:cubicBezTo>
                    <a:pt x="390" y="257"/>
                    <a:pt x="390" y="255"/>
                    <a:pt x="390" y="255"/>
                  </a:cubicBezTo>
                  <a:cubicBezTo>
                    <a:pt x="390" y="255"/>
                    <a:pt x="390" y="254"/>
                    <a:pt x="390" y="254"/>
                  </a:cubicBezTo>
                  <a:cubicBezTo>
                    <a:pt x="394" y="250"/>
                    <a:pt x="394" y="250"/>
                    <a:pt x="394" y="250"/>
                  </a:cubicBezTo>
                  <a:cubicBezTo>
                    <a:pt x="396" y="248"/>
                    <a:pt x="396" y="248"/>
                    <a:pt x="396" y="248"/>
                  </a:cubicBezTo>
                  <a:cubicBezTo>
                    <a:pt x="396" y="248"/>
                    <a:pt x="398" y="248"/>
                    <a:pt x="398" y="247"/>
                  </a:cubicBezTo>
                  <a:cubicBezTo>
                    <a:pt x="398" y="247"/>
                    <a:pt x="400" y="247"/>
                    <a:pt x="400" y="247"/>
                  </a:cubicBezTo>
                  <a:cubicBezTo>
                    <a:pt x="400" y="247"/>
                    <a:pt x="401" y="246"/>
                    <a:pt x="401" y="246"/>
                  </a:cubicBezTo>
                  <a:cubicBezTo>
                    <a:pt x="402" y="245"/>
                    <a:pt x="402" y="244"/>
                    <a:pt x="402" y="244"/>
                  </a:cubicBezTo>
                  <a:cubicBezTo>
                    <a:pt x="402" y="244"/>
                    <a:pt x="402" y="243"/>
                    <a:pt x="402" y="243"/>
                  </a:cubicBezTo>
                  <a:cubicBezTo>
                    <a:pt x="402" y="243"/>
                    <a:pt x="402" y="242"/>
                    <a:pt x="402" y="242"/>
                  </a:cubicBezTo>
                  <a:cubicBezTo>
                    <a:pt x="402" y="242"/>
                    <a:pt x="402" y="241"/>
                    <a:pt x="402" y="241"/>
                  </a:cubicBezTo>
                  <a:cubicBezTo>
                    <a:pt x="402" y="240"/>
                    <a:pt x="403" y="240"/>
                    <a:pt x="403" y="240"/>
                  </a:cubicBezTo>
                  <a:cubicBezTo>
                    <a:pt x="403" y="238"/>
                    <a:pt x="403" y="238"/>
                    <a:pt x="403" y="238"/>
                  </a:cubicBezTo>
                  <a:cubicBezTo>
                    <a:pt x="403" y="238"/>
                    <a:pt x="402" y="237"/>
                    <a:pt x="402" y="236"/>
                  </a:cubicBezTo>
                  <a:cubicBezTo>
                    <a:pt x="402" y="236"/>
                    <a:pt x="402" y="236"/>
                    <a:pt x="402" y="235"/>
                  </a:cubicBezTo>
                  <a:cubicBezTo>
                    <a:pt x="403" y="234"/>
                    <a:pt x="404" y="234"/>
                    <a:pt x="404" y="234"/>
                  </a:cubicBezTo>
                  <a:cubicBezTo>
                    <a:pt x="406" y="234"/>
                    <a:pt x="406" y="234"/>
                    <a:pt x="406" y="234"/>
                  </a:cubicBezTo>
                  <a:cubicBezTo>
                    <a:pt x="406" y="234"/>
                    <a:pt x="407" y="233"/>
                    <a:pt x="408" y="233"/>
                  </a:cubicBezTo>
                  <a:cubicBezTo>
                    <a:pt x="408" y="233"/>
                    <a:pt x="409" y="232"/>
                    <a:pt x="409" y="232"/>
                  </a:cubicBezTo>
                  <a:cubicBezTo>
                    <a:pt x="410" y="230"/>
                    <a:pt x="410" y="230"/>
                    <a:pt x="410" y="230"/>
                  </a:cubicBezTo>
                  <a:cubicBezTo>
                    <a:pt x="411" y="230"/>
                    <a:pt x="411" y="230"/>
                    <a:pt x="411" y="230"/>
                  </a:cubicBezTo>
                  <a:cubicBezTo>
                    <a:pt x="412" y="229"/>
                    <a:pt x="412" y="229"/>
                    <a:pt x="412" y="229"/>
                  </a:cubicBezTo>
                  <a:cubicBezTo>
                    <a:pt x="412" y="227"/>
                    <a:pt x="412" y="227"/>
                    <a:pt x="412" y="227"/>
                  </a:cubicBezTo>
                  <a:cubicBezTo>
                    <a:pt x="414" y="226"/>
                    <a:pt x="414" y="226"/>
                    <a:pt x="414" y="226"/>
                  </a:cubicBezTo>
                  <a:cubicBezTo>
                    <a:pt x="414" y="225"/>
                    <a:pt x="414" y="225"/>
                    <a:pt x="414" y="225"/>
                  </a:cubicBezTo>
                  <a:cubicBezTo>
                    <a:pt x="415" y="224"/>
                    <a:pt x="415" y="224"/>
                    <a:pt x="415" y="224"/>
                  </a:cubicBezTo>
                  <a:cubicBezTo>
                    <a:pt x="416" y="224"/>
                    <a:pt x="416" y="224"/>
                    <a:pt x="416" y="224"/>
                  </a:cubicBezTo>
                  <a:cubicBezTo>
                    <a:pt x="418" y="222"/>
                    <a:pt x="418" y="222"/>
                    <a:pt x="418" y="222"/>
                  </a:cubicBezTo>
                  <a:cubicBezTo>
                    <a:pt x="420" y="221"/>
                    <a:pt x="420" y="221"/>
                    <a:pt x="420" y="221"/>
                  </a:cubicBezTo>
                  <a:cubicBezTo>
                    <a:pt x="420" y="221"/>
                    <a:pt x="421" y="219"/>
                    <a:pt x="421" y="218"/>
                  </a:cubicBezTo>
                  <a:cubicBezTo>
                    <a:pt x="421" y="217"/>
                    <a:pt x="421" y="217"/>
                    <a:pt x="422" y="216"/>
                  </a:cubicBezTo>
                  <a:cubicBezTo>
                    <a:pt x="422" y="216"/>
                    <a:pt x="423" y="216"/>
                    <a:pt x="424" y="215"/>
                  </a:cubicBezTo>
                  <a:cubicBezTo>
                    <a:pt x="424" y="215"/>
                    <a:pt x="424" y="214"/>
                    <a:pt x="424" y="214"/>
                  </a:cubicBezTo>
                  <a:cubicBezTo>
                    <a:pt x="425" y="214"/>
                    <a:pt x="425" y="214"/>
                    <a:pt x="425" y="214"/>
                  </a:cubicBezTo>
                  <a:cubicBezTo>
                    <a:pt x="425" y="212"/>
                    <a:pt x="425" y="212"/>
                    <a:pt x="425" y="212"/>
                  </a:cubicBezTo>
                  <a:cubicBezTo>
                    <a:pt x="425" y="211"/>
                    <a:pt x="425" y="211"/>
                    <a:pt x="425" y="211"/>
                  </a:cubicBezTo>
                  <a:cubicBezTo>
                    <a:pt x="425" y="211"/>
                    <a:pt x="423" y="212"/>
                    <a:pt x="423" y="212"/>
                  </a:cubicBezTo>
                  <a:cubicBezTo>
                    <a:pt x="423" y="212"/>
                    <a:pt x="422" y="212"/>
                    <a:pt x="421" y="212"/>
                  </a:cubicBezTo>
                  <a:cubicBezTo>
                    <a:pt x="421" y="212"/>
                    <a:pt x="420" y="212"/>
                    <a:pt x="419" y="212"/>
                  </a:cubicBezTo>
                  <a:cubicBezTo>
                    <a:pt x="418" y="211"/>
                    <a:pt x="419" y="211"/>
                    <a:pt x="419" y="211"/>
                  </a:cubicBezTo>
                  <a:cubicBezTo>
                    <a:pt x="419" y="211"/>
                    <a:pt x="420" y="211"/>
                    <a:pt x="420" y="210"/>
                  </a:cubicBezTo>
                  <a:cubicBezTo>
                    <a:pt x="420" y="210"/>
                    <a:pt x="421" y="208"/>
                    <a:pt x="421" y="208"/>
                  </a:cubicBezTo>
                  <a:cubicBezTo>
                    <a:pt x="422" y="208"/>
                    <a:pt x="422" y="208"/>
                    <a:pt x="422" y="208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4" y="207"/>
                    <a:pt x="424" y="207"/>
                  </a:cubicBezTo>
                  <a:cubicBezTo>
                    <a:pt x="424" y="207"/>
                    <a:pt x="423" y="206"/>
                    <a:pt x="423" y="206"/>
                  </a:cubicBezTo>
                  <a:cubicBezTo>
                    <a:pt x="423" y="204"/>
                    <a:pt x="423" y="204"/>
                    <a:pt x="423" y="204"/>
                  </a:cubicBezTo>
                  <a:cubicBezTo>
                    <a:pt x="425" y="205"/>
                    <a:pt x="425" y="205"/>
                    <a:pt x="425" y="205"/>
                  </a:cubicBezTo>
                  <a:cubicBezTo>
                    <a:pt x="428" y="205"/>
                    <a:pt x="428" y="205"/>
                    <a:pt x="428" y="205"/>
                  </a:cubicBezTo>
                  <a:cubicBezTo>
                    <a:pt x="429" y="204"/>
                    <a:pt x="429" y="204"/>
                    <a:pt x="429" y="204"/>
                  </a:cubicBezTo>
                  <a:cubicBezTo>
                    <a:pt x="429" y="204"/>
                    <a:pt x="430" y="206"/>
                    <a:pt x="430" y="206"/>
                  </a:cubicBezTo>
                  <a:cubicBezTo>
                    <a:pt x="430" y="207"/>
                    <a:pt x="430" y="208"/>
                    <a:pt x="431" y="208"/>
                  </a:cubicBezTo>
                  <a:cubicBezTo>
                    <a:pt x="431" y="208"/>
                    <a:pt x="433" y="209"/>
                    <a:pt x="433" y="209"/>
                  </a:cubicBezTo>
                  <a:cubicBezTo>
                    <a:pt x="433" y="209"/>
                    <a:pt x="433" y="208"/>
                    <a:pt x="434" y="208"/>
                  </a:cubicBezTo>
                  <a:cubicBezTo>
                    <a:pt x="434" y="208"/>
                    <a:pt x="435" y="208"/>
                    <a:pt x="435" y="208"/>
                  </a:cubicBezTo>
                  <a:cubicBezTo>
                    <a:pt x="436" y="208"/>
                    <a:pt x="437" y="208"/>
                    <a:pt x="437" y="208"/>
                  </a:cubicBezTo>
                  <a:cubicBezTo>
                    <a:pt x="437" y="208"/>
                    <a:pt x="438" y="208"/>
                    <a:pt x="439" y="208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39" y="207"/>
                    <a:pt x="439" y="206"/>
                    <a:pt x="439" y="206"/>
                  </a:cubicBezTo>
                  <a:cubicBezTo>
                    <a:pt x="439" y="206"/>
                    <a:pt x="440" y="204"/>
                    <a:pt x="440" y="204"/>
                  </a:cubicBezTo>
                  <a:cubicBezTo>
                    <a:pt x="440" y="204"/>
                    <a:pt x="441" y="204"/>
                    <a:pt x="441" y="204"/>
                  </a:cubicBezTo>
                  <a:cubicBezTo>
                    <a:pt x="441" y="204"/>
                    <a:pt x="442" y="204"/>
                    <a:pt x="442" y="204"/>
                  </a:cubicBezTo>
                  <a:cubicBezTo>
                    <a:pt x="442" y="204"/>
                    <a:pt x="442" y="203"/>
                    <a:pt x="442" y="203"/>
                  </a:cubicBezTo>
                  <a:cubicBezTo>
                    <a:pt x="442" y="203"/>
                    <a:pt x="442" y="202"/>
                    <a:pt x="442" y="202"/>
                  </a:cubicBezTo>
                  <a:cubicBezTo>
                    <a:pt x="442" y="202"/>
                    <a:pt x="443" y="202"/>
                    <a:pt x="443" y="202"/>
                  </a:cubicBezTo>
                  <a:cubicBezTo>
                    <a:pt x="443" y="200"/>
                    <a:pt x="443" y="200"/>
                    <a:pt x="443" y="200"/>
                  </a:cubicBezTo>
                  <a:cubicBezTo>
                    <a:pt x="443" y="200"/>
                    <a:pt x="445" y="200"/>
                    <a:pt x="445" y="200"/>
                  </a:cubicBezTo>
                  <a:cubicBezTo>
                    <a:pt x="446" y="200"/>
                    <a:pt x="445" y="200"/>
                    <a:pt x="445" y="200"/>
                  </a:cubicBezTo>
                  <a:cubicBezTo>
                    <a:pt x="448" y="199"/>
                    <a:pt x="448" y="199"/>
                    <a:pt x="448" y="199"/>
                  </a:cubicBezTo>
                  <a:cubicBezTo>
                    <a:pt x="448" y="199"/>
                    <a:pt x="448" y="199"/>
                    <a:pt x="448" y="200"/>
                  </a:cubicBezTo>
                  <a:cubicBezTo>
                    <a:pt x="446" y="197"/>
                    <a:pt x="443" y="193"/>
                    <a:pt x="443" y="193"/>
                  </a:cubicBezTo>
                  <a:cubicBezTo>
                    <a:pt x="445" y="189"/>
                    <a:pt x="445" y="189"/>
                    <a:pt x="445" y="189"/>
                  </a:cubicBezTo>
                  <a:cubicBezTo>
                    <a:pt x="445" y="189"/>
                    <a:pt x="446" y="182"/>
                    <a:pt x="446" y="180"/>
                  </a:cubicBezTo>
                  <a:cubicBezTo>
                    <a:pt x="446" y="179"/>
                    <a:pt x="446" y="173"/>
                    <a:pt x="446" y="173"/>
                  </a:cubicBezTo>
                  <a:cubicBezTo>
                    <a:pt x="446" y="173"/>
                    <a:pt x="442" y="172"/>
                    <a:pt x="445" y="169"/>
                  </a:cubicBezTo>
                  <a:cubicBezTo>
                    <a:pt x="448" y="165"/>
                    <a:pt x="451" y="160"/>
                    <a:pt x="451" y="160"/>
                  </a:cubicBezTo>
                  <a:cubicBezTo>
                    <a:pt x="451" y="150"/>
                    <a:pt x="451" y="150"/>
                    <a:pt x="451" y="150"/>
                  </a:cubicBezTo>
                  <a:cubicBezTo>
                    <a:pt x="451" y="150"/>
                    <a:pt x="448" y="147"/>
                    <a:pt x="452" y="145"/>
                  </a:cubicBezTo>
                  <a:cubicBezTo>
                    <a:pt x="456" y="142"/>
                    <a:pt x="463" y="133"/>
                    <a:pt x="463" y="133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58" y="122"/>
                    <a:pt x="458" y="122"/>
                    <a:pt x="458" y="122"/>
                  </a:cubicBezTo>
                  <a:cubicBezTo>
                    <a:pt x="451" y="121"/>
                    <a:pt x="451" y="121"/>
                    <a:pt x="451" y="121"/>
                  </a:cubicBezTo>
                  <a:cubicBezTo>
                    <a:pt x="446" y="118"/>
                    <a:pt x="446" y="118"/>
                    <a:pt x="446" y="118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0" y="115"/>
                    <a:pt x="440" y="115"/>
                    <a:pt x="440" y="115"/>
                  </a:cubicBezTo>
                  <a:cubicBezTo>
                    <a:pt x="437" y="117"/>
                    <a:pt x="437" y="117"/>
                    <a:pt x="437" y="117"/>
                  </a:cubicBezTo>
                  <a:cubicBezTo>
                    <a:pt x="430" y="116"/>
                    <a:pt x="430" y="116"/>
                    <a:pt x="430" y="116"/>
                  </a:cubicBezTo>
                  <a:cubicBezTo>
                    <a:pt x="425" y="111"/>
                    <a:pt x="425" y="111"/>
                    <a:pt x="425" y="111"/>
                  </a:cubicBezTo>
                  <a:cubicBezTo>
                    <a:pt x="421" y="114"/>
                    <a:pt x="421" y="114"/>
                    <a:pt x="421" y="114"/>
                  </a:cubicBezTo>
                  <a:cubicBezTo>
                    <a:pt x="417" y="111"/>
                    <a:pt x="417" y="111"/>
                    <a:pt x="417" y="111"/>
                  </a:cubicBezTo>
                  <a:cubicBezTo>
                    <a:pt x="414" y="106"/>
                    <a:pt x="414" y="106"/>
                    <a:pt x="414" y="106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08" y="97"/>
                    <a:pt x="408" y="97"/>
                    <a:pt x="408" y="97"/>
                  </a:cubicBezTo>
                  <a:cubicBezTo>
                    <a:pt x="406" y="97"/>
                    <a:pt x="406" y="97"/>
                    <a:pt x="406" y="97"/>
                  </a:cubicBezTo>
                  <a:cubicBezTo>
                    <a:pt x="406" y="98"/>
                    <a:pt x="405" y="98"/>
                    <a:pt x="405" y="98"/>
                  </a:cubicBezTo>
                  <a:cubicBezTo>
                    <a:pt x="405" y="98"/>
                    <a:pt x="402" y="97"/>
                    <a:pt x="402" y="97"/>
                  </a:cubicBezTo>
                  <a:cubicBezTo>
                    <a:pt x="402" y="95"/>
                    <a:pt x="402" y="95"/>
                    <a:pt x="402" y="95"/>
                  </a:cubicBezTo>
                  <a:cubicBezTo>
                    <a:pt x="401" y="94"/>
                    <a:pt x="401" y="94"/>
                    <a:pt x="401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7" y="95"/>
                    <a:pt x="397" y="95"/>
                    <a:pt x="397" y="95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95" y="97"/>
                    <a:pt x="395" y="97"/>
                    <a:pt x="395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3" y="97"/>
                    <a:pt x="393" y="97"/>
                  </a:cubicBezTo>
                  <a:cubicBezTo>
                    <a:pt x="391" y="97"/>
                    <a:pt x="391" y="97"/>
                    <a:pt x="391" y="97"/>
                  </a:cubicBezTo>
                  <a:cubicBezTo>
                    <a:pt x="391" y="96"/>
                    <a:pt x="391" y="96"/>
                    <a:pt x="391" y="96"/>
                  </a:cubicBezTo>
                  <a:cubicBezTo>
                    <a:pt x="391" y="95"/>
                    <a:pt x="391" y="95"/>
                    <a:pt x="391" y="95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8" y="94"/>
                    <a:pt x="388" y="94"/>
                    <a:pt x="388" y="94"/>
                  </a:cubicBezTo>
                  <a:cubicBezTo>
                    <a:pt x="388" y="94"/>
                    <a:pt x="387" y="93"/>
                    <a:pt x="387" y="93"/>
                  </a:cubicBezTo>
                  <a:cubicBezTo>
                    <a:pt x="386" y="93"/>
                    <a:pt x="386" y="92"/>
                    <a:pt x="386" y="92"/>
                  </a:cubicBezTo>
                  <a:cubicBezTo>
                    <a:pt x="385" y="91"/>
                    <a:pt x="385" y="91"/>
                    <a:pt x="385" y="91"/>
                  </a:cubicBezTo>
                  <a:cubicBezTo>
                    <a:pt x="387" y="91"/>
                    <a:pt x="387" y="91"/>
                    <a:pt x="387" y="91"/>
                  </a:cubicBezTo>
                  <a:cubicBezTo>
                    <a:pt x="387" y="91"/>
                    <a:pt x="387" y="90"/>
                    <a:pt x="387" y="90"/>
                  </a:cubicBezTo>
                  <a:cubicBezTo>
                    <a:pt x="387" y="90"/>
                    <a:pt x="387" y="90"/>
                    <a:pt x="387" y="90"/>
                  </a:cubicBezTo>
                  <a:cubicBezTo>
                    <a:pt x="387" y="90"/>
                    <a:pt x="386" y="90"/>
                    <a:pt x="386" y="90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3" y="91"/>
                    <a:pt x="383" y="91"/>
                    <a:pt x="383" y="91"/>
                  </a:cubicBezTo>
                  <a:cubicBezTo>
                    <a:pt x="381" y="91"/>
                    <a:pt x="381" y="91"/>
                    <a:pt x="381" y="91"/>
                  </a:cubicBezTo>
                  <a:cubicBezTo>
                    <a:pt x="379" y="92"/>
                    <a:pt x="379" y="92"/>
                    <a:pt x="379" y="92"/>
                  </a:cubicBezTo>
                  <a:cubicBezTo>
                    <a:pt x="376" y="92"/>
                    <a:pt x="376" y="92"/>
                    <a:pt x="376" y="92"/>
                  </a:cubicBezTo>
                  <a:cubicBezTo>
                    <a:pt x="375" y="90"/>
                    <a:pt x="375" y="90"/>
                    <a:pt x="375" y="90"/>
                  </a:cubicBezTo>
                  <a:cubicBezTo>
                    <a:pt x="374" y="88"/>
                    <a:pt x="374" y="88"/>
                    <a:pt x="374" y="88"/>
                  </a:cubicBezTo>
                  <a:cubicBezTo>
                    <a:pt x="373" y="87"/>
                    <a:pt x="373" y="87"/>
                    <a:pt x="373" y="87"/>
                  </a:cubicBezTo>
                  <a:cubicBezTo>
                    <a:pt x="372" y="87"/>
                    <a:pt x="372" y="87"/>
                    <a:pt x="372" y="87"/>
                  </a:cubicBezTo>
                  <a:cubicBezTo>
                    <a:pt x="369" y="86"/>
                    <a:pt x="369" y="86"/>
                    <a:pt x="369" y="86"/>
                  </a:cubicBezTo>
                  <a:cubicBezTo>
                    <a:pt x="370" y="84"/>
                    <a:pt x="370" y="84"/>
                    <a:pt x="370" y="84"/>
                  </a:cubicBezTo>
                  <a:cubicBezTo>
                    <a:pt x="370" y="84"/>
                    <a:pt x="369" y="82"/>
                    <a:pt x="369" y="82"/>
                  </a:cubicBezTo>
                  <a:cubicBezTo>
                    <a:pt x="368" y="82"/>
                    <a:pt x="367" y="82"/>
                    <a:pt x="367" y="82"/>
                  </a:cubicBezTo>
                  <a:cubicBezTo>
                    <a:pt x="365" y="80"/>
                    <a:pt x="365" y="80"/>
                    <a:pt x="365" y="80"/>
                  </a:cubicBezTo>
                  <a:cubicBezTo>
                    <a:pt x="365" y="80"/>
                    <a:pt x="365" y="79"/>
                    <a:pt x="364" y="78"/>
                  </a:cubicBezTo>
                  <a:cubicBezTo>
                    <a:pt x="363" y="78"/>
                    <a:pt x="363" y="77"/>
                    <a:pt x="362" y="77"/>
                  </a:cubicBezTo>
                  <a:cubicBezTo>
                    <a:pt x="361" y="77"/>
                    <a:pt x="359" y="77"/>
                    <a:pt x="359" y="77"/>
                  </a:cubicBezTo>
                  <a:cubicBezTo>
                    <a:pt x="359" y="77"/>
                    <a:pt x="358" y="75"/>
                    <a:pt x="357" y="75"/>
                  </a:cubicBezTo>
                  <a:cubicBezTo>
                    <a:pt x="357" y="75"/>
                    <a:pt x="353" y="75"/>
                    <a:pt x="353" y="75"/>
                  </a:cubicBezTo>
                  <a:cubicBezTo>
                    <a:pt x="353" y="75"/>
                    <a:pt x="354" y="72"/>
                    <a:pt x="354" y="72"/>
                  </a:cubicBezTo>
                  <a:cubicBezTo>
                    <a:pt x="354" y="71"/>
                    <a:pt x="354" y="68"/>
                    <a:pt x="354" y="68"/>
                  </a:cubicBezTo>
                  <a:cubicBezTo>
                    <a:pt x="354" y="67"/>
                    <a:pt x="354" y="67"/>
                    <a:pt x="354" y="67"/>
                  </a:cubicBezTo>
                  <a:cubicBezTo>
                    <a:pt x="354" y="67"/>
                    <a:pt x="353" y="66"/>
                    <a:pt x="354" y="64"/>
                  </a:cubicBezTo>
                  <a:cubicBezTo>
                    <a:pt x="355" y="62"/>
                    <a:pt x="354" y="63"/>
                    <a:pt x="355" y="61"/>
                  </a:cubicBezTo>
                  <a:cubicBezTo>
                    <a:pt x="356" y="58"/>
                    <a:pt x="356" y="57"/>
                    <a:pt x="356" y="57"/>
                  </a:cubicBezTo>
                  <a:cubicBezTo>
                    <a:pt x="354" y="56"/>
                    <a:pt x="354" y="56"/>
                    <a:pt x="354" y="56"/>
                  </a:cubicBezTo>
                  <a:cubicBezTo>
                    <a:pt x="354" y="56"/>
                    <a:pt x="353" y="55"/>
                    <a:pt x="352" y="56"/>
                  </a:cubicBezTo>
                  <a:cubicBezTo>
                    <a:pt x="352" y="58"/>
                    <a:pt x="351" y="58"/>
                    <a:pt x="351" y="58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49" y="64"/>
                    <a:pt x="349" y="64"/>
                    <a:pt x="349" y="64"/>
                  </a:cubicBezTo>
                  <a:cubicBezTo>
                    <a:pt x="349" y="64"/>
                    <a:pt x="350" y="65"/>
                    <a:pt x="347" y="65"/>
                  </a:cubicBezTo>
                  <a:cubicBezTo>
                    <a:pt x="345" y="65"/>
                    <a:pt x="343" y="65"/>
                    <a:pt x="343" y="65"/>
                  </a:cubicBezTo>
                  <a:cubicBezTo>
                    <a:pt x="343" y="65"/>
                    <a:pt x="345" y="67"/>
                    <a:pt x="342" y="67"/>
                  </a:cubicBezTo>
                  <a:cubicBezTo>
                    <a:pt x="340" y="67"/>
                    <a:pt x="337" y="67"/>
                    <a:pt x="337" y="67"/>
                  </a:cubicBezTo>
                  <a:cubicBezTo>
                    <a:pt x="335" y="65"/>
                    <a:pt x="335" y="65"/>
                    <a:pt x="335" y="65"/>
                  </a:cubicBezTo>
                  <a:cubicBezTo>
                    <a:pt x="331" y="66"/>
                    <a:pt x="331" y="66"/>
                    <a:pt x="331" y="66"/>
                  </a:cubicBezTo>
                  <a:cubicBezTo>
                    <a:pt x="331" y="66"/>
                    <a:pt x="331" y="65"/>
                    <a:pt x="331" y="63"/>
                  </a:cubicBezTo>
                  <a:cubicBezTo>
                    <a:pt x="331" y="62"/>
                    <a:pt x="330" y="60"/>
                    <a:pt x="331" y="60"/>
                  </a:cubicBezTo>
                  <a:cubicBezTo>
                    <a:pt x="332" y="60"/>
                    <a:pt x="333" y="59"/>
                    <a:pt x="333" y="59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2" y="56"/>
                    <a:pt x="332" y="56"/>
                  </a:cubicBezTo>
                  <a:cubicBezTo>
                    <a:pt x="332" y="56"/>
                    <a:pt x="331" y="56"/>
                    <a:pt x="331" y="55"/>
                  </a:cubicBezTo>
                  <a:cubicBezTo>
                    <a:pt x="331" y="54"/>
                    <a:pt x="332" y="52"/>
                    <a:pt x="332" y="52"/>
                  </a:cubicBezTo>
                  <a:cubicBezTo>
                    <a:pt x="333" y="51"/>
                    <a:pt x="333" y="49"/>
                    <a:pt x="333" y="49"/>
                  </a:cubicBezTo>
                  <a:cubicBezTo>
                    <a:pt x="332" y="49"/>
                    <a:pt x="332" y="49"/>
                    <a:pt x="332" y="49"/>
                  </a:cubicBezTo>
                  <a:cubicBezTo>
                    <a:pt x="332" y="49"/>
                    <a:pt x="330" y="50"/>
                    <a:pt x="330" y="48"/>
                  </a:cubicBezTo>
                  <a:cubicBezTo>
                    <a:pt x="330" y="47"/>
                    <a:pt x="329" y="45"/>
                    <a:pt x="329" y="45"/>
                  </a:cubicBezTo>
                  <a:cubicBezTo>
                    <a:pt x="329" y="45"/>
                    <a:pt x="327" y="44"/>
                    <a:pt x="327" y="44"/>
                  </a:cubicBezTo>
                  <a:cubicBezTo>
                    <a:pt x="326" y="44"/>
                    <a:pt x="326" y="44"/>
                    <a:pt x="325" y="45"/>
                  </a:cubicBezTo>
                  <a:cubicBezTo>
                    <a:pt x="325" y="45"/>
                    <a:pt x="322" y="44"/>
                    <a:pt x="322" y="44"/>
                  </a:cubicBezTo>
                  <a:cubicBezTo>
                    <a:pt x="322" y="44"/>
                    <a:pt x="319" y="44"/>
                    <a:pt x="319" y="44"/>
                  </a:cubicBezTo>
                  <a:cubicBezTo>
                    <a:pt x="318" y="44"/>
                    <a:pt x="317" y="46"/>
                    <a:pt x="317" y="46"/>
                  </a:cubicBezTo>
                  <a:cubicBezTo>
                    <a:pt x="315" y="43"/>
                    <a:pt x="315" y="43"/>
                    <a:pt x="315" y="43"/>
                  </a:cubicBezTo>
                  <a:cubicBezTo>
                    <a:pt x="316" y="40"/>
                    <a:pt x="316" y="40"/>
                    <a:pt x="316" y="40"/>
                  </a:cubicBezTo>
                  <a:cubicBezTo>
                    <a:pt x="316" y="40"/>
                    <a:pt x="314" y="38"/>
                    <a:pt x="314" y="37"/>
                  </a:cubicBezTo>
                  <a:cubicBezTo>
                    <a:pt x="314" y="37"/>
                    <a:pt x="313" y="35"/>
                    <a:pt x="313" y="35"/>
                  </a:cubicBezTo>
                  <a:cubicBezTo>
                    <a:pt x="311" y="35"/>
                    <a:pt x="311" y="35"/>
                    <a:pt x="311" y="35"/>
                  </a:cubicBezTo>
                  <a:cubicBezTo>
                    <a:pt x="310" y="34"/>
                    <a:pt x="310" y="34"/>
                    <a:pt x="310" y="34"/>
                  </a:cubicBezTo>
                  <a:cubicBezTo>
                    <a:pt x="310" y="34"/>
                    <a:pt x="308" y="34"/>
                    <a:pt x="307" y="34"/>
                  </a:cubicBezTo>
                  <a:cubicBezTo>
                    <a:pt x="306" y="34"/>
                    <a:pt x="306" y="34"/>
                    <a:pt x="305" y="34"/>
                  </a:cubicBezTo>
                  <a:cubicBezTo>
                    <a:pt x="305" y="34"/>
                    <a:pt x="303" y="32"/>
                    <a:pt x="303" y="32"/>
                  </a:cubicBezTo>
                  <a:cubicBezTo>
                    <a:pt x="303" y="31"/>
                    <a:pt x="303" y="30"/>
                    <a:pt x="303" y="29"/>
                  </a:cubicBezTo>
                  <a:cubicBezTo>
                    <a:pt x="302" y="28"/>
                    <a:pt x="301" y="26"/>
                    <a:pt x="301" y="25"/>
                  </a:cubicBezTo>
                  <a:cubicBezTo>
                    <a:pt x="301" y="25"/>
                    <a:pt x="302" y="23"/>
                    <a:pt x="302" y="23"/>
                  </a:cubicBezTo>
                  <a:cubicBezTo>
                    <a:pt x="301" y="22"/>
                    <a:pt x="299" y="20"/>
                    <a:pt x="299" y="20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8"/>
                    <a:pt x="295" y="20"/>
                    <a:pt x="294" y="20"/>
                  </a:cubicBezTo>
                  <a:cubicBezTo>
                    <a:pt x="293" y="20"/>
                    <a:pt x="291" y="19"/>
                    <a:pt x="291" y="20"/>
                  </a:cubicBezTo>
                  <a:cubicBezTo>
                    <a:pt x="291" y="20"/>
                    <a:pt x="292" y="22"/>
                    <a:pt x="291" y="22"/>
                  </a:cubicBezTo>
                  <a:cubicBezTo>
                    <a:pt x="290" y="22"/>
                    <a:pt x="288" y="22"/>
                    <a:pt x="287" y="21"/>
                  </a:cubicBezTo>
                  <a:cubicBezTo>
                    <a:pt x="286" y="20"/>
                    <a:pt x="286" y="19"/>
                    <a:pt x="286" y="18"/>
                  </a:cubicBezTo>
                  <a:cubicBezTo>
                    <a:pt x="285" y="18"/>
                    <a:pt x="285" y="16"/>
                    <a:pt x="284" y="16"/>
                  </a:cubicBezTo>
                  <a:cubicBezTo>
                    <a:pt x="283" y="16"/>
                    <a:pt x="282" y="16"/>
                    <a:pt x="282" y="15"/>
                  </a:cubicBezTo>
                  <a:cubicBezTo>
                    <a:pt x="282" y="15"/>
                    <a:pt x="282" y="12"/>
                    <a:pt x="282" y="12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2" y="10"/>
                    <a:pt x="282" y="7"/>
                    <a:pt x="281" y="7"/>
                  </a:cubicBezTo>
                  <a:cubicBezTo>
                    <a:pt x="281" y="6"/>
                    <a:pt x="280" y="5"/>
                    <a:pt x="280" y="5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1"/>
                    <a:pt x="281" y="0"/>
                    <a:pt x="282" y="0"/>
                  </a:cubicBezTo>
                  <a:cubicBezTo>
                    <a:pt x="259" y="4"/>
                    <a:pt x="259" y="4"/>
                    <a:pt x="259" y="4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4" y="23"/>
                    <a:pt x="244" y="23"/>
                    <a:pt x="244" y="23"/>
                  </a:cubicBezTo>
                  <a:cubicBezTo>
                    <a:pt x="241" y="28"/>
                    <a:pt x="241" y="28"/>
                    <a:pt x="241" y="28"/>
                  </a:cubicBezTo>
                  <a:cubicBezTo>
                    <a:pt x="241" y="34"/>
                    <a:pt x="241" y="34"/>
                    <a:pt x="241" y="34"/>
                  </a:cubicBezTo>
                  <a:cubicBezTo>
                    <a:pt x="241" y="43"/>
                    <a:pt x="241" y="43"/>
                    <a:pt x="241" y="43"/>
                  </a:cubicBezTo>
                  <a:cubicBezTo>
                    <a:pt x="236" y="46"/>
                    <a:pt x="236" y="46"/>
                    <a:pt x="236" y="46"/>
                  </a:cubicBezTo>
                  <a:cubicBezTo>
                    <a:pt x="229" y="53"/>
                    <a:pt x="229" y="53"/>
                    <a:pt x="229" y="53"/>
                  </a:cubicBezTo>
                  <a:cubicBezTo>
                    <a:pt x="219" y="57"/>
                    <a:pt x="219" y="57"/>
                    <a:pt x="219" y="57"/>
                  </a:cubicBezTo>
                  <a:cubicBezTo>
                    <a:pt x="206" y="60"/>
                    <a:pt x="206" y="60"/>
                    <a:pt x="206" y="60"/>
                  </a:cubicBezTo>
                  <a:cubicBezTo>
                    <a:pt x="196" y="63"/>
                    <a:pt x="196" y="63"/>
                    <a:pt x="196" y="63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5" y="75"/>
                    <a:pt x="185" y="75"/>
                    <a:pt x="185" y="75"/>
                  </a:cubicBezTo>
                  <a:cubicBezTo>
                    <a:pt x="184" y="84"/>
                    <a:pt x="184" y="84"/>
                    <a:pt x="184" y="84"/>
                  </a:cubicBezTo>
                  <a:cubicBezTo>
                    <a:pt x="177" y="87"/>
                    <a:pt x="177" y="87"/>
                    <a:pt x="177" y="87"/>
                  </a:cubicBezTo>
                  <a:cubicBezTo>
                    <a:pt x="177" y="87"/>
                    <a:pt x="174" y="89"/>
                    <a:pt x="172" y="88"/>
                  </a:cubicBezTo>
                  <a:cubicBezTo>
                    <a:pt x="169" y="88"/>
                    <a:pt x="163" y="86"/>
                    <a:pt x="163" y="86"/>
                  </a:cubicBezTo>
                  <a:cubicBezTo>
                    <a:pt x="163" y="86"/>
                    <a:pt x="156" y="82"/>
                    <a:pt x="153" y="82"/>
                  </a:cubicBezTo>
                  <a:cubicBezTo>
                    <a:pt x="150" y="81"/>
                    <a:pt x="145" y="76"/>
                    <a:pt x="145" y="76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0" y="80"/>
                    <a:pt x="137" y="77"/>
                    <a:pt x="137" y="75"/>
                  </a:cubicBezTo>
                  <a:cubicBezTo>
                    <a:pt x="137" y="74"/>
                    <a:pt x="137" y="74"/>
                    <a:pt x="137" y="72"/>
                  </a:cubicBezTo>
                  <a:cubicBezTo>
                    <a:pt x="137" y="69"/>
                    <a:pt x="137" y="64"/>
                    <a:pt x="137" y="64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62"/>
                    <a:pt x="121" y="60"/>
                  </a:cubicBezTo>
                  <a:cubicBezTo>
                    <a:pt x="118" y="58"/>
                    <a:pt x="118" y="54"/>
                    <a:pt x="118" y="54"/>
                  </a:cubicBezTo>
                  <a:cubicBezTo>
                    <a:pt x="112" y="51"/>
                    <a:pt x="112" y="51"/>
                    <a:pt x="112" y="51"/>
                  </a:cubicBezTo>
                  <a:cubicBezTo>
                    <a:pt x="110" y="59"/>
                    <a:pt x="110" y="59"/>
                    <a:pt x="110" y="59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0" y="84"/>
                    <a:pt x="120" y="84"/>
                    <a:pt x="120" y="84"/>
                  </a:cubicBezTo>
                  <a:cubicBezTo>
                    <a:pt x="120" y="84"/>
                    <a:pt x="121" y="84"/>
                    <a:pt x="121" y="87"/>
                  </a:cubicBezTo>
                  <a:cubicBezTo>
                    <a:pt x="121" y="89"/>
                    <a:pt x="120" y="99"/>
                    <a:pt x="120" y="99"/>
                  </a:cubicBezTo>
                  <a:cubicBezTo>
                    <a:pt x="120" y="107"/>
                    <a:pt x="120" y="107"/>
                    <a:pt x="120" y="107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15"/>
                    <a:pt x="118" y="118"/>
                    <a:pt x="116" y="118"/>
                  </a:cubicBezTo>
                  <a:cubicBezTo>
                    <a:pt x="114" y="118"/>
                    <a:pt x="109" y="116"/>
                    <a:pt x="109" y="116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88" y="111"/>
                    <a:pt x="88" y="111"/>
                    <a:pt x="88" y="111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8" y="114"/>
                    <a:pt x="78" y="114"/>
                    <a:pt x="78" y="114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5" y="105"/>
                    <a:pt x="5" y="105"/>
                    <a:pt x="5" y="105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3"/>
                    <a:pt x="2" y="113"/>
                    <a:pt x="4" y="113"/>
                  </a:cubicBezTo>
                  <a:cubicBezTo>
                    <a:pt x="5" y="113"/>
                    <a:pt x="14" y="114"/>
                    <a:pt x="14" y="114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2" y="127"/>
                    <a:pt x="2" y="129"/>
                  </a:cubicBezTo>
                  <a:cubicBezTo>
                    <a:pt x="1" y="131"/>
                    <a:pt x="5" y="132"/>
                    <a:pt x="5" y="132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9" y="145"/>
                    <a:pt x="19" y="145"/>
                    <a:pt x="19" y="145"/>
                  </a:cubicBezTo>
                  <a:cubicBezTo>
                    <a:pt x="19" y="145"/>
                    <a:pt x="20" y="143"/>
                    <a:pt x="23" y="142"/>
                  </a:cubicBezTo>
                  <a:cubicBezTo>
                    <a:pt x="25" y="142"/>
                    <a:pt x="28" y="142"/>
                    <a:pt x="28" y="142"/>
                  </a:cubicBezTo>
                  <a:cubicBezTo>
                    <a:pt x="28" y="142"/>
                    <a:pt x="28" y="141"/>
                    <a:pt x="30" y="146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41" y="154"/>
                    <a:pt x="43" y="155"/>
                  </a:cubicBezTo>
                  <a:cubicBezTo>
                    <a:pt x="45" y="156"/>
                    <a:pt x="49" y="160"/>
                    <a:pt x="49" y="160"/>
                  </a:cubicBezTo>
                  <a:cubicBezTo>
                    <a:pt x="51" y="161"/>
                    <a:pt x="51" y="161"/>
                    <a:pt x="51" y="161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1" y="166"/>
                    <a:pt x="55" y="167"/>
                    <a:pt x="58" y="167"/>
                  </a:cubicBezTo>
                  <a:cubicBezTo>
                    <a:pt x="61" y="167"/>
                    <a:pt x="68" y="166"/>
                    <a:pt x="68" y="166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2" y="170"/>
                    <a:pt x="81" y="173"/>
                    <a:pt x="81" y="173"/>
                  </a:cubicBezTo>
                  <a:cubicBezTo>
                    <a:pt x="78" y="177"/>
                    <a:pt x="78" y="177"/>
                    <a:pt x="78" y="177"/>
                  </a:cubicBezTo>
                  <a:cubicBezTo>
                    <a:pt x="75" y="180"/>
                    <a:pt x="75" y="180"/>
                    <a:pt x="75" y="180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74" y="183"/>
                    <a:pt x="75" y="183"/>
                    <a:pt x="79" y="184"/>
                  </a:cubicBezTo>
                  <a:cubicBezTo>
                    <a:pt x="83" y="185"/>
                    <a:pt x="86" y="187"/>
                    <a:pt x="86" y="187"/>
                  </a:cubicBezTo>
                  <a:cubicBezTo>
                    <a:pt x="84" y="192"/>
                    <a:pt x="84" y="192"/>
                    <a:pt x="84" y="192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91" y="199"/>
                    <a:pt x="91" y="200"/>
                  </a:cubicBezTo>
                  <a:cubicBezTo>
                    <a:pt x="90" y="201"/>
                    <a:pt x="90" y="203"/>
                    <a:pt x="90" y="203"/>
                  </a:cubicBezTo>
                  <a:cubicBezTo>
                    <a:pt x="87" y="202"/>
                    <a:pt x="87" y="202"/>
                    <a:pt x="87" y="202"/>
                  </a:cubicBezTo>
                  <a:cubicBezTo>
                    <a:pt x="87" y="202"/>
                    <a:pt x="87" y="204"/>
                    <a:pt x="86" y="202"/>
                  </a:cubicBezTo>
                  <a:cubicBezTo>
                    <a:pt x="84" y="200"/>
                    <a:pt x="83" y="198"/>
                    <a:pt x="83" y="198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3" y="206"/>
                    <a:pt x="84" y="207"/>
                  </a:cubicBezTo>
                  <a:cubicBezTo>
                    <a:pt x="86" y="207"/>
                    <a:pt x="86" y="206"/>
                    <a:pt x="86" y="209"/>
                  </a:cubicBezTo>
                  <a:cubicBezTo>
                    <a:pt x="86" y="211"/>
                    <a:pt x="87" y="216"/>
                    <a:pt x="88" y="217"/>
                  </a:cubicBezTo>
                  <a:cubicBezTo>
                    <a:pt x="89" y="219"/>
                    <a:pt x="89" y="224"/>
                    <a:pt x="90" y="225"/>
                  </a:cubicBezTo>
                  <a:cubicBezTo>
                    <a:pt x="92" y="225"/>
                    <a:pt x="93" y="226"/>
                    <a:pt x="93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101" y="233"/>
                    <a:pt x="101" y="233"/>
                    <a:pt x="101" y="233"/>
                  </a:cubicBezTo>
                  <a:cubicBezTo>
                    <a:pt x="101" y="233"/>
                    <a:pt x="105" y="236"/>
                    <a:pt x="107" y="237"/>
                  </a:cubicBezTo>
                  <a:cubicBezTo>
                    <a:pt x="109" y="238"/>
                    <a:pt x="110" y="238"/>
                    <a:pt x="110" y="238"/>
                  </a:cubicBezTo>
                  <a:cubicBezTo>
                    <a:pt x="115" y="243"/>
                    <a:pt x="115" y="243"/>
                    <a:pt x="115" y="243"/>
                  </a:cubicBezTo>
                  <a:cubicBezTo>
                    <a:pt x="115" y="243"/>
                    <a:pt x="118" y="248"/>
                    <a:pt x="117" y="248"/>
                  </a:cubicBezTo>
                  <a:cubicBezTo>
                    <a:pt x="116" y="248"/>
                    <a:pt x="117" y="249"/>
                    <a:pt x="115" y="249"/>
                  </a:cubicBezTo>
                  <a:cubicBezTo>
                    <a:pt x="112" y="249"/>
                    <a:pt x="113" y="251"/>
                    <a:pt x="111" y="249"/>
                  </a:cubicBezTo>
                  <a:cubicBezTo>
                    <a:pt x="108" y="247"/>
                    <a:pt x="106" y="244"/>
                    <a:pt x="103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9" y="250"/>
                    <a:pt x="109" y="250"/>
                    <a:pt x="109" y="250"/>
                  </a:cubicBezTo>
                  <a:cubicBezTo>
                    <a:pt x="113" y="254"/>
                    <a:pt x="113" y="254"/>
                    <a:pt x="113" y="254"/>
                  </a:cubicBezTo>
                  <a:cubicBezTo>
                    <a:pt x="114" y="254"/>
                    <a:pt x="114" y="254"/>
                    <a:pt x="114" y="254"/>
                  </a:cubicBezTo>
                  <a:cubicBezTo>
                    <a:pt x="114" y="254"/>
                    <a:pt x="115" y="256"/>
                    <a:pt x="115" y="257"/>
                  </a:cubicBezTo>
                  <a:cubicBezTo>
                    <a:pt x="115" y="258"/>
                    <a:pt x="114" y="261"/>
                    <a:pt x="113" y="262"/>
                  </a:cubicBezTo>
                  <a:cubicBezTo>
                    <a:pt x="113" y="264"/>
                    <a:pt x="113" y="266"/>
                    <a:pt x="113" y="266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0" y="259"/>
                    <a:pt x="111" y="257"/>
                    <a:pt x="109" y="256"/>
                  </a:cubicBezTo>
                  <a:cubicBezTo>
                    <a:pt x="107" y="256"/>
                    <a:pt x="105" y="257"/>
                    <a:pt x="105" y="257"/>
                  </a:cubicBezTo>
                  <a:cubicBezTo>
                    <a:pt x="105" y="257"/>
                    <a:pt x="104" y="259"/>
                    <a:pt x="105" y="260"/>
                  </a:cubicBezTo>
                  <a:cubicBezTo>
                    <a:pt x="107" y="261"/>
                    <a:pt x="108" y="262"/>
                    <a:pt x="108" y="263"/>
                  </a:cubicBezTo>
                  <a:cubicBezTo>
                    <a:pt x="109" y="264"/>
                    <a:pt x="109" y="265"/>
                    <a:pt x="109" y="265"/>
                  </a:cubicBezTo>
                  <a:cubicBezTo>
                    <a:pt x="109" y="265"/>
                    <a:pt x="111" y="265"/>
                    <a:pt x="111" y="267"/>
                  </a:cubicBezTo>
                  <a:cubicBezTo>
                    <a:pt x="111" y="270"/>
                    <a:pt x="110" y="273"/>
                    <a:pt x="110" y="273"/>
                  </a:cubicBezTo>
                  <a:cubicBezTo>
                    <a:pt x="110" y="273"/>
                    <a:pt x="108" y="273"/>
                    <a:pt x="111" y="275"/>
                  </a:cubicBezTo>
                  <a:cubicBezTo>
                    <a:pt x="114" y="277"/>
                    <a:pt x="115" y="278"/>
                    <a:pt x="116" y="279"/>
                  </a:cubicBezTo>
                  <a:cubicBezTo>
                    <a:pt x="117" y="280"/>
                    <a:pt x="121" y="285"/>
                    <a:pt x="121" y="285"/>
                  </a:cubicBezTo>
                  <a:cubicBezTo>
                    <a:pt x="124" y="289"/>
                    <a:pt x="124" y="289"/>
                    <a:pt x="124" y="289"/>
                  </a:cubicBezTo>
                  <a:cubicBezTo>
                    <a:pt x="124" y="289"/>
                    <a:pt x="124" y="291"/>
                    <a:pt x="124" y="291"/>
                  </a:cubicBezTo>
                  <a:cubicBezTo>
                    <a:pt x="123" y="291"/>
                    <a:pt x="121" y="291"/>
                    <a:pt x="121" y="291"/>
                  </a:cubicBezTo>
                  <a:cubicBezTo>
                    <a:pt x="121" y="291"/>
                    <a:pt x="120" y="291"/>
                    <a:pt x="119" y="290"/>
                  </a:cubicBezTo>
                  <a:cubicBezTo>
                    <a:pt x="118" y="288"/>
                    <a:pt x="116" y="285"/>
                    <a:pt x="116" y="285"/>
                  </a:cubicBezTo>
                  <a:cubicBezTo>
                    <a:pt x="114" y="284"/>
                    <a:pt x="114" y="284"/>
                    <a:pt x="114" y="284"/>
                  </a:cubicBezTo>
                  <a:cubicBezTo>
                    <a:pt x="112" y="285"/>
                    <a:pt x="112" y="285"/>
                    <a:pt x="112" y="285"/>
                  </a:cubicBezTo>
                  <a:cubicBezTo>
                    <a:pt x="112" y="285"/>
                    <a:pt x="110" y="289"/>
                    <a:pt x="110" y="289"/>
                  </a:cubicBezTo>
                  <a:cubicBezTo>
                    <a:pt x="110" y="290"/>
                    <a:pt x="107" y="296"/>
                    <a:pt x="107" y="296"/>
                  </a:cubicBezTo>
                  <a:cubicBezTo>
                    <a:pt x="105" y="308"/>
                    <a:pt x="105" y="308"/>
                    <a:pt x="105" y="308"/>
                  </a:cubicBezTo>
                  <a:cubicBezTo>
                    <a:pt x="105" y="308"/>
                    <a:pt x="105" y="322"/>
                    <a:pt x="104" y="323"/>
                  </a:cubicBezTo>
                  <a:cubicBezTo>
                    <a:pt x="104" y="324"/>
                    <a:pt x="100" y="334"/>
                    <a:pt x="100" y="334"/>
                  </a:cubicBezTo>
                  <a:cubicBezTo>
                    <a:pt x="100" y="334"/>
                    <a:pt x="100" y="335"/>
                    <a:pt x="100" y="338"/>
                  </a:cubicBezTo>
                  <a:cubicBezTo>
                    <a:pt x="99" y="341"/>
                    <a:pt x="98" y="346"/>
                    <a:pt x="98" y="346"/>
                  </a:cubicBezTo>
                  <a:cubicBezTo>
                    <a:pt x="98" y="346"/>
                    <a:pt x="97" y="350"/>
                    <a:pt x="97" y="352"/>
                  </a:cubicBezTo>
                  <a:cubicBezTo>
                    <a:pt x="96" y="354"/>
                    <a:pt x="93" y="362"/>
                    <a:pt x="93" y="362"/>
                  </a:cubicBezTo>
                  <a:cubicBezTo>
                    <a:pt x="92" y="371"/>
                    <a:pt x="92" y="371"/>
                    <a:pt x="92" y="371"/>
                  </a:cubicBezTo>
                  <a:cubicBezTo>
                    <a:pt x="84" y="388"/>
                    <a:pt x="84" y="388"/>
                    <a:pt x="84" y="388"/>
                  </a:cubicBezTo>
                  <a:cubicBezTo>
                    <a:pt x="78" y="393"/>
                    <a:pt x="78" y="393"/>
                    <a:pt x="78" y="393"/>
                  </a:cubicBezTo>
                  <a:cubicBezTo>
                    <a:pt x="75" y="395"/>
                    <a:pt x="75" y="395"/>
                    <a:pt x="75" y="395"/>
                  </a:cubicBezTo>
                  <a:cubicBezTo>
                    <a:pt x="78" y="396"/>
                    <a:pt x="80" y="397"/>
                    <a:pt x="81" y="400"/>
                  </a:cubicBezTo>
                  <a:cubicBezTo>
                    <a:pt x="83" y="405"/>
                    <a:pt x="87" y="413"/>
                    <a:pt x="87" y="413"/>
                  </a:cubicBezTo>
                  <a:cubicBezTo>
                    <a:pt x="100" y="418"/>
                    <a:pt x="100" y="418"/>
                    <a:pt x="100" y="418"/>
                  </a:cubicBezTo>
                  <a:cubicBezTo>
                    <a:pt x="100" y="418"/>
                    <a:pt x="107" y="424"/>
                    <a:pt x="108" y="426"/>
                  </a:cubicBezTo>
                  <a:cubicBezTo>
                    <a:pt x="109" y="427"/>
                    <a:pt x="124" y="432"/>
                    <a:pt x="124" y="432"/>
                  </a:cubicBezTo>
                  <a:cubicBezTo>
                    <a:pt x="134" y="441"/>
                    <a:pt x="134" y="441"/>
                    <a:pt x="134" y="441"/>
                  </a:cubicBezTo>
                  <a:cubicBezTo>
                    <a:pt x="149" y="441"/>
                    <a:pt x="149" y="441"/>
                    <a:pt x="149" y="441"/>
                  </a:cubicBezTo>
                  <a:cubicBezTo>
                    <a:pt x="159" y="443"/>
                    <a:pt x="159" y="443"/>
                    <a:pt x="159" y="443"/>
                  </a:cubicBezTo>
                  <a:cubicBezTo>
                    <a:pt x="164" y="437"/>
                    <a:pt x="164" y="437"/>
                    <a:pt x="164" y="437"/>
                  </a:cubicBezTo>
                  <a:cubicBezTo>
                    <a:pt x="164" y="437"/>
                    <a:pt x="189" y="449"/>
                    <a:pt x="190" y="449"/>
                  </a:cubicBezTo>
                  <a:cubicBezTo>
                    <a:pt x="191" y="449"/>
                    <a:pt x="191" y="452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2" y="455"/>
                    <a:pt x="192" y="455"/>
                    <a:pt x="192" y="455"/>
                  </a:cubicBezTo>
                  <a:cubicBezTo>
                    <a:pt x="193" y="455"/>
                    <a:pt x="193" y="455"/>
                    <a:pt x="193" y="455"/>
                  </a:cubicBezTo>
                  <a:cubicBezTo>
                    <a:pt x="193" y="455"/>
                    <a:pt x="192" y="454"/>
                    <a:pt x="192" y="454"/>
                  </a:cubicBezTo>
                  <a:cubicBezTo>
                    <a:pt x="192" y="453"/>
                    <a:pt x="192" y="453"/>
                    <a:pt x="192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3" y="453"/>
                    <a:pt x="193" y="453"/>
                    <a:pt x="193" y="453"/>
                  </a:cubicBezTo>
                  <a:cubicBezTo>
                    <a:pt x="194" y="453"/>
                    <a:pt x="194" y="453"/>
                    <a:pt x="194" y="453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2"/>
                    <a:pt x="195" y="452"/>
                    <a:pt x="195" y="452"/>
                  </a:cubicBezTo>
                  <a:cubicBezTo>
                    <a:pt x="195" y="451"/>
                    <a:pt x="194" y="451"/>
                    <a:pt x="194" y="451"/>
                  </a:cubicBezTo>
                  <a:cubicBezTo>
                    <a:pt x="194" y="451"/>
                    <a:pt x="195" y="451"/>
                    <a:pt x="195" y="450"/>
                  </a:cubicBezTo>
                  <a:cubicBezTo>
                    <a:pt x="195" y="450"/>
                    <a:pt x="195" y="450"/>
                    <a:pt x="195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6" y="450"/>
                    <a:pt x="196" y="450"/>
                    <a:pt x="196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7" y="450"/>
                    <a:pt x="197" y="450"/>
                    <a:pt x="197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8" y="450"/>
                    <a:pt x="198" y="450"/>
                  </a:cubicBezTo>
                  <a:cubicBezTo>
                    <a:pt x="198" y="450"/>
                    <a:pt x="199" y="450"/>
                    <a:pt x="199" y="450"/>
                  </a:cubicBezTo>
                  <a:cubicBezTo>
                    <a:pt x="199" y="450"/>
                    <a:pt x="199" y="451"/>
                    <a:pt x="199" y="451"/>
                  </a:cubicBezTo>
                  <a:cubicBezTo>
                    <a:pt x="199" y="451"/>
                    <a:pt x="199" y="451"/>
                    <a:pt x="199" y="451"/>
                  </a:cubicBezTo>
                  <a:cubicBezTo>
                    <a:pt x="199" y="451"/>
                    <a:pt x="200" y="451"/>
                    <a:pt x="200" y="451"/>
                  </a:cubicBezTo>
                  <a:cubicBezTo>
                    <a:pt x="200" y="451"/>
                    <a:pt x="200" y="452"/>
                    <a:pt x="200" y="452"/>
                  </a:cubicBezTo>
                  <a:cubicBezTo>
                    <a:pt x="200" y="452"/>
                    <a:pt x="201" y="452"/>
                    <a:pt x="201" y="452"/>
                  </a:cubicBezTo>
                  <a:cubicBezTo>
                    <a:pt x="201" y="452"/>
                    <a:pt x="202" y="452"/>
                    <a:pt x="202" y="452"/>
                  </a:cubicBezTo>
                  <a:cubicBezTo>
                    <a:pt x="202" y="452"/>
                    <a:pt x="202" y="452"/>
                    <a:pt x="202" y="453"/>
                  </a:cubicBezTo>
                  <a:cubicBezTo>
                    <a:pt x="203" y="453"/>
                    <a:pt x="203" y="453"/>
                    <a:pt x="203" y="453"/>
                  </a:cubicBezTo>
                  <a:cubicBezTo>
                    <a:pt x="203" y="452"/>
                    <a:pt x="204" y="452"/>
                    <a:pt x="204" y="452"/>
                  </a:cubicBezTo>
                  <a:cubicBezTo>
                    <a:pt x="204" y="453"/>
                    <a:pt x="204" y="453"/>
                    <a:pt x="204" y="453"/>
                  </a:cubicBezTo>
                  <a:cubicBezTo>
                    <a:pt x="205" y="453"/>
                    <a:pt x="205" y="453"/>
                    <a:pt x="205" y="453"/>
                  </a:cubicBezTo>
                  <a:cubicBezTo>
                    <a:pt x="206" y="453"/>
                    <a:pt x="206" y="453"/>
                    <a:pt x="206" y="453"/>
                  </a:cubicBezTo>
                  <a:cubicBezTo>
                    <a:pt x="206" y="454"/>
                    <a:pt x="206" y="454"/>
                    <a:pt x="206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4"/>
                    <a:pt x="205" y="454"/>
                    <a:pt x="205" y="454"/>
                  </a:cubicBezTo>
                  <a:cubicBezTo>
                    <a:pt x="205" y="455"/>
                    <a:pt x="205" y="455"/>
                    <a:pt x="205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6" y="455"/>
                    <a:pt x="206" y="455"/>
                    <a:pt x="206" y="455"/>
                  </a:cubicBezTo>
                  <a:cubicBezTo>
                    <a:pt x="208" y="456"/>
                    <a:pt x="208" y="456"/>
                    <a:pt x="208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7" y="456"/>
                    <a:pt x="207" y="456"/>
                  </a:cubicBezTo>
                  <a:cubicBezTo>
                    <a:pt x="207" y="456"/>
                    <a:pt x="206" y="456"/>
                    <a:pt x="206" y="456"/>
                  </a:cubicBezTo>
                  <a:cubicBezTo>
                    <a:pt x="206" y="456"/>
                    <a:pt x="205" y="456"/>
                    <a:pt x="205" y="456"/>
                  </a:cubicBezTo>
                  <a:cubicBezTo>
                    <a:pt x="205" y="457"/>
                    <a:pt x="205" y="457"/>
                    <a:pt x="205" y="457"/>
                  </a:cubicBezTo>
                  <a:cubicBezTo>
                    <a:pt x="205" y="459"/>
                    <a:pt x="205" y="459"/>
                    <a:pt x="205" y="459"/>
                  </a:cubicBezTo>
                  <a:cubicBezTo>
                    <a:pt x="204" y="459"/>
                    <a:pt x="204" y="459"/>
                    <a:pt x="204" y="459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4" y="460"/>
                  </a:cubicBezTo>
                  <a:cubicBezTo>
                    <a:pt x="204" y="460"/>
                    <a:pt x="204" y="460"/>
                    <a:pt x="203" y="460"/>
                  </a:cubicBezTo>
                  <a:cubicBezTo>
                    <a:pt x="203" y="460"/>
                    <a:pt x="203" y="460"/>
                    <a:pt x="203" y="460"/>
                  </a:cubicBezTo>
                  <a:cubicBezTo>
                    <a:pt x="202" y="459"/>
                    <a:pt x="202" y="459"/>
                    <a:pt x="202" y="459"/>
                  </a:cubicBezTo>
                  <a:cubicBezTo>
                    <a:pt x="202" y="460"/>
                    <a:pt x="202" y="460"/>
                    <a:pt x="202" y="460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2" y="461"/>
                    <a:pt x="202" y="461"/>
                    <a:pt x="202" y="461"/>
                  </a:cubicBezTo>
                  <a:cubicBezTo>
                    <a:pt x="201" y="461"/>
                    <a:pt x="201" y="461"/>
                    <a:pt x="201" y="461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9" y="461"/>
                    <a:pt x="199" y="461"/>
                    <a:pt x="199" y="461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8" y="462"/>
                    <a:pt x="198" y="462"/>
                    <a:pt x="198" y="462"/>
                  </a:cubicBezTo>
                  <a:cubicBezTo>
                    <a:pt x="197" y="461"/>
                    <a:pt x="197" y="461"/>
                    <a:pt x="197" y="461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197" y="462"/>
                    <a:pt x="197" y="462"/>
                    <a:pt x="197" y="462"/>
                  </a:cubicBezTo>
                  <a:cubicBezTo>
                    <a:pt x="210" y="465"/>
                    <a:pt x="210" y="465"/>
                    <a:pt x="210" y="465"/>
                  </a:cubicBezTo>
                  <a:cubicBezTo>
                    <a:pt x="213" y="466"/>
                    <a:pt x="213" y="468"/>
                    <a:pt x="216" y="470"/>
                  </a:cubicBezTo>
                  <a:cubicBezTo>
                    <a:pt x="224" y="467"/>
                    <a:pt x="224" y="467"/>
                    <a:pt x="224" y="467"/>
                  </a:cubicBezTo>
                  <a:cubicBezTo>
                    <a:pt x="234" y="474"/>
                    <a:pt x="234" y="474"/>
                    <a:pt x="234" y="474"/>
                  </a:cubicBezTo>
                  <a:cubicBezTo>
                    <a:pt x="243" y="471"/>
                    <a:pt x="243" y="471"/>
                    <a:pt x="243" y="471"/>
                  </a:cubicBezTo>
                  <a:cubicBezTo>
                    <a:pt x="252" y="471"/>
                    <a:pt x="252" y="471"/>
                    <a:pt x="252" y="471"/>
                  </a:cubicBezTo>
                  <a:cubicBezTo>
                    <a:pt x="252" y="470"/>
                    <a:pt x="256" y="470"/>
                    <a:pt x="259" y="471"/>
                  </a:cubicBezTo>
                  <a:cubicBezTo>
                    <a:pt x="259" y="471"/>
                    <a:pt x="259" y="471"/>
                    <a:pt x="259" y="471"/>
                  </a:cubicBezTo>
                  <a:close/>
                  <a:moveTo>
                    <a:pt x="192" y="456"/>
                  </a:move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2" y="456"/>
                    <a:pt x="192" y="456"/>
                  </a:cubicBezTo>
                  <a:cubicBezTo>
                    <a:pt x="192" y="456"/>
                    <a:pt x="193" y="456"/>
                    <a:pt x="193" y="456"/>
                  </a:cubicBezTo>
                  <a:cubicBezTo>
                    <a:pt x="193" y="456"/>
                    <a:pt x="193" y="457"/>
                    <a:pt x="193" y="457"/>
                  </a:cubicBezTo>
                  <a:cubicBezTo>
                    <a:pt x="193" y="457"/>
                    <a:pt x="193" y="457"/>
                    <a:pt x="193" y="457"/>
                  </a:cubicBezTo>
                  <a:cubicBezTo>
                    <a:pt x="193" y="457"/>
                    <a:pt x="193" y="457"/>
                    <a:pt x="194" y="458"/>
                  </a:cubicBezTo>
                  <a:cubicBezTo>
                    <a:pt x="194" y="458"/>
                    <a:pt x="193" y="458"/>
                    <a:pt x="193" y="458"/>
                  </a:cubicBezTo>
                  <a:cubicBezTo>
                    <a:pt x="193" y="458"/>
                    <a:pt x="193" y="458"/>
                    <a:pt x="193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8"/>
                    <a:pt x="192" y="458"/>
                    <a:pt x="192" y="458"/>
                  </a:cubicBezTo>
                  <a:cubicBezTo>
                    <a:pt x="192" y="456"/>
                    <a:pt x="192" y="456"/>
                    <a:pt x="192" y="456"/>
                  </a:cubicBezTo>
                  <a:close/>
                  <a:moveTo>
                    <a:pt x="450" y="202"/>
                  </a:moveTo>
                  <a:cubicBezTo>
                    <a:pt x="450" y="202"/>
                    <a:pt x="450" y="202"/>
                    <a:pt x="450" y="202"/>
                  </a:cubicBezTo>
                  <a:cubicBezTo>
                    <a:pt x="449" y="202"/>
                    <a:pt x="449" y="202"/>
                    <a:pt x="449" y="202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8" y="201"/>
                    <a:pt x="448" y="201"/>
                    <a:pt x="448" y="201"/>
                  </a:cubicBezTo>
                  <a:cubicBezTo>
                    <a:pt x="449" y="201"/>
                    <a:pt x="449" y="200"/>
                    <a:pt x="449" y="200"/>
                  </a:cubicBezTo>
                  <a:cubicBezTo>
                    <a:pt x="449" y="201"/>
                    <a:pt x="450" y="201"/>
                    <a:pt x="450" y="202"/>
                  </a:cubicBezTo>
                  <a:close/>
                  <a:moveTo>
                    <a:pt x="493" y="520"/>
                  </a:moveTo>
                  <a:cubicBezTo>
                    <a:pt x="493" y="520"/>
                    <a:pt x="493" y="520"/>
                    <a:pt x="493" y="520"/>
                  </a:cubicBezTo>
                  <a:cubicBezTo>
                    <a:pt x="491" y="524"/>
                    <a:pt x="491" y="524"/>
                    <a:pt x="491" y="524"/>
                  </a:cubicBezTo>
                  <a:cubicBezTo>
                    <a:pt x="489" y="527"/>
                    <a:pt x="489" y="527"/>
                    <a:pt x="489" y="527"/>
                  </a:cubicBezTo>
                  <a:cubicBezTo>
                    <a:pt x="494" y="529"/>
                    <a:pt x="494" y="529"/>
                    <a:pt x="494" y="529"/>
                  </a:cubicBezTo>
                  <a:cubicBezTo>
                    <a:pt x="497" y="533"/>
                    <a:pt x="497" y="533"/>
                    <a:pt x="497" y="533"/>
                  </a:cubicBezTo>
                  <a:cubicBezTo>
                    <a:pt x="497" y="533"/>
                    <a:pt x="499" y="536"/>
                    <a:pt x="501" y="536"/>
                  </a:cubicBezTo>
                  <a:cubicBezTo>
                    <a:pt x="503" y="536"/>
                    <a:pt x="506" y="538"/>
                    <a:pt x="506" y="538"/>
                  </a:cubicBezTo>
                  <a:cubicBezTo>
                    <a:pt x="506" y="538"/>
                    <a:pt x="508" y="535"/>
                    <a:pt x="508" y="531"/>
                  </a:cubicBezTo>
                  <a:cubicBezTo>
                    <a:pt x="509" y="528"/>
                    <a:pt x="505" y="524"/>
                    <a:pt x="511" y="523"/>
                  </a:cubicBezTo>
                  <a:cubicBezTo>
                    <a:pt x="517" y="523"/>
                    <a:pt x="513" y="516"/>
                    <a:pt x="513" y="516"/>
                  </a:cubicBezTo>
                  <a:cubicBezTo>
                    <a:pt x="513" y="511"/>
                    <a:pt x="513" y="511"/>
                    <a:pt x="513" y="511"/>
                  </a:cubicBezTo>
                  <a:cubicBezTo>
                    <a:pt x="512" y="505"/>
                    <a:pt x="512" y="505"/>
                    <a:pt x="512" y="505"/>
                  </a:cubicBezTo>
                  <a:cubicBezTo>
                    <a:pt x="513" y="503"/>
                    <a:pt x="513" y="503"/>
                    <a:pt x="513" y="503"/>
                  </a:cubicBezTo>
                  <a:cubicBezTo>
                    <a:pt x="516" y="499"/>
                    <a:pt x="516" y="499"/>
                    <a:pt x="516" y="499"/>
                  </a:cubicBezTo>
                  <a:cubicBezTo>
                    <a:pt x="519" y="496"/>
                    <a:pt x="519" y="496"/>
                    <a:pt x="519" y="496"/>
                  </a:cubicBezTo>
                  <a:cubicBezTo>
                    <a:pt x="519" y="496"/>
                    <a:pt x="520" y="493"/>
                    <a:pt x="520" y="491"/>
                  </a:cubicBezTo>
                  <a:cubicBezTo>
                    <a:pt x="519" y="490"/>
                    <a:pt x="516" y="485"/>
                    <a:pt x="516" y="485"/>
                  </a:cubicBezTo>
                  <a:cubicBezTo>
                    <a:pt x="519" y="473"/>
                    <a:pt x="519" y="473"/>
                    <a:pt x="519" y="473"/>
                  </a:cubicBezTo>
                  <a:cubicBezTo>
                    <a:pt x="518" y="471"/>
                    <a:pt x="518" y="471"/>
                    <a:pt x="518" y="471"/>
                  </a:cubicBezTo>
                  <a:cubicBezTo>
                    <a:pt x="517" y="468"/>
                    <a:pt x="517" y="468"/>
                    <a:pt x="517" y="468"/>
                  </a:cubicBezTo>
                  <a:cubicBezTo>
                    <a:pt x="515" y="459"/>
                    <a:pt x="515" y="459"/>
                    <a:pt x="515" y="459"/>
                  </a:cubicBezTo>
                  <a:cubicBezTo>
                    <a:pt x="515" y="447"/>
                    <a:pt x="515" y="447"/>
                    <a:pt x="515" y="447"/>
                  </a:cubicBezTo>
                  <a:cubicBezTo>
                    <a:pt x="509" y="449"/>
                    <a:pt x="509" y="449"/>
                    <a:pt x="509" y="449"/>
                  </a:cubicBezTo>
                  <a:cubicBezTo>
                    <a:pt x="511" y="454"/>
                    <a:pt x="511" y="454"/>
                    <a:pt x="511" y="454"/>
                  </a:cubicBezTo>
                  <a:cubicBezTo>
                    <a:pt x="509" y="463"/>
                    <a:pt x="509" y="463"/>
                    <a:pt x="509" y="463"/>
                  </a:cubicBezTo>
                  <a:cubicBezTo>
                    <a:pt x="504" y="464"/>
                    <a:pt x="504" y="464"/>
                    <a:pt x="504" y="464"/>
                  </a:cubicBezTo>
                  <a:cubicBezTo>
                    <a:pt x="502" y="465"/>
                    <a:pt x="502" y="465"/>
                    <a:pt x="502" y="465"/>
                  </a:cubicBezTo>
                  <a:cubicBezTo>
                    <a:pt x="499" y="468"/>
                    <a:pt x="499" y="468"/>
                    <a:pt x="499" y="468"/>
                  </a:cubicBezTo>
                  <a:cubicBezTo>
                    <a:pt x="494" y="469"/>
                    <a:pt x="494" y="469"/>
                    <a:pt x="494" y="469"/>
                  </a:cubicBezTo>
                  <a:cubicBezTo>
                    <a:pt x="489" y="473"/>
                    <a:pt x="489" y="473"/>
                    <a:pt x="489" y="473"/>
                  </a:cubicBezTo>
                  <a:cubicBezTo>
                    <a:pt x="485" y="478"/>
                    <a:pt x="485" y="478"/>
                    <a:pt x="485" y="478"/>
                  </a:cubicBezTo>
                  <a:cubicBezTo>
                    <a:pt x="482" y="481"/>
                    <a:pt x="482" y="481"/>
                    <a:pt x="482" y="481"/>
                  </a:cubicBezTo>
                  <a:cubicBezTo>
                    <a:pt x="482" y="481"/>
                    <a:pt x="482" y="483"/>
                    <a:pt x="484" y="485"/>
                  </a:cubicBezTo>
                  <a:cubicBezTo>
                    <a:pt x="486" y="488"/>
                    <a:pt x="481" y="498"/>
                    <a:pt x="481" y="498"/>
                  </a:cubicBezTo>
                  <a:cubicBezTo>
                    <a:pt x="485" y="498"/>
                    <a:pt x="485" y="498"/>
                    <a:pt x="485" y="498"/>
                  </a:cubicBezTo>
                  <a:cubicBezTo>
                    <a:pt x="486" y="503"/>
                    <a:pt x="486" y="503"/>
                    <a:pt x="486" y="503"/>
                  </a:cubicBezTo>
                  <a:cubicBezTo>
                    <a:pt x="483" y="508"/>
                    <a:pt x="483" y="508"/>
                    <a:pt x="483" y="508"/>
                  </a:cubicBezTo>
                  <a:cubicBezTo>
                    <a:pt x="486" y="510"/>
                    <a:pt x="486" y="510"/>
                    <a:pt x="486" y="510"/>
                  </a:cubicBezTo>
                  <a:cubicBezTo>
                    <a:pt x="489" y="510"/>
                    <a:pt x="489" y="510"/>
                    <a:pt x="489" y="510"/>
                  </a:cubicBezTo>
                  <a:cubicBezTo>
                    <a:pt x="486" y="516"/>
                    <a:pt x="486" y="516"/>
                    <a:pt x="486" y="516"/>
                  </a:cubicBezTo>
                  <a:cubicBezTo>
                    <a:pt x="486" y="518"/>
                    <a:pt x="486" y="518"/>
                    <a:pt x="486" y="518"/>
                  </a:cubicBezTo>
                  <a:lnTo>
                    <a:pt x="493" y="5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2234020" y="2552747"/>
              <a:ext cx="566062" cy="456504"/>
            </a:xfrm>
            <a:custGeom>
              <a:avLst/>
              <a:gdLst>
                <a:gd name="T0" fmla="*/ 46 w 238"/>
                <a:gd name="T1" fmla="*/ 78 h 198"/>
                <a:gd name="T2" fmla="*/ 30 w 238"/>
                <a:gd name="T3" fmla="*/ 73 h 198"/>
                <a:gd name="T4" fmla="*/ 10 w 238"/>
                <a:gd name="T5" fmla="*/ 70 h 198"/>
                <a:gd name="T6" fmla="*/ 13 w 238"/>
                <a:gd name="T7" fmla="*/ 76 h 198"/>
                <a:gd name="T8" fmla="*/ 34 w 238"/>
                <a:gd name="T9" fmla="*/ 91 h 198"/>
                <a:gd name="T10" fmla="*/ 35 w 238"/>
                <a:gd name="T11" fmla="*/ 107 h 198"/>
                <a:gd name="T12" fmla="*/ 34 w 238"/>
                <a:gd name="T13" fmla="*/ 113 h 198"/>
                <a:gd name="T14" fmla="*/ 25 w 238"/>
                <a:gd name="T15" fmla="*/ 127 h 198"/>
                <a:gd name="T16" fmla="*/ 9 w 238"/>
                <a:gd name="T17" fmla="*/ 124 h 198"/>
                <a:gd name="T18" fmla="*/ 20 w 238"/>
                <a:gd name="T19" fmla="*/ 138 h 198"/>
                <a:gd name="T20" fmla="*/ 48 w 238"/>
                <a:gd name="T21" fmla="*/ 162 h 198"/>
                <a:gd name="T22" fmla="*/ 85 w 238"/>
                <a:gd name="T23" fmla="*/ 195 h 198"/>
                <a:gd name="T24" fmla="*/ 131 w 238"/>
                <a:gd name="T25" fmla="*/ 189 h 198"/>
                <a:gd name="T26" fmla="*/ 164 w 238"/>
                <a:gd name="T27" fmla="*/ 181 h 198"/>
                <a:gd name="T28" fmla="*/ 194 w 238"/>
                <a:gd name="T29" fmla="*/ 178 h 198"/>
                <a:gd name="T30" fmla="*/ 212 w 238"/>
                <a:gd name="T31" fmla="*/ 165 h 198"/>
                <a:gd name="T32" fmla="*/ 226 w 238"/>
                <a:gd name="T33" fmla="*/ 157 h 198"/>
                <a:gd name="T34" fmla="*/ 230 w 238"/>
                <a:gd name="T35" fmla="*/ 148 h 198"/>
                <a:gd name="T36" fmla="*/ 235 w 238"/>
                <a:gd name="T37" fmla="*/ 133 h 198"/>
                <a:gd name="T38" fmla="*/ 227 w 238"/>
                <a:gd name="T39" fmla="*/ 109 h 198"/>
                <a:gd name="T40" fmla="*/ 224 w 238"/>
                <a:gd name="T41" fmla="*/ 92 h 198"/>
                <a:gd name="T42" fmla="*/ 228 w 238"/>
                <a:gd name="T43" fmla="*/ 76 h 198"/>
                <a:gd name="T44" fmla="*/ 210 w 238"/>
                <a:gd name="T45" fmla="*/ 76 h 198"/>
                <a:gd name="T46" fmla="*/ 206 w 238"/>
                <a:gd name="T47" fmla="*/ 58 h 198"/>
                <a:gd name="T48" fmla="*/ 192 w 238"/>
                <a:gd name="T49" fmla="*/ 68 h 198"/>
                <a:gd name="T50" fmla="*/ 173 w 238"/>
                <a:gd name="T51" fmla="*/ 66 h 198"/>
                <a:gd name="T52" fmla="*/ 160 w 238"/>
                <a:gd name="T53" fmla="*/ 64 h 198"/>
                <a:gd name="T54" fmla="*/ 147 w 238"/>
                <a:gd name="T55" fmla="*/ 80 h 198"/>
                <a:gd name="T56" fmla="*/ 141 w 238"/>
                <a:gd name="T57" fmla="*/ 54 h 198"/>
                <a:gd name="T58" fmla="*/ 128 w 238"/>
                <a:gd name="T59" fmla="*/ 53 h 198"/>
                <a:gd name="T60" fmla="*/ 119 w 238"/>
                <a:gd name="T61" fmla="*/ 67 h 198"/>
                <a:gd name="T62" fmla="*/ 109 w 238"/>
                <a:gd name="T63" fmla="*/ 43 h 198"/>
                <a:gd name="T64" fmla="*/ 96 w 238"/>
                <a:gd name="T65" fmla="*/ 67 h 198"/>
                <a:gd name="T66" fmla="*/ 80 w 238"/>
                <a:gd name="T67" fmla="*/ 67 h 198"/>
                <a:gd name="T68" fmla="*/ 71 w 238"/>
                <a:gd name="T69" fmla="*/ 75 h 198"/>
                <a:gd name="T70" fmla="*/ 75 w 238"/>
                <a:gd name="T71" fmla="*/ 59 h 198"/>
                <a:gd name="T72" fmla="*/ 78 w 238"/>
                <a:gd name="T73" fmla="*/ 52 h 198"/>
                <a:gd name="T74" fmla="*/ 83 w 238"/>
                <a:gd name="T75" fmla="*/ 39 h 198"/>
                <a:gd name="T76" fmla="*/ 80 w 238"/>
                <a:gd name="T77" fmla="*/ 29 h 198"/>
                <a:gd name="T78" fmla="*/ 74 w 238"/>
                <a:gd name="T79" fmla="*/ 7 h 198"/>
                <a:gd name="T80" fmla="*/ 63 w 238"/>
                <a:gd name="T81" fmla="*/ 1 h 198"/>
                <a:gd name="T82" fmla="*/ 61 w 238"/>
                <a:gd name="T83" fmla="*/ 8 h 198"/>
                <a:gd name="T84" fmla="*/ 67 w 238"/>
                <a:gd name="T85" fmla="*/ 12 h 198"/>
                <a:gd name="T86" fmla="*/ 57 w 238"/>
                <a:gd name="T87" fmla="*/ 12 h 198"/>
                <a:gd name="T88" fmla="*/ 62 w 238"/>
                <a:gd name="T89" fmla="*/ 33 h 198"/>
                <a:gd name="T90" fmla="*/ 59 w 238"/>
                <a:gd name="T91" fmla="*/ 28 h 198"/>
                <a:gd name="T92" fmla="*/ 55 w 238"/>
                <a:gd name="T93" fmla="*/ 24 h 198"/>
                <a:gd name="T94" fmla="*/ 53 w 238"/>
                <a:gd name="T95" fmla="*/ 15 h 198"/>
                <a:gd name="T96" fmla="*/ 43 w 238"/>
                <a:gd name="T97" fmla="*/ 9 h 198"/>
                <a:gd name="T98" fmla="*/ 36 w 238"/>
                <a:gd name="T99" fmla="*/ 18 h 198"/>
                <a:gd name="T100" fmla="*/ 32 w 238"/>
                <a:gd name="T101" fmla="*/ 26 h 198"/>
                <a:gd name="T102" fmla="*/ 31 w 238"/>
                <a:gd name="T103" fmla="*/ 30 h 198"/>
                <a:gd name="T104" fmla="*/ 23 w 238"/>
                <a:gd name="T105" fmla="*/ 28 h 198"/>
                <a:gd name="T106" fmla="*/ 23 w 238"/>
                <a:gd name="T107" fmla="*/ 36 h 198"/>
                <a:gd name="T108" fmla="*/ 11 w 238"/>
                <a:gd name="T109" fmla="*/ 29 h 198"/>
                <a:gd name="T110" fmla="*/ 20 w 238"/>
                <a:gd name="T111" fmla="*/ 44 h 198"/>
                <a:gd name="T112" fmla="*/ 36 w 238"/>
                <a:gd name="T113" fmla="*/ 46 h 198"/>
                <a:gd name="T114" fmla="*/ 44 w 238"/>
                <a:gd name="T115" fmla="*/ 46 h 198"/>
                <a:gd name="T116" fmla="*/ 53 w 238"/>
                <a:gd name="T117" fmla="*/ 52 h 198"/>
                <a:gd name="T118" fmla="*/ 59 w 238"/>
                <a:gd name="T119" fmla="*/ 59 h 198"/>
                <a:gd name="T120" fmla="*/ 47 w 238"/>
                <a:gd name="T121" fmla="*/ 65 h 198"/>
                <a:gd name="T122" fmla="*/ 46 w 238"/>
                <a:gd name="T123" fmla="*/ 7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8">
                  <a:moveTo>
                    <a:pt x="48" y="74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40" y="74"/>
                    <a:pt x="40" y="74"/>
                    <a:pt x="40" y="74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74"/>
                    <a:pt x="34" y="74"/>
                    <a:pt x="34" y="74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3"/>
                    <a:pt x="30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7" y="72"/>
                    <a:pt x="26" y="71"/>
                    <a:pt x="25" y="71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19" y="72"/>
                    <a:pt x="19" y="72"/>
                    <a:pt x="19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0" y="70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2" y="68"/>
                  </a:cubicBezTo>
                  <a:cubicBezTo>
                    <a:pt x="2" y="70"/>
                    <a:pt x="0" y="71"/>
                    <a:pt x="0" y="72"/>
                  </a:cubicBezTo>
                  <a:cubicBezTo>
                    <a:pt x="1" y="73"/>
                    <a:pt x="2" y="73"/>
                    <a:pt x="3" y="7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4" y="78"/>
                    <a:pt x="15" y="80"/>
                    <a:pt x="16" y="79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83"/>
                    <a:pt x="22" y="83"/>
                  </a:cubicBezTo>
                  <a:cubicBezTo>
                    <a:pt x="23" y="84"/>
                    <a:pt x="24" y="84"/>
                    <a:pt x="24" y="84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30" y="86"/>
                    <a:pt x="33" y="85"/>
                    <a:pt x="33" y="86"/>
                  </a:cubicBezTo>
                  <a:cubicBezTo>
                    <a:pt x="33" y="87"/>
                    <a:pt x="35" y="88"/>
                    <a:pt x="34" y="89"/>
                  </a:cubicBezTo>
                  <a:cubicBezTo>
                    <a:pt x="34" y="89"/>
                    <a:pt x="34" y="90"/>
                    <a:pt x="34" y="91"/>
                  </a:cubicBezTo>
                  <a:cubicBezTo>
                    <a:pt x="34" y="92"/>
                    <a:pt x="34" y="93"/>
                    <a:pt x="34" y="93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100"/>
                    <a:pt x="30" y="100"/>
                  </a:cubicBezTo>
                  <a:cubicBezTo>
                    <a:pt x="30" y="101"/>
                    <a:pt x="29" y="104"/>
                    <a:pt x="29" y="104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2" y="102"/>
                    <a:pt x="33" y="102"/>
                    <a:pt x="33" y="103"/>
                  </a:cubicBezTo>
                  <a:cubicBezTo>
                    <a:pt x="32" y="105"/>
                    <a:pt x="31" y="106"/>
                    <a:pt x="31" y="106"/>
                  </a:cubicBezTo>
                  <a:cubicBezTo>
                    <a:pt x="31" y="106"/>
                    <a:pt x="32" y="109"/>
                    <a:pt x="33" y="108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7" y="106"/>
                    <a:pt x="37" y="106"/>
                    <a:pt x="37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3" y="104"/>
                    <a:pt x="46" y="104"/>
                    <a:pt x="46" y="104"/>
                  </a:cubicBezTo>
                  <a:cubicBezTo>
                    <a:pt x="46" y="104"/>
                    <a:pt x="47" y="107"/>
                    <a:pt x="46" y="107"/>
                  </a:cubicBezTo>
                  <a:cubicBezTo>
                    <a:pt x="45" y="107"/>
                    <a:pt x="41" y="106"/>
                    <a:pt x="41" y="10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5" y="110"/>
                    <a:pt x="35" y="110"/>
                    <a:pt x="35" y="110"/>
                  </a:cubicBezTo>
                  <a:cubicBezTo>
                    <a:pt x="35" y="110"/>
                    <a:pt x="33" y="113"/>
                    <a:pt x="34" y="113"/>
                  </a:cubicBezTo>
                  <a:cubicBezTo>
                    <a:pt x="35" y="114"/>
                    <a:pt x="32" y="115"/>
                    <a:pt x="32" y="115"/>
                  </a:cubicBezTo>
                  <a:cubicBezTo>
                    <a:pt x="31" y="115"/>
                    <a:pt x="31" y="115"/>
                    <a:pt x="31" y="115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6"/>
                    <a:pt x="31" y="116"/>
                    <a:pt x="32" y="117"/>
                  </a:cubicBezTo>
                  <a:cubicBezTo>
                    <a:pt x="33" y="117"/>
                    <a:pt x="36" y="117"/>
                    <a:pt x="36" y="117"/>
                  </a:cubicBezTo>
                  <a:cubicBezTo>
                    <a:pt x="36" y="117"/>
                    <a:pt x="38" y="116"/>
                    <a:pt x="37" y="117"/>
                  </a:cubicBezTo>
                  <a:cubicBezTo>
                    <a:pt x="37" y="118"/>
                    <a:pt x="36" y="121"/>
                    <a:pt x="36" y="121"/>
                  </a:cubicBezTo>
                  <a:cubicBezTo>
                    <a:pt x="36" y="121"/>
                    <a:pt x="35" y="122"/>
                    <a:pt x="32" y="122"/>
                  </a:cubicBezTo>
                  <a:cubicBezTo>
                    <a:pt x="30" y="123"/>
                    <a:pt x="27" y="124"/>
                    <a:pt x="27" y="124"/>
                  </a:cubicBezTo>
                  <a:cubicBezTo>
                    <a:pt x="25" y="127"/>
                    <a:pt x="25" y="127"/>
                    <a:pt x="25" y="127"/>
                  </a:cubicBezTo>
                  <a:cubicBezTo>
                    <a:pt x="25" y="127"/>
                    <a:pt x="26" y="128"/>
                    <a:pt x="23" y="128"/>
                  </a:cubicBezTo>
                  <a:cubicBezTo>
                    <a:pt x="21" y="128"/>
                    <a:pt x="19" y="128"/>
                    <a:pt x="19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5" y="129"/>
                    <a:pt x="15" y="129"/>
                  </a:cubicBezTo>
                  <a:cubicBezTo>
                    <a:pt x="14" y="128"/>
                    <a:pt x="13" y="127"/>
                    <a:pt x="13" y="127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0" y="121"/>
                    <a:pt x="10" y="122"/>
                  </a:cubicBezTo>
                  <a:cubicBezTo>
                    <a:pt x="9" y="122"/>
                    <a:pt x="9" y="124"/>
                    <a:pt x="9" y="124"/>
                  </a:cubicBezTo>
                  <a:cubicBezTo>
                    <a:pt x="7" y="127"/>
                    <a:pt x="7" y="127"/>
                    <a:pt x="7" y="127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6" y="131"/>
                    <a:pt x="6" y="131"/>
                    <a:pt x="6" y="131"/>
                  </a:cubicBezTo>
                  <a:cubicBezTo>
                    <a:pt x="5" y="133"/>
                    <a:pt x="5" y="133"/>
                    <a:pt x="5" y="133"/>
                  </a:cubicBezTo>
                  <a:cubicBezTo>
                    <a:pt x="5" y="133"/>
                    <a:pt x="4" y="133"/>
                    <a:pt x="5" y="134"/>
                  </a:cubicBezTo>
                  <a:cubicBezTo>
                    <a:pt x="6" y="134"/>
                    <a:pt x="10" y="136"/>
                    <a:pt x="10" y="136"/>
                  </a:cubicBezTo>
                  <a:cubicBezTo>
                    <a:pt x="10" y="136"/>
                    <a:pt x="11" y="135"/>
                    <a:pt x="13" y="137"/>
                  </a:cubicBezTo>
                  <a:cubicBezTo>
                    <a:pt x="14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1"/>
                    <a:pt x="28" y="143"/>
                    <a:pt x="28" y="144"/>
                  </a:cubicBezTo>
                  <a:cubicBezTo>
                    <a:pt x="29" y="144"/>
                    <a:pt x="31" y="147"/>
                    <a:pt x="31" y="147"/>
                  </a:cubicBezTo>
                  <a:cubicBezTo>
                    <a:pt x="31" y="147"/>
                    <a:pt x="31" y="145"/>
                    <a:pt x="33" y="146"/>
                  </a:cubicBezTo>
                  <a:cubicBezTo>
                    <a:pt x="36" y="146"/>
                    <a:pt x="37" y="146"/>
                    <a:pt x="37" y="146"/>
                  </a:cubicBezTo>
                  <a:cubicBezTo>
                    <a:pt x="37" y="146"/>
                    <a:pt x="39" y="146"/>
                    <a:pt x="40" y="147"/>
                  </a:cubicBezTo>
                  <a:cubicBezTo>
                    <a:pt x="41" y="148"/>
                    <a:pt x="44" y="153"/>
                    <a:pt x="44" y="153"/>
                  </a:cubicBezTo>
                  <a:cubicBezTo>
                    <a:pt x="46" y="158"/>
                    <a:pt x="46" y="158"/>
                    <a:pt x="46" y="158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162"/>
                    <a:pt x="48" y="163"/>
                    <a:pt x="50" y="164"/>
                  </a:cubicBezTo>
                  <a:cubicBezTo>
                    <a:pt x="52" y="166"/>
                    <a:pt x="53" y="168"/>
                    <a:pt x="53" y="168"/>
                  </a:cubicBezTo>
                  <a:cubicBezTo>
                    <a:pt x="53" y="168"/>
                    <a:pt x="53" y="169"/>
                    <a:pt x="54" y="170"/>
                  </a:cubicBezTo>
                  <a:cubicBezTo>
                    <a:pt x="55" y="172"/>
                    <a:pt x="57" y="174"/>
                    <a:pt x="57" y="174"/>
                  </a:cubicBezTo>
                  <a:cubicBezTo>
                    <a:pt x="57" y="174"/>
                    <a:pt x="57" y="175"/>
                    <a:pt x="58" y="176"/>
                  </a:cubicBezTo>
                  <a:cubicBezTo>
                    <a:pt x="60" y="177"/>
                    <a:pt x="62" y="177"/>
                    <a:pt x="63" y="178"/>
                  </a:cubicBezTo>
                  <a:cubicBezTo>
                    <a:pt x="65" y="180"/>
                    <a:pt x="67" y="182"/>
                    <a:pt x="67" y="182"/>
                  </a:cubicBezTo>
                  <a:cubicBezTo>
                    <a:pt x="67" y="182"/>
                    <a:pt x="72" y="187"/>
                    <a:pt x="74" y="189"/>
                  </a:cubicBezTo>
                  <a:cubicBezTo>
                    <a:pt x="76" y="191"/>
                    <a:pt x="78" y="193"/>
                    <a:pt x="79" y="193"/>
                  </a:cubicBezTo>
                  <a:cubicBezTo>
                    <a:pt x="80" y="194"/>
                    <a:pt x="85" y="195"/>
                    <a:pt x="85" y="195"/>
                  </a:cubicBezTo>
                  <a:cubicBezTo>
                    <a:pt x="85" y="195"/>
                    <a:pt x="88" y="198"/>
                    <a:pt x="89" y="197"/>
                  </a:cubicBezTo>
                  <a:cubicBezTo>
                    <a:pt x="91" y="197"/>
                    <a:pt x="87" y="196"/>
                    <a:pt x="93" y="196"/>
                  </a:cubicBezTo>
                  <a:cubicBezTo>
                    <a:pt x="99" y="196"/>
                    <a:pt x="103" y="198"/>
                    <a:pt x="103" y="198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7" y="195"/>
                    <a:pt x="106" y="197"/>
                    <a:pt x="107" y="194"/>
                  </a:cubicBezTo>
                  <a:cubicBezTo>
                    <a:pt x="108" y="192"/>
                    <a:pt x="109" y="190"/>
                    <a:pt x="109" y="190"/>
                  </a:cubicBezTo>
                  <a:cubicBezTo>
                    <a:pt x="109" y="190"/>
                    <a:pt x="108" y="188"/>
                    <a:pt x="111" y="188"/>
                  </a:cubicBezTo>
                  <a:cubicBezTo>
                    <a:pt x="113" y="188"/>
                    <a:pt x="119" y="187"/>
                    <a:pt x="120" y="187"/>
                  </a:cubicBezTo>
                  <a:cubicBezTo>
                    <a:pt x="121" y="187"/>
                    <a:pt x="121" y="188"/>
                    <a:pt x="122" y="187"/>
                  </a:cubicBezTo>
                  <a:cubicBezTo>
                    <a:pt x="122" y="186"/>
                    <a:pt x="131" y="189"/>
                    <a:pt x="131" y="189"/>
                  </a:cubicBezTo>
                  <a:cubicBezTo>
                    <a:pt x="132" y="187"/>
                    <a:pt x="132" y="187"/>
                    <a:pt x="132" y="187"/>
                  </a:cubicBezTo>
                  <a:cubicBezTo>
                    <a:pt x="134" y="186"/>
                    <a:pt x="134" y="186"/>
                    <a:pt x="134" y="186"/>
                  </a:cubicBezTo>
                  <a:cubicBezTo>
                    <a:pt x="136" y="190"/>
                    <a:pt x="136" y="190"/>
                    <a:pt x="136" y="190"/>
                  </a:cubicBezTo>
                  <a:cubicBezTo>
                    <a:pt x="140" y="190"/>
                    <a:pt x="140" y="190"/>
                    <a:pt x="140" y="190"/>
                  </a:cubicBezTo>
                  <a:cubicBezTo>
                    <a:pt x="140" y="190"/>
                    <a:pt x="143" y="189"/>
                    <a:pt x="145" y="189"/>
                  </a:cubicBezTo>
                  <a:cubicBezTo>
                    <a:pt x="146" y="189"/>
                    <a:pt x="150" y="187"/>
                    <a:pt x="150" y="187"/>
                  </a:cubicBezTo>
                  <a:cubicBezTo>
                    <a:pt x="150" y="187"/>
                    <a:pt x="151" y="185"/>
                    <a:pt x="152" y="185"/>
                  </a:cubicBezTo>
                  <a:cubicBezTo>
                    <a:pt x="153" y="184"/>
                    <a:pt x="156" y="184"/>
                    <a:pt x="157" y="184"/>
                  </a:cubicBezTo>
                  <a:cubicBezTo>
                    <a:pt x="159" y="184"/>
                    <a:pt x="162" y="183"/>
                    <a:pt x="162" y="183"/>
                  </a:cubicBezTo>
                  <a:cubicBezTo>
                    <a:pt x="164" y="181"/>
                    <a:pt x="164" y="181"/>
                    <a:pt x="164" y="181"/>
                  </a:cubicBezTo>
                  <a:cubicBezTo>
                    <a:pt x="164" y="181"/>
                    <a:pt x="165" y="180"/>
                    <a:pt x="167" y="180"/>
                  </a:cubicBezTo>
                  <a:cubicBezTo>
                    <a:pt x="168" y="181"/>
                    <a:pt x="172" y="181"/>
                    <a:pt x="172" y="181"/>
                  </a:cubicBezTo>
                  <a:cubicBezTo>
                    <a:pt x="175" y="179"/>
                    <a:pt x="175" y="179"/>
                    <a:pt x="175" y="179"/>
                  </a:cubicBezTo>
                  <a:cubicBezTo>
                    <a:pt x="178" y="178"/>
                    <a:pt x="178" y="178"/>
                    <a:pt x="178" y="178"/>
                  </a:cubicBezTo>
                  <a:cubicBezTo>
                    <a:pt x="178" y="178"/>
                    <a:pt x="178" y="177"/>
                    <a:pt x="179" y="178"/>
                  </a:cubicBezTo>
                  <a:cubicBezTo>
                    <a:pt x="180" y="179"/>
                    <a:pt x="182" y="181"/>
                    <a:pt x="182" y="181"/>
                  </a:cubicBezTo>
                  <a:cubicBezTo>
                    <a:pt x="186" y="182"/>
                    <a:pt x="186" y="182"/>
                    <a:pt x="186" y="182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191" y="179"/>
                    <a:pt x="191" y="178"/>
                    <a:pt x="194" y="178"/>
                  </a:cubicBezTo>
                  <a:cubicBezTo>
                    <a:pt x="197" y="178"/>
                    <a:pt x="198" y="178"/>
                    <a:pt x="198" y="178"/>
                  </a:cubicBezTo>
                  <a:cubicBezTo>
                    <a:pt x="198" y="178"/>
                    <a:pt x="201" y="178"/>
                    <a:pt x="201" y="177"/>
                  </a:cubicBezTo>
                  <a:cubicBezTo>
                    <a:pt x="201" y="176"/>
                    <a:pt x="201" y="174"/>
                    <a:pt x="202" y="173"/>
                  </a:cubicBezTo>
                  <a:cubicBezTo>
                    <a:pt x="202" y="172"/>
                    <a:pt x="206" y="168"/>
                    <a:pt x="206" y="168"/>
                  </a:cubicBezTo>
                  <a:cubicBezTo>
                    <a:pt x="208" y="167"/>
                    <a:pt x="208" y="167"/>
                    <a:pt x="208" y="167"/>
                  </a:cubicBezTo>
                  <a:cubicBezTo>
                    <a:pt x="207" y="164"/>
                    <a:pt x="207" y="164"/>
                    <a:pt x="207" y="164"/>
                  </a:cubicBezTo>
                  <a:cubicBezTo>
                    <a:pt x="208" y="162"/>
                    <a:pt x="208" y="162"/>
                    <a:pt x="208" y="162"/>
                  </a:cubicBezTo>
                  <a:cubicBezTo>
                    <a:pt x="208" y="162"/>
                    <a:pt x="211" y="161"/>
                    <a:pt x="210" y="163"/>
                  </a:cubicBezTo>
                  <a:cubicBezTo>
                    <a:pt x="209" y="165"/>
                    <a:pt x="210" y="166"/>
                    <a:pt x="210" y="166"/>
                  </a:cubicBezTo>
                  <a:cubicBezTo>
                    <a:pt x="210" y="166"/>
                    <a:pt x="211" y="165"/>
                    <a:pt x="212" y="165"/>
                  </a:cubicBezTo>
                  <a:cubicBezTo>
                    <a:pt x="214" y="165"/>
                    <a:pt x="214" y="164"/>
                    <a:pt x="215" y="164"/>
                  </a:cubicBezTo>
                  <a:cubicBezTo>
                    <a:pt x="217" y="165"/>
                    <a:pt x="218" y="164"/>
                    <a:pt x="218" y="164"/>
                  </a:cubicBezTo>
                  <a:cubicBezTo>
                    <a:pt x="218" y="164"/>
                    <a:pt x="217" y="162"/>
                    <a:pt x="218" y="162"/>
                  </a:cubicBezTo>
                  <a:cubicBezTo>
                    <a:pt x="219" y="163"/>
                    <a:pt x="221" y="163"/>
                    <a:pt x="221" y="163"/>
                  </a:cubicBezTo>
                  <a:cubicBezTo>
                    <a:pt x="221" y="163"/>
                    <a:pt x="222" y="163"/>
                    <a:pt x="222" y="162"/>
                  </a:cubicBezTo>
                  <a:cubicBezTo>
                    <a:pt x="222" y="162"/>
                    <a:pt x="219" y="160"/>
                    <a:pt x="220" y="160"/>
                  </a:cubicBezTo>
                  <a:cubicBezTo>
                    <a:pt x="221" y="161"/>
                    <a:pt x="223" y="160"/>
                    <a:pt x="223" y="160"/>
                  </a:cubicBezTo>
                  <a:cubicBezTo>
                    <a:pt x="223" y="160"/>
                    <a:pt x="226" y="161"/>
                    <a:pt x="223" y="159"/>
                  </a:cubicBezTo>
                  <a:cubicBezTo>
                    <a:pt x="221" y="156"/>
                    <a:pt x="224" y="156"/>
                    <a:pt x="224" y="156"/>
                  </a:cubicBezTo>
                  <a:cubicBezTo>
                    <a:pt x="224" y="156"/>
                    <a:pt x="227" y="157"/>
                    <a:pt x="226" y="157"/>
                  </a:cubicBezTo>
                  <a:cubicBezTo>
                    <a:pt x="225" y="156"/>
                    <a:pt x="221" y="151"/>
                    <a:pt x="221" y="151"/>
                  </a:cubicBezTo>
                  <a:cubicBezTo>
                    <a:pt x="221" y="150"/>
                    <a:pt x="221" y="150"/>
                    <a:pt x="221" y="150"/>
                  </a:cubicBezTo>
                  <a:cubicBezTo>
                    <a:pt x="221" y="148"/>
                    <a:pt x="221" y="148"/>
                    <a:pt x="221" y="148"/>
                  </a:cubicBezTo>
                  <a:cubicBezTo>
                    <a:pt x="221" y="148"/>
                    <a:pt x="223" y="149"/>
                    <a:pt x="224" y="150"/>
                  </a:cubicBezTo>
                  <a:cubicBezTo>
                    <a:pt x="224" y="150"/>
                    <a:pt x="224" y="150"/>
                    <a:pt x="225" y="151"/>
                  </a:cubicBezTo>
                  <a:cubicBezTo>
                    <a:pt x="227" y="152"/>
                    <a:pt x="226" y="154"/>
                    <a:pt x="227" y="154"/>
                  </a:cubicBezTo>
                  <a:cubicBezTo>
                    <a:pt x="228" y="155"/>
                    <a:pt x="231" y="154"/>
                    <a:pt x="231" y="154"/>
                  </a:cubicBezTo>
                  <a:cubicBezTo>
                    <a:pt x="233" y="151"/>
                    <a:pt x="233" y="151"/>
                    <a:pt x="233" y="151"/>
                  </a:cubicBezTo>
                  <a:cubicBezTo>
                    <a:pt x="233" y="151"/>
                    <a:pt x="237" y="147"/>
                    <a:pt x="236" y="147"/>
                  </a:cubicBezTo>
                  <a:cubicBezTo>
                    <a:pt x="235" y="146"/>
                    <a:pt x="230" y="148"/>
                    <a:pt x="230" y="148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29" y="143"/>
                    <a:pt x="229" y="143"/>
                    <a:pt x="229" y="143"/>
                  </a:cubicBezTo>
                  <a:cubicBezTo>
                    <a:pt x="228" y="142"/>
                    <a:pt x="228" y="142"/>
                    <a:pt x="228" y="142"/>
                  </a:cubicBezTo>
                  <a:cubicBezTo>
                    <a:pt x="228" y="142"/>
                    <a:pt x="231" y="142"/>
                    <a:pt x="231" y="142"/>
                  </a:cubicBezTo>
                  <a:cubicBezTo>
                    <a:pt x="232" y="142"/>
                    <a:pt x="234" y="141"/>
                    <a:pt x="234" y="141"/>
                  </a:cubicBezTo>
                  <a:cubicBezTo>
                    <a:pt x="234" y="139"/>
                    <a:pt x="234" y="139"/>
                    <a:pt x="234" y="139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3" y="134"/>
                    <a:pt x="233" y="134"/>
                    <a:pt x="233" y="134"/>
                  </a:cubicBezTo>
                  <a:cubicBezTo>
                    <a:pt x="235" y="133"/>
                    <a:pt x="235" y="133"/>
                    <a:pt x="235" y="133"/>
                  </a:cubicBezTo>
                  <a:cubicBezTo>
                    <a:pt x="238" y="127"/>
                    <a:pt x="238" y="127"/>
                    <a:pt x="238" y="127"/>
                  </a:cubicBezTo>
                  <a:cubicBezTo>
                    <a:pt x="237" y="125"/>
                    <a:pt x="237" y="125"/>
                    <a:pt x="237" y="125"/>
                  </a:cubicBezTo>
                  <a:cubicBezTo>
                    <a:pt x="235" y="125"/>
                    <a:pt x="235" y="125"/>
                    <a:pt x="235" y="125"/>
                  </a:cubicBezTo>
                  <a:cubicBezTo>
                    <a:pt x="235" y="121"/>
                    <a:pt x="235" y="121"/>
                    <a:pt x="235" y="121"/>
                  </a:cubicBezTo>
                  <a:cubicBezTo>
                    <a:pt x="231" y="119"/>
                    <a:pt x="231" y="119"/>
                    <a:pt x="231" y="119"/>
                  </a:cubicBezTo>
                  <a:cubicBezTo>
                    <a:pt x="231" y="119"/>
                    <a:pt x="228" y="117"/>
                    <a:pt x="228" y="116"/>
                  </a:cubicBezTo>
                  <a:cubicBezTo>
                    <a:pt x="228" y="116"/>
                    <a:pt x="228" y="114"/>
                    <a:pt x="227" y="115"/>
                  </a:cubicBezTo>
                  <a:cubicBezTo>
                    <a:pt x="226" y="115"/>
                    <a:pt x="225" y="114"/>
                    <a:pt x="225" y="114"/>
                  </a:cubicBezTo>
                  <a:cubicBezTo>
                    <a:pt x="225" y="114"/>
                    <a:pt x="225" y="111"/>
                    <a:pt x="225" y="111"/>
                  </a:cubicBezTo>
                  <a:cubicBezTo>
                    <a:pt x="225" y="111"/>
                    <a:pt x="227" y="110"/>
                    <a:pt x="227" y="109"/>
                  </a:cubicBezTo>
                  <a:cubicBezTo>
                    <a:pt x="228" y="108"/>
                    <a:pt x="227" y="106"/>
                    <a:pt x="227" y="106"/>
                  </a:cubicBezTo>
                  <a:cubicBezTo>
                    <a:pt x="226" y="106"/>
                    <a:pt x="224" y="107"/>
                    <a:pt x="224" y="107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6" y="107"/>
                    <a:pt x="216" y="107"/>
                    <a:pt x="216" y="107"/>
                  </a:cubicBezTo>
                  <a:cubicBezTo>
                    <a:pt x="216" y="107"/>
                    <a:pt x="217" y="107"/>
                    <a:pt x="217" y="106"/>
                  </a:cubicBezTo>
                  <a:cubicBezTo>
                    <a:pt x="218" y="105"/>
                    <a:pt x="218" y="104"/>
                    <a:pt x="219" y="103"/>
                  </a:cubicBezTo>
                  <a:cubicBezTo>
                    <a:pt x="220" y="102"/>
                    <a:pt x="220" y="103"/>
                    <a:pt x="221" y="101"/>
                  </a:cubicBezTo>
                  <a:cubicBezTo>
                    <a:pt x="223" y="100"/>
                    <a:pt x="225" y="98"/>
                    <a:pt x="225" y="98"/>
                  </a:cubicBezTo>
                  <a:cubicBezTo>
                    <a:pt x="225" y="95"/>
                    <a:pt x="225" y="95"/>
                    <a:pt x="225" y="95"/>
                  </a:cubicBezTo>
                  <a:cubicBezTo>
                    <a:pt x="224" y="92"/>
                    <a:pt x="224" y="92"/>
                    <a:pt x="224" y="92"/>
                  </a:cubicBezTo>
                  <a:cubicBezTo>
                    <a:pt x="224" y="92"/>
                    <a:pt x="223" y="91"/>
                    <a:pt x="222" y="91"/>
                  </a:cubicBezTo>
                  <a:cubicBezTo>
                    <a:pt x="221" y="91"/>
                    <a:pt x="222" y="93"/>
                    <a:pt x="220" y="91"/>
                  </a:cubicBezTo>
                  <a:cubicBezTo>
                    <a:pt x="219" y="90"/>
                    <a:pt x="219" y="90"/>
                    <a:pt x="218" y="88"/>
                  </a:cubicBezTo>
                  <a:cubicBezTo>
                    <a:pt x="217" y="87"/>
                    <a:pt x="217" y="85"/>
                    <a:pt x="217" y="85"/>
                  </a:cubicBezTo>
                  <a:cubicBezTo>
                    <a:pt x="217" y="85"/>
                    <a:pt x="215" y="84"/>
                    <a:pt x="216" y="84"/>
                  </a:cubicBezTo>
                  <a:cubicBezTo>
                    <a:pt x="218" y="84"/>
                    <a:pt x="219" y="85"/>
                    <a:pt x="220" y="84"/>
                  </a:cubicBezTo>
                  <a:cubicBezTo>
                    <a:pt x="221" y="83"/>
                    <a:pt x="221" y="84"/>
                    <a:pt x="221" y="83"/>
                  </a:cubicBezTo>
                  <a:cubicBezTo>
                    <a:pt x="221" y="82"/>
                    <a:pt x="222" y="79"/>
                    <a:pt x="222" y="79"/>
                  </a:cubicBezTo>
                  <a:cubicBezTo>
                    <a:pt x="222" y="78"/>
                    <a:pt x="222" y="78"/>
                    <a:pt x="224" y="77"/>
                  </a:cubicBezTo>
                  <a:cubicBezTo>
                    <a:pt x="227" y="76"/>
                    <a:pt x="226" y="76"/>
                    <a:pt x="228" y="76"/>
                  </a:cubicBezTo>
                  <a:cubicBezTo>
                    <a:pt x="229" y="75"/>
                    <a:pt x="230" y="74"/>
                    <a:pt x="229" y="74"/>
                  </a:cubicBezTo>
                  <a:cubicBezTo>
                    <a:pt x="229" y="73"/>
                    <a:pt x="227" y="73"/>
                    <a:pt x="227" y="73"/>
                  </a:cubicBezTo>
                  <a:cubicBezTo>
                    <a:pt x="226" y="72"/>
                    <a:pt x="224" y="74"/>
                    <a:pt x="224" y="74"/>
                  </a:cubicBezTo>
                  <a:cubicBezTo>
                    <a:pt x="224" y="74"/>
                    <a:pt x="222" y="75"/>
                    <a:pt x="221" y="76"/>
                  </a:cubicBezTo>
                  <a:cubicBezTo>
                    <a:pt x="220" y="77"/>
                    <a:pt x="219" y="76"/>
                    <a:pt x="218" y="76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76"/>
                    <a:pt x="215" y="75"/>
                    <a:pt x="214" y="77"/>
                  </a:cubicBezTo>
                  <a:cubicBezTo>
                    <a:pt x="214" y="79"/>
                    <a:pt x="212" y="81"/>
                    <a:pt x="212" y="81"/>
                  </a:cubicBezTo>
                  <a:cubicBezTo>
                    <a:pt x="212" y="81"/>
                    <a:pt x="211" y="82"/>
                    <a:pt x="211" y="80"/>
                  </a:cubicBezTo>
                  <a:cubicBezTo>
                    <a:pt x="211" y="79"/>
                    <a:pt x="210" y="76"/>
                    <a:pt x="210" y="76"/>
                  </a:cubicBezTo>
                  <a:cubicBezTo>
                    <a:pt x="210" y="76"/>
                    <a:pt x="210" y="76"/>
                    <a:pt x="210" y="76"/>
                  </a:cubicBezTo>
                  <a:cubicBezTo>
                    <a:pt x="209" y="76"/>
                    <a:pt x="206" y="75"/>
                    <a:pt x="206" y="75"/>
                  </a:cubicBezTo>
                  <a:cubicBezTo>
                    <a:pt x="206" y="75"/>
                    <a:pt x="207" y="75"/>
                    <a:pt x="207" y="73"/>
                  </a:cubicBezTo>
                  <a:cubicBezTo>
                    <a:pt x="206" y="72"/>
                    <a:pt x="206" y="71"/>
                    <a:pt x="206" y="71"/>
                  </a:cubicBezTo>
                  <a:cubicBezTo>
                    <a:pt x="207" y="71"/>
                    <a:pt x="208" y="71"/>
                    <a:pt x="208" y="71"/>
                  </a:cubicBezTo>
                  <a:cubicBezTo>
                    <a:pt x="209" y="71"/>
                    <a:pt x="209" y="71"/>
                    <a:pt x="209" y="69"/>
                  </a:cubicBezTo>
                  <a:cubicBezTo>
                    <a:pt x="209" y="66"/>
                    <a:pt x="208" y="65"/>
                    <a:pt x="208" y="65"/>
                  </a:cubicBezTo>
                  <a:cubicBezTo>
                    <a:pt x="208" y="65"/>
                    <a:pt x="207" y="64"/>
                    <a:pt x="207" y="64"/>
                  </a:cubicBezTo>
                  <a:cubicBezTo>
                    <a:pt x="207" y="60"/>
                    <a:pt x="207" y="60"/>
                    <a:pt x="207" y="60"/>
                  </a:cubicBezTo>
                  <a:cubicBezTo>
                    <a:pt x="207" y="60"/>
                    <a:pt x="207" y="59"/>
                    <a:pt x="206" y="58"/>
                  </a:cubicBezTo>
                  <a:cubicBezTo>
                    <a:pt x="205" y="57"/>
                    <a:pt x="205" y="56"/>
                    <a:pt x="204" y="57"/>
                  </a:cubicBezTo>
                  <a:cubicBezTo>
                    <a:pt x="204" y="57"/>
                    <a:pt x="203" y="58"/>
                    <a:pt x="202" y="58"/>
                  </a:cubicBezTo>
                  <a:cubicBezTo>
                    <a:pt x="201" y="57"/>
                    <a:pt x="199" y="56"/>
                    <a:pt x="199" y="56"/>
                  </a:cubicBezTo>
                  <a:cubicBezTo>
                    <a:pt x="195" y="54"/>
                    <a:pt x="195" y="54"/>
                    <a:pt x="195" y="54"/>
                  </a:cubicBezTo>
                  <a:cubicBezTo>
                    <a:pt x="195" y="54"/>
                    <a:pt x="195" y="54"/>
                    <a:pt x="194" y="55"/>
                  </a:cubicBezTo>
                  <a:cubicBezTo>
                    <a:pt x="194" y="56"/>
                    <a:pt x="193" y="55"/>
                    <a:pt x="193" y="57"/>
                  </a:cubicBezTo>
                  <a:cubicBezTo>
                    <a:pt x="194" y="58"/>
                    <a:pt x="194" y="59"/>
                    <a:pt x="194" y="60"/>
                  </a:cubicBezTo>
                  <a:cubicBezTo>
                    <a:pt x="193" y="61"/>
                    <a:pt x="193" y="62"/>
                    <a:pt x="193" y="64"/>
                  </a:cubicBezTo>
                  <a:cubicBezTo>
                    <a:pt x="192" y="65"/>
                    <a:pt x="191" y="65"/>
                    <a:pt x="191" y="66"/>
                  </a:cubicBezTo>
                  <a:cubicBezTo>
                    <a:pt x="191" y="67"/>
                    <a:pt x="192" y="67"/>
                    <a:pt x="192" y="68"/>
                  </a:cubicBezTo>
                  <a:cubicBezTo>
                    <a:pt x="192" y="68"/>
                    <a:pt x="191" y="70"/>
                    <a:pt x="190" y="70"/>
                  </a:cubicBezTo>
                  <a:cubicBezTo>
                    <a:pt x="190" y="71"/>
                    <a:pt x="189" y="72"/>
                    <a:pt x="188" y="72"/>
                  </a:cubicBezTo>
                  <a:cubicBezTo>
                    <a:pt x="188" y="71"/>
                    <a:pt x="187" y="71"/>
                    <a:pt x="186" y="71"/>
                  </a:cubicBezTo>
                  <a:cubicBezTo>
                    <a:pt x="185" y="71"/>
                    <a:pt x="184" y="72"/>
                    <a:pt x="184" y="72"/>
                  </a:cubicBezTo>
                  <a:cubicBezTo>
                    <a:pt x="184" y="72"/>
                    <a:pt x="183" y="73"/>
                    <a:pt x="182" y="72"/>
                  </a:cubicBezTo>
                  <a:cubicBezTo>
                    <a:pt x="180" y="71"/>
                    <a:pt x="179" y="70"/>
                    <a:pt x="179" y="70"/>
                  </a:cubicBezTo>
                  <a:cubicBezTo>
                    <a:pt x="179" y="68"/>
                    <a:pt x="179" y="68"/>
                    <a:pt x="179" y="68"/>
                  </a:cubicBezTo>
                  <a:cubicBezTo>
                    <a:pt x="179" y="68"/>
                    <a:pt x="183" y="69"/>
                    <a:pt x="178" y="66"/>
                  </a:cubicBezTo>
                  <a:cubicBezTo>
                    <a:pt x="174" y="64"/>
                    <a:pt x="174" y="64"/>
                    <a:pt x="174" y="64"/>
                  </a:cubicBezTo>
                  <a:cubicBezTo>
                    <a:pt x="174" y="64"/>
                    <a:pt x="174" y="65"/>
                    <a:pt x="173" y="66"/>
                  </a:cubicBezTo>
                  <a:cubicBezTo>
                    <a:pt x="172" y="66"/>
                    <a:pt x="172" y="67"/>
                    <a:pt x="172" y="67"/>
                  </a:cubicBezTo>
                  <a:cubicBezTo>
                    <a:pt x="171" y="69"/>
                    <a:pt x="171" y="69"/>
                    <a:pt x="171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8" y="72"/>
                    <a:pt x="168" y="72"/>
                    <a:pt x="168" y="72"/>
                  </a:cubicBezTo>
                  <a:cubicBezTo>
                    <a:pt x="168" y="72"/>
                    <a:pt x="167" y="73"/>
                    <a:pt x="166" y="73"/>
                  </a:cubicBezTo>
                  <a:cubicBezTo>
                    <a:pt x="166" y="73"/>
                    <a:pt x="165" y="73"/>
                    <a:pt x="165" y="73"/>
                  </a:cubicBezTo>
                  <a:cubicBezTo>
                    <a:pt x="164" y="73"/>
                    <a:pt x="163" y="73"/>
                    <a:pt x="163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2" y="70"/>
                    <a:pt x="162" y="68"/>
                    <a:pt x="161" y="67"/>
                  </a:cubicBezTo>
                  <a:cubicBezTo>
                    <a:pt x="161" y="66"/>
                    <a:pt x="161" y="66"/>
                    <a:pt x="160" y="64"/>
                  </a:cubicBezTo>
                  <a:cubicBezTo>
                    <a:pt x="159" y="63"/>
                    <a:pt x="158" y="61"/>
                    <a:pt x="158" y="61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3" y="58"/>
                    <a:pt x="154" y="57"/>
                    <a:pt x="152" y="57"/>
                  </a:cubicBezTo>
                  <a:cubicBezTo>
                    <a:pt x="151" y="58"/>
                    <a:pt x="149" y="60"/>
                    <a:pt x="149" y="60"/>
                  </a:cubicBezTo>
                  <a:cubicBezTo>
                    <a:pt x="149" y="60"/>
                    <a:pt x="149" y="62"/>
                    <a:pt x="149" y="63"/>
                  </a:cubicBezTo>
                  <a:cubicBezTo>
                    <a:pt x="149" y="63"/>
                    <a:pt x="148" y="64"/>
                    <a:pt x="148" y="65"/>
                  </a:cubicBezTo>
                  <a:cubicBezTo>
                    <a:pt x="149" y="67"/>
                    <a:pt x="150" y="69"/>
                    <a:pt x="149" y="70"/>
                  </a:cubicBezTo>
                  <a:cubicBezTo>
                    <a:pt x="149" y="70"/>
                    <a:pt x="148" y="72"/>
                    <a:pt x="148" y="74"/>
                  </a:cubicBezTo>
                  <a:cubicBezTo>
                    <a:pt x="148" y="76"/>
                    <a:pt x="149" y="78"/>
                    <a:pt x="148" y="78"/>
                  </a:cubicBezTo>
                  <a:cubicBezTo>
                    <a:pt x="147" y="79"/>
                    <a:pt x="147" y="80"/>
                    <a:pt x="147" y="80"/>
                  </a:cubicBezTo>
                  <a:cubicBezTo>
                    <a:pt x="146" y="80"/>
                    <a:pt x="146" y="80"/>
                    <a:pt x="146" y="80"/>
                  </a:cubicBezTo>
                  <a:cubicBezTo>
                    <a:pt x="146" y="80"/>
                    <a:pt x="146" y="79"/>
                    <a:pt x="147" y="76"/>
                  </a:cubicBezTo>
                  <a:cubicBezTo>
                    <a:pt x="147" y="73"/>
                    <a:pt x="146" y="72"/>
                    <a:pt x="146" y="71"/>
                  </a:cubicBezTo>
                  <a:cubicBezTo>
                    <a:pt x="145" y="71"/>
                    <a:pt x="145" y="71"/>
                    <a:pt x="145" y="70"/>
                  </a:cubicBezTo>
                  <a:cubicBezTo>
                    <a:pt x="145" y="69"/>
                    <a:pt x="145" y="68"/>
                    <a:pt x="145" y="68"/>
                  </a:cubicBezTo>
                  <a:cubicBezTo>
                    <a:pt x="145" y="68"/>
                    <a:pt x="143" y="66"/>
                    <a:pt x="143" y="65"/>
                  </a:cubicBezTo>
                  <a:cubicBezTo>
                    <a:pt x="143" y="64"/>
                    <a:pt x="144" y="63"/>
                    <a:pt x="144" y="61"/>
                  </a:cubicBezTo>
                  <a:cubicBezTo>
                    <a:pt x="144" y="58"/>
                    <a:pt x="145" y="58"/>
                    <a:pt x="144" y="57"/>
                  </a:cubicBezTo>
                  <a:cubicBezTo>
                    <a:pt x="143" y="56"/>
                    <a:pt x="144" y="55"/>
                    <a:pt x="143" y="54"/>
                  </a:cubicBezTo>
                  <a:cubicBezTo>
                    <a:pt x="142" y="54"/>
                    <a:pt x="142" y="55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3" y="49"/>
                    <a:pt x="142" y="51"/>
                  </a:cubicBezTo>
                  <a:cubicBezTo>
                    <a:pt x="141" y="52"/>
                    <a:pt x="138" y="53"/>
                    <a:pt x="138" y="52"/>
                  </a:cubicBezTo>
                  <a:cubicBezTo>
                    <a:pt x="139" y="51"/>
                    <a:pt x="138" y="50"/>
                    <a:pt x="138" y="50"/>
                  </a:cubicBezTo>
                  <a:cubicBezTo>
                    <a:pt x="138" y="50"/>
                    <a:pt x="134" y="50"/>
                    <a:pt x="134" y="50"/>
                  </a:cubicBezTo>
                  <a:cubicBezTo>
                    <a:pt x="134" y="50"/>
                    <a:pt x="134" y="49"/>
                    <a:pt x="134" y="51"/>
                  </a:cubicBezTo>
                  <a:cubicBezTo>
                    <a:pt x="134" y="52"/>
                    <a:pt x="135" y="54"/>
                    <a:pt x="133" y="54"/>
                  </a:cubicBezTo>
                  <a:cubicBezTo>
                    <a:pt x="131" y="55"/>
                    <a:pt x="130" y="55"/>
                    <a:pt x="130" y="55"/>
                  </a:cubicBezTo>
                  <a:cubicBezTo>
                    <a:pt x="130" y="54"/>
                    <a:pt x="128" y="53"/>
                    <a:pt x="128" y="53"/>
                  </a:cubicBezTo>
                  <a:cubicBezTo>
                    <a:pt x="128" y="53"/>
                    <a:pt x="127" y="53"/>
                    <a:pt x="126" y="53"/>
                  </a:cubicBezTo>
                  <a:cubicBezTo>
                    <a:pt x="126" y="54"/>
                    <a:pt x="124" y="54"/>
                    <a:pt x="124" y="54"/>
                  </a:cubicBezTo>
                  <a:cubicBezTo>
                    <a:pt x="124" y="56"/>
                    <a:pt x="124" y="56"/>
                    <a:pt x="124" y="56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3" y="57"/>
                    <a:pt x="123" y="57"/>
                  </a:cubicBezTo>
                  <a:cubicBezTo>
                    <a:pt x="122" y="58"/>
                    <a:pt x="121" y="58"/>
                    <a:pt x="122" y="59"/>
                  </a:cubicBezTo>
                  <a:cubicBezTo>
                    <a:pt x="122" y="59"/>
                    <a:pt x="122" y="59"/>
                    <a:pt x="122" y="61"/>
                  </a:cubicBezTo>
                  <a:cubicBezTo>
                    <a:pt x="122" y="62"/>
                    <a:pt x="122" y="62"/>
                    <a:pt x="122" y="63"/>
                  </a:cubicBezTo>
                  <a:cubicBezTo>
                    <a:pt x="121" y="64"/>
                    <a:pt x="121" y="65"/>
                    <a:pt x="120" y="66"/>
                  </a:cubicBezTo>
                  <a:cubicBezTo>
                    <a:pt x="120" y="66"/>
                    <a:pt x="119" y="67"/>
                    <a:pt x="119" y="67"/>
                  </a:cubicBezTo>
                  <a:cubicBezTo>
                    <a:pt x="118" y="68"/>
                    <a:pt x="118" y="68"/>
                    <a:pt x="117" y="68"/>
                  </a:cubicBezTo>
                  <a:cubicBezTo>
                    <a:pt x="116" y="68"/>
                    <a:pt x="116" y="69"/>
                    <a:pt x="116" y="68"/>
                  </a:cubicBezTo>
                  <a:cubicBezTo>
                    <a:pt x="116" y="66"/>
                    <a:pt x="116" y="65"/>
                    <a:pt x="116" y="63"/>
                  </a:cubicBezTo>
                  <a:cubicBezTo>
                    <a:pt x="116" y="62"/>
                    <a:pt x="117" y="62"/>
                    <a:pt x="115" y="60"/>
                  </a:cubicBezTo>
                  <a:cubicBezTo>
                    <a:pt x="114" y="58"/>
                    <a:pt x="113" y="58"/>
                    <a:pt x="113" y="57"/>
                  </a:cubicBezTo>
                  <a:cubicBezTo>
                    <a:pt x="113" y="57"/>
                    <a:pt x="113" y="56"/>
                    <a:pt x="113" y="55"/>
                  </a:cubicBezTo>
                  <a:cubicBezTo>
                    <a:pt x="113" y="54"/>
                    <a:pt x="113" y="56"/>
                    <a:pt x="113" y="52"/>
                  </a:cubicBezTo>
                  <a:cubicBezTo>
                    <a:pt x="114" y="49"/>
                    <a:pt x="113" y="48"/>
                    <a:pt x="113" y="48"/>
                  </a:cubicBezTo>
                  <a:cubicBezTo>
                    <a:pt x="113" y="48"/>
                    <a:pt x="114" y="43"/>
                    <a:pt x="114" y="43"/>
                  </a:cubicBezTo>
                  <a:cubicBezTo>
                    <a:pt x="113" y="43"/>
                    <a:pt x="110" y="43"/>
                    <a:pt x="109" y="43"/>
                  </a:cubicBezTo>
                  <a:cubicBezTo>
                    <a:pt x="108" y="43"/>
                    <a:pt x="108" y="43"/>
                    <a:pt x="107" y="43"/>
                  </a:cubicBezTo>
                  <a:cubicBezTo>
                    <a:pt x="107" y="44"/>
                    <a:pt x="106" y="43"/>
                    <a:pt x="106" y="45"/>
                  </a:cubicBezTo>
                  <a:cubicBezTo>
                    <a:pt x="105" y="47"/>
                    <a:pt x="104" y="47"/>
                    <a:pt x="104" y="49"/>
                  </a:cubicBezTo>
                  <a:cubicBezTo>
                    <a:pt x="104" y="50"/>
                    <a:pt x="104" y="52"/>
                    <a:pt x="104" y="52"/>
                  </a:cubicBezTo>
                  <a:cubicBezTo>
                    <a:pt x="104" y="53"/>
                    <a:pt x="103" y="54"/>
                    <a:pt x="103" y="54"/>
                  </a:cubicBezTo>
                  <a:cubicBezTo>
                    <a:pt x="103" y="54"/>
                    <a:pt x="103" y="55"/>
                    <a:pt x="103" y="57"/>
                  </a:cubicBezTo>
                  <a:cubicBezTo>
                    <a:pt x="102" y="59"/>
                    <a:pt x="102" y="60"/>
                    <a:pt x="102" y="61"/>
                  </a:cubicBezTo>
                  <a:cubicBezTo>
                    <a:pt x="102" y="61"/>
                    <a:pt x="102" y="61"/>
                    <a:pt x="101" y="62"/>
                  </a:cubicBezTo>
                  <a:cubicBezTo>
                    <a:pt x="100" y="63"/>
                    <a:pt x="98" y="66"/>
                    <a:pt x="97" y="66"/>
                  </a:cubicBezTo>
                  <a:cubicBezTo>
                    <a:pt x="97" y="66"/>
                    <a:pt x="97" y="66"/>
                    <a:pt x="96" y="67"/>
                  </a:cubicBezTo>
                  <a:cubicBezTo>
                    <a:pt x="96" y="67"/>
                    <a:pt x="94" y="70"/>
                    <a:pt x="93" y="70"/>
                  </a:cubicBezTo>
                  <a:cubicBezTo>
                    <a:pt x="92" y="71"/>
                    <a:pt x="93" y="71"/>
                    <a:pt x="92" y="71"/>
                  </a:cubicBezTo>
                  <a:cubicBezTo>
                    <a:pt x="92" y="70"/>
                    <a:pt x="91" y="70"/>
                    <a:pt x="91" y="69"/>
                  </a:cubicBezTo>
                  <a:cubicBezTo>
                    <a:pt x="91" y="67"/>
                    <a:pt x="91" y="67"/>
                    <a:pt x="92" y="65"/>
                  </a:cubicBezTo>
                  <a:cubicBezTo>
                    <a:pt x="92" y="64"/>
                    <a:pt x="93" y="62"/>
                    <a:pt x="93" y="62"/>
                  </a:cubicBezTo>
                  <a:cubicBezTo>
                    <a:pt x="93" y="62"/>
                    <a:pt x="94" y="61"/>
                    <a:pt x="93" y="61"/>
                  </a:cubicBezTo>
                  <a:cubicBezTo>
                    <a:pt x="92" y="61"/>
                    <a:pt x="91" y="61"/>
                    <a:pt x="90" y="61"/>
                  </a:cubicBezTo>
                  <a:cubicBezTo>
                    <a:pt x="88" y="61"/>
                    <a:pt x="86" y="62"/>
                    <a:pt x="85" y="63"/>
                  </a:cubicBezTo>
                  <a:cubicBezTo>
                    <a:pt x="84" y="63"/>
                    <a:pt x="84" y="64"/>
                    <a:pt x="82" y="66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70"/>
                    <a:pt x="79" y="68"/>
                    <a:pt x="79" y="68"/>
                  </a:cubicBezTo>
                  <a:cubicBezTo>
                    <a:pt x="79" y="68"/>
                    <a:pt x="78" y="68"/>
                    <a:pt x="78" y="69"/>
                  </a:cubicBezTo>
                  <a:cubicBezTo>
                    <a:pt x="78" y="69"/>
                    <a:pt x="77" y="70"/>
                    <a:pt x="77" y="70"/>
                  </a:cubicBezTo>
                  <a:cubicBezTo>
                    <a:pt x="76" y="71"/>
                    <a:pt x="76" y="72"/>
                    <a:pt x="76" y="73"/>
                  </a:cubicBezTo>
                  <a:cubicBezTo>
                    <a:pt x="75" y="74"/>
                    <a:pt x="75" y="76"/>
                    <a:pt x="74" y="76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3" y="77"/>
                    <a:pt x="72" y="78"/>
                    <a:pt x="72" y="78"/>
                  </a:cubicBezTo>
                  <a:cubicBezTo>
                    <a:pt x="72" y="79"/>
                    <a:pt x="71" y="77"/>
                    <a:pt x="71" y="75"/>
                  </a:cubicBezTo>
                  <a:cubicBezTo>
                    <a:pt x="72" y="74"/>
                    <a:pt x="72" y="74"/>
                    <a:pt x="72" y="73"/>
                  </a:cubicBezTo>
                  <a:cubicBezTo>
                    <a:pt x="73" y="73"/>
                    <a:pt x="73" y="71"/>
                    <a:pt x="74" y="71"/>
                  </a:cubicBezTo>
                  <a:cubicBezTo>
                    <a:pt x="74" y="71"/>
                    <a:pt x="74" y="72"/>
                    <a:pt x="74" y="70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7"/>
                    <a:pt x="75" y="67"/>
                    <a:pt x="75" y="66"/>
                  </a:cubicBezTo>
                  <a:cubicBezTo>
                    <a:pt x="74" y="65"/>
                    <a:pt x="74" y="66"/>
                    <a:pt x="74" y="65"/>
                  </a:cubicBezTo>
                  <a:cubicBezTo>
                    <a:pt x="75" y="64"/>
                    <a:pt x="75" y="63"/>
                    <a:pt x="75" y="62"/>
                  </a:cubicBezTo>
                  <a:cubicBezTo>
                    <a:pt x="76" y="62"/>
                    <a:pt x="76" y="61"/>
                    <a:pt x="76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8"/>
                    <a:pt x="75" y="58"/>
                  </a:cubicBezTo>
                  <a:cubicBezTo>
                    <a:pt x="75" y="58"/>
                    <a:pt x="76" y="57"/>
                    <a:pt x="76" y="56"/>
                  </a:cubicBezTo>
                  <a:cubicBezTo>
                    <a:pt x="75" y="56"/>
                    <a:pt x="75" y="55"/>
                    <a:pt x="74" y="54"/>
                  </a:cubicBezTo>
                  <a:cubicBezTo>
                    <a:pt x="73" y="54"/>
                    <a:pt x="73" y="54"/>
                    <a:pt x="73" y="53"/>
                  </a:cubicBezTo>
                  <a:cubicBezTo>
                    <a:pt x="73" y="53"/>
                    <a:pt x="71" y="52"/>
                    <a:pt x="71" y="52"/>
                  </a:cubicBezTo>
                  <a:cubicBezTo>
                    <a:pt x="71" y="52"/>
                    <a:pt x="72" y="50"/>
                    <a:pt x="72" y="50"/>
                  </a:cubicBezTo>
                  <a:cubicBezTo>
                    <a:pt x="72" y="50"/>
                    <a:pt x="72" y="49"/>
                    <a:pt x="73" y="49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3" y="52"/>
                    <a:pt x="76" y="53"/>
                    <a:pt x="76" y="53"/>
                  </a:cubicBezTo>
                  <a:cubicBezTo>
                    <a:pt x="76" y="53"/>
                    <a:pt x="78" y="52"/>
                    <a:pt x="78" y="52"/>
                  </a:cubicBezTo>
                  <a:cubicBezTo>
                    <a:pt x="79" y="52"/>
                    <a:pt x="79" y="50"/>
                    <a:pt x="79" y="50"/>
                  </a:cubicBezTo>
                  <a:cubicBezTo>
                    <a:pt x="79" y="50"/>
                    <a:pt x="78" y="50"/>
                    <a:pt x="79" y="49"/>
                  </a:cubicBezTo>
                  <a:cubicBezTo>
                    <a:pt x="80" y="49"/>
                    <a:pt x="82" y="48"/>
                    <a:pt x="82" y="48"/>
                  </a:cubicBezTo>
                  <a:cubicBezTo>
                    <a:pt x="82" y="47"/>
                    <a:pt x="83" y="47"/>
                    <a:pt x="83" y="47"/>
                  </a:cubicBezTo>
                  <a:cubicBezTo>
                    <a:pt x="83" y="47"/>
                    <a:pt x="84" y="46"/>
                    <a:pt x="84" y="46"/>
                  </a:cubicBezTo>
                  <a:cubicBezTo>
                    <a:pt x="84" y="45"/>
                    <a:pt x="85" y="45"/>
                    <a:pt x="84" y="44"/>
                  </a:cubicBezTo>
                  <a:cubicBezTo>
                    <a:pt x="84" y="44"/>
                    <a:pt x="84" y="43"/>
                    <a:pt x="84" y="42"/>
                  </a:cubicBezTo>
                  <a:cubicBezTo>
                    <a:pt x="84" y="42"/>
                    <a:pt x="86" y="43"/>
                    <a:pt x="84" y="41"/>
                  </a:cubicBezTo>
                  <a:cubicBezTo>
                    <a:pt x="82" y="40"/>
                    <a:pt x="80" y="39"/>
                    <a:pt x="81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4" y="39"/>
                    <a:pt x="85" y="40"/>
                    <a:pt x="85" y="39"/>
                  </a:cubicBezTo>
                  <a:cubicBezTo>
                    <a:pt x="86" y="39"/>
                    <a:pt x="86" y="39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4" y="36"/>
                    <a:pt x="84" y="36"/>
                    <a:pt x="83" y="36"/>
                  </a:cubicBezTo>
                  <a:cubicBezTo>
                    <a:pt x="83" y="36"/>
                    <a:pt x="82" y="37"/>
                    <a:pt x="83" y="35"/>
                  </a:cubicBezTo>
                  <a:cubicBezTo>
                    <a:pt x="83" y="33"/>
                    <a:pt x="83" y="33"/>
                    <a:pt x="83" y="32"/>
                  </a:cubicBezTo>
                  <a:cubicBezTo>
                    <a:pt x="83" y="32"/>
                    <a:pt x="85" y="32"/>
                    <a:pt x="83" y="32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1" y="31"/>
                    <a:pt x="82" y="31"/>
                    <a:pt x="80" y="31"/>
                  </a:cubicBezTo>
                  <a:cubicBezTo>
                    <a:pt x="79" y="31"/>
                    <a:pt x="80" y="29"/>
                    <a:pt x="80" y="29"/>
                  </a:cubicBezTo>
                  <a:cubicBezTo>
                    <a:pt x="80" y="28"/>
                    <a:pt x="81" y="24"/>
                    <a:pt x="81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1"/>
                    <a:pt x="79" y="21"/>
                  </a:cubicBezTo>
                  <a:cubicBezTo>
                    <a:pt x="79" y="20"/>
                    <a:pt x="79" y="19"/>
                    <a:pt x="78" y="19"/>
                  </a:cubicBezTo>
                  <a:cubicBezTo>
                    <a:pt x="78" y="19"/>
                    <a:pt x="77" y="18"/>
                    <a:pt x="77" y="18"/>
                  </a:cubicBezTo>
                  <a:cubicBezTo>
                    <a:pt x="77" y="18"/>
                    <a:pt x="76" y="18"/>
                    <a:pt x="76" y="17"/>
                  </a:cubicBezTo>
                  <a:cubicBezTo>
                    <a:pt x="76" y="16"/>
                    <a:pt x="76" y="15"/>
                    <a:pt x="76" y="15"/>
                  </a:cubicBezTo>
                  <a:cubicBezTo>
                    <a:pt x="76" y="14"/>
                    <a:pt x="76" y="13"/>
                    <a:pt x="76" y="13"/>
                  </a:cubicBezTo>
                  <a:cubicBezTo>
                    <a:pt x="74" y="8"/>
                    <a:pt x="74" y="8"/>
                    <a:pt x="74" y="8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1" y="3"/>
                    <a:pt x="71" y="4"/>
                  </a:cubicBezTo>
                  <a:cubicBezTo>
                    <a:pt x="71" y="4"/>
                    <a:pt x="71" y="5"/>
                    <a:pt x="70" y="5"/>
                  </a:cubicBezTo>
                  <a:cubicBezTo>
                    <a:pt x="69" y="5"/>
                    <a:pt x="68" y="4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7" y="2"/>
                    <a:pt x="64" y="0"/>
                    <a:pt x="64" y="0"/>
                  </a:cubicBezTo>
                  <a:cubicBezTo>
                    <a:pt x="64" y="0"/>
                    <a:pt x="64" y="0"/>
                    <a:pt x="64" y="1"/>
                  </a:cubicBezTo>
                  <a:cubicBezTo>
                    <a:pt x="64" y="1"/>
                    <a:pt x="63" y="2"/>
                    <a:pt x="63" y="1"/>
                  </a:cubicBezTo>
                  <a:cubicBezTo>
                    <a:pt x="62" y="1"/>
                    <a:pt x="60" y="0"/>
                    <a:pt x="60" y="0"/>
                  </a:cubicBezTo>
                  <a:cubicBezTo>
                    <a:pt x="60" y="0"/>
                    <a:pt x="60" y="1"/>
                    <a:pt x="60" y="1"/>
                  </a:cubicBezTo>
                  <a:cubicBezTo>
                    <a:pt x="60" y="2"/>
                    <a:pt x="61" y="3"/>
                    <a:pt x="61" y="3"/>
                  </a:cubicBezTo>
                  <a:cubicBezTo>
                    <a:pt x="60" y="3"/>
                    <a:pt x="59" y="3"/>
                    <a:pt x="59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2"/>
                    <a:pt x="57" y="2"/>
                    <a:pt x="57" y="2"/>
                  </a:cubicBezTo>
                  <a:cubicBezTo>
                    <a:pt x="57" y="3"/>
                    <a:pt x="56" y="3"/>
                    <a:pt x="56" y="5"/>
                  </a:cubicBezTo>
                  <a:cubicBezTo>
                    <a:pt x="57" y="6"/>
                    <a:pt x="56" y="6"/>
                    <a:pt x="57" y="7"/>
                  </a:cubicBezTo>
                  <a:cubicBezTo>
                    <a:pt x="58" y="7"/>
                    <a:pt x="58" y="7"/>
                    <a:pt x="59" y="8"/>
                  </a:cubicBezTo>
                  <a:cubicBezTo>
                    <a:pt x="60" y="8"/>
                    <a:pt x="60" y="8"/>
                    <a:pt x="61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3" y="8"/>
                    <a:pt x="64" y="7"/>
                    <a:pt x="64" y="7"/>
                  </a:cubicBezTo>
                  <a:cubicBezTo>
                    <a:pt x="64" y="7"/>
                    <a:pt x="64" y="8"/>
                    <a:pt x="64" y="8"/>
                  </a:cubicBezTo>
                  <a:cubicBezTo>
                    <a:pt x="64" y="8"/>
                    <a:pt x="63" y="8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1"/>
                    <a:pt x="65" y="11"/>
                  </a:cubicBezTo>
                  <a:cubicBezTo>
                    <a:pt x="65" y="12"/>
                    <a:pt x="65" y="12"/>
                    <a:pt x="66" y="12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7" y="12"/>
                    <a:pt x="69" y="14"/>
                    <a:pt x="68" y="14"/>
                  </a:cubicBezTo>
                  <a:cubicBezTo>
                    <a:pt x="68" y="14"/>
                    <a:pt x="67" y="13"/>
                    <a:pt x="68" y="14"/>
                  </a:cubicBezTo>
                  <a:cubicBezTo>
                    <a:pt x="69" y="15"/>
                    <a:pt x="70" y="15"/>
                    <a:pt x="70" y="15"/>
                  </a:cubicBezTo>
                  <a:cubicBezTo>
                    <a:pt x="70" y="15"/>
                    <a:pt x="69" y="16"/>
                    <a:pt x="67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4"/>
                    <a:pt x="65" y="14"/>
                  </a:cubicBezTo>
                  <a:cubicBezTo>
                    <a:pt x="64" y="13"/>
                    <a:pt x="64" y="12"/>
                    <a:pt x="64" y="12"/>
                  </a:cubicBezTo>
                  <a:cubicBezTo>
                    <a:pt x="64" y="12"/>
                    <a:pt x="63" y="11"/>
                    <a:pt x="62" y="11"/>
                  </a:cubicBezTo>
                  <a:cubicBezTo>
                    <a:pt x="61" y="10"/>
                    <a:pt x="60" y="11"/>
                    <a:pt x="59" y="11"/>
                  </a:cubicBezTo>
                  <a:cubicBezTo>
                    <a:pt x="59" y="11"/>
                    <a:pt x="58" y="12"/>
                    <a:pt x="57" y="12"/>
                  </a:cubicBezTo>
                  <a:cubicBezTo>
                    <a:pt x="57" y="12"/>
                    <a:pt x="57" y="13"/>
                    <a:pt x="57" y="14"/>
                  </a:cubicBezTo>
                  <a:cubicBezTo>
                    <a:pt x="58" y="15"/>
                    <a:pt x="60" y="19"/>
                    <a:pt x="60" y="19"/>
                  </a:cubicBezTo>
                  <a:cubicBezTo>
                    <a:pt x="60" y="19"/>
                    <a:pt x="62" y="21"/>
                    <a:pt x="62" y="21"/>
                  </a:cubicBezTo>
                  <a:cubicBezTo>
                    <a:pt x="62" y="21"/>
                    <a:pt x="63" y="23"/>
                    <a:pt x="63" y="23"/>
                  </a:cubicBezTo>
                  <a:cubicBezTo>
                    <a:pt x="63" y="23"/>
                    <a:pt x="63" y="23"/>
                    <a:pt x="64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5"/>
                    <a:pt x="63" y="26"/>
                    <a:pt x="63" y="27"/>
                  </a:cubicBezTo>
                  <a:cubicBezTo>
                    <a:pt x="63" y="27"/>
                    <a:pt x="63" y="26"/>
                    <a:pt x="63" y="27"/>
                  </a:cubicBezTo>
                  <a:cubicBezTo>
                    <a:pt x="63" y="29"/>
                    <a:pt x="63" y="31"/>
                    <a:pt x="63" y="31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1" y="33"/>
                    <a:pt x="61" y="33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1" y="29"/>
                    <a:pt x="60" y="29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9" y="29"/>
                    <a:pt x="58" y="31"/>
                    <a:pt x="58" y="31"/>
                  </a:cubicBezTo>
                  <a:cubicBezTo>
                    <a:pt x="58" y="31"/>
                    <a:pt x="57" y="31"/>
                    <a:pt x="58" y="30"/>
                  </a:cubicBezTo>
                  <a:cubicBezTo>
                    <a:pt x="58" y="30"/>
                    <a:pt x="58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7"/>
                    <a:pt x="60" y="27"/>
                    <a:pt x="60" y="26"/>
                  </a:cubicBezTo>
                  <a:cubicBezTo>
                    <a:pt x="60" y="25"/>
                    <a:pt x="60" y="25"/>
                    <a:pt x="60" y="24"/>
                  </a:cubicBezTo>
                  <a:cubicBezTo>
                    <a:pt x="59" y="24"/>
                    <a:pt x="59" y="23"/>
                    <a:pt x="59" y="22"/>
                  </a:cubicBezTo>
                  <a:cubicBezTo>
                    <a:pt x="58" y="22"/>
                    <a:pt x="57" y="23"/>
                    <a:pt x="57" y="23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5"/>
                    <a:pt x="56" y="25"/>
                    <a:pt x="55" y="26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5"/>
                    <a:pt x="55" y="25"/>
                  </a:cubicBezTo>
                  <a:cubicBezTo>
                    <a:pt x="55" y="25"/>
                    <a:pt x="56" y="24"/>
                    <a:pt x="55" y="24"/>
                  </a:cubicBezTo>
                  <a:cubicBezTo>
                    <a:pt x="55" y="24"/>
                    <a:pt x="55" y="24"/>
                    <a:pt x="55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6" y="22"/>
                    <a:pt x="55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4" y="22"/>
                    <a:pt x="53" y="22"/>
                    <a:pt x="53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4" y="18"/>
                    <a:pt x="54" y="18"/>
                  </a:cubicBezTo>
                  <a:cubicBezTo>
                    <a:pt x="53" y="17"/>
                    <a:pt x="53" y="16"/>
                    <a:pt x="53" y="16"/>
                  </a:cubicBezTo>
                  <a:cubicBezTo>
                    <a:pt x="53" y="16"/>
                    <a:pt x="53" y="18"/>
                    <a:pt x="53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0"/>
                    <a:pt x="50" y="10"/>
                  </a:cubicBezTo>
                  <a:cubicBezTo>
                    <a:pt x="50" y="9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6"/>
                    <a:pt x="48" y="6"/>
                  </a:cubicBezTo>
                  <a:cubicBezTo>
                    <a:pt x="47" y="6"/>
                    <a:pt x="46" y="5"/>
                    <a:pt x="46" y="6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5" y="8"/>
                    <a:pt x="43" y="8"/>
                    <a:pt x="43" y="8"/>
                  </a:cubicBezTo>
                  <a:cubicBezTo>
                    <a:pt x="43" y="8"/>
                    <a:pt x="43" y="9"/>
                    <a:pt x="43" y="9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9"/>
                    <a:pt x="41" y="10"/>
                  </a:cubicBezTo>
                  <a:cubicBezTo>
                    <a:pt x="42" y="11"/>
                    <a:pt x="42" y="12"/>
                    <a:pt x="42" y="13"/>
                  </a:cubicBezTo>
                  <a:cubicBezTo>
                    <a:pt x="42" y="13"/>
                    <a:pt x="44" y="14"/>
                    <a:pt x="43" y="14"/>
                  </a:cubicBezTo>
                  <a:cubicBezTo>
                    <a:pt x="43" y="14"/>
                    <a:pt x="41" y="14"/>
                    <a:pt x="41" y="14"/>
                  </a:cubicBezTo>
                  <a:cubicBezTo>
                    <a:pt x="41" y="14"/>
                    <a:pt x="40" y="13"/>
                    <a:pt x="40" y="12"/>
                  </a:cubicBezTo>
                  <a:cubicBezTo>
                    <a:pt x="40" y="12"/>
                    <a:pt x="39" y="11"/>
                    <a:pt x="38" y="11"/>
                  </a:cubicBezTo>
                  <a:cubicBezTo>
                    <a:pt x="38" y="11"/>
                    <a:pt x="37" y="11"/>
                    <a:pt x="36" y="12"/>
                  </a:cubicBezTo>
                  <a:cubicBezTo>
                    <a:pt x="36" y="13"/>
                    <a:pt x="36" y="12"/>
                    <a:pt x="36" y="14"/>
                  </a:cubicBezTo>
                  <a:cubicBezTo>
                    <a:pt x="36" y="16"/>
                    <a:pt x="36" y="18"/>
                    <a:pt x="36" y="18"/>
                  </a:cubicBezTo>
                  <a:cubicBezTo>
                    <a:pt x="36" y="18"/>
                    <a:pt x="37" y="19"/>
                    <a:pt x="38" y="20"/>
                  </a:cubicBezTo>
                  <a:cubicBezTo>
                    <a:pt x="38" y="20"/>
                    <a:pt x="39" y="23"/>
                    <a:pt x="39" y="23"/>
                  </a:cubicBez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5" y="23"/>
                    <a:pt x="35" y="22"/>
                  </a:cubicBezTo>
                  <a:cubicBezTo>
                    <a:pt x="35" y="21"/>
                    <a:pt x="35" y="19"/>
                    <a:pt x="34" y="19"/>
                  </a:cubicBezTo>
                  <a:cubicBezTo>
                    <a:pt x="34" y="19"/>
                    <a:pt x="34" y="18"/>
                    <a:pt x="33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20"/>
                    <a:pt x="31" y="21"/>
                    <a:pt x="31" y="21"/>
                  </a:cubicBezTo>
                  <a:cubicBezTo>
                    <a:pt x="31" y="21"/>
                    <a:pt x="31" y="22"/>
                    <a:pt x="31" y="23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3" y="27"/>
                    <a:pt x="34" y="27"/>
                    <a:pt x="34" y="28"/>
                  </a:cubicBezTo>
                  <a:cubicBezTo>
                    <a:pt x="34" y="28"/>
                    <a:pt x="35" y="29"/>
                    <a:pt x="35" y="29"/>
                  </a:cubicBezTo>
                  <a:cubicBezTo>
                    <a:pt x="35" y="29"/>
                    <a:pt x="34" y="31"/>
                    <a:pt x="34" y="31"/>
                  </a:cubicBezTo>
                  <a:cubicBezTo>
                    <a:pt x="34" y="32"/>
                    <a:pt x="33" y="33"/>
                    <a:pt x="33" y="33"/>
                  </a:cubicBezTo>
                  <a:cubicBezTo>
                    <a:pt x="33" y="33"/>
                    <a:pt x="35" y="34"/>
                    <a:pt x="35" y="34"/>
                  </a:cubicBezTo>
                  <a:cubicBezTo>
                    <a:pt x="35" y="34"/>
                    <a:pt x="36" y="35"/>
                    <a:pt x="35" y="36"/>
                  </a:cubicBezTo>
                  <a:cubicBezTo>
                    <a:pt x="34" y="36"/>
                    <a:pt x="34" y="36"/>
                    <a:pt x="33" y="36"/>
                  </a:cubicBezTo>
                  <a:cubicBezTo>
                    <a:pt x="33" y="35"/>
                    <a:pt x="32" y="36"/>
                    <a:pt x="32" y="34"/>
                  </a:cubicBezTo>
                  <a:cubicBezTo>
                    <a:pt x="33" y="33"/>
                    <a:pt x="33" y="32"/>
                    <a:pt x="33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3" y="33"/>
                    <a:pt x="30" y="28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6" y="21"/>
                    <a:pt x="26" y="21"/>
                  </a:cubicBezTo>
                  <a:cubicBezTo>
                    <a:pt x="26" y="21"/>
                    <a:pt x="24" y="21"/>
                    <a:pt x="24" y="21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3" y="23"/>
                    <a:pt x="23" y="25"/>
                    <a:pt x="23" y="25"/>
                  </a:cubicBezTo>
                  <a:cubicBezTo>
                    <a:pt x="22" y="25"/>
                    <a:pt x="22" y="27"/>
                    <a:pt x="22" y="27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9"/>
                    <a:pt x="24" y="30"/>
                    <a:pt x="24" y="30"/>
                  </a:cubicBezTo>
                  <a:cubicBezTo>
                    <a:pt x="24" y="30"/>
                    <a:pt x="23" y="29"/>
                    <a:pt x="23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2"/>
                    <a:pt x="21" y="32"/>
                  </a:cubicBezTo>
                  <a:cubicBezTo>
                    <a:pt x="21" y="32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2" y="36"/>
                    <a:pt x="23" y="37"/>
                    <a:pt x="22" y="36"/>
                  </a:cubicBezTo>
                  <a:cubicBezTo>
                    <a:pt x="21" y="35"/>
                    <a:pt x="21" y="36"/>
                    <a:pt x="20" y="3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1" y="32"/>
                    <a:pt x="19" y="31"/>
                  </a:cubicBezTo>
                  <a:cubicBezTo>
                    <a:pt x="18" y="29"/>
                    <a:pt x="18" y="28"/>
                    <a:pt x="18" y="28"/>
                  </a:cubicBezTo>
                  <a:cubicBezTo>
                    <a:pt x="18" y="28"/>
                    <a:pt x="17" y="27"/>
                    <a:pt x="16" y="27"/>
                  </a:cubicBezTo>
                  <a:cubicBezTo>
                    <a:pt x="16" y="28"/>
                    <a:pt x="16" y="28"/>
                    <a:pt x="15" y="28"/>
                  </a:cubicBezTo>
                  <a:cubicBezTo>
                    <a:pt x="14" y="29"/>
                    <a:pt x="14" y="29"/>
                    <a:pt x="13" y="29"/>
                  </a:cubicBezTo>
                  <a:cubicBezTo>
                    <a:pt x="13" y="29"/>
                    <a:pt x="11" y="29"/>
                    <a:pt x="11" y="29"/>
                  </a:cubicBezTo>
                  <a:cubicBezTo>
                    <a:pt x="11" y="29"/>
                    <a:pt x="11" y="29"/>
                    <a:pt x="9" y="30"/>
                  </a:cubicBezTo>
                  <a:cubicBezTo>
                    <a:pt x="8" y="32"/>
                    <a:pt x="7" y="32"/>
                    <a:pt x="8" y="32"/>
                  </a:cubicBezTo>
                  <a:cubicBezTo>
                    <a:pt x="9" y="33"/>
                    <a:pt x="11" y="33"/>
                    <a:pt x="11" y="33"/>
                  </a:cubicBezTo>
                  <a:cubicBezTo>
                    <a:pt x="11" y="33"/>
                    <a:pt x="12" y="33"/>
                    <a:pt x="13" y="34"/>
                  </a:cubicBezTo>
                  <a:cubicBezTo>
                    <a:pt x="14" y="34"/>
                    <a:pt x="16" y="36"/>
                    <a:pt x="16" y="36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8" y="40"/>
                    <a:pt x="18" y="41"/>
                  </a:cubicBezTo>
                  <a:cubicBezTo>
                    <a:pt x="18" y="41"/>
                    <a:pt x="18" y="42"/>
                    <a:pt x="18" y="42"/>
                  </a:cubicBezTo>
                  <a:cubicBezTo>
                    <a:pt x="18" y="42"/>
                    <a:pt x="19" y="43"/>
                    <a:pt x="20" y="44"/>
                  </a:cubicBezTo>
                  <a:cubicBezTo>
                    <a:pt x="21" y="44"/>
                    <a:pt x="21" y="44"/>
                    <a:pt x="22" y="44"/>
                  </a:cubicBezTo>
                  <a:cubicBezTo>
                    <a:pt x="23" y="44"/>
                    <a:pt x="22" y="44"/>
                    <a:pt x="23" y="44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8" y="43"/>
                    <a:pt x="27" y="44"/>
                    <a:pt x="28" y="44"/>
                  </a:cubicBezTo>
                  <a:cubicBezTo>
                    <a:pt x="28" y="43"/>
                    <a:pt x="30" y="43"/>
                    <a:pt x="30" y="43"/>
                  </a:cubicBezTo>
                  <a:cubicBezTo>
                    <a:pt x="31" y="43"/>
                    <a:pt x="31" y="42"/>
                    <a:pt x="32" y="43"/>
                  </a:cubicBezTo>
                  <a:cubicBezTo>
                    <a:pt x="32" y="44"/>
                    <a:pt x="32" y="44"/>
                    <a:pt x="32" y="45"/>
                  </a:cubicBezTo>
                  <a:cubicBezTo>
                    <a:pt x="33" y="45"/>
                    <a:pt x="34" y="46"/>
                    <a:pt x="34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ubicBezTo>
                    <a:pt x="37" y="44"/>
                    <a:pt x="38" y="43"/>
                    <a:pt x="38" y="43"/>
                  </a:cubicBezTo>
                  <a:cubicBezTo>
                    <a:pt x="38" y="43"/>
                    <a:pt x="37" y="43"/>
                    <a:pt x="38" y="44"/>
                  </a:cubicBezTo>
                  <a:cubicBezTo>
                    <a:pt x="39" y="44"/>
                    <a:pt x="39" y="44"/>
                    <a:pt x="40" y="45"/>
                  </a:cubicBezTo>
                  <a:cubicBezTo>
                    <a:pt x="40" y="45"/>
                    <a:pt x="42" y="44"/>
                    <a:pt x="42" y="44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2" y="45"/>
                    <a:pt x="43" y="45"/>
                  </a:cubicBezTo>
                  <a:cubicBezTo>
                    <a:pt x="43" y="45"/>
                    <a:pt x="42" y="45"/>
                    <a:pt x="43" y="45"/>
                  </a:cubicBezTo>
                  <a:cubicBezTo>
                    <a:pt x="44" y="45"/>
                    <a:pt x="45" y="44"/>
                    <a:pt x="45" y="44"/>
                  </a:cubicBezTo>
                  <a:cubicBezTo>
                    <a:pt x="45" y="44"/>
                    <a:pt x="44" y="45"/>
                    <a:pt x="44" y="46"/>
                  </a:cubicBezTo>
                  <a:cubicBezTo>
                    <a:pt x="44" y="46"/>
                    <a:pt x="44" y="47"/>
                    <a:pt x="44" y="47"/>
                  </a:cubicBezTo>
                  <a:cubicBezTo>
                    <a:pt x="44" y="47"/>
                    <a:pt x="44" y="48"/>
                    <a:pt x="45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7" y="49"/>
                    <a:pt x="49" y="49"/>
                    <a:pt x="49" y="49"/>
                  </a:cubicBezTo>
                  <a:cubicBezTo>
                    <a:pt x="49" y="50"/>
                    <a:pt x="49" y="49"/>
                    <a:pt x="49" y="50"/>
                  </a:cubicBezTo>
                  <a:cubicBezTo>
                    <a:pt x="49" y="50"/>
                    <a:pt x="50" y="49"/>
                    <a:pt x="50" y="49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50"/>
                    <a:pt x="51" y="51"/>
                    <a:pt x="51" y="51"/>
                  </a:cubicBezTo>
                  <a:cubicBezTo>
                    <a:pt x="51" y="51"/>
                    <a:pt x="51" y="51"/>
                    <a:pt x="51" y="52"/>
                  </a:cubicBezTo>
                  <a:cubicBezTo>
                    <a:pt x="51" y="52"/>
                    <a:pt x="53" y="52"/>
                    <a:pt x="53" y="52"/>
                  </a:cubicBezTo>
                  <a:cubicBezTo>
                    <a:pt x="53" y="52"/>
                    <a:pt x="53" y="51"/>
                    <a:pt x="54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3"/>
                    <a:pt x="53" y="52"/>
                    <a:pt x="53" y="54"/>
                  </a:cubicBezTo>
                  <a:cubicBezTo>
                    <a:pt x="52" y="55"/>
                    <a:pt x="53" y="56"/>
                    <a:pt x="53" y="56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5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7" y="57"/>
                    <a:pt x="57" y="57"/>
                    <a:pt x="58" y="57"/>
                  </a:cubicBezTo>
                  <a:cubicBezTo>
                    <a:pt x="58" y="57"/>
                    <a:pt x="59" y="58"/>
                    <a:pt x="59" y="58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9" y="59"/>
                    <a:pt x="59" y="60"/>
                    <a:pt x="59" y="60"/>
                  </a:cubicBezTo>
                  <a:cubicBezTo>
                    <a:pt x="60" y="61"/>
                    <a:pt x="61" y="61"/>
                    <a:pt x="61" y="61"/>
                  </a:cubicBezTo>
                  <a:cubicBezTo>
                    <a:pt x="61" y="61"/>
                    <a:pt x="61" y="61"/>
                    <a:pt x="61" y="62"/>
                  </a:cubicBezTo>
                  <a:cubicBezTo>
                    <a:pt x="62" y="63"/>
                    <a:pt x="64" y="64"/>
                    <a:pt x="64" y="64"/>
                  </a:cubicBezTo>
                  <a:cubicBezTo>
                    <a:pt x="64" y="64"/>
                    <a:pt x="61" y="63"/>
                    <a:pt x="61" y="63"/>
                  </a:cubicBezTo>
                  <a:cubicBezTo>
                    <a:pt x="60" y="63"/>
                    <a:pt x="58" y="63"/>
                    <a:pt x="58" y="63"/>
                  </a:cubicBezTo>
                  <a:cubicBezTo>
                    <a:pt x="57" y="63"/>
                    <a:pt x="55" y="63"/>
                    <a:pt x="55" y="63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0" y="65"/>
                    <a:pt x="49" y="65"/>
                  </a:cubicBezTo>
                  <a:cubicBezTo>
                    <a:pt x="49" y="65"/>
                    <a:pt x="48" y="65"/>
                    <a:pt x="47" y="65"/>
                  </a:cubicBezTo>
                  <a:cubicBezTo>
                    <a:pt x="47" y="66"/>
                    <a:pt x="46" y="66"/>
                    <a:pt x="45" y="66"/>
                  </a:cubicBezTo>
                  <a:cubicBezTo>
                    <a:pt x="45" y="66"/>
                    <a:pt x="43" y="66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9"/>
                    <a:pt x="43" y="70"/>
                    <a:pt x="43" y="70"/>
                  </a:cubicBezTo>
                  <a:cubicBezTo>
                    <a:pt x="43" y="70"/>
                    <a:pt x="44" y="71"/>
                    <a:pt x="45" y="72"/>
                  </a:cubicBezTo>
                  <a:cubicBezTo>
                    <a:pt x="45" y="72"/>
                    <a:pt x="46" y="73"/>
                    <a:pt x="46" y="73"/>
                  </a:cubicBezTo>
                  <a:lnTo>
                    <a:pt x="48" y="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1" name="Freeform 19"/>
            <p:cNvSpPr>
              <a:spLocks/>
            </p:cNvSpPr>
            <p:nvPr/>
          </p:nvSpPr>
          <p:spPr bwMode="auto">
            <a:xfrm>
              <a:off x="4675877" y="3800079"/>
              <a:ext cx="836488" cy="680867"/>
            </a:xfrm>
            <a:custGeom>
              <a:avLst/>
              <a:gdLst>
                <a:gd name="T0" fmla="*/ 194 w 352"/>
                <a:gd name="T1" fmla="*/ 16 h 295"/>
                <a:gd name="T2" fmla="*/ 260 w 352"/>
                <a:gd name="T3" fmla="*/ 5 h 295"/>
                <a:gd name="T4" fmla="*/ 289 w 352"/>
                <a:gd name="T5" fmla="*/ 13 h 295"/>
                <a:gd name="T6" fmla="*/ 314 w 352"/>
                <a:gd name="T7" fmla="*/ 60 h 295"/>
                <a:gd name="T8" fmla="*/ 314 w 352"/>
                <a:gd name="T9" fmla="*/ 90 h 295"/>
                <a:gd name="T10" fmla="*/ 303 w 352"/>
                <a:gd name="T11" fmla="*/ 114 h 295"/>
                <a:gd name="T12" fmla="*/ 318 w 352"/>
                <a:gd name="T13" fmla="*/ 139 h 295"/>
                <a:gd name="T14" fmla="*/ 326 w 352"/>
                <a:gd name="T15" fmla="*/ 158 h 295"/>
                <a:gd name="T16" fmla="*/ 344 w 352"/>
                <a:gd name="T17" fmla="*/ 175 h 295"/>
                <a:gd name="T18" fmla="*/ 346 w 352"/>
                <a:gd name="T19" fmla="*/ 189 h 295"/>
                <a:gd name="T20" fmla="*/ 344 w 352"/>
                <a:gd name="T21" fmla="*/ 210 h 295"/>
                <a:gd name="T22" fmla="*/ 327 w 352"/>
                <a:gd name="T23" fmla="*/ 235 h 295"/>
                <a:gd name="T24" fmla="*/ 317 w 352"/>
                <a:gd name="T25" fmla="*/ 269 h 295"/>
                <a:gd name="T26" fmla="*/ 322 w 352"/>
                <a:gd name="T27" fmla="*/ 280 h 295"/>
                <a:gd name="T28" fmla="*/ 315 w 352"/>
                <a:gd name="T29" fmla="*/ 285 h 295"/>
                <a:gd name="T30" fmla="*/ 309 w 352"/>
                <a:gd name="T31" fmla="*/ 283 h 295"/>
                <a:gd name="T32" fmla="*/ 302 w 352"/>
                <a:gd name="T33" fmla="*/ 282 h 295"/>
                <a:gd name="T34" fmla="*/ 296 w 352"/>
                <a:gd name="T35" fmla="*/ 280 h 295"/>
                <a:gd name="T36" fmla="*/ 290 w 352"/>
                <a:gd name="T37" fmla="*/ 275 h 295"/>
                <a:gd name="T38" fmla="*/ 283 w 352"/>
                <a:gd name="T39" fmla="*/ 272 h 295"/>
                <a:gd name="T40" fmla="*/ 276 w 352"/>
                <a:gd name="T41" fmla="*/ 271 h 295"/>
                <a:gd name="T42" fmla="*/ 267 w 352"/>
                <a:gd name="T43" fmla="*/ 273 h 295"/>
                <a:gd name="T44" fmla="*/ 262 w 352"/>
                <a:gd name="T45" fmla="*/ 275 h 295"/>
                <a:gd name="T46" fmla="*/ 256 w 352"/>
                <a:gd name="T47" fmla="*/ 279 h 295"/>
                <a:gd name="T48" fmla="*/ 250 w 352"/>
                <a:gd name="T49" fmla="*/ 282 h 295"/>
                <a:gd name="T50" fmla="*/ 245 w 352"/>
                <a:gd name="T51" fmla="*/ 277 h 295"/>
                <a:gd name="T52" fmla="*/ 240 w 352"/>
                <a:gd name="T53" fmla="*/ 280 h 295"/>
                <a:gd name="T54" fmla="*/ 235 w 352"/>
                <a:gd name="T55" fmla="*/ 281 h 295"/>
                <a:gd name="T56" fmla="*/ 230 w 352"/>
                <a:gd name="T57" fmla="*/ 284 h 295"/>
                <a:gd name="T58" fmla="*/ 225 w 352"/>
                <a:gd name="T59" fmla="*/ 289 h 295"/>
                <a:gd name="T60" fmla="*/ 223 w 352"/>
                <a:gd name="T61" fmla="*/ 294 h 295"/>
                <a:gd name="T62" fmla="*/ 216 w 352"/>
                <a:gd name="T63" fmla="*/ 295 h 295"/>
                <a:gd name="T64" fmla="*/ 215 w 352"/>
                <a:gd name="T65" fmla="*/ 288 h 295"/>
                <a:gd name="T66" fmla="*/ 207 w 352"/>
                <a:gd name="T67" fmla="*/ 283 h 295"/>
                <a:gd name="T68" fmla="*/ 195 w 352"/>
                <a:gd name="T69" fmla="*/ 279 h 295"/>
                <a:gd name="T70" fmla="*/ 185 w 352"/>
                <a:gd name="T71" fmla="*/ 289 h 295"/>
                <a:gd name="T72" fmla="*/ 181 w 352"/>
                <a:gd name="T73" fmla="*/ 283 h 295"/>
                <a:gd name="T74" fmla="*/ 169 w 352"/>
                <a:gd name="T75" fmla="*/ 270 h 295"/>
                <a:gd name="T76" fmla="*/ 147 w 352"/>
                <a:gd name="T77" fmla="*/ 262 h 295"/>
                <a:gd name="T78" fmla="*/ 137 w 352"/>
                <a:gd name="T79" fmla="*/ 251 h 295"/>
                <a:gd name="T80" fmla="*/ 117 w 352"/>
                <a:gd name="T81" fmla="*/ 244 h 295"/>
                <a:gd name="T82" fmla="*/ 106 w 352"/>
                <a:gd name="T83" fmla="*/ 255 h 295"/>
                <a:gd name="T84" fmla="*/ 92 w 352"/>
                <a:gd name="T85" fmla="*/ 252 h 295"/>
                <a:gd name="T86" fmla="*/ 87 w 352"/>
                <a:gd name="T87" fmla="*/ 241 h 295"/>
                <a:gd name="T88" fmla="*/ 77 w 352"/>
                <a:gd name="T89" fmla="*/ 236 h 295"/>
                <a:gd name="T90" fmla="*/ 66 w 352"/>
                <a:gd name="T91" fmla="*/ 231 h 295"/>
                <a:gd name="T92" fmla="*/ 51 w 352"/>
                <a:gd name="T93" fmla="*/ 226 h 295"/>
                <a:gd name="T94" fmla="*/ 40 w 352"/>
                <a:gd name="T95" fmla="*/ 222 h 295"/>
                <a:gd name="T96" fmla="*/ 38 w 352"/>
                <a:gd name="T97" fmla="*/ 218 h 295"/>
                <a:gd name="T98" fmla="*/ 35 w 352"/>
                <a:gd name="T99" fmla="*/ 198 h 295"/>
                <a:gd name="T100" fmla="*/ 28 w 352"/>
                <a:gd name="T101" fmla="*/ 184 h 295"/>
                <a:gd name="T102" fmla="*/ 24 w 352"/>
                <a:gd name="T103" fmla="*/ 164 h 295"/>
                <a:gd name="T104" fmla="*/ 20 w 352"/>
                <a:gd name="T105" fmla="*/ 139 h 295"/>
                <a:gd name="T106" fmla="*/ 4 w 352"/>
                <a:gd name="T107" fmla="*/ 113 h 295"/>
                <a:gd name="T108" fmla="*/ 4 w 352"/>
                <a:gd name="T109" fmla="*/ 80 h 295"/>
                <a:gd name="T110" fmla="*/ 6 w 352"/>
                <a:gd name="T111" fmla="*/ 63 h 295"/>
                <a:gd name="T112" fmla="*/ 45 w 352"/>
                <a:gd name="T113" fmla="*/ 45 h 295"/>
                <a:gd name="T114" fmla="*/ 64 w 352"/>
                <a:gd name="T115" fmla="*/ 32 h 295"/>
                <a:gd name="T116" fmla="*/ 89 w 352"/>
                <a:gd name="T117" fmla="*/ 12 h 295"/>
                <a:gd name="T118" fmla="*/ 121 w 352"/>
                <a:gd name="T119" fmla="*/ 2 h 295"/>
                <a:gd name="T120" fmla="*/ 132 w 352"/>
                <a:gd name="T121" fmla="*/ 14 h 295"/>
                <a:gd name="T122" fmla="*/ 151 w 352"/>
                <a:gd name="T123" fmla="*/ 2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2" h="295">
                  <a:moveTo>
                    <a:pt x="155" y="23"/>
                  </a:moveTo>
                  <a:cubicBezTo>
                    <a:pt x="157" y="23"/>
                    <a:pt x="166" y="16"/>
                    <a:pt x="166" y="16"/>
                  </a:cubicBezTo>
                  <a:cubicBezTo>
                    <a:pt x="166" y="16"/>
                    <a:pt x="171" y="18"/>
                    <a:pt x="174" y="17"/>
                  </a:cubicBezTo>
                  <a:cubicBezTo>
                    <a:pt x="177" y="17"/>
                    <a:pt x="187" y="16"/>
                    <a:pt x="187" y="16"/>
                  </a:cubicBezTo>
                  <a:cubicBezTo>
                    <a:pt x="187" y="16"/>
                    <a:pt x="192" y="16"/>
                    <a:pt x="194" y="16"/>
                  </a:cubicBezTo>
                  <a:cubicBezTo>
                    <a:pt x="196" y="16"/>
                    <a:pt x="205" y="15"/>
                    <a:pt x="207" y="15"/>
                  </a:cubicBezTo>
                  <a:cubicBezTo>
                    <a:pt x="209" y="15"/>
                    <a:pt x="215" y="14"/>
                    <a:pt x="216" y="13"/>
                  </a:cubicBezTo>
                  <a:cubicBezTo>
                    <a:pt x="218" y="13"/>
                    <a:pt x="230" y="12"/>
                    <a:pt x="231" y="12"/>
                  </a:cubicBezTo>
                  <a:cubicBezTo>
                    <a:pt x="233" y="12"/>
                    <a:pt x="252" y="10"/>
                    <a:pt x="252" y="10"/>
                  </a:cubicBezTo>
                  <a:cubicBezTo>
                    <a:pt x="260" y="5"/>
                    <a:pt x="260" y="5"/>
                    <a:pt x="260" y="5"/>
                  </a:cubicBezTo>
                  <a:cubicBezTo>
                    <a:pt x="269" y="3"/>
                    <a:pt x="269" y="3"/>
                    <a:pt x="269" y="3"/>
                  </a:cubicBezTo>
                  <a:cubicBezTo>
                    <a:pt x="269" y="3"/>
                    <a:pt x="272" y="0"/>
                    <a:pt x="272" y="1"/>
                  </a:cubicBezTo>
                  <a:cubicBezTo>
                    <a:pt x="273" y="3"/>
                    <a:pt x="275" y="6"/>
                    <a:pt x="275" y="6"/>
                  </a:cubicBezTo>
                  <a:cubicBezTo>
                    <a:pt x="275" y="6"/>
                    <a:pt x="286" y="6"/>
                    <a:pt x="286" y="6"/>
                  </a:cubicBezTo>
                  <a:cubicBezTo>
                    <a:pt x="286" y="7"/>
                    <a:pt x="289" y="13"/>
                    <a:pt x="289" y="13"/>
                  </a:cubicBezTo>
                  <a:cubicBezTo>
                    <a:pt x="292" y="16"/>
                    <a:pt x="292" y="16"/>
                    <a:pt x="292" y="16"/>
                  </a:cubicBezTo>
                  <a:cubicBezTo>
                    <a:pt x="292" y="16"/>
                    <a:pt x="293" y="21"/>
                    <a:pt x="293" y="24"/>
                  </a:cubicBezTo>
                  <a:cubicBezTo>
                    <a:pt x="294" y="26"/>
                    <a:pt x="301" y="38"/>
                    <a:pt x="301" y="38"/>
                  </a:cubicBezTo>
                  <a:cubicBezTo>
                    <a:pt x="306" y="49"/>
                    <a:pt x="306" y="49"/>
                    <a:pt x="306" y="49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15" y="68"/>
                    <a:pt x="315" y="68"/>
                    <a:pt x="315" y="68"/>
                  </a:cubicBezTo>
                  <a:cubicBezTo>
                    <a:pt x="315" y="68"/>
                    <a:pt x="318" y="71"/>
                    <a:pt x="318" y="73"/>
                  </a:cubicBezTo>
                  <a:cubicBezTo>
                    <a:pt x="318" y="74"/>
                    <a:pt x="318" y="77"/>
                    <a:pt x="318" y="78"/>
                  </a:cubicBezTo>
                  <a:cubicBezTo>
                    <a:pt x="319" y="78"/>
                    <a:pt x="320" y="83"/>
                    <a:pt x="319" y="83"/>
                  </a:cubicBezTo>
                  <a:cubicBezTo>
                    <a:pt x="318" y="84"/>
                    <a:pt x="314" y="90"/>
                    <a:pt x="314" y="90"/>
                  </a:cubicBezTo>
                  <a:cubicBezTo>
                    <a:pt x="310" y="92"/>
                    <a:pt x="310" y="92"/>
                    <a:pt x="310" y="92"/>
                  </a:cubicBezTo>
                  <a:cubicBezTo>
                    <a:pt x="305" y="99"/>
                    <a:pt x="305" y="99"/>
                    <a:pt x="305" y="99"/>
                  </a:cubicBezTo>
                  <a:cubicBezTo>
                    <a:pt x="302" y="108"/>
                    <a:pt x="302" y="108"/>
                    <a:pt x="302" y="108"/>
                  </a:cubicBezTo>
                  <a:cubicBezTo>
                    <a:pt x="301" y="111"/>
                    <a:pt x="301" y="111"/>
                    <a:pt x="301" y="111"/>
                  </a:cubicBezTo>
                  <a:cubicBezTo>
                    <a:pt x="301" y="111"/>
                    <a:pt x="302" y="114"/>
                    <a:pt x="303" y="114"/>
                  </a:cubicBezTo>
                  <a:cubicBezTo>
                    <a:pt x="305" y="114"/>
                    <a:pt x="312" y="115"/>
                    <a:pt x="312" y="115"/>
                  </a:cubicBezTo>
                  <a:cubicBezTo>
                    <a:pt x="318" y="119"/>
                    <a:pt x="318" y="119"/>
                    <a:pt x="318" y="119"/>
                  </a:cubicBezTo>
                  <a:cubicBezTo>
                    <a:pt x="318" y="123"/>
                    <a:pt x="318" y="123"/>
                    <a:pt x="318" y="123"/>
                  </a:cubicBezTo>
                  <a:cubicBezTo>
                    <a:pt x="318" y="123"/>
                    <a:pt x="319" y="131"/>
                    <a:pt x="319" y="132"/>
                  </a:cubicBezTo>
                  <a:cubicBezTo>
                    <a:pt x="319" y="132"/>
                    <a:pt x="318" y="139"/>
                    <a:pt x="318" y="139"/>
                  </a:cubicBezTo>
                  <a:cubicBezTo>
                    <a:pt x="318" y="139"/>
                    <a:pt x="320" y="143"/>
                    <a:pt x="320" y="144"/>
                  </a:cubicBezTo>
                  <a:cubicBezTo>
                    <a:pt x="321" y="145"/>
                    <a:pt x="323" y="147"/>
                    <a:pt x="323" y="148"/>
                  </a:cubicBezTo>
                  <a:cubicBezTo>
                    <a:pt x="324" y="148"/>
                    <a:pt x="324" y="149"/>
                    <a:pt x="324" y="149"/>
                  </a:cubicBezTo>
                  <a:cubicBezTo>
                    <a:pt x="326" y="154"/>
                    <a:pt x="326" y="154"/>
                    <a:pt x="326" y="154"/>
                  </a:cubicBezTo>
                  <a:cubicBezTo>
                    <a:pt x="326" y="158"/>
                    <a:pt x="326" y="158"/>
                    <a:pt x="326" y="158"/>
                  </a:cubicBezTo>
                  <a:cubicBezTo>
                    <a:pt x="326" y="158"/>
                    <a:pt x="326" y="161"/>
                    <a:pt x="328" y="161"/>
                  </a:cubicBezTo>
                  <a:cubicBezTo>
                    <a:pt x="330" y="161"/>
                    <a:pt x="331" y="162"/>
                    <a:pt x="331" y="164"/>
                  </a:cubicBezTo>
                  <a:cubicBezTo>
                    <a:pt x="331" y="166"/>
                    <a:pt x="336" y="168"/>
                    <a:pt x="336" y="168"/>
                  </a:cubicBezTo>
                  <a:cubicBezTo>
                    <a:pt x="336" y="168"/>
                    <a:pt x="336" y="172"/>
                    <a:pt x="337" y="173"/>
                  </a:cubicBezTo>
                  <a:cubicBezTo>
                    <a:pt x="339" y="174"/>
                    <a:pt x="341" y="175"/>
                    <a:pt x="344" y="175"/>
                  </a:cubicBezTo>
                  <a:cubicBezTo>
                    <a:pt x="347" y="176"/>
                    <a:pt x="346" y="180"/>
                    <a:pt x="348" y="181"/>
                  </a:cubicBezTo>
                  <a:cubicBezTo>
                    <a:pt x="350" y="182"/>
                    <a:pt x="352" y="184"/>
                    <a:pt x="350" y="184"/>
                  </a:cubicBezTo>
                  <a:cubicBezTo>
                    <a:pt x="349" y="185"/>
                    <a:pt x="346" y="185"/>
                    <a:pt x="346" y="185"/>
                  </a:cubicBezTo>
                  <a:cubicBezTo>
                    <a:pt x="346" y="185"/>
                    <a:pt x="345" y="186"/>
                    <a:pt x="345" y="188"/>
                  </a:cubicBezTo>
                  <a:cubicBezTo>
                    <a:pt x="346" y="189"/>
                    <a:pt x="346" y="189"/>
                    <a:pt x="346" y="189"/>
                  </a:cubicBezTo>
                  <a:cubicBezTo>
                    <a:pt x="350" y="194"/>
                    <a:pt x="350" y="194"/>
                    <a:pt x="350" y="194"/>
                  </a:cubicBezTo>
                  <a:cubicBezTo>
                    <a:pt x="350" y="200"/>
                    <a:pt x="350" y="200"/>
                    <a:pt x="350" y="200"/>
                  </a:cubicBezTo>
                  <a:cubicBezTo>
                    <a:pt x="350" y="200"/>
                    <a:pt x="350" y="202"/>
                    <a:pt x="350" y="204"/>
                  </a:cubicBezTo>
                  <a:cubicBezTo>
                    <a:pt x="350" y="205"/>
                    <a:pt x="349" y="207"/>
                    <a:pt x="347" y="207"/>
                  </a:cubicBezTo>
                  <a:cubicBezTo>
                    <a:pt x="345" y="207"/>
                    <a:pt x="345" y="210"/>
                    <a:pt x="344" y="210"/>
                  </a:cubicBezTo>
                  <a:cubicBezTo>
                    <a:pt x="343" y="211"/>
                    <a:pt x="341" y="208"/>
                    <a:pt x="340" y="211"/>
                  </a:cubicBezTo>
                  <a:cubicBezTo>
                    <a:pt x="339" y="215"/>
                    <a:pt x="337" y="218"/>
                    <a:pt x="337" y="219"/>
                  </a:cubicBezTo>
                  <a:cubicBezTo>
                    <a:pt x="336" y="220"/>
                    <a:pt x="333" y="221"/>
                    <a:pt x="333" y="223"/>
                  </a:cubicBezTo>
                  <a:cubicBezTo>
                    <a:pt x="332" y="225"/>
                    <a:pt x="332" y="223"/>
                    <a:pt x="330" y="228"/>
                  </a:cubicBezTo>
                  <a:cubicBezTo>
                    <a:pt x="328" y="233"/>
                    <a:pt x="327" y="235"/>
                    <a:pt x="327" y="235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18" y="247"/>
                    <a:pt x="313" y="255"/>
                    <a:pt x="313" y="256"/>
                  </a:cubicBezTo>
                  <a:cubicBezTo>
                    <a:pt x="313" y="257"/>
                    <a:pt x="313" y="261"/>
                    <a:pt x="313" y="261"/>
                  </a:cubicBezTo>
                  <a:cubicBezTo>
                    <a:pt x="317" y="265"/>
                    <a:pt x="317" y="265"/>
                    <a:pt x="317" y="265"/>
                  </a:cubicBezTo>
                  <a:cubicBezTo>
                    <a:pt x="317" y="269"/>
                    <a:pt x="317" y="269"/>
                    <a:pt x="317" y="269"/>
                  </a:cubicBezTo>
                  <a:cubicBezTo>
                    <a:pt x="317" y="269"/>
                    <a:pt x="317" y="272"/>
                    <a:pt x="318" y="273"/>
                  </a:cubicBezTo>
                  <a:cubicBezTo>
                    <a:pt x="319" y="273"/>
                    <a:pt x="319" y="273"/>
                    <a:pt x="319" y="273"/>
                  </a:cubicBezTo>
                  <a:cubicBezTo>
                    <a:pt x="318" y="276"/>
                    <a:pt x="318" y="276"/>
                    <a:pt x="318" y="276"/>
                  </a:cubicBezTo>
                  <a:cubicBezTo>
                    <a:pt x="318" y="276"/>
                    <a:pt x="319" y="279"/>
                    <a:pt x="320" y="279"/>
                  </a:cubicBezTo>
                  <a:cubicBezTo>
                    <a:pt x="320" y="279"/>
                    <a:pt x="322" y="280"/>
                    <a:pt x="322" y="280"/>
                  </a:cubicBezTo>
                  <a:cubicBezTo>
                    <a:pt x="322" y="280"/>
                    <a:pt x="324" y="282"/>
                    <a:pt x="324" y="282"/>
                  </a:cubicBezTo>
                  <a:cubicBezTo>
                    <a:pt x="325" y="283"/>
                    <a:pt x="324" y="285"/>
                    <a:pt x="324" y="285"/>
                  </a:cubicBezTo>
                  <a:cubicBezTo>
                    <a:pt x="324" y="285"/>
                    <a:pt x="324" y="286"/>
                    <a:pt x="323" y="286"/>
                  </a:cubicBezTo>
                  <a:cubicBezTo>
                    <a:pt x="322" y="286"/>
                    <a:pt x="322" y="286"/>
                    <a:pt x="320" y="286"/>
                  </a:cubicBezTo>
                  <a:cubicBezTo>
                    <a:pt x="319" y="285"/>
                    <a:pt x="316" y="285"/>
                    <a:pt x="315" y="285"/>
                  </a:cubicBezTo>
                  <a:cubicBezTo>
                    <a:pt x="314" y="285"/>
                    <a:pt x="314" y="285"/>
                    <a:pt x="314" y="285"/>
                  </a:cubicBezTo>
                  <a:cubicBezTo>
                    <a:pt x="313" y="285"/>
                    <a:pt x="313" y="285"/>
                    <a:pt x="312" y="286"/>
                  </a:cubicBezTo>
                  <a:cubicBezTo>
                    <a:pt x="312" y="285"/>
                    <a:pt x="312" y="285"/>
                    <a:pt x="312" y="285"/>
                  </a:cubicBezTo>
                  <a:cubicBezTo>
                    <a:pt x="312" y="284"/>
                    <a:pt x="312" y="283"/>
                    <a:pt x="312" y="283"/>
                  </a:cubicBezTo>
                  <a:cubicBezTo>
                    <a:pt x="312" y="283"/>
                    <a:pt x="309" y="283"/>
                    <a:pt x="309" y="283"/>
                  </a:cubicBezTo>
                  <a:cubicBezTo>
                    <a:pt x="308" y="283"/>
                    <a:pt x="307" y="283"/>
                    <a:pt x="307" y="283"/>
                  </a:cubicBezTo>
                  <a:cubicBezTo>
                    <a:pt x="307" y="283"/>
                    <a:pt x="305" y="282"/>
                    <a:pt x="305" y="282"/>
                  </a:cubicBezTo>
                  <a:cubicBezTo>
                    <a:pt x="305" y="282"/>
                    <a:pt x="304" y="282"/>
                    <a:pt x="304" y="282"/>
                  </a:cubicBezTo>
                  <a:cubicBezTo>
                    <a:pt x="304" y="281"/>
                    <a:pt x="303" y="282"/>
                    <a:pt x="303" y="282"/>
                  </a:cubicBezTo>
                  <a:cubicBezTo>
                    <a:pt x="302" y="282"/>
                    <a:pt x="302" y="282"/>
                    <a:pt x="302" y="282"/>
                  </a:cubicBezTo>
                  <a:cubicBezTo>
                    <a:pt x="300" y="282"/>
                    <a:pt x="300" y="282"/>
                    <a:pt x="300" y="282"/>
                  </a:cubicBezTo>
                  <a:cubicBezTo>
                    <a:pt x="300" y="282"/>
                    <a:pt x="300" y="281"/>
                    <a:pt x="300" y="281"/>
                  </a:cubicBezTo>
                  <a:cubicBezTo>
                    <a:pt x="300" y="280"/>
                    <a:pt x="299" y="281"/>
                    <a:pt x="299" y="281"/>
                  </a:cubicBezTo>
                  <a:cubicBezTo>
                    <a:pt x="299" y="281"/>
                    <a:pt x="297" y="281"/>
                    <a:pt x="297" y="281"/>
                  </a:cubicBezTo>
                  <a:cubicBezTo>
                    <a:pt x="297" y="280"/>
                    <a:pt x="296" y="280"/>
                    <a:pt x="296" y="280"/>
                  </a:cubicBezTo>
                  <a:cubicBezTo>
                    <a:pt x="296" y="280"/>
                    <a:pt x="293" y="280"/>
                    <a:pt x="292" y="280"/>
                  </a:cubicBezTo>
                  <a:cubicBezTo>
                    <a:pt x="292" y="279"/>
                    <a:pt x="292" y="279"/>
                    <a:pt x="292" y="279"/>
                  </a:cubicBezTo>
                  <a:cubicBezTo>
                    <a:pt x="292" y="279"/>
                    <a:pt x="292" y="278"/>
                    <a:pt x="292" y="277"/>
                  </a:cubicBezTo>
                  <a:cubicBezTo>
                    <a:pt x="292" y="277"/>
                    <a:pt x="291" y="277"/>
                    <a:pt x="291" y="276"/>
                  </a:cubicBezTo>
                  <a:cubicBezTo>
                    <a:pt x="291" y="276"/>
                    <a:pt x="290" y="275"/>
                    <a:pt x="290" y="275"/>
                  </a:cubicBezTo>
                  <a:cubicBezTo>
                    <a:pt x="290" y="274"/>
                    <a:pt x="289" y="274"/>
                    <a:pt x="289" y="273"/>
                  </a:cubicBezTo>
                  <a:cubicBezTo>
                    <a:pt x="289" y="273"/>
                    <a:pt x="288" y="274"/>
                    <a:pt x="288" y="274"/>
                  </a:cubicBezTo>
                  <a:cubicBezTo>
                    <a:pt x="287" y="274"/>
                    <a:pt x="286" y="273"/>
                    <a:pt x="286" y="273"/>
                  </a:cubicBezTo>
                  <a:cubicBezTo>
                    <a:pt x="285" y="272"/>
                    <a:pt x="285" y="272"/>
                    <a:pt x="285" y="272"/>
                  </a:cubicBezTo>
                  <a:cubicBezTo>
                    <a:pt x="285" y="272"/>
                    <a:pt x="284" y="272"/>
                    <a:pt x="283" y="272"/>
                  </a:cubicBezTo>
                  <a:cubicBezTo>
                    <a:pt x="283" y="272"/>
                    <a:pt x="283" y="274"/>
                    <a:pt x="283" y="274"/>
                  </a:cubicBezTo>
                  <a:cubicBezTo>
                    <a:pt x="283" y="274"/>
                    <a:pt x="282" y="274"/>
                    <a:pt x="281" y="273"/>
                  </a:cubicBezTo>
                  <a:cubicBezTo>
                    <a:pt x="281" y="273"/>
                    <a:pt x="280" y="272"/>
                    <a:pt x="279" y="272"/>
                  </a:cubicBezTo>
                  <a:cubicBezTo>
                    <a:pt x="279" y="272"/>
                    <a:pt x="278" y="272"/>
                    <a:pt x="277" y="271"/>
                  </a:cubicBezTo>
                  <a:cubicBezTo>
                    <a:pt x="277" y="271"/>
                    <a:pt x="276" y="271"/>
                    <a:pt x="276" y="271"/>
                  </a:cubicBezTo>
                  <a:cubicBezTo>
                    <a:pt x="276" y="271"/>
                    <a:pt x="272" y="272"/>
                    <a:pt x="272" y="272"/>
                  </a:cubicBezTo>
                  <a:cubicBezTo>
                    <a:pt x="272" y="272"/>
                    <a:pt x="272" y="273"/>
                    <a:pt x="271" y="273"/>
                  </a:cubicBezTo>
                  <a:cubicBezTo>
                    <a:pt x="271" y="274"/>
                    <a:pt x="270" y="273"/>
                    <a:pt x="270" y="273"/>
                  </a:cubicBezTo>
                  <a:cubicBezTo>
                    <a:pt x="270" y="273"/>
                    <a:pt x="269" y="273"/>
                    <a:pt x="268" y="273"/>
                  </a:cubicBezTo>
                  <a:cubicBezTo>
                    <a:pt x="268" y="273"/>
                    <a:pt x="267" y="273"/>
                    <a:pt x="267" y="273"/>
                  </a:cubicBezTo>
                  <a:cubicBezTo>
                    <a:pt x="267" y="273"/>
                    <a:pt x="266" y="272"/>
                    <a:pt x="265" y="272"/>
                  </a:cubicBezTo>
                  <a:cubicBezTo>
                    <a:pt x="265" y="272"/>
                    <a:pt x="264" y="272"/>
                    <a:pt x="264" y="272"/>
                  </a:cubicBezTo>
                  <a:cubicBezTo>
                    <a:pt x="264" y="272"/>
                    <a:pt x="263" y="273"/>
                    <a:pt x="263" y="273"/>
                  </a:cubicBezTo>
                  <a:cubicBezTo>
                    <a:pt x="262" y="274"/>
                    <a:pt x="262" y="274"/>
                    <a:pt x="262" y="274"/>
                  </a:cubicBezTo>
                  <a:cubicBezTo>
                    <a:pt x="262" y="275"/>
                    <a:pt x="262" y="275"/>
                    <a:pt x="262" y="275"/>
                  </a:cubicBezTo>
                  <a:cubicBezTo>
                    <a:pt x="260" y="274"/>
                    <a:pt x="260" y="274"/>
                    <a:pt x="260" y="274"/>
                  </a:cubicBezTo>
                  <a:cubicBezTo>
                    <a:pt x="260" y="274"/>
                    <a:pt x="259" y="274"/>
                    <a:pt x="258" y="274"/>
                  </a:cubicBezTo>
                  <a:cubicBezTo>
                    <a:pt x="256" y="275"/>
                    <a:pt x="257" y="276"/>
                    <a:pt x="257" y="276"/>
                  </a:cubicBezTo>
                  <a:cubicBezTo>
                    <a:pt x="258" y="276"/>
                    <a:pt x="259" y="278"/>
                    <a:pt x="259" y="278"/>
                  </a:cubicBezTo>
                  <a:cubicBezTo>
                    <a:pt x="259" y="278"/>
                    <a:pt x="256" y="279"/>
                    <a:pt x="256" y="279"/>
                  </a:cubicBezTo>
                  <a:cubicBezTo>
                    <a:pt x="255" y="280"/>
                    <a:pt x="255" y="280"/>
                    <a:pt x="255" y="281"/>
                  </a:cubicBezTo>
                  <a:cubicBezTo>
                    <a:pt x="255" y="281"/>
                    <a:pt x="254" y="282"/>
                    <a:pt x="254" y="283"/>
                  </a:cubicBezTo>
                  <a:cubicBezTo>
                    <a:pt x="254" y="283"/>
                    <a:pt x="253" y="282"/>
                    <a:pt x="252" y="282"/>
                  </a:cubicBezTo>
                  <a:cubicBezTo>
                    <a:pt x="251" y="282"/>
                    <a:pt x="251" y="281"/>
                    <a:pt x="251" y="281"/>
                  </a:cubicBezTo>
                  <a:cubicBezTo>
                    <a:pt x="250" y="282"/>
                    <a:pt x="250" y="282"/>
                    <a:pt x="250" y="282"/>
                  </a:cubicBezTo>
                  <a:cubicBezTo>
                    <a:pt x="249" y="282"/>
                    <a:pt x="249" y="282"/>
                    <a:pt x="249" y="282"/>
                  </a:cubicBezTo>
                  <a:cubicBezTo>
                    <a:pt x="249" y="282"/>
                    <a:pt x="248" y="281"/>
                    <a:pt x="248" y="280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47" y="280"/>
                    <a:pt x="246" y="280"/>
                    <a:pt x="246" y="279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45" y="277"/>
                    <a:pt x="243" y="278"/>
                    <a:pt x="243" y="279"/>
                  </a:cubicBezTo>
                  <a:cubicBezTo>
                    <a:pt x="242" y="279"/>
                    <a:pt x="243" y="279"/>
                    <a:pt x="242" y="278"/>
                  </a:cubicBezTo>
                  <a:cubicBezTo>
                    <a:pt x="241" y="278"/>
                    <a:pt x="241" y="279"/>
                    <a:pt x="241" y="279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41" y="280"/>
                    <a:pt x="240" y="280"/>
                    <a:pt x="240" y="280"/>
                  </a:cubicBezTo>
                  <a:cubicBezTo>
                    <a:pt x="240" y="281"/>
                    <a:pt x="239" y="280"/>
                    <a:pt x="239" y="280"/>
                  </a:cubicBezTo>
                  <a:cubicBezTo>
                    <a:pt x="238" y="280"/>
                    <a:pt x="237" y="280"/>
                    <a:pt x="237" y="280"/>
                  </a:cubicBezTo>
                  <a:cubicBezTo>
                    <a:pt x="237" y="280"/>
                    <a:pt x="237" y="279"/>
                    <a:pt x="237" y="279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5" y="280"/>
                    <a:pt x="235" y="281"/>
                    <a:pt x="235" y="281"/>
                  </a:cubicBezTo>
                  <a:cubicBezTo>
                    <a:pt x="235" y="281"/>
                    <a:pt x="234" y="281"/>
                    <a:pt x="233" y="282"/>
                  </a:cubicBezTo>
                  <a:cubicBezTo>
                    <a:pt x="231" y="282"/>
                    <a:pt x="232" y="281"/>
                    <a:pt x="231" y="282"/>
                  </a:cubicBezTo>
                  <a:cubicBezTo>
                    <a:pt x="231" y="282"/>
                    <a:pt x="231" y="282"/>
                    <a:pt x="231" y="283"/>
                  </a:cubicBezTo>
                  <a:cubicBezTo>
                    <a:pt x="231" y="283"/>
                    <a:pt x="232" y="283"/>
                    <a:pt x="231" y="284"/>
                  </a:cubicBezTo>
                  <a:cubicBezTo>
                    <a:pt x="230" y="285"/>
                    <a:pt x="230" y="284"/>
                    <a:pt x="230" y="284"/>
                  </a:cubicBezTo>
                  <a:cubicBezTo>
                    <a:pt x="229" y="284"/>
                    <a:pt x="228" y="285"/>
                    <a:pt x="228" y="285"/>
                  </a:cubicBezTo>
                  <a:cubicBezTo>
                    <a:pt x="228" y="285"/>
                    <a:pt x="228" y="286"/>
                    <a:pt x="228" y="286"/>
                  </a:cubicBezTo>
                  <a:cubicBezTo>
                    <a:pt x="228" y="286"/>
                    <a:pt x="227" y="286"/>
                    <a:pt x="226" y="286"/>
                  </a:cubicBezTo>
                  <a:cubicBezTo>
                    <a:pt x="225" y="286"/>
                    <a:pt x="226" y="287"/>
                    <a:pt x="226" y="287"/>
                  </a:cubicBezTo>
                  <a:cubicBezTo>
                    <a:pt x="226" y="287"/>
                    <a:pt x="226" y="288"/>
                    <a:pt x="225" y="289"/>
                  </a:cubicBezTo>
                  <a:cubicBezTo>
                    <a:pt x="225" y="289"/>
                    <a:pt x="225" y="290"/>
                    <a:pt x="225" y="291"/>
                  </a:cubicBezTo>
                  <a:cubicBezTo>
                    <a:pt x="225" y="291"/>
                    <a:pt x="225" y="291"/>
                    <a:pt x="225" y="293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5" y="294"/>
                    <a:pt x="224" y="294"/>
                    <a:pt x="224" y="294"/>
                  </a:cubicBezTo>
                  <a:cubicBezTo>
                    <a:pt x="224" y="293"/>
                    <a:pt x="223" y="294"/>
                    <a:pt x="223" y="294"/>
                  </a:cubicBezTo>
                  <a:cubicBezTo>
                    <a:pt x="223" y="294"/>
                    <a:pt x="222" y="293"/>
                    <a:pt x="222" y="292"/>
                  </a:cubicBezTo>
                  <a:cubicBezTo>
                    <a:pt x="222" y="292"/>
                    <a:pt x="221" y="292"/>
                    <a:pt x="221" y="292"/>
                  </a:cubicBezTo>
                  <a:cubicBezTo>
                    <a:pt x="221" y="292"/>
                    <a:pt x="219" y="293"/>
                    <a:pt x="219" y="293"/>
                  </a:cubicBezTo>
                  <a:cubicBezTo>
                    <a:pt x="219" y="293"/>
                    <a:pt x="219" y="294"/>
                    <a:pt x="219" y="294"/>
                  </a:cubicBezTo>
                  <a:cubicBezTo>
                    <a:pt x="218" y="294"/>
                    <a:pt x="216" y="295"/>
                    <a:pt x="216" y="295"/>
                  </a:cubicBezTo>
                  <a:cubicBezTo>
                    <a:pt x="216" y="295"/>
                    <a:pt x="215" y="295"/>
                    <a:pt x="215" y="295"/>
                  </a:cubicBezTo>
                  <a:cubicBezTo>
                    <a:pt x="214" y="294"/>
                    <a:pt x="214" y="294"/>
                    <a:pt x="214" y="294"/>
                  </a:cubicBezTo>
                  <a:cubicBezTo>
                    <a:pt x="214" y="293"/>
                    <a:pt x="214" y="293"/>
                    <a:pt x="214" y="293"/>
                  </a:cubicBezTo>
                  <a:cubicBezTo>
                    <a:pt x="216" y="291"/>
                    <a:pt x="216" y="291"/>
                    <a:pt x="216" y="291"/>
                  </a:cubicBezTo>
                  <a:cubicBezTo>
                    <a:pt x="215" y="288"/>
                    <a:pt x="215" y="288"/>
                    <a:pt x="215" y="288"/>
                  </a:cubicBezTo>
                  <a:cubicBezTo>
                    <a:pt x="213" y="286"/>
                    <a:pt x="213" y="286"/>
                    <a:pt x="213" y="286"/>
                  </a:cubicBezTo>
                  <a:cubicBezTo>
                    <a:pt x="213" y="285"/>
                    <a:pt x="213" y="285"/>
                    <a:pt x="213" y="285"/>
                  </a:cubicBezTo>
                  <a:cubicBezTo>
                    <a:pt x="210" y="285"/>
                    <a:pt x="210" y="285"/>
                    <a:pt x="210" y="285"/>
                  </a:cubicBezTo>
                  <a:cubicBezTo>
                    <a:pt x="208" y="284"/>
                    <a:pt x="208" y="284"/>
                    <a:pt x="208" y="284"/>
                  </a:cubicBezTo>
                  <a:cubicBezTo>
                    <a:pt x="207" y="283"/>
                    <a:pt x="207" y="283"/>
                    <a:pt x="207" y="283"/>
                  </a:cubicBezTo>
                  <a:cubicBezTo>
                    <a:pt x="204" y="281"/>
                    <a:pt x="204" y="281"/>
                    <a:pt x="204" y="281"/>
                  </a:cubicBezTo>
                  <a:cubicBezTo>
                    <a:pt x="202" y="275"/>
                    <a:pt x="202" y="275"/>
                    <a:pt x="202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7" y="277"/>
                    <a:pt x="197" y="278"/>
                  </a:cubicBezTo>
                  <a:cubicBezTo>
                    <a:pt x="197" y="279"/>
                    <a:pt x="195" y="279"/>
                    <a:pt x="195" y="279"/>
                  </a:cubicBezTo>
                  <a:cubicBezTo>
                    <a:pt x="193" y="282"/>
                    <a:pt x="193" y="282"/>
                    <a:pt x="193" y="282"/>
                  </a:cubicBezTo>
                  <a:cubicBezTo>
                    <a:pt x="193" y="282"/>
                    <a:pt x="193" y="286"/>
                    <a:pt x="193" y="287"/>
                  </a:cubicBezTo>
                  <a:cubicBezTo>
                    <a:pt x="193" y="288"/>
                    <a:pt x="191" y="286"/>
                    <a:pt x="191" y="286"/>
                  </a:cubicBezTo>
                  <a:cubicBezTo>
                    <a:pt x="191" y="286"/>
                    <a:pt x="189" y="287"/>
                    <a:pt x="188" y="288"/>
                  </a:cubicBezTo>
                  <a:cubicBezTo>
                    <a:pt x="187" y="289"/>
                    <a:pt x="185" y="289"/>
                    <a:pt x="185" y="289"/>
                  </a:cubicBezTo>
                  <a:cubicBezTo>
                    <a:pt x="185" y="289"/>
                    <a:pt x="184" y="287"/>
                    <a:pt x="183" y="286"/>
                  </a:cubicBezTo>
                  <a:cubicBezTo>
                    <a:pt x="183" y="286"/>
                    <a:pt x="183" y="285"/>
                    <a:pt x="183" y="283"/>
                  </a:cubicBezTo>
                  <a:cubicBezTo>
                    <a:pt x="183" y="282"/>
                    <a:pt x="181" y="284"/>
                    <a:pt x="181" y="284"/>
                  </a:cubicBezTo>
                  <a:cubicBezTo>
                    <a:pt x="181" y="284"/>
                    <a:pt x="181" y="284"/>
                    <a:pt x="181" y="284"/>
                  </a:cubicBezTo>
                  <a:cubicBezTo>
                    <a:pt x="181" y="283"/>
                    <a:pt x="181" y="283"/>
                    <a:pt x="181" y="283"/>
                  </a:cubicBezTo>
                  <a:cubicBezTo>
                    <a:pt x="180" y="281"/>
                    <a:pt x="179" y="280"/>
                    <a:pt x="179" y="280"/>
                  </a:cubicBezTo>
                  <a:cubicBezTo>
                    <a:pt x="179" y="280"/>
                    <a:pt x="178" y="278"/>
                    <a:pt x="178" y="276"/>
                  </a:cubicBezTo>
                  <a:cubicBezTo>
                    <a:pt x="178" y="275"/>
                    <a:pt x="174" y="273"/>
                    <a:pt x="174" y="273"/>
                  </a:cubicBezTo>
                  <a:cubicBezTo>
                    <a:pt x="174" y="273"/>
                    <a:pt x="175" y="275"/>
                    <a:pt x="173" y="273"/>
                  </a:cubicBezTo>
                  <a:cubicBezTo>
                    <a:pt x="171" y="270"/>
                    <a:pt x="169" y="270"/>
                    <a:pt x="169" y="270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60" y="264"/>
                    <a:pt x="160" y="264"/>
                    <a:pt x="160" y="264"/>
                  </a:cubicBezTo>
                  <a:cubicBezTo>
                    <a:pt x="160" y="264"/>
                    <a:pt x="155" y="262"/>
                    <a:pt x="154" y="261"/>
                  </a:cubicBezTo>
                  <a:cubicBezTo>
                    <a:pt x="153" y="260"/>
                    <a:pt x="150" y="259"/>
                    <a:pt x="150" y="259"/>
                  </a:cubicBezTo>
                  <a:cubicBezTo>
                    <a:pt x="147" y="262"/>
                    <a:pt x="147" y="262"/>
                    <a:pt x="147" y="262"/>
                  </a:cubicBezTo>
                  <a:cubicBezTo>
                    <a:pt x="144" y="262"/>
                    <a:pt x="144" y="262"/>
                    <a:pt x="144" y="262"/>
                  </a:cubicBezTo>
                  <a:cubicBezTo>
                    <a:pt x="144" y="262"/>
                    <a:pt x="140" y="261"/>
                    <a:pt x="139" y="260"/>
                  </a:cubicBezTo>
                  <a:cubicBezTo>
                    <a:pt x="137" y="258"/>
                    <a:pt x="138" y="257"/>
                    <a:pt x="137" y="257"/>
                  </a:cubicBezTo>
                  <a:cubicBezTo>
                    <a:pt x="135" y="257"/>
                    <a:pt x="134" y="255"/>
                    <a:pt x="134" y="255"/>
                  </a:cubicBezTo>
                  <a:cubicBezTo>
                    <a:pt x="134" y="255"/>
                    <a:pt x="136" y="252"/>
                    <a:pt x="137" y="251"/>
                  </a:cubicBezTo>
                  <a:cubicBezTo>
                    <a:pt x="137" y="250"/>
                    <a:pt x="139" y="251"/>
                    <a:pt x="138" y="248"/>
                  </a:cubicBezTo>
                  <a:cubicBezTo>
                    <a:pt x="136" y="246"/>
                    <a:pt x="135" y="245"/>
                    <a:pt x="135" y="245"/>
                  </a:cubicBezTo>
                  <a:cubicBezTo>
                    <a:pt x="135" y="245"/>
                    <a:pt x="135" y="247"/>
                    <a:pt x="133" y="248"/>
                  </a:cubicBezTo>
                  <a:cubicBezTo>
                    <a:pt x="131" y="248"/>
                    <a:pt x="128" y="249"/>
                    <a:pt x="128" y="249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7" y="244"/>
                    <a:pt x="114" y="243"/>
                    <a:pt x="113" y="243"/>
                  </a:cubicBezTo>
                  <a:cubicBezTo>
                    <a:pt x="112" y="244"/>
                    <a:pt x="108" y="243"/>
                    <a:pt x="108" y="243"/>
                  </a:cubicBezTo>
                  <a:cubicBezTo>
                    <a:pt x="110" y="247"/>
                    <a:pt x="110" y="247"/>
                    <a:pt x="110" y="247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06" y="255"/>
                    <a:pt x="106" y="255"/>
                    <a:pt x="106" y="255"/>
                  </a:cubicBezTo>
                  <a:cubicBezTo>
                    <a:pt x="105" y="260"/>
                    <a:pt x="105" y="260"/>
                    <a:pt x="105" y="260"/>
                  </a:cubicBezTo>
                  <a:cubicBezTo>
                    <a:pt x="105" y="260"/>
                    <a:pt x="99" y="264"/>
                    <a:pt x="99" y="262"/>
                  </a:cubicBezTo>
                  <a:cubicBezTo>
                    <a:pt x="98" y="261"/>
                    <a:pt x="97" y="257"/>
                    <a:pt x="97" y="257"/>
                  </a:cubicBezTo>
                  <a:cubicBezTo>
                    <a:pt x="97" y="257"/>
                    <a:pt x="96" y="255"/>
                    <a:pt x="95" y="254"/>
                  </a:cubicBezTo>
                  <a:cubicBezTo>
                    <a:pt x="93" y="253"/>
                    <a:pt x="92" y="252"/>
                    <a:pt x="92" y="252"/>
                  </a:cubicBezTo>
                  <a:cubicBezTo>
                    <a:pt x="89" y="251"/>
                    <a:pt x="89" y="251"/>
                    <a:pt x="89" y="251"/>
                  </a:cubicBezTo>
                  <a:cubicBezTo>
                    <a:pt x="89" y="251"/>
                    <a:pt x="88" y="247"/>
                    <a:pt x="87" y="247"/>
                  </a:cubicBezTo>
                  <a:cubicBezTo>
                    <a:pt x="86" y="247"/>
                    <a:pt x="85" y="247"/>
                    <a:pt x="85" y="247"/>
                  </a:cubicBezTo>
                  <a:cubicBezTo>
                    <a:pt x="85" y="244"/>
                    <a:pt x="85" y="244"/>
                    <a:pt x="85" y="244"/>
                  </a:cubicBezTo>
                  <a:cubicBezTo>
                    <a:pt x="87" y="241"/>
                    <a:pt x="87" y="241"/>
                    <a:pt x="87" y="241"/>
                  </a:cubicBezTo>
                  <a:cubicBezTo>
                    <a:pt x="87" y="241"/>
                    <a:pt x="88" y="242"/>
                    <a:pt x="88" y="238"/>
                  </a:cubicBezTo>
                  <a:cubicBezTo>
                    <a:pt x="89" y="233"/>
                    <a:pt x="86" y="233"/>
                    <a:pt x="86" y="233"/>
                  </a:cubicBezTo>
                  <a:cubicBezTo>
                    <a:pt x="83" y="234"/>
                    <a:pt x="83" y="234"/>
                    <a:pt x="83" y="234"/>
                  </a:cubicBezTo>
                  <a:cubicBezTo>
                    <a:pt x="79" y="236"/>
                    <a:pt x="79" y="236"/>
                    <a:pt x="79" y="236"/>
                  </a:cubicBezTo>
                  <a:cubicBezTo>
                    <a:pt x="77" y="236"/>
                    <a:pt x="77" y="236"/>
                    <a:pt x="77" y="236"/>
                  </a:cubicBezTo>
                  <a:cubicBezTo>
                    <a:pt x="76" y="236"/>
                    <a:pt x="74" y="233"/>
                    <a:pt x="74" y="233"/>
                  </a:cubicBezTo>
                  <a:cubicBezTo>
                    <a:pt x="74" y="233"/>
                    <a:pt x="76" y="230"/>
                    <a:pt x="73" y="233"/>
                  </a:cubicBezTo>
                  <a:cubicBezTo>
                    <a:pt x="70" y="236"/>
                    <a:pt x="68" y="232"/>
                    <a:pt x="68" y="232"/>
                  </a:cubicBezTo>
                  <a:cubicBezTo>
                    <a:pt x="67" y="231"/>
                    <a:pt x="67" y="231"/>
                    <a:pt x="67" y="231"/>
                  </a:cubicBezTo>
                  <a:cubicBezTo>
                    <a:pt x="67" y="231"/>
                    <a:pt x="67" y="231"/>
                    <a:pt x="66" y="231"/>
                  </a:cubicBezTo>
                  <a:cubicBezTo>
                    <a:pt x="65" y="232"/>
                    <a:pt x="62" y="232"/>
                    <a:pt x="62" y="231"/>
                  </a:cubicBezTo>
                  <a:cubicBezTo>
                    <a:pt x="61" y="229"/>
                    <a:pt x="59" y="228"/>
                    <a:pt x="59" y="228"/>
                  </a:cubicBezTo>
                  <a:cubicBezTo>
                    <a:pt x="56" y="229"/>
                    <a:pt x="56" y="229"/>
                    <a:pt x="56" y="229"/>
                  </a:cubicBezTo>
                  <a:cubicBezTo>
                    <a:pt x="56" y="229"/>
                    <a:pt x="54" y="229"/>
                    <a:pt x="53" y="229"/>
                  </a:cubicBezTo>
                  <a:cubicBezTo>
                    <a:pt x="53" y="228"/>
                    <a:pt x="53" y="227"/>
                    <a:pt x="51" y="226"/>
                  </a:cubicBezTo>
                  <a:cubicBezTo>
                    <a:pt x="49" y="225"/>
                    <a:pt x="48" y="222"/>
                    <a:pt x="48" y="222"/>
                  </a:cubicBezTo>
                  <a:cubicBezTo>
                    <a:pt x="48" y="222"/>
                    <a:pt x="49" y="220"/>
                    <a:pt x="47" y="220"/>
                  </a:cubicBezTo>
                  <a:cubicBezTo>
                    <a:pt x="46" y="220"/>
                    <a:pt x="44" y="219"/>
                    <a:pt x="44" y="219"/>
                  </a:cubicBezTo>
                  <a:cubicBezTo>
                    <a:pt x="44" y="219"/>
                    <a:pt x="41" y="217"/>
                    <a:pt x="41" y="218"/>
                  </a:cubicBezTo>
                  <a:cubicBezTo>
                    <a:pt x="40" y="219"/>
                    <a:pt x="40" y="221"/>
                    <a:pt x="40" y="222"/>
                  </a:cubicBezTo>
                  <a:cubicBezTo>
                    <a:pt x="40" y="222"/>
                    <a:pt x="41" y="225"/>
                    <a:pt x="41" y="225"/>
                  </a:cubicBezTo>
                  <a:cubicBezTo>
                    <a:pt x="41" y="225"/>
                    <a:pt x="37" y="227"/>
                    <a:pt x="36" y="227"/>
                  </a:cubicBezTo>
                  <a:cubicBezTo>
                    <a:pt x="35" y="227"/>
                    <a:pt x="34" y="228"/>
                    <a:pt x="34" y="226"/>
                  </a:cubicBezTo>
                  <a:cubicBezTo>
                    <a:pt x="34" y="225"/>
                    <a:pt x="36" y="220"/>
                    <a:pt x="36" y="220"/>
                  </a:cubicBezTo>
                  <a:cubicBezTo>
                    <a:pt x="37" y="219"/>
                    <a:pt x="38" y="218"/>
                    <a:pt x="38" y="218"/>
                  </a:cubicBezTo>
                  <a:cubicBezTo>
                    <a:pt x="38" y="218"/>
                    <a:pt x="37" y="216"/>
                    <a:pt x="37" y="215"/>
                  </a:cubicBezTo>
                  <a:cubicBezTo>
                    <a:pt x="37" y="214"/>
                    <a:pt x="36" y="214"/>
                    <a:pt x="38" y="211"/>
                  </a:cubicBezTo>
                  <a:cubicBezTo>
                    <a:pt x="41" y="208"/>
                    <a:pt x="41" y="206"/>
                    <a:pt x="41" y="206"/>
                  </a:cubicBezTo>
                  <a:cubicBezTo>
                    <a:pt x="41" y="206"/>
                    <a:pt x="39" y="203"/>
                    <a:pt x="38" y="202"/>
                  </a:cubicBezTo>
                  <a:cubicBezTo>
                    <a:pt x="38" y="202"/>
                    <a:pt x="35" y="198"/>
                    <a:pt x="35" y="198"/>
                  </a:cubicBezTo>
                  <a:cubicBezTo>
                    <a:pt x="35" y="197"/>
                    <a:pt x="35" y="195"/>
                    <a:pt x="35" y="195"/>
                  </a:cubicBezTo>
                  <a:cubicBezTo>
                    <a:pt x="35" y="195"/>
                    <a:pt x="33" y="193"/>
                    <a:pt x="32" y="193"/>
                  </a:cubicBezTo>
                  <a:cubicBezTo>
                    <a:pt x="31" y="193"/>
                    <a:pt x="28" y="192"/>
                    <a:pt x="28" y="192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8" y="184"/>
                    <a:pt x="28" y="184"/>
                    <a:pt x="28" y="184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6"/>
                    <a:pt x="23" y="176"/>
                    <a:pt x="23" y="176"/>
                  </a:cubicBezTo>
                  <a:cubicBezTo>
                    <a:pt x="23" y="176"/>
                    <a:pt x="24" y="174"/>
                    <a:pt x="24" y="172"/>
                  </a:cubicBezTo>
                  <a:cubicBezTo>
                    <a:pt x="25" y="171"/>
                    <a:pt x="26" y="168"/>
                    <a:pt x="26" y="168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3" y="163"/>
                    <a:pt x="24" y="162"/>
                  </a:cubicBezTo>
                  <a:cubicBezTo>
                    <a:pt x="24" y="161"/>
                    <a:pt x="23" y="155"/>
                    <a:pt x="23" y="155"/>
                  </a:cubicBezTo>
                  <a:cubicBezTo>
                    <a:pt x="23" y="155"/>
                    <a:pt x="22" y="149"/>
                    <a:pt x="21" y="150"/>
                  </a:cubicBezTo>
                  <a:cubicBezTo>
                    <a:pt x="19" y="150"/>
                    <a:pt x="18" y="146"/>
                    <a:pt x="18" y="146"/>
                  </a:cubicBezTo>
                  <a:cubicBezTo>
                    <a:pt x="20" y="139"/>
                    <a:pt x="20" y="139"/>
                    <a:pt x="20" y="139"/>
                  </a:cubicBezTo>
                  <a:cubicBezTo>
                    <a:pt x="20" y="139"/>
                    <a:pt x="21" y="134"/>
                    <a:pt x="18" y="132"/>
                  </a:cubicBezTo>
                  <a:cubicBezTo>
                    <a:pt x="15" y="131"/>
                    <a:pt x="9" y="128"/>
                    <a:pt x="8" y="127"/>
                  </a:cubicBezTo>
                  <a:cubicBezTo>
                    <a:pt x="8" y="127"/>
                    <a:pt x="5" y="124"/>
                    <a:pt x="4" y="123"/>
                  </a:cubicBezTo>
                  <a:cubicBezTo>
                    <a:pt x="3" y="123"/>
                    <a:pt x="2" y="122"/>
                    <a:pt x="2" y="122"/>
                  </a:cubicBezTo>
                  <a:cubicBezTo>
                    <a:pt x="4" y="113"/>
                    <a:pt x="4" y="113"/>
                    <a:pt x="4" y="113"/>
                  </a:cubicBezTo>
                  <a:cubicBezTo>
                    <a:pt x="9" y="109"/>
                    <a:pt x="9" y="109"/>
                    <a:pt x="9" y="109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10" y="91"/>
                    <a:pt x="7" y="87"/>
                  </a:cubicBezTo>
                  <a:cubicBezTo>
                    <a:pt x="5" y="84"/>
                    <a:pt x="4" y="80"/>
                    <a:pt x="4" y="80"/>
                  </a:cubicBezTo>
                  <a:cubicBezTo>
                    <a:pt x="4" y="79"/>
                    <a:pt x="3" y="75"/>
                    <a:pt x="2" y="74"/>
                  </a:cubicBezTo>
                  <a:cubicBezTo>
                    <a:pt x="2" y="73"/>
                    <a:pt x="2" y="72"/>
                    <a:pt x="2" y="70"/>
                  </a:cubicBezTo>
                  <a:cubicBezTo>
                    <a:pt x="3" y="69"/>
                    <a:pt x="0" y="66"/>
                    <a:pt x="0" y="66"/>
                  </a:cubicBezTo>
                  <a:cubicBezTo>
                    <a:pt x="0" y="66"/>
                    <a:pt x="1" y="64"/>
                    <a:pt x="2" y="64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8" y="63"/>
                    <a:pt x="9" y="61"/>
                    <a:pt x="11" y="61"/>
                  </a:cubicBezTo>
                  <a:cubicBezTo>
                    <a:pt x="12" y="60"/>
                    <a:pt x="12" y="58"/>
                    <a:pt x="13" y="58"/>
                  </a:cubicBezTo>
                  <a:cubicBezTo>
                    <a:pt x="15" y="57"/>
                    <a:pt x="17" y="58"/>
                    <a:pt x="20" y="56"/>
                  </a:cubicBezTo>
                  <a:cubicBezTo>
                    <a:pt x="23" y="55"/>
                    <a:pt x="23" y="54"/>
                    <a:pt x="25" y="52"/>
                  </a:cubicBezTo>
                  <a:cubicBezTo>
                    <a:pt x="26" y="51"/>
                    <a:pt x="45" y="45"/>
                    <a:pt x="45" y="45"/>
                  </a:cubicBezTo>
                  <a:cubicBezTo>
                    <a:pt x="45" y="45"/>
                    <a:pt x="50" y="42"/>
                    <a:pt x="52" y="42"/>
                  </a:cubicBezTo>
                  <a:cubicBezTo>
                    <a:pt x="53" y="41"/>
                    <a:pt x="53" y="40"/>
                    <a:pt x="55" y="40"/>
                  </a:cubicBezTo>
                  <a:cubicBezTo>
                    <a:pt x="56" y="41"/>
                    <a:pt x="60" y="41"/>
                    <a:pt x="60" y="41"/>
                  </a:cubicBezTo>
                  <a:cubicBezTo>
                    <a:pt x="60" y="41"/>
                    <a:pt x="61" y="38"/>
                    <a:pt x="62" y="37"/>
                  </a:cubicBezTo>
                  <a:cubicBezTo>
                    <a:pt x="63" y="35"/>
                    <a:pt x="64" y="33"/>
                    <a:pt x="64" y="32"/>
                  </a:cubicBezTo>
                  <a:cubicBezTo>
                    <a:pt x="65" y="30"/>
                    <a:pt x="66" y="29"/>
                    <a:pt x="67" y="28"/>
                  </a:cubicBezTo>
                  <a:cubicBezTo>
                    <a:pt x="68" y="26"/>
                    <a:pt x="69" y="25"/>
                    <a:pt x="69" y="25"/>
                  </a:cubicBezTo>
                  <a:cubicBezTo>
                    <a:pt x="70" y="25"/>
                    <a:pt x="76" y="22"/>
                    <a:pt x="77" y="22"/>
                  </a:cubicBezTo>
                  <a:cubicBezTo>
                    <a:pt x="78" y="21"/>
                    <a:pt x="86" y="18"/>
                    <a:pt x="86" y="17"/>
                  </a:cubicBezTo>
                  <a:cubicBezTo>
                    <a:pt x="86" y="17"/>
                    <a:pt x="89" y="13"/>
                    <a:pt x="89" y="12"/>
                  </a:cubicBezTo>
                  <a:cubicBezTo>
                    <a:pt x="89" y="11"/>
                    <a:pt x="93" y="10"/>
                    <a:pt x="93" y="10"/>
                  </a:cubicBezTo>
                  <a:cubicBezTo>
                    <a:pt x="94" y="10"/>
                    <a:pt x="94" y="10"/>
                    <a:pt x="95" y="9"/>
                  </a:cubicBezTo>
                  <a:cubicBezTo>
                    <a:pt x="97" y="9"/>
                    <a:pt x="106" y="5"/>
                    <a:pt x="106" y="5"/>
                  </a:cubicBezTo>
                  <a:cubicBezTo>
                    <a:pt x="106" y="5"/>
                    <a:pt x="114" y="2"/>
                    <a:pt x="114" y="2"/>
                  </a:cubicBezTo>
                  <a:cubicBezTo>
                    <a:pt x="115" y="3"/>
                    <a:pt x="120" y="2"/>
                    <a:pt x="121" y="2"/>
                  </a:cubicBezTo>
                  <a:cubicBezTo>
                    <a:pt x="121" y="3"/>
                    <a:pt x="127" y="2"/>
                    <a:pt x="127" y="2"/>
                  </a:cubicBezTo>
                  <a:cubicBezTo>
                    <a:pt x="127" y="2"/>
                    <a:pt x="129" y="3"/>
                    <a:pt x="129" y="4"/>
                  </a:cubicBezTo>
                  <a:cubicBezTo>
                    <a:pt x="129" y="5"/>
                    <a:pt x="127" y="6"/>
                    <a:pt x="128" y="7"/>
                  </a:cubicBezTo>
                  <a:cubicBezTo>
                    <a:pt x="129" y="8"/>
                    <a:pt x="133" y="11"/>
                    <a:pt x="133" y="11"/>
                  </a:cubicBezTo>
                  <a:cubicBezTo>
                    <a:pt x="133" y="11"/>
                    <a:pt x="132" y="14"/>
                    <a:pt x="132" y="14"/>
                  </a:cubicBezTo>
                  <a:cubicBezTo>
                    <a:pt x="132" y="15"/>
                    <a:pt x="133" y="16"/>
                    <a:pt x="134" y="18"/>
                  </a:cubicBezTo>
                  <a:cubicBezTo>
                    <a:pt x="135" y="19"/>
                    <a:pt x="137" y="21"/>
                    <a:pt x="137" y="21"/>
                  </a:cubicBezTo>
                  <a:cubicBezTo>
                    <a:pt x="137" y="21"/>
                    <a:pt x="136" y="22"/>
                    <a:pt x="140" y="24"/>
                  </a:cubicBezTo>
                  <a:cubicBezTo>
                    <a:pt x="144" y="26"/>
                    <a:pt x="147" y="24"/>
                    <a:pt x="147" y="24"/>
                  </a:cubicBezTo>
                  <a:cubicBezTo>
                    <a:pt x="147" y="24"/>
                    <a:pt x="150" y="24"/>
                    <a:pt x="151" y="24"/>
                  </a:cubicBezTo>
                  <a:cubicBezTo>
                    <a:pt x="152" y="24"/>
                    <a:pt x="155" y="23"/>
                    <a:pt x="155" y="2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2757685" y="3634583"/>
              <a:ext cx="394181" cy="433178"/>
            </a:xfrm>
            <a:custGeom>
              <a:avLst/>
              <a:gdLst>
                <a:gd name="T0" fmla="*/ 115 w 166"/>
                <a:gd name="T1" fmla="*/ 170 h 188"/>
                <a:gd name="T2" fmla="*/ 92 w 166"/>
                <a:gd name="T3" fmla="*/ 176 h 188"/>
                <a:gd name="T4" fmla="*/ 71 w 166"/>
                <a:gd name="T5" fmla="*/ 177 h 188"/>
                <a:gd name="T6" fmla="*/ 50 w 166"/>
                <a:gd name="T7" fmla="*/ 188 h 188"/>
                <a:gd name="T8" fmla="*/ 19 w 166"/>
                <a:gd name="T9" fmla="*/ 183 h 188"/>
                <a:gd name="T10" fmla="*/ 18 w 166"/>
                <a:gd name="T11" fmla="*/ 180 h 188"/>
                <a:gd name="T12" fmla="*/ 22 w 166"/>
                <a:gd name="T13" fmla="*/ 175 h 188"/>
                <a:gd name="T14" fmla="*/ 9 w 166"/>
                <a:gd name="T15" fmla="*/ 171 h 188"/>
                <a:gd name="T16" fmla="*/ 21 w 166"/>
                <a:gd name="T17" fmla="*/ 165 h 188"/>
                <a:gd name="T18" fmla="*/ 7 w 166"/>
                <a:gd name="T19" fmla="*/ 161 h 188"/>
                <a:gd name="T20" fmla="*/ 5 w 166"/>
                <a:gd name="T21" fmla="*/ 157 h 188"/>
                <a:gd name="T22" fmla="*/ 18 w 166"/>
                <a:gd name="T23" fmla="*/ 152 h 188"/>
                <a:gd name="T24" fmla="*/ 20 w 166"/>
                <a:gd name="T25" fmla="*/ 148 h 188"/>
                <a:gd name="T26" fmla="*/ 3 w 166"/>
                <a:gd name="T27" fmla="*/ 144 h 188"/>
                <a:gd name="T28" fmla="*/ 15 w 166"/>
                <a:gd name="T29" fmla="*/ 138 h 188"/>
                <a:gd name="T30" fmla="*/ 23 w 166"/>
                <a:gd name="T31" fmla="*/ 144 h 188"/>
                <a:gd name="T32" fmla="*/ 27 w 166"/>
                <a:gd name="T33" fmla="*/ 134 h 188"/>
                <a:gd name="T34" fmla="*/ 40 w 166"/>
                <a:gd name="T35" fmla="*/ 130 h 188"/>
                <a:gd name="T36" fmla="*/ 56 w 166"/>
                <a:gd name="T37" fmla="*/ 131 h 188"/>
                <a:gd name="T38" fmla="*/ 54 w 166"/>
                <a:gd name="T39" fmla="*/ 129 h 188"/>
                <a:gd name="T40" fmla="*/ 38 w 166"/>
                <a:gd name="T41" fmla="*/ 127 h 188"/>
                <a:gd name="T42" fmla="*/ 36 w 166"/>
                <a:gd name="T43" fmla="*/ 123 h 188"/>
                <a:gd name="T44" fmla="*/ 49 w 166"/>
                <a:gd name="T45" fmla="*/ 112 h 188"/>
                <a:gd name="T46" fmla="*/ 62 w 166"/>
                <a:gd name="T47" fmla="*/ 104 h 188"/>
                <a:gd name="T48" fmla="*/ 64 w 166"/>
                <a:gd name="T49" fmla="*/ 97 h 188"/>
                <a:gd name="T50" fmla="*/ 44 w 166"/>
                <a:gd name="T51" fmla="*/ 94 h 188"/>
                <a:gd name="T52" fmla="*/ 45 w 166"/>
                <a:gd name="T53" fmla="*/ 89 h 188"/>
                <a:gd name="T54" fmla="*/ 38 w 166"/>
                <a:gd name="T55" fmla="*/ 84 h 188"/>
                <a:gd name="T56" fmla="*/ 36 w 166"/>
                <a:gd name="T57" fmla="*/ 78 h 188"/>
                <a:gd name="T58" fmla="*/ 39 w 166"/>
                <a:gd name="T59" fmla="*/ 71 h 188"/>
                <a:gd name="T60" fmla="*/ 48 w 166"/>
                <a:gd name="T61" fmla="*/ 64 h 188"/>
                <a:gd name="T62" fmla="*/ 48 w 166"/>
                <a:gd name="T63" fmla="*/ 59 h 188"/>
                <a:gd name="T64" fmla="*/ 39 w 166"/>
                <a:gd name="T65" fmla="*/ 49 h 188"/>
                <a:gd name="T66" fmla="*/ 49 w 166"/>
                <a:gd name="T67" fmla="*/ 45 h 188"/>
                <a:gd name="T68" fmla="*/ 45 w 166"/>
                <a:gd name="T69" fmla="*/ 45 h 188"/>
                <a:gd name="T70" fmla="*/ 56 w 166"/>
                <a:gd name="T71" fmla="*/ 38 h 188"/>
                <a:gd name="T72" fmla="*/ 70 w 166"/>
                <a:gd name="T73" fmla="*/ 40 h 188"/>
                <a:gd name="T74" fmla="*/ 81 w 166"/>
                <a:gd name="T75" fmla="*/ 45 h 188"/>
                <a:gd name="T76" fmla="*/ 92 w 166"/>
                <a:gd name="T77" fmla="*/ 48 h 188"/>
                <a:gd name="T78" fmla="*/ 107 w 166"/>
                <a:gd name="T79" fmla="*/ 39 h 188"/>
                <a:gd name="T80" fmla="*/ 98 w 166"/>
                <a:gd name="T81" fmla="*/ 31 h 188"/>
                <a:gd name="T82" fmla="*/ 102 w 166"/>
                <a:gd name="T83" fmla="*/ 20 h 188"/>
                <a:gd name="T84" fmla="*/ 107 w 166"/>
                <a:gd name="T85" fmla="*/ 12 h 188"/>
                <a:gd name="T86" fmla="*/ 121 w 166"/>
                <a:gd name="T87" fmla="*/ 6 h 188"/>
                <a:gd name="T88" fmla="*/ 135 w 166"/>
                <a:gd name="T89" fmla="*/ 4 h 188"/>
                <a:gd name="T90" fmla="*/ 134 w 166"/>
                <a:gd name="T91" fmla="*/ 16 h 188"/>
                <a:gd name="T92" fmla="*/ 137 w 166"/>
                <a:gd name="T93" fmla="*/ 7 h 188"/>
                <a:gd name="T94" fmla="*/ 144 w 166"/>
                <a:gd name="T95" fmla="*/ 3 h 188"/>
                <a:gd name="T96" fmla="*/ 156 w 166"/>
                <a:gd name="T97" fmla="*/ 11 h 188"/>
                <a:gd name="T98" fmla="*/ 137 w 166"/>
                <a:gd name="T99" fmla="*/ 27 h 188"/>
                <a:gd name="T100" fmla="*/ 115 w 166"/>
                <a:gd name="T101" fmla="*/ 42 h 188"/>
                <a:gd name="T102" fmla="*/ 135 w 166"/>
                <a:gd name="T103" fmla="*/ 64 h 188"/>
                <a:gd name="T104" fmla="*/ 161 w 166"/>
                <a:gd name="T105" fmla="*/ 76 h 188"/>
                <a:gd name="T106" fmla="*/ 157 w 166"/>
                <a:gd name="T107" fmla="*/ 86 h 188"/>
                <a:gd name="T108" fmla="*/ 158 w 166"/>
                <a:gd name="T109" fmla="*/ 112 h 188"/>
                <a:gd name="T110" fmla="*/ 157 w 166"/>
                <a:gd name="T111" fmla="*/ 129 h 188"/>
                <a:gd name="T112" fmla="*/ 146 w 166"/>
                <a:gd name="T113" fmla="*/ 151 h 188"/>
                <a:gd name="T114" fmla="*/ 134 w 166"/>
                <a:gd name="T115" fmla="*/ 165 h 188"/>
                <a:gd name="T116" fmla="*/ 132 w 166"/>
                <a:gd name="T117" fmla="*/ 17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6" h="188">
                  <a:moveTo>
                    <a:pt x="132" y="174"/>
                  </a:moveTo>
                  <a:cubicBezTo>
                    <a:pt x="128" y="174"/>
                    <a:pt x="128" y="174"/>
                    <a:pt x="128" y="174"/>
                  </a:cubicBezTo>
                  <a:cubicBezTo>
                    <a:pt x="128" y="174"/>
                    <a:pt x="126" y="171"/>
                    <a:pt x="125" y="171"/>
                  </a:cubicBezTo>
                  <a:cubicBezTo>
                    <a:pt x="124" y="171"/>
                    <a:pt x="122" y="170"/>
                    <a:pt x="122" y="170"/>
                  </a:cubicBezTo>
                  <a:cubicBezTo>
                    <a:pt x="121" y="172"/>
                    <a:pt x="121" y="172"/>
                    <a:pt x="121" y="172"/>
                  </a:cubicBezTo>
                  <a:cubicBezTo>
                    <a:pt x="121" y="172"/>
                    <a:pt x="120" y="173"/>
                    <a:pt x="119" y="173"/>
                  </a:cubicBezTo>
                  <a:cubicBezTo>
                    <a:pt x="119" y="173"/>
                    <a:pt x="118" y="172"/>
                    <a:pt x="118" y="172"/>
                  </a:cubicBezTo>
                  <a:cubicBezTo>
                    <a:pt x="118" y="170"/>
                    <a:pt x="118" y="170"/>
                    <a:pt x="118" y="170"/>
                  </a:cubicBezTo>
                  <a:cubicBezTo>
                    <a:pt x="115" y="170"/>
                    <a:pt x="115" y="170"/>
                    <a:pt x="115" y="170"/>
                  </a:cubicBezTo>
                  <a:cubicBezTo>
                    <a:pt x="115" y="170"/>
                    <a:pt x="115" y="173"/>
                    <a:pt x="114" y="173"/>
                  </a:cubicBezTo>
                  <a:cubicBezTo>
                    <a:pt x="113" y="172"/>
                    <a:pt x="112" y="172"/>
                    <a:pt x="110" y="172"/>
                  </a:cubicBezTo>
                  <a:cubicBezTo>
                    <a:pt x="108" y="171"/>
                    <a:pt x="104" y="172"/>
                    <a:pt x="104" y="172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99" y="171"/>
                    <a:pt x="99" y="171"/>
                    <a:pt x="99" y="171"/>
                  </a:cubicBezTo>
                  <a:cubicBezTo>
                    <a:pt x="95" y="171"/>
                    <a:pt x="95" y="171"/>
                    <a:pt x="95" y="171"/>
                  </a:cubicBezTo>
                  <a:cubicBezTo>
                    <a:pt x="94" y="173"/>
                    <a:pt x="94" y="173"/>
                    <a:pt x="94" y="173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88" y="175"/>
                    <a:pt x="88" y="175"/>
                    <a:pt x="88" y="175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175"/>
                    <a:pt x="85" y="175"/>
                    <a:pt x="85" y="175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80" y="181"/>
                    <a:pt x="80" y="181"/>
                    <a:pt x="80" y="181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2" y="181"/>
                    <a:pt x="72" y="181"/>
                    <a:pt x="72" y="181"/>
                  </a:cubicBezTo>
                  <a:cubicBezTo>
                    <a:pt x="72" y="181"/>
                    <a:pt x="70" y="180"/>
                    <a:pt x="70" y="179"/>
                  </a:cubicBezTo>
                  <a:cubicBezTo>
                    <a:pt x="71" y="178"/>
                    <a:pt x="71" y="177"/>
                    <a:pt x="71" y="177"/>
                  </a:cubicBezTo>
                  <a:cubicBezTo>
                    <a:pt x="71" y="177"/>
                    <a:pt x="69" y="176"/>
                    <a:pt x="69" y="177"/>
                  </a:cubicBezTo>
                  <a:cubicBezTo>
                    <a:pt x="69" y="179"/>
                    <a:pt x="68" y="181"/>
                    <a:pt x="68" y="181"/>
                  </a:cubicBezTo>
                  <a:cubicBezTo>
                    <a:pt x="65" y="183"/>
                    <a:pt x="65" y="183"/>
                    <a:pt x="65" y="183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0" y="183"/>
                    <a:pt x="60" y="183"/>
                    <a:pt x="60" y="183"/>
                  </a:cubicBezTo>
                  <a:cubicBezTo>
                    <a:pt x="60" y="186"/>
                    <a:pt x="60" y="186"/>
                    <a:pt x="60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2" y="186"/>
                    <a:pt x="52" y="186"/>
                    <a:pt x="52" y="186"/>
                  </a:cubicBezTo>
                  <a:cubicBezTo>
                    <a:pt x="50" y="188"/>
                    <a:pt x="50" y="188"/>
                    <a:pt x="50" y="188"/>
                  </a:cubicBezTo>
                  <a:cubicBezTo>
                    <a:pt x="47" y="187"/>
                    <a:pt x="47" y="187"/>
                    <a:pt x="47" y="187"/>
                  </a:cubicBezTo>
                  <a:cubicBezTo>
                    <a:pt x="42" y="188"/>
                    <a:pt x="42" y="188"/>
                    <a:pt x="42" y="188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1" y="187"/>
                    <a:pt x="31" y="187"/>
                    <a:pt x="31" y="187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29" y="185"/>
                    <a:pt x="27" y="185"/>
                    <a:pt x="26" y="185"/>
                  </a:cubicBezTo>
                  <a:cubicBezTo>
                    <a:pt x="25" y="185"/>
                    <a:pt x="19" y="183"/>
                    <a:pt x="19" y="183"/>
                  </a:cubicBezTo>
                  <a:cubicBezTo>
                    <a:pt x="17" y="185"/>
                    <a:pt x="17" y="185"/>
                    <a:pt x="17" y="185"/>
                  </a:cubicBezTo>
                  <a:cubicBezTo>
                    <a:pt x="17" y="185"/>
                    <a:pt x="14" y="185"/>
                    <a:pt x="14" y="184"/>
                  </a:cubicBezTo>
                  <a:cubicBezTo>
                    <a:pt x="14" y="184"/>
                    <a:pt x="14" y="183"/>
                    <a:pt x="15" y="182"/>
                  </a:cubicBezTo>
                  <a:cubicBezTo>
                    <a:pt x="16" y="182"/>
                    <a:pt x="17" y="182"/>
                    <a:pt x="19" y="181"/>
                  </a:cubicBezTo>
                  <a:cubicBezTo>
                    <a:pt x="21" y="181"/>
                    <a:pt x="22" y="181"/>
                    <a:pt x="22" y="181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23" y="179"/>
                    <a:pt x="24" y="178"/>
                    <a:pt x="22" y="179"/>
                  </a:cubicBezTo>
                  <a:cubicBezTo>
                    <a:pt x="21" y="179"/>
                    <a:pt x="21" y="179"/>
                    <a:pt x="21" y="179"/>
                  </a:cubicBezTo>
                  <a:cubicBezTo>
                    <a:pt x="20" y="180"/>
                    <a:pt x="19" y="180"/>
                    <a:pt x="18" y="180"/>
                  </a:cubicBezTo>
                  <a:cubicBezTo>
                    <a:pt x="18" y="180"/>
                    <a:pt x="16" y="180"/>
                    <a:pt x="16" y="180"/>
                  </a:cubicBezTo>
                  <a:cubicBezTo>
                    <a:pt x="16" y="180"/>
                    <a:pt x="15" y="179"/>
                    <a:pt x="16" y="179"/>
                  </a:cubicBezTo>
                  <a:cubicBezTo>
                    <a:pt x="17" y="178"/>
                    <a:pt x="17" y="178"/>
                    <a:pt x="18" y="178"/>
                  </a:cubicBezTo>
                  <a:cubicBezTo>
                    <a:pt x="20" y="178"/>
                    <a:pt x="21" y="177"/>
                    <a:pt x="23" y="177"/>
                  </a:cubicBezTo>
                  <a:cubicBezTo>
                    <a:pt x="25" y="177"/>
                    <a:pt x="26" y="177"/>
                    <a:pt x="26" y="177"/>
                  </a:cubicBezTo>
                  <a:cubicBezTo>
                    <a:pt x="27" y="176"/>
                    <a:pt x="28" y="176"/>
                    <a:pt x="28" y="175"/>
                  </a:cubicBezTo>
                  <a:cubicBezTo>
                    <a:pt x="28" y="174"/>
                    <a:pt x="27" y="173"/>
                    <a:pt x="27" y="173"/>
                  </a:cubicBezTo>
                  <a:cubicBezTo>
                    <a:pt x="27" y="173"/>
                    <a:pt x="26" y="173"/>
                    <a:pt x="25" y="174"/>
                  </a:cubicBezTo>
                  <a:cubicBezTo>
                    <a:pt x="24" y="174"/>
                    <a:pt x="23" y="175"/>
                    <a:pt x="22" y="175"/>
                  </a:cubicBezTo>
                  <a:cubicBezTo>
                    <a:pt x="22" y="175"/>
                    <a:pt x="22" y="175"/>
                    <a:pt x="21" y="175"/>
                  </a:cubicBezTo>
                  <a:cubicBezTo>
                    <a:pt x="20" y="175"/>
                    <a:pt x="18" y="174"/>
                    <a:pt x="18" y="174"/>
                  </a:cubicBezTo>
                  <a:cubicBezTo>
                    <a:pt x="17" y="174"/>
                    <a:pt x="16" y="174"/>
                    <a:pt x="15" y="174"/>
                  </a:cubicBezTo>
                  <a:cubicBezTo>
                    <a:pt x="14" y="174"/>
                    <a:pt x="15" y="174"/>
                    <a:pt x="13" y="174"/>
                  </a:cubicBezTo>
                  <a:cubicBezTo>
                    <a:pt x="11" y="175"/>
                    <a:pt x="12" y="175"/>
                    <a:pt x="9" y="175"/>
                  </a:cubicBezTo>
                  <a:cubicBezTo>
                    <a:pt x="7" y="175"/>
                    <a:pt x="4" y="174"/>
                    <a:pt x="4" y="174"/>
                  </a:cubicBezTo>
                  <a:cubicBezTo>
                    <a:pt x="4" y="174"/>
                    <a:pt x="2" y="175"/>
                    <a:pt x="3" y="174"/>
                  </a:cubicBezTo>
                  <a:cubicBezTo>
                    <a:pt x="5" y="173"/>
                    <a:pt x="7" y="173"/>
                    <a:pt x="8" y="172"/>
                  </a:cubicBezTo>
                  <a:cubicBezTo>
                    <a:pt x="9" y="172"/>
                    <a:pt x="10" y="172"/>
                    <a:pt x="9" y="171"/>
                  </a:cubicBezTo>
                  <a:cubicBezTo>
                    <a:pt x="9" y="171"/>
                    <a:pt x="9" y="171"/>
                    <a:pt x="9" y="171"/>
                  </a:cubicBezTo>
                  <a:cubicBezTo>
                    <a:pt x="10" y="171"/>
                    <a:pt x="12" y="170"/>
                    <a:pt x="12" y="170"/>
                  </a:cubicBezTo>
                  <a:cubicBezTo>
                    <a:pt x="14" y="169"/>
                    <a:pt x="14" y="169"/>
                    <a:pt x="14" y="169"/>
                  </a:cubicBezTo>
                  <a:cubicBezTo>
                    <a:pt x="14" y="169"/>
                    <a:pt x="14" y="168"/>
                    <a:pt x="16" y="168"/>
                  </a:cubicBezTo>
                  <a:cubicBezTo>
                    <a:pt x="18" y="168"/>
                    <a:pt x="18" y="168"/>
                    <a:pt x="18" y="167"/>
                  </a:cubicBezTo>
                  <a:cubicBezTo>
                    <a:pt x="19" y="167"/>
                    <a:pt x="18" y="167"/>
                    <a:pt x="19" y="167"/>
                  </a:cubicBezTo>
                  <a:cubicBezTo>
                    <a:pt x="21" y="167"/>
                    <a:pt x="21" y="166"/>
                    <a:pt x="22" y="166"/>
                  </a:cubicBezTo>
                  <a:cubicBezTo>
                    <a:pt x="24" y="166"/>
                    <a:pt x="25" y="165"/>
                    <a:pt x="24" y="165"/>
                  </a:cubicBezTo>
                  <a:cubicBezTo>
                    <a:pt x="23" y="165"/>
                    <a:pt x="23" y="165"/>
                    <a:pt x="21" y="165"/>
                  </a:cubicBezTo>
                  <a:cubicBezTo>
                    <a:pt x="20" y="166"/>
                    <a:pt x="19" y="165"/>
                    <a:pt x="19" y="166"/>
                  </a:cubicBezTo>
                  <a:cubicBezTo>
                    <a:pt x="18" y="166"/>
                    <a:pt x="16" y="166"/>
                    <a:pt x="16" y="166"/>
                  </a:cubicBezTo>
                  <a:cubicBezTo>
                    <a:pt x="15" y="165"/>
                    <a:pt x="15" y="165"/>
                    <a:pt x="14" y="166"/>
                  </a:cubicBezTo>
                  <a:cubicBezTo>
                    <a:pt x="13" y="166"/>
                    <a:pt x="14" y="167"/>
                    <a:pt x="12" y="167"/>
                  </a:cubicBezTo>
                  <a:cubicBezTo>
                    <a:pt x="11" y="167"/>
                    <a:pt x="10" y="166"/>
                    <a:pt x="10" y="166"/>
                  </a:cubicBezTo>
                  <a:cubicBezTo>
                    <a:pt x="10" y="166"/>
                    <a:pt x="7" y="166"/>
                    <a:pt x="7" y="165"/>
                  </a:cubicBezTo>
                  <a:cubicBezTo>
                    <a:pt x="7" y="165"/>
                    <a:pt x="7" y="163"/>
                    <a:pt x="7" y="163"/>
                  </a:cubicBezTo>
                  <a:cubicBezTo>
                    <a:pt x="7" y="162"/>
                    <a:pt x="8" y="162"/>
                    <a:pt x="8" y="162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7" y="161"/>
                    <a:pt x="7" y="161"/>
                    <a:pt x="6" y="161"/>
                  </a:cubicBezTo>
                  <a:cubicBezTo>
                    <a:pt x="6" y="161"/>
                    <a:pt x="4" y="162"/>
                    <a:pt x="4" y="162"/>
                  </a:cubicBezTo>
                  <a:cubicBezTo>
                    <a:pt x="4" y="162"/>
                    <a:pt x="4" y="162"/>
                    <a:pt x="3" y="162"/>
                  </a:cubicBezTo>
                  <a:cubicBezTo>
                    <a:pt x="3" y="162"/>
                    <a:pt x="2" y="162"/>
                    <a:pt x="2" y="162"/>
                  </a:cubicBezTo>
                  <a:cubicBezTo>
                    <a:pt x="2" y="162"/>
                    <a:pt x="2" y="161"/>
                    <a:pt x="2" y="160"/>
                  </a:cubicBezTo>
                  <a:cubicBezTo>
                    <a:pt x="2" y="160"/>
                    <a:pt x="2" y="159"/>
                    <a:pt x="2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58"/>
                    <a:pt x="0" y="158"/>
                    <a:pt x="2" y="157"/>
                  </a:cubicBezTo>
                  <a:cubicBezTo>
                    <a:pt x="4" y="157"/>
                    <a:pt x="4" y="157"/>
                    <a:pt x="5" y="157"/>
                  </a:cubicBezTo>
                  <a:cubicBezTo>
                    <a:pt x="5" y="157"/>
                    <a:pt x="6" y="157"/>
                    <a:pt x="6" y="157"/>
                  </a:cubicBezTo>
                  <a:cubicBezTo>
                    <a:pt x="6" y="157"/>
                    <a:pt x="7" y="156"/>
                    <a:pt x="7" y="156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4"/>
                    <a:pt x="6" y="154"/>
                    <a:pt x="7" y="154"/>
                  </a:cubicBezTo>
                  <a:cubicBezTo>
                    <a:pt x="8" y="154"/>
                    <a:pt x="8" y="153"/>
                    <a:pt x="9" y="153"/>
                  </a:cubicBezTo>
                  <a:cubicBezTo>
                    <a:pt x="9" y="153"/>
                    <a:pt x="10" y="153"/>
                    <a:pt x="11" y="153"/>
                  </a:cubicBezTo>
                  <a:cubicBezTo>
                    <a:pt x="11" y="153"/>
                    <a:pt x="11" y="152"/>
                    <a:pt x="13" y="152"/>
                  </a:cubicBezTo>
                  <a:cubicBezTo>
                    <a:pt x="14" y="152"/>
                    <a:pt x="15" y="152"/>
                    <a:pt x="16" y="152"/>
                  </a:cubicBezTo>
                  <a:cubicBezTo>
                    <a:pt x="16" y="152"/>
                    <a:pt x="18" y="152"/>
                    <a:pt x="18" y="152"/>
                  </a:cubicBezTo>
                  <a:cubicBezTo>
                    <a:pt x="18" y="152"/>
                    <a:pt x="20" y="151"/>
                    <a:pt x="20" y="151"/>
                  </a:cubicBezTo>
                  <a:cubicBezTo>
                    <a:pt x="21" y="150"/>
                    <a:pt x="21" y="150"/>
                    <a:pt x="21" y="150"/>
                  </a:cubicBezTo>
                  <a:cubicBezTo>
                    <a:pt x="21" y="150"/>
                    <a:pt x="21" y="150"/>
                    <a:pt x="22" y="150"/>
                  </a:cubicBezTo>
                  <a:cubicBezTo>
                    <a:pt x="23" y="150"/>
                    <a:pt x="23" y="150"/>
                    <a:pt x="24" y="150"/>
                  </a:cubicBezTo>
                  <a:cubicBezTo>
                    <a:pt x="24" y="150"/>
                    <a:pt x="25" y="150"/>
                    <a:pt x="25" y="150"/>
                  </a:cubicBezTo>
                  <a:cubicBezTo>
                    <a:pt x="25" y="149"/>
                    <a:pt x="25" y="149"/>
                    <a:pt x="25" y="148"/>
                  </a:cubicBezTo>
                  <a:cubicBezTo>
                    <a:pt x="24" y="148"/>
                    <a:pt x="24" y="148"/>
                    <a:pt x="23" y="148"/>
                  </a:cubicBezTo>
                  <a:cubicBezTo>
                    <a:pt x="22" y="149"/>
                    <a:pt x="21" y="149"/>
                    <a:pt x="21" y="148"/>
                  </a:cubicBezTo>
                  <a:cubicBezTo>
                    <a:pt x="21" y="148"/>
                    <a:pt x="21" y="148"/>
                    <a:pt x="20" y="148"/>
                  </a:cubicBezTo>
                  <a:cubicBezTo>
                    <a:pt x="19" y="148"/>
                    <a:pt x="18" y="148"/>
                    <a:pt x="18" y="148"/>
                  </a:cubicBezTo>
                  <a:cubicBezTo>
                    <a:pt x="18" y="148"/>
                    <a:pt x="17" y="148"/>
                    <a:pt x="16" y="148"/>
                  </a:cubicBezTo>
                  <a:cubicBezTo>
                    <a:pt x="14" y="147"/>
                    <a:pt x="14" y="147"/>
                    <a:pt x="13" y="147"/>
                  </a:cubicBezTo>
                  <a:cubicBezTo>
                    <a:pt x="12" y="147"/>
                    <a:pt x="11" y="147"/>
                    <a:pt x="11" y="147"/>
                  </a:cubicBezTo>
                  <a:cubicBezTo>
                    <a:pt x="11" y="147"/>
                    <a:pt x="13" y="147"/>
                    <a:pt x="10" y="146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6" y="145"/>
                    <a:pt x="6" y="145"/>
                    <a:pt x="6" y="145"/>
                  </a:cubicBezTo>
                  <a:cubicBezTo>
                    <a:pt x="5" y="145"/>
                    <a:pt x="5" y="146"/>
                    <a:pt x="4" y="145"/>
                  </a:cubicBezTo>
                  <a:cubicBezTo>
                    <a:pt x="4" y="145"/>
                    <a:pt x="3" y="144"/>
                    <a:pt x="3" y="144"/>
                  </a:cubicBezTo>
                  <a:cubicBezTo>
                    <a:pt x="3" y="143"/>
                    <a:pt x="3" y="143"/>
                    <a:pt x="4" y="142"/>
                  </a:cubicBezTo>
                  <a:cubicBezTo>
                    <a:pt x="4" y="142"/>
                    <a:pt x="6" y="141"/>
                    <a:pt x="6" y="141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3"/>
                    <a:pt x="7" y="142"/>
                  </a:cubicBezTo>
                  <a:cubicBezTo>
                    <a:pt x="7" y="142"/>
                    <a:pt x="8" y="140"/>
                    <a:pt x="8" y="140"/>
                  </a:cubicBezTo>
                  <a:cubicBezTo>
                    <a:pt x="8" y="140"/>
                    <a:pt x="7" y="140"/>
                    <a:pt x="8" y="139"/>
                  </a:cubicBezTo>
                  <a:cubicBezTo>
                    <a:pt x="9" y="139"/>
                    <a:pt x="9" y="139"/>
                    <a:pt x="10" y="139"/>
                  </a:cubicBezTo>
                  <a:cubicBezTo>
                    <a:pt x="10" y="139"/>
                    <a:pt x="12" y="139"/>
                    <a:pt x="13" y="139"/>
                  </a:cubicBezTo>
                  <a:cubicBezTo>
                    <a:pt x="13" y="138"/>
                    <a:pt x="15" y="138"/>
                    <a:pt x="15" y="138"/>
                  </a:cubicBezTo>
                  <a:cubicBezTo>
                    <a:pt x="15" y="138"/>
                    <a:pt x="16" y="139"/>
                    <a:pt x="15" y="140"/>
                  </a:cubicBezTo>
                  <a:cubicBezTo>
                    <a:pt x="15" y="140"/>
                    <a:pt x="14" y="140"/>
                    <a:pt x="15" y="141"/>
                  </a:cubicBezTo>
                  <a:cubicBezTo>
                    <a:pt x="16" y="141"/>
                    <a:pt x="17" y="141"/>
                    <a:pt x="17" y="141"/>
                  </a:cubicBezTo>
                  <a:cubicBezTo>
                    <a:pt x="17" y="141"/>
                    <a:pt x="18" y="140"/>
                    <a:pt x="18" y="140"/>
                  </a:cubicBezTo>
                  <a:cubicBezTo>
                    <a:pt x="19" y="140"/>
                    <a:pt x="18" y="139"/>
                    <a:pt x="19" y="139"/>
                  </a:cubicBezTo>
                  <a:cubicBezTo>
                    <a:pt x="20" y="140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2"/>
                  </a:cubicBezTo>
                  <a:cubicBezTo>
                    <a:pt x="21" y="142"/>
                    <a:pt x="22" y="142"/>
                    <a:pt x="22" y="143"/>
                  </a:cubicBezTo>
                  <a:cubicBezTo>
                    <a:pt x="22" y="143"/>
                    <a:pt x="21" y="143"/>
                    <a:pt x="23" y="144"/>
                  </a:cubicBezTo>
                  <a:cubicBezTo>
                    <a:pt x="24" y="144"/>
                    <a:pt x="25" y="144"/>
                    <a:pt x="25" y="144"/>
                  </a:cubicBezTo>
                  <a:cubicBezTo>
                    <a:pt x="25" y="144"/>
                    <a:pt x="26" y="144"/>
                    <a:pt x="26" y="143"/>
                  </a:cubicBezTo>
                  <a:cubicBezTo>
                    <a:pt x="25" y="142"/>
                    <a:pt x="25" y="141"/>
                    <a:pt x="25" y="141"/>
                  </a:cubicBezTo>
                  <a:cubicBezTo>
                    <a:pt x="25" y="141"/>
                    <a:pt x="26" y="140"/>
                    <a:pt x="26" y="140"/>
                  </a:cubicBezTo>
                  <a:cubicBezTo>
                    <a:pt x="26" y="139"/>
                    <a:pt x="26" y="137"/>
                    <a:pt x="26" y="137"/>
                  </a:cubicBezTo>
                  <a:cubicBezTo>
                    <a:pt x="26" y="137"/>
                    <a:pt x="27" y="136"/>
                    <a:pt x="26" y="136"/>
                  </a:cubicBezTo>
                  <a:cubicBezTo>
                    <a:pt x="25" y="136"/>
                    <a:pt x="25" y="135"/>
                    <a:pt x="25" y="135"/>
                  </a:cubicBezTo>
                  <a:cubicBezTo>
                    <a:pt x="24" y="135"/>
                    <a:pt x="24" y="134"/>
                    <a:pt x="24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2" y="134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5" y="132"/>
                    <a:pt x="35" y="132"/>
                    <a:pt x="35" y="132"/>
                  </a:cubicBezTo>
                  <a:cubicBezTo>
                    <a:pt x="35" y="132"/>
                    <a:pt x="34" y="131"/>
                    <a:pt x="34" y="131"/>
                  </a:cubicBezTo>
                  <a:cubicBezTo>
                    <a:pt x="35" y="131"/>
                    <a:pt x="35" y="129"/>
                    <a:pt x="35" y="129"/>
                  </a:cubicBezTo>
                  <a:cubicBezTo>
                    <a:pt x="35" y="129"/>
                    <a:pt x="36" y="128"/>
                    <a:pt x="37" y="129"/>
                  </a:cubicBezTo>
                  <a:cubicBezTo>
                    <a:pt x="37" y="129"/>
                    <a:pt x="39" y="129"/>
                    <a:pt x="40" y="130"/>
                  </a:cubicBezTo>
                  <a:cubicBezTo>
                    <a:pt x="40" y="130"/>
                    <a:pt x="41" y="130"/>
                    <a:pt x="41" y="130"/>
                  </a:cubicBezTo>
                  <a:cubicBezTo>
                    <a:pt x="43" y="130"/>
                    <a:pt x="43" y="130"/>
                    <a:pt x="43" y="130"/>
                  </a:cubicBezTo>
                  <a:cubicBezTo>
                    <a:pt x="43" y="130"/>
                    <a:pt x="45" y="131"/>
                    <a:pt x="45" y="131"/>
                  </a:cubicBezTo>
                  <a:cubicBezTo>
                    <a:pt x="45" y="131"/>
                    <a:pt x="47" y="132"/>
                    <a:pt x="48" y="132"/>
                  </a:cubicBezTo>
                  <a:cubicBezTo>
                    <a:pt x="48" y="132"/>
                    <a:pt x="49" y="131"/>
                    <a:pt x="49" y="131"/>
                  </a:cubicBezTo>
                  <a:cubicBezTo>
                    <a:pt x="49" y="131"/>
                    <a:pt x="49" y="130"/>
                    <a:pt x="50" y="131"/>
                  </a:cubicBezTo>
                  <a:cubicBezTo>
                    <a:pt x="51" y="131"/>
                    <a:pt x="52" y="131"/>
                    <a:pt x="53" y="131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1"/>
                    <a:pt x="56" y="131"/>
                    <a:pt x="56" y="131"/>
                  </a:cubicBezTo>
                  <a:cubicBezTo>
                    <a:pt x="57" y="131"/>
                    <a:pt x="59" y="130"/>
                    <a:pt x="59" y="130"/>
                  </a:cubicBezTo>
                  <a:cubicBezTo>
                    <a:pt x="59" y="130"/>
                    <a:pt x="58" y="129"/>
                    <a:pt x="59" y="130"/>
                  </a:cubicBezTo>
                  <a:cubicBezTo>
                    <a:pt x="60" y="130"/>
                    <a:pt x="61" y="129"/>
                    <a:pt x="61" y="129"/>
                  </a:cubicBezTo>
                  <a:cubicBezTo>
                    <a:pt x="59" y="128"/>
                    <a:pt x="59" y="128"/>
                    <a:pt x="59" y="128"/>
                  </a:cubicBezTo>
                  <a:cubicBezTo>
                    <a:pt x="59" y="128"/>
                    <a:pt x="60" y="126"/>
                    <a:pt x="60" y="126"/>
                  </a:cubicBezTo>
                  <a:cubicBezTo>
                    <a:pt x="60" y="126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7"/>
                    <a:pt x="57" y="128"/>
                    <a:pt x="56" y="128"/>
                  </a:cubicBezTo>
                  <a:cubicBezTo>
                    <a:pt x="56" y="128"/>
                    <a:pt x="55" y="129"/>
                    <a:pt x="54" y="129"/>
                  </a:cubicBezTo>
                  <a:cubicBezTo>
                    <a:pt x="54" y="129"/>
                    <a:pt x="53" y="130"/>
                    <a:pt x="53" y="130"/>
                  </a:cubicBezTo>
                  <a:cubicBezTo>
                    <a:pt x="53" y="130"/>
                    <a:pt x="53" y="131"/>
                    <a:pt x="51" y="130"/>
                  </a:cubicBezTo>
                  <a:cubicBezTo>
                    <a:pt x="50" y="129"/>
                    <a:pt x="49" y="129"/>
                    <a:pt x="49" y="129"/>
                  </a:cubicBezTo>
                  <a:cubicBezTo>
                    <a:pt x="49" y="129"/>
                    <a:pt x="49" y="128"/>
                    <a:pt x="48" y="129"/>
                  </a:cubicBezTo>
                  <a:cubicBezTo>
                    <a:pt x="46" y="129"/>
                    <a:pt x="47" y="130"/>
                    <a:pt x="46" y="129"/>
                  </a:cubicBezTo>
                  <a:cubicBezTo>
                    <a:pt x="45" y="129"/>
                    <a:pt x="42" y="129"/>
                    <a:pt x="42" y="128"/>
                  </a:cubicBezTo>
                  <a:cubicBezTo>
                    <a:pt x="42" y="128"/>
                    <a:pt x="41" y="127"/>
                    <a:pt x="41" y="127"/>
                  </a:cubicBezTo>
                  <a:cubicBezTo>
                    <a:pt x="41" y="127"/>
                    <a:pt x="41" y="125"/>
                    <a:pt x="41" y="125"/>
                  </a:cubicBezTo>
                  <a:cubicBezTo>
                    <a:pt x="40" y="126"/>
                    <a:pt x="39" y="127"/>
                    <a:pt x="38" y="127"/>
                  </a:cubicBezTo>
                  <a:cubicBezTo>
                    <a:pt x="38" y="127"/>
                    <a:pt x="36" y="127"/>
                    <a:pt x="35" y="127"/>
                  </a:cubicBezTo>
                  <a:cubicBezTo>
                    <a:pt x="35" y="127"/>
                    <a:pt x="35" y="127"/>
                    <a:pt x="34" y="127"/>
                  </a:cubicBezTo>
                  <a:cubicBezTo>
                    <a:pt x="33" y="127"/>
                    <a:pt x="32" y="128"/>
                    <a:pt x="31" y="128"/>
                  </a:cubicBezTo>
                  <a:cubicBezTo>
                    <a:pt x="30" y="128"/>
                    <a:pt x="30" y="127"/>
                    <a:pt x="29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8" y="127"/>
                    <a:pt x="28" y="125"/>
                    <a:pt x="30" y="125"/>
                  </a:cubicBezTo>
                  <a:cubicBezTo>
                    <a:pt x="31" y="124"/>
                    <a:pt x="30" y="124"/>
                    <a:pt x="32" y="124"/>
                  </a:cubicBezTo>
                  <a:cubicBezTo>
                    <a:pt x="34" y="124"/>
                    <a:pt x="35" y="124"/>
                    <a:pt x="36" y="123"/>
                  </a:cubicBezTo>
                  <a:cubicBezTo>
                    <a:pt x="37" y="122"/>
                    <a:pt x="37" y="121"/>
                    <a:pt x="38" y="121"/>
                  </a:cubicBezTo>
                  <a:cubicBezTo>
                    <a:pt x="39" y="120"/>
                    <a:pt x="39" y="119"/>
                    <a:pt x="40" y="120"/>
                  </a:cubicBezTo>
                  <a:cubicBezTo>
                    <a:pt x="42" y="120"/>
                    <a:pt x="44" y="120"/>
                    <a:pt x="44" y="120"/>
                  </a:cubicBezTo>
                  <a:cubicBezTo>
                    <a:pt x="44" y="120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7"/>
                  </a:cubicBezTo>
                  <a:cubicBezTo>
                    <a:pt x="45" y="117"/>
                    <a:pt x="45" y="116"/>
                    <a:pt x="45" y="116"/>
                  </a:cubicBezTo>
                  <a:cubicBezTo>
                    <a:pt x="46" y="116"/>
                    <a:pt x="46" y="115"/>
                    <a:pt x="47" y="115"/>
                  </a:cubicBezTo>
                  <a:cubicBezTo>
                    <a:pt x="47" y="114"/>
                    <a:pt x="48" y="114"/>
                    <a:pt x="48" y="113"/>
                  </a:cubicBezTo>
                  <a:cubicBezTo>
                    <a:pt x="49" y="113"/>
                    <a:pt x="49" y="112"/>
                    <a:pt x="49" y="112"/>
                  </a:cubicBezTo>
                  <a:cubicBezTo>
                    <a:pt x="49" y="112"/>
                    <a:pt x="46" y="111"/>
                    <a:pt x="46" y="111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1" y="107"/>
                    <a:pt x="52" y="105"/>
                    <a:pt x="52" y="105"/>
                  </a:cubicBezTo>
                  <a:cubicBezTo>
                    <a:pt x="53" y="105"/>
                    <a:pt x="54" y="104"/>
                    <a:pt x="54" y="104"/>
                  </a:cubicBezTo>
                  <a:cubicBezTo>
                    <a:pt x="55" y="102"/>
                    <a:pt x="55" y="102"/>
                    <a:pt x="55" y="102"/>
                  </a:cubicBezTo>
                  <a:cubicBezTo>
                    <a:pt x="55" y="102"/>
                    <a:pt x="55" y="101"/>
                    <a:pt x="56" y="102"/>
                  </a:cubicBezTo>
                  <a:cubicBezTo>
                    <a:pt x="57" y="102"/>
                    <a:pt x="57" y="103"/>
                    <a:pt x="58" y="103"/>
                  </a:cubicBezTo>
                  <a:cubicBezTo>
                    <a:pt x="59" y="104"/>
                    <a:pt x="62" y="104"/>
                    <a:pt x="62" y="104"/>
                  </a:cubicBezTo>
                  <a:cubicBezTo>
                    <a:pt x="61" y="102"/>
                    <a:pt x="61" y="102"/>
                    <a:pt x="61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6" y="101"/>
                    <a:pt x="68" y="101"/>
                    <a:pt x="68" y="101"/>
                  </a:cubicBezTo>
                  <a:cubicBezTo>
                    <a:pt x="67" y="101"/>
                    <a:pt x="65" y="99"/>
                    <a:pt x="65" y="99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0" y="97"/>
                    <a:pt x="59" y="97"/>
                  </a:cubicBezTo>
                  <a:cubicBezTo>
                    <a:pt x="58" y="96"/>
                    <a:pt x="58" y="96"/>
                    <a:pt x="57" y="96"/>
                  </a:cubicBezTo>
                  <a:cubicBezTo>
                    <a:pt x="56" y="96"/>
                    <a:pt x="55" y="96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6"/>
                  </a:cubicBezTo>
                  <a:cubicBezTo>
                    <a:pt x="49" y="95"/>
                    <a:pt x="50" y="94"/>
                    <a:pt x="49" y="94"/>
                  </a:cubicBezTo>
                  <a:cubicBezTo>
                    <a:pt x="48" y="94"/>
                    <a:pt x="47" y="92"/>
                    <a:pt x="46" y="93"/>
                  </a:cubicBezTo>
                  <a:cubicBezTo>
                    <a:pt x="46" y="93"/>
                    <a:pt x="46" y="93"/>
                    <a:pt x="45" y="93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4"/>
                    <a:pt x="44" y="93"/>
                  </a:cubicBezTo>
                  <a:cubicBezTo>
                    <a:pt x="44" y="92"/>
                    <a:pt x="43" y="90"/>
                    <a:pt x="44" y="90"/>
                  </a:cubicBezTo>
                  <a:cubicBezTo>
                    <a:pt x="45" y="91"/>
                    <a:pt x="45" y="91"/>
                    <a:pt x="46" y="91"/>
                  </a:cubicBezTo>
                  <a:cubicBezTo>
                    <a:pt x="46" y="91"/>
                    <a:pt x="47" y="91"/>
                    <a:pt x="47" y="91"/>
                  </a:cubicBezTo>
                  <a:cubicBezTo>
                    <a:pt x="47" y="90"/>
                    <a:pt x="48" y="88"/>
                    <a:pt x="48" y="88"/>
                  </a:cubicBezTo>
                  <a:cubicBezTo>
                    <a:pt x="48" y="88"/>
                    <a:pt x="51" y="89"/>
                    <a:pt x="50" y="88"/>
                  </a:cubicBezTo>
                  <a:cubicBezTo>
                    <a:pt x="49" y="87"/>
                    <a:pt x="47" y="86"/>
                    <a:pt x="47" y="86"/>
                  </a:cubicBezTo>
                  <a:cubicBezTo>
                    <a:pt x="47" y="86"/>
                    <a:pt x="46" y="86"/>
                    <a:pt x="46" y="87"/>
                  </a:cubicBezTo>
                  <a:cubicBezTo>
                    <a:pt x="45" y="88"/>
                    <a:pt x="46" y="88"/>
                    <a:pt x="45" y="89"/>
                  </a:cubicBezTo>
                  <a:cubicBezTo>
                    <a:pt x="44" y="89"/>
                    <a:pt x="44" y="89"/>
                    <a:pt x="43" y="89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2" y="89"/>
                    <a:pt x="40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ubicBezTo>
                    <a:pt x="40" y="86"/>
                    <a:pt x="40" y="85"/>
                    <a:pt x="42" y="85"/>
                  </a:cubicBezTo>
                  <a:cubicBezTo>
                    <a:pt x="43" y="85"/>
                    <a:pt x="43" y="86"/>
                    <a:pt x="43" y="85"/>
                  </a:cubicBezTo>
                  <a:cubicBezTo>
                    <a:pt x="43" y="85"/>
                    <a:pt x="43" y="84"/>
                    <a:pt x="42" y="84"/>
                  </a:cubicBezTo>
                  <a:cubicBezTo>
                    <a:pt x="42" y="83"/>
                    <a:pt x="42" y="83"/>
                    <a:pt x="41" y="83"/>
                  </a:cubicBezTo>
                  <a:cubicBezTo>
                    <a:pt x="40" y="83"/>
                    <a:pt x="38" y="84"/>
                    <a:pt x="38" y="84"/>
                  </a:cubicBezTo>
                  <a:cubicBezTo>
                    <a:pt x="38" y="84"/>
                    <a:pt x="39" y="84"/>
                    <a:pt x="37" y="84"/>
                  </a:cubicBezTo>
                  <a:cubicBezTo>
                    <a:pt x="36" y="83"/>
                    <a:pt x="37" y="83"/>
                    <a:pt x="36" y="82"/>
                  </a:cubicBezTo>
                  <a:cubicBezTo>
                    <a:pt x="36" y="81"/>
                    <a:pt x="36" y="81"/>
                    <a:pt x="35" y="81"/>
                  </a:cubicBezTo>
                  <a:cubicBezTo>
                    <a:pt x="35" y="81"/>
                    <a:pt x="35" y="81"/>
                    <a:pt x="34" y="81"/>
                  </a:cubicBezTo>
                  <a:cubicBezTo>
                    <a:pt x="33" y="80"/>
                    <a:pt x="32" y="80"/>
                    <a:pt x="32" y="79"/>
                  </a:cubicBezTo>
                  <a:cubicBezTo>
                    <a:pt x="32" y="78"/>
                    <a:pt x="32" y="77"/>
                    <a:pt x="33" y="78"/>
                  </a:cubicBezTo>
                  <a:cubicBezTo>
                    <a:pt x="34" y="78"/>
                    <a:pt x="33" y="77"/>
                    <a:pt x="34" y="78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37" y="79"/>
                    <a:pt x="36" y="78"/>
                  </a:cubicBezTo>
                  <a:cubicBezTo>
                    <a:pt x="36" y="77"/>
                    <a:pt x="35" y="76"/>
                    <a:pt x="35" y="76"/>
                  </a:cubicBezTo>
                  <a:cubicBezTo>
                    <a:pt x="35" y="76"/>
                    <a:pt x="34" y="76"/>
                    <a:pt x="34" y="75"/>
                  </a:cubicBezTo>
                  <a:cubicBezTo>
                    <a:pt x="34" y="74"/>
                    <a:pt x="34" y="74"/>
                    <a:pt x="33" y="73"/>
                  </a:cubicBezTo>
                  <a:cubicBezTo>
                    <a:pt x="33" y="73"/>
                    <a:pt x="34" y="73"/>
                    <a:pt x="34" y="73"/>
                  </a:cubicBezTo>
                  <a:cubicBezTo>
                    <a:pt x="35" y="73"/>
                    <a:pt x="34" y="73"/>
                    <a:pt x="35" y="73"/>
                  </a:cubicBezTo>
                  <a:cubicBezTo>
                    <a:pt x="37" y="73"/>
                    <a:pt x="36" y="73"/>
                    <a:pt x="37" y="73"/>
                  </a:cubicBezTo>
                  <a:cubicBezTo>
                    <a:pt x="37" y="73"/>
                    <a:pt x="38" y="73"/>
                    <a:pt x="38" y="73"/>
                  </a:cubicBezTo>
                  <a:cubicBezTo>
                    <a:pt x="38" y="74"/>
                    <a:pt x="39" y="72"/>
                    <a:pt x="39" y="72"/>
                  </a:cubicBezTo>
                  <a:cubicBezTo>
                    <a:pt x="39" y="72"/>
                    <a:pt x="38" y="71"/>
                    <a:pt x="39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3" y="72"/>
                    <a:pt x="43" y="73"/>
                    <a:pt x="44" y="73"/>
                  </a:cubicBezTo>
                  <a:cubicBezTo>
                    <a:pt x="44" y="72"/>
                    <a:pt x="45" y="73"/>
                    <a:pt x="45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3" y="70"/>
                    <a:pt x="43" y="71"/>
                    <a:pt x="43" y="69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7" y="64"/>
                    <a:pt x="48" y="64"/>
                  </a:cubicBezTo>
                  <a:cubicBezTo>
                    <a:pt x="50" y="64"/>
                    <a:pt x="51" y="65"/>
                    <a:pt x="52" y="65"/>
                  </a:cubicBezTo>
                  <a:cubicBezTo>
                    <a:pt x="54" y="65"/>
                    <a:pt x="55" y="65"/>
                    <a:pt x="55" y="65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4" y="64"/>
                    <a:pt x="54" y="64"/>
                    <a:pt x="54" y="63"/>
                  </a:cubicBezTo>
                  <a:cubicBezTo>
                    <a:pt x="55" y="63"/>
                    <a:pt x="55" y="63"/>
                    <a:pt x="56" y="63"/>
                  </a:cubicBezTo>
                  <a:cubicBezTo>
                    <a:pt x="56" y="63"/>
                    <a:pt x="57" y="61"/>
                    <a:pt x="57" y="61"/>
                  </a:cubicBezTo>
                  <a:cubicBezTo>
                    <a:pt x="56" y="60"/>
                    <a:pt x="56" y="60"/>
                    <a:pt x="55" y="59"/>
                  </a:cubicBezTo>
                  <a:cubicBezTo>
                    <a:pt x="53" y="59"/>
                    <a:pt x="50" y="59"/>
                    <a:pt x="50" y="59"/>
                  </a:cubicBezTo>
                  <a:cubicBezTo>
                    <a:pt x="50" y="59"/>
                    <a:pt x="49" y="59"/>
                    <a:pt x="48" y="59"/>
                  </a:cubicBezTo>
                  <a:cubicBezTo>
                    <a:pt x="47" y="59"/>
                    <a:pt x="45" y="59"/>
                    <a:pt x="45" y="58"/>
                  </a:cubicBezTo>
                  <a:cubicBezTo>
                    <a:pt x="44" y="58"/>
                    <a:pt x="44" y="58"/>
                    <a:pt x="44" y="56"/>
                  </a:cubicBezTo>
                  <a:cubicBezTo>
                    <a:pt x="44" y="55"/>
                    <a:pt x="43" y="55"/>
                    <a:pt x="43" y="55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0" y="51"/>
                  </a:cubicBezTo>
                  <a:cubicBezTo>
                    <a:pt x="38" y="51"/>
                    <a:pt x="37" y="50"/>
                    <a:pt x="37" y="50"/>
                  </a:cubicBezTo>
                  <a:cubicBezTo>
                    <a:pt x="37" y="49"/>
                    <a:pt x="37" y="49"/>
                    <a:pt x="39" y="49"/>
                  </a:cubicBezTo>
                  <a:cubicBezTo>
                    <a:pt x="40" y="49"/>
                    <a:pt x="41" y="49"/>
                    <a:pt x="42" y="49"/>
                  </a:cubicBezTo>
                  <a:cubicBezTo>
                    <a:pt x="43" y="50"/>
                    <a:pt x="45" y="49"/>
                    <a:pt x="45" y="49"/>
                  </a:cubicBezTo>
                  <a:cubicBezTo>
                    <a:pt x="45" y="49"/>
                    <a:pt x="44" y="49"/>
                    <a:pt x="46" y="50"/>
                  </a:cubicBezTo>
                  <a:cubicBezTo>
                    <a:pt x="48" y="51"/>
                    <a:pt x="47" y="51"/>
                    <a:pt x="48" y="51"/>
                  </a:cubicBezTo>
                  <a:cubicBezTo>
                    <a:pt x="49" y="51"/>
                    <a:pt x="50" y="50"/>
                    <a:pt x="49" y="50"/>
                  </a:cubicBezTo>
                  <a:cubicBezTo>
                    <a:pt x="49" y="49"/>
                    <a:pt x="50" y="49"/>
                    <a:pt x="49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7"/>
                  </a:cubicBezTo>
                  <a:cubicBezTo>
                    <a:pt x="48" y="46"/>
                    <a:pt x="49" y="45"/>
                    <a:pt x="49" y="45"/>
                  </a:cubicBezTo>
                  <a:cubicBezTo>
                    <a:pt x="50" y="45"/>
                    <a:pt x="50" y="45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2"/>
                    <a:pt x="51" y="41"/>
                    <a:pt x="51" y="41"/>
                  </a:cubicBezTo>
                  <a:cubicBezTo>
                    <a:pt x="51" y="41"/>
                    <a:pt x="50" y="40"/>
                    <a:pt x="50" y="40"/>
                  </a:cubicBezTo>
                  <a:cubicBezTo>
                    <a:pt x="50" y="40"/>
                    <a:pt x="48" y="40"/>
                    <a:pt x="48" y="41"/>
                  </a:cubicBezTo>
                  <a:cubicBezTo>
                    <a:pt x="48" y="41"/>
                    <a:pt x="48" y="41"/>
                    <a:pt x="48" y="42"/>
                  </a:cubicBezTo>
                  <a:cubicBezTo>
                    <a:pt x="47" y="42"/>
                    <a:pt x="47" y="42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4"/>
                    <a:pt x="45" y="45"/>
                    <a:pt x="45" y="45"/>
                  </a:cubicBezTo>
                  <a:cubicBezTo>
                    <a:pt x="45" y="45"/>
                    <a:pt x="44" y="43"/>
                    <a:pt x="44" y="42"/>
                  </a:cubicBezTo>
                  <a:cubicBezTo>
                    <a:pt x="44" y="42"/>
                    <a:pt x="45" y="41"/>
                    <a:pt x="46" y="41"/>
                  </a:cubicBezTo>
                  <a:cubicBezTo>
                    <a:pt x="47" y="41"/>
                    <a:pt x="47" y="41"/>
                    <a:pt x="47" y="40"/>
                  </a:cubicBezTo>
                  <a:cubicBezTo>
                    <a:pt x="47" y="40"/>
                    <a:pt x="47" y="40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8" y="37"/>
                    <a:pt x="49" y="36"/>
                    <a:pt x="50" y="36"/>
                  </a:cubicBezTo>
                  <a:cubicBezTo>
                    <a:pt x="50" y="36"/>
                    <a:pt x="49" y="34"/>
                    <a:pt x="51" y="36"/>
                  </a:cubicBezTo>
                  <a:cubicBezTo>
                    <a:pt x="52" y="37"/>
                    <a:pt x="52" y="37"/>
                    <a:pt x="53" y="38"/>
                  </a:cubicBezTo>
                  <a:cubicBezTo>
                    <a:pt x="54" y="38"/>
                    <a:pt x="56" y="39"/>
                    <a:pt x="56" y="38"/>
                  </a:cubicBezTo>
                  <a:cubicBezTo>
                    <a:pt x="56" y="38"/>
                    <a:pt x="56" y="37"/>
                    <a:pt x="56" y="36"/>
                  </a:cubicBezTo>
                  <a:cubicBezTo>
                    <a:pt x="56" y="36"/>
                    <a:pt x="55" y="36"/>
                    <a:pt x="56" y="35"/>
                  </a:cubicBezTo>
                  <a:cubicBezTo>
                    <a:pt x="56" y="35"/>
                    <a:pt x="56" y="35"/>
                    <a:pt x="57" y="35"/>
                  </a:cubicBezTo>
                  <a:cubicBezTo>
                    <a:pt x="59" y="36"/>
                    <a:pt x="58" y="36"/>
                    <a:pt x="59" y="37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3" y="38"/>
                  </a:cubicBezTo>
                  <a:cubicBezTo>
                    <a:pt x="64" y="38"/>
                    <a:pt x="63" y="37"/>
                    <a:pt x="65" y="39"/>
                  </a:cubicBezTo>
                  <a:cubicBezTo>
                    <a:pt x="66" y="40"/>
                    <a:pt x="66" y="40"/>
                    <a:pt x="67" y="40"/>
                  </a:cubicBezTo>
                  <a:cubicBezTo>
                    <a:pt x="68" y="41"/>
                    <a:pt x="70" y="40"/>
                    <a:pt x="70" y="40"/>
                  </a:cubicBezTo>
                  <a:cubicBezTo>
                    <a:pt x="70" y="40"/>
                    <a:pt x="70" y="39"/>
                    <a:pt x="71" y="41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6"/>
                  </a:cubicBezTo>
                  <a:cubicBezTo>
                    <a:pt x="74" y="46"/>
                    <a:pt x="74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7" y="46"/>
                    <a:pt x="77" y="46"/>
                  </a:cubicBezTo>
                  <a:cubicBezTo>
                    <a:pt x="77" y="46"/>
                    <a:pt x="79" y="45"/>
                    <a:pt x="79" y="45"/>
                  </a:cubicBezTo>
                  <a:cubicBezTo>
                    <a:pt x="79" y="45"/>
                    <a:pt x="79" y="44"/>
                    <a:pt x="81" y="45"/>
                  </a:cubicBezTo>
                  <a:cubicBezTo>
                    <a:pt x="82" y="45"/>
                    <a:pt x="84" y="46"/>
                    <a:pt x="84" y="46"/>
                  </a:cubicBezTo>
                  <a:cubicBezTo>
                    <a:pt x="84" y="46"/>
                    <a:pt x="84" y="47"/>
                    <a:pt x="84" y="47"/>
                  </a:cubicBezTo>
                  <a:cubicBezTo>
                    <a:pt x="85" y="47"/>
                    <a:pt x="88" y="47"/>
                    <a:pt x="88" y="47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50"/>
                    <a:pt x="91" y="52"/>
                    <a:pt x="91" y="5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0" y="48"/>
                    <a:pt x="92" y="48"/>
                  </a:cubicBezTo>
                  <a:cubicBezTo>
                    <a:pt x="94" y="48"/>
                    <a:pt x="95" y="47"/>
                    <a:pt x="95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4"/>
                    <a:pt x="92" y="44"/>
                  </a:cubicBezTo>
                  <a:cubicBezTo>
                    <a:pt x="93" y="44"/>
                    <a:pt x="94" y="42"/>
                    <a:pt x="96" y="42"/>
                  </a:cubicBezTo>
                  <a:cubicBezTo>
                    <a:pt x="98" y="42"/>
                    <a:pt x="100" y="41"/>
                    <a:pt x="100" y="41"/>
                  </a:cubicBezTo>
                  <a:cubicBezTo>
                    <a:pt x="100" y="41"/>
                    <a:pt x="100" y="40"/>
                    <a:pt x="102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7" y="40"/>
                    <a:pt x="107" y="40"/>
                    <a:pt x="107" y="39"/>
                  </a:cubicBezTo>
                  <a:cubicBezTo>
                    <a:pt x="107" y="38"/>
                    <a:pt x="106" y="38"/>
                    <a:pt x="108" y="37"/>
                  </a:cubicBezTo>
                  <a:cubicBezTo>
                    <a:pt x="109" y="37"/>
                    <a:pt x="110" y="36"/>
                    <a:pt x="110" y="36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34"/>
                    <a:pt x="107" y="32"/>
                    <a:pt x="106" y="32"/>
                  </a:cubicBezTo>
                  <a:cubicBezTo>
                    <a:pt x="105" y="32"/>
                    <a:pt x="102" y="34"/>
                    <a:pt x="102" y="34"/>
                  </a:cubicBezTo>
                  <a:cubicBezTo>
                    <a:pt x="102" y="34"/>
                    <a:pt x="102" y="33"/>
                    <a:pt x="101" y="33"/>
                  </a:cubicBezTo>
                  <a:cubicBezTo>
                    <a:pt x="101" y="32"/>
                    <a:pt x="101" y="32"/>
                    <a:pt x="100" y="32"/>
                  </a:cubicBezTo>
                  <a:cubicBezTo>
                    <a:pt x="99" y="32"/>
                    <a:pt x="100" y="32"/>
                    <a:pt x="98" y="31"/>
                  </a:cubicBezTo>
                  <a:cubicBezTo>
                    <a:pt x="96" y="30"/>
                    <a:pt x="95" y="28"/>
                    <a:pt x="95" y="28"/>
                  </a:cubicBezTo>
                  <a:cubicBezTo>
                    <a:pt x="95" y="28"/>
                    <a:pt x="96" y="28"/>
                    <a:pt x="94" y="28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6"/>
                    <a:pt x="92" y="26"/>
                    <a:pt x="94" y="25"/>
                  </a:cubicBezTo>
                  <a:cubicBezTo>
                    <a:pt x="95" y="24"/>
                    <a:pt x="94" y="24"/>
                    <a:pt x="96" y="23"/>
                  </a:cubicBezTo>
                  <a:cubicBezTo>
                    <a:pt x="97" y="22"/>
                    <a:pt x="96" y="21"/>
                    <a:pt x="98" y="22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3" y="24"/>
                    <a:pt x="107" y="24"/>
                    <a:pt x="105" y="23"/>
                  </a:cubicBezTo>
                  <a:cubicBezTo>
                    <a:pt x="104" y="22"/>
                    <a:pt x="102" y="21"/>
                    <a:pt x="102" y="20"/>
                  </a:cubicBezTo>
                  <a:cubicBezTo>
                    <a:pt x="102" y="20"/>
                    <a:pt x="100" y="20"/>
                    <a:pt x="102" y="20"/>
                  </a:cubicBezTo>
                  <a:cubicBezTo>
                    <a:pt x="103" y="20"/>
                    <a:pt x="104" y="19"/>
                    <a:pt x="105" y="20"/>
                  </a:cubicBezTo>
                  <a:cubicBezTo>
                    <a:pt x="105" y="20"/>
                    <a:pt x="103" y="20"/>
                    <a:pt x="106" y="20"/>
                  </a:cubicBezTo>
                  <a:cubicBezTo>
                    <a:pt x="109" y="20"/>
                    <a:pt x="110" y="20"/>
                    <a:pt x="108" y="19"/>
                  </a:cubicBezTo>
                  <a:cubicBezTo>
                    <a:pt x="107" y="18"/>
                    <a:pt x="107" y="18"/>
                    <a:pt x="106" y="17"/>
                  </a:cubicBezTo>
                  <a:cubicBezTo>
                    <a:pt x="106" y="16"/>
                    <a:pt x="105" y="16"/>
                    <a:pt x="106" y="16"/>
                  </a:cubicBezTo>
                  <a:cubicBezTo>
                    <a:pt x="106" y="15"/>
                    <a:pt x="106" y="16"/>
                    <a:pt x="107" y="15"/>
                  </a:cubicBezTo>
                  <a:cubicBezTo>
                    <a:pt x="107" y="14"/>
                    <a:pt x="107" y="13"/>
                    <a:pt x="107" y="13"/>
                  </a:cubicBezTo>
                  <a:cubicBezTo>
                    <a:pt x="107" y="13"/>
                    <a:pt x="106" y="13"/>
                    <a:pt x="107" y="12"/>
                  </a:cubicBezTo>
                  <a:cubicBezTo>
                    <a:pt x="109" y="10"/>
                    <a:pt x="109" y="10"/>
                    <a:pt x="110" y="10"/>
                  </a:cubicBezTo>
                  <a:cubicBezTo>
                    <a:pt x="110" y="10"/>
                    <a:pt x="111" y="9"/>
                    <a:pt x="112" y="9"/>
                  </a:cubicBezTo>
                  <a:cubicBezTo>
                    <a:pt x="112" y="8"/>
                    <a:pt x="113" y="6"/>
                    <a:pt x="113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7" y="6"/>
                    <a:pt x="117" y="6"/>
                  </a:cubicBezTo>
                  <a:cubicBezTo>
                    <a:pt x="117" y="7"/>
                    <a:pt x="117" y="5"/>
                    <a:pt x="117" y="5"/>
                  </a:cubicBezTo>
                  <a:cubicBezTo>
                    <a:pt x="117" y="5"/>
                    <a:pt x="118" y="5"/>
                    <a:pt x="118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0" y="7"/>
                    <a:pt x="121" y="6"/>
                    <a:pt x="121" y="6"/>
                  </a:cubicBezTo>
                  <a:cubicBezTo>
                    <a:pt x="121" y="6"/>
                    <a:pt x="122" y="5"/>
                    <a:pt x="123" y="5"/>
                  </a:cubicBezTo>
                  <a:cubicBezTo>
                    <a:pt x="124" y="5"/>
                    <a:pt x="125" y="5"/>
                    <a:pt x="125" y="5"/>
                  </a:cubicBezTo>
                  <a:cubicBezTo>
                    <a:pt x="125" y="6"/>
                    <a:pt x="125" y="6"/>
                    <a:pt x="125" y="7"/>
                  </a:cubicBezTo>
                  <a:cubicBezTo>
                    <a:pt x="126" y="7"/>
                    <a:pt x="127" y="8"/>
                    <a:pt x="127" y="8"/>
                  </a:cubicBezTo>
                  <a:cubicBezTo>
                    <a:pt x="127" y="8"/>
                    <a:pt x="129" y="8"/>
                    <a:pt x="129" y="7"/>
                  </a:cubicBezTo>
                  <a:cubicBezTo>
                    <a:pt x="129" y="7"/>
                    <a:pt x="128" y="7"/>
                    <a:pt x="130" y="6"/>
                  </a:cubicBezTo>
                  <a:cubicBezTo>
                    <a:pt x="132" y="4"/>
                    <a:pt x="133" y="4"/>
                    <a:pt x="133" y="4"/>
                  </a:cubicBezTo>
                  <a:cubicBezTo>
                    <a:pt x="133" y="4"/>
                    <a:pt x="133" y="3"/>
                    <a:pt x="134" y="3"/>
                  </a:cubicBezTo>
                  <a:cubicBezTo>
                    <a:pt x="135" y="4"/>
                    <a:pt x="135" y="3"/>
                    <a:pt x="135" y="4"/>
                  </a:cubicBezTo>
                  <a:cubicBezTo>
                    <a:pt x="135" y="4"/>
                    <a:pt x="136" y="5"/>
                    <a:pt x="136" y="5"/>
                  </a:cubicBezTo>
                  <a:cubicBezTo>
                    <a:pt x="136" y="5"/>
                    <a:pt x="136" y="8"/>
                    <a:pt x="136" y="8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9"/>
                    <a:pt x="136" y="10"/>
                    <a:pt x="136" y="10"/>
                  </a:cubicBezTo>
                  <a:cubicBezTo>
                    <a:pt x="136" y="11"/>
                    <a:pt x="137" y="13"/>
                    <a:pt x="137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6" y="14"/>
                    <a:pt x="136" y="13"/>
                    <a:pt x="136" y="14"/>
                  </a:cubicBezTo>
                  <a:cubicBezTo>
                    <a:pt x="135" y="15"/>
                    <a:pt x="136" y="15"/>
                    <a:pt x="135" y="16"/>
                  </a:cubicBezTo>
                  <a:cubicBezTo>
                    <a:pt x="135" y="16"/>
                    <a:pt x="134" y="16"/>
                    <a:pt x="134" y="16"/>
                  </a:cubicBezTo>
                  <a:cubicBezTo>
                    <a:pt x="134" y="16"/>
                    <a:pt x="135" y="17"/>
                    <a:pt x="135" y="17"/>
                  </a:cubicBezTo>
                  <a:cubicBezTo>
                    <a:pt x="135" y="17"/>
                    <a:pt x="135" y="17"/>
                    <a:pt x="136" y="17"/>
                  </a:cubicBezTo>
                  <a:cubicBezTo>
                    <a:pt x="136" y="17"/>
                    <a:pt x="136" y="16"/>
                    <a:pt x="137" y="16"/>
                  </a:cubicBezTo>
                  <a:cubicBezTo>
                    <a:pt x="137" y="17"/>
                    <a:pt x="137" y="15"/>
                    <a:pt x="137" y="15"/>
                  </a:cubicBezTo>
                  <a:cubicBezTo>
                    <a:pt x="137" y="15"/>
                    <a:pt x="137" y="15"/>
                    <a:pt x="138" y="14"/>
                  </a:cubicBezTo>
                  <a:cubicBezTo>
                    <a:pt x="138" y="14"/>
                    <a:pt x="139" y="13"/>
                    <a:pt x="139" y="12"/>
                  </a:cubicBezTo>
                  <a:cubicBezTo>
                    <a:pt x="139" y="12"/>
                    <a:pt x="138" y="11"/>
                    <a:pt x="138" y="11"/>
                  </a:cubicBezTo>
                  <a:cubicBezTo>
                    <a:pt x="138" y="11"/>
                    <a:pt x="137" y="9"/>
                    <a:pt x="137" y="8"/>
                  </a:cubicBezTo>
                  <a:cubicBezTo>
                    <a:pt x="137" y="8"/>
                    <a:pt x="137" y="8"/>
                    <a:pt x="137" y="7"/>
                  </a:cubicBezTo>
                  <a:cubicBezTo>
                    <a:pt x="138" y="7"/>
                    <a:pt x="138" y="6"/>
                    <a:pt x="138" y="6"/>
                  </a:cubicBezTo>
                  <a:cubicBezTo>
                    <a:pt x="139" y="5"/>
                    <a:pt x="140" y="4"/>
                    <a:pt x="140" y="4"/>
                  </a:cubicBezTo>
                  <a:cubicBezTo>
                    <a:pt x="140" y="4"/>
                    <a:pt x="142" y="4"/>
                    <a:pt x="143" y="4"/>
                  </a:cubicBezTo>
                  <a:cubicBezTo>
                    <a:pt x="143" y="4"/>
                    <a:pt x="142" y="3"/>
                    <a:pt x="144" y="4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4" y="6"/>
                    <a:pt x="146" y="6"/>
                  </a:cubicBezTo>
                  <a:cubicBezTo>
                    <a:pt x="147" y="6"/>
                    <a:pt x="148" y="6"/>
                    <a:pt x="147" y="6"/>
                  </a:cubicBezTo>
                  <a:cubicBezTo>
                    <a:pt x="146" y="5"/>
                    <a:pt x="146" y="4"/>
                    <a:pt x="145" y="4"/>
                  </a:cubicBezTo>
                  <a:cubicBezTo>
                    <a:pt x="145" y="4"/>
                    <a:pt x="144" y="3"/>
                    <a:pt x="144" y="3"/>
                  </a:cubicBezTo>
                  <a:cubicBezTo>
                    <a:pt x="144" y="2"/>
                    <a:pt x="144" y="0"/>
                    <a:pt x="145" y="1"/>
                  </a:cubicBezTo>
                  <a:cubicBezTo>
                    <a:pt x="146" y="1"/>
                    <a:pt x="145" y="0"/>
                    <a:pt x="146" y="1"/>
                  </a:cubicBezTo>
                  <a:cubicBezTo>
                    <a:pt x="148" y="3"/>
                    <a:pt x="149" y="4"/>
                    <a:pt x="149" y="4"/>
                  </a:cubicBezTo>
                  <a:cubicBezTo>
                    <a:pt x="149" y="5"/>
                    <a:pt x="150" y="5"/>
                    <a:pt x="150" y="5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51" y="7"/>
                    <a:pt x="152" y="8"/>
                    <a:pt x="152" y="8"/>
                  </a:cubicBezTo>
                  <a:cubicBezTo>
                    <a:pt x="152" y="8"/>
                    <a:pt x="152" y="8"/>
                    <a:pt x="153" y="8"/>
                  </a:cubicBezTo>
                  <a:cubicBezTo>
                    <a:pt x="153" y="9"/>
                    <a:pt x="155" y="10"/>
                    <a:pt x="155" y="10"/>
                  </a:cubicBezTo>
                  <a:cubicBezTo>
                    <a:pt x="155" y="10"/>
                    <a:pt x="156" y="11"/>
                    <a:pt x="156" y="11"/>
                  </a:cubicBezTo>
                  <a:cubicBezTo>
                    <a:pt x="155" y="12"/>
                    <a:pt x="155" y="13"/>
                    <a:pt x="155" y="13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1" y="20"/>
                    <a:pt x="151" y="21"/>
                    <a:pt x="151" y="21"/>
                  </a:cubicBezTo>
                  <a:cubicBezTo>
                    <a:pt x="151" y="21"/>
                    <a:pt x="150" y="22"/>
                    <a:pt x="148" y="22"/>
                  </a:cubicBezTo>
                  <a:cubicBezTo>
                    <a:pt x="146" y="21"/>
                    <a:pt x="144" y="23"/>
                    <a:pt x="144" y="23"/>
                  </a:cubicBezTo>
                  <a:cubicBezTo>
                    <a:pt x="144" y="23"/>
                    <a:pt x="139" y="22"/>
                    <a:pt x="138" y="22"/>
                  </a:cubicBezTo>
                  <a:cubicBezTo>
                    <a:pt x="137" y="22"/>
                    <a:pt x="137" y="26"/>
                    <a:pt x="137" y="27"/>
                  </a:cubicBezTo>
                  <a:cubicBezTo>
                    <a:pt x="137" y="28"/>
                    <a:pt x="135" y="29"/>
                    <a:pt x="132" y="29"/>
                  </a:cubicBezTo>
                  <a:cubicBezTo>
                    <a:pt x="129" y="30"/>
                    <a:pt x="131" y="30"/>
                    <a:pt x="130" y="33"/>
                  </a:cubicBezTo>
                  <a:cubicBezTo>
                    <a:pt x="129" y="37"/>
                    <a:pt x="128" y="34"/>
                    <a:pt x="126" y="33"/>
                  </a:cubicBezTo>
                  <a:cubicBezTo>
                    <a:pt x="124" y="33"/>
                    <a:pt x="124" y="33"/>
                    <a:pt x="121" y="33"/>
                  </a:cubicBezTo>
                  <a:cubicBezTo>
                    <a:pt x="118" y="34"/>
                    <a:pt x="120" y="36"/>
                    <a:pt x="120" y="36"/>
                  </a:cubicBezTo>
                  <a:cubicBezTo>
                    <a:pt x="120" y="36"/>
                    <a:pt x="122" y="38"/>
                    <a:pt x="123" y="38"/>
                  </a:cubicBezTo>
                  <a:cubicBezTo>
                    <a:pt x="125" y="39"/>
                    <a:pt x="123" y="41"/>
                    <a:pt x="123" y="41"/>
                  </a:cubicBezTo>
                  <a:cubicBezTo>
                    <a:pt x="123" y="41"/>
                    <a:pt x="122" y="43"/>
                    <a:pt x="121" y="43"/>
                  </a:cubicBezTo>
                  <a:cubicBezTo>
                    <a:pt x="120" y="42"/>
                    <a:pt x="115" y="42"/>
                    <a:pt x="115" y="42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1" y="49"/>
                    <a:pt x="114" y="53"/>
                  </a:cubicBezTo>
                  <a:cubicBezTo>
                    <a:pt x="117" y="57"/>
                    <a:pt x="114" y="54"/>
                    <a:pt x="114" y="54"/>
                  </a:cubicBezTo>
                  <a:cubicBezTo>
                    <a:pt x="114" y="54"/>
                    <a:pt x="115" y="57"/>
                    <a:pt x="115" y="59"/>
                  </a:cubicBezTo>
                  <a:cubicBezTo>
                    <a:pt x="115" y="61"/>
                    <a:pt x="115" y="60"/>
                    <a:pt x="116" y="60"/>
                  </a:cubicBezTo>
                  <a:cubicBezTo>
                    <a:pt x="117" y="60"/>
                    <a:pt x="119" y="60"/>
                    <a:pt x="119" y="60"/>
                  </a:cubicBezTo>
                  <a:cubicBezTo>
                    <a:pt x="119" y="60"/>
                    <a:pt x="123" y="66"/>
                    <a:pt x="123" y="66"/>
                  </a:cubicBezTo>
                  <a:cubicBezTo>
                    <a:pt x="124" y="66"/>
                    <a:pt x="129" y="65"/>
                    <a:pt x="129" y="65"/>
                  </a:cubicBezTo>
                  <a:cubicBezTo>
                    <a:pt x="129" y="65"/>
                    <a:pt x="133" y="64"/>
                    <a:pt x="135" y="64"/>
                  </a:cubicBezTo>
                  <a:cubicBezTo>
                    <a:pt x="137" y="63"/>
                    <a:pt x="135" y="61"/>
                    <a:pt x="135" y="61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43" y="55"/>
                    <a:pt x="143" y="55"/>
                    <a:pt x="143" y="5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50" y="70"/>
                    <a:pt x="150" y="70"/>
                    <a:pt x="150" y="70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6" y="76"/>
                    <a:pt x="157" y="77"/>
                  </a:cubicBezTo>
                  <a:cubicBezTo>
                    <a:pt x="158" y="77"/>
                    <a:pt x="161" y="76"/>
                    <a:pt x="161" y="76"/>
                  </a:cubicBezTo>
                  <a:cubicBezTo>
                    <a:pt x="165" y="81"/>
                    <a:pt x="165" y="81"/>
                    <a:pt x="165" y="81"/>
                  </a:cubicBezTo>
                  <a:cubicBezTo>
                    <a:pt x="166" y="80"/>
                    <a:pt x="166" y="80"/>
                    <a:pt x="166" y="80"/>
                  </a:cubicBezTo>
                  <a:cubicBezTo>
                    <a:pt x="166" y="81"/>
                    <a:pt x="166" y="81"/>
                    <a:pt x="166" y="81"/>
                  </a:cubicBezTo>
                  <a:cubicBezTo>
                    <a:pt x="166" y="81"/>
                    <a:pt x="166" y="83"/>
                    <a:pt x="165" y="83"/>
                  </a:cubicBezTo>
                  <a:cubicBezTo>
                    <a:pt x="163" y="82"/>
                    <a:pt x="162" y="82"/>
                    <a:pt x="162" y="82"/>
                  </a:cubicBezTo>
                  <a:cubicBezTo>
                    <a:pt x="159" y="80"/>
                    <a:pt x="159" y="80"/>
                    <a:pt x="159" y="80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5" y="85"/>
                    <a:pt x="155" y="85"/>
                    <a:pt x="155" y="85"/>
                  </a:cubicBezTo>
                  <a:cubicBezTo>
                    <a:pt x="157" y="86"/>
                    <a:pt x="157" y="86"/>
                    <a:pt x="157" y="86"/>
                  </a:cubicBezTo>
                  <a:cubicBezTo>
                    <a:pt x="159" y="88"/>
                    <a:pt x="159" y="88"/>
                    <a:pt x="159" y="88"/>
                  </a:cubicBezTo>
                  <a:cubicBezTo>
                    <a:pt x="159" y="91"/>
                    <a:pt x="159" y="91"/>
                    <a:pt x="159" y="91"/>
                  </a:cubicBezTo>
                  <a:cubicBezTo>
                    <a:pt x="159" y="95"/>
                    <a:pt x="159" y="95"/>
                    <a:pt x="159" y="95"/>
                  </a:cubicBezTo>
                  <a:cubicBezTo>
                    <a:pt x="157" y="98"/>
                    <a:pt x="157" y="98"/>
                    <a:pt x="157" y="98"/>
                  </a:cubicBezTo>
                  <a:cubicBezTo>
                    <a:pt x="157" y="98"/>
                    <a:pt x="158" y="100"/>
                    <a:pt x="158" y="101"/>
                  </a:cubicBezTo>
                  <a:cubicBezTo>
                    <a:pt x="158" y="101"/>
                    <a:pt x="160" y="103"/>
                    <a:pt x="160" y="103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60" y="110"/>
                    <a:pt x="160" y="110"/>
                    <a:pt x="160" y="110"/>
                  </a:cubicBezTo>
                  <a:cubicBezTo>
                    <a:pt x="158" y="112"/>
                    <a:pt x="158" y="112"/>
                    <a:pt x="158" y="112"/>
                  </a:cubicBezTo>
                  <a:cubicBezTo>
                    <a:pt x="158" y="114"/>
                    <a:pt x="158" y="114"/>
                    <a:pt x="158" y="114"/>
                  </a:cubicBezTo>
                  <a:cubicBezTo>
                    <a:pt x="158" y="114"/>
                    <a:pt x="160" y="115"/>
                    <a:pt x="159" y="115"/>
                  </a:cubicBezTo>
                  <a:cubicBezTo>
                    <a:pt x="158" y="115"/>
                    <a:pt x="156" y="115"/>
                    <a:pt x="156" y="115"/>
                  </a:cubicBezTo>
                  <a:cubicBezTo>
                    <a:pt x="156" y="115"/>
                    <a:pt x="156" y="116"/>
                    <a:pt x="156" y="117"/>
                  </a:cubicBezTo>
                  <a:cubicBezTo>
                    <a:pt x="156" y="117"/>
                    <a:pt x="157" y="119"/>
                    <a:pt x="157" y="119"/>
                  </a:cubicBezTo>
                  <a:cubicBezTo>
                    <a:pt x="157" y="119"/>
                    <a:pt x="158" y="119"/>
                    <a:pt x="158" y="120"/>
                  </a:cubicBezTo>
                  <a:cubicBezTo>
                    <a:pt x="158" y="121"/>
                    <a:pt x="157" y="123"/>
                    <a:pt x="157" y="123"/>
                  </a:cubicBezTo>
                  <a:cubicBezTo>
                    <a:pt x="157" y="123"/>
                    <a:pt x="156" y="127"/>
                    <a:pt x="156" y="127"/>
                  </a:cubicBezTo>
                  <a:cubicBezTo>
                    <a:pt x="157" y="127"/>
                    <a:pt x="157" y="129"/>
                    <a:pt x="157" y="129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1" y="143"/>
                    <a:pt x="151" y="144"/>
                  </a:cubicBezTo>
                  <a:cubicBezTo>
                    <a:pt x="151" y="144"/>
                    <a:pt x="150" y="145"/>
                    <a:pt x="150" y="146"/>
                  </a:cubicBezTo>
                  <a:cubicBezTo>
                    <a:pt x="150" y="147"/>
                    <a:pt x="149" y="148"/>
                    <a:pt x="149" y="148"/>
                  </a:cubicBezTo>
                  <a:cubicBezTo>
                    <a:pt x="148" y="149"/>
                    <a:pt x="146" y="151"/>
                    <a:pt x="146" y="151"/>
                  </a:cubicBezTo>
                  <a:cubicBezTo>
                    <a:pt x="145" y="153"/>
                    <a:pt x="145" y="153"/>
                    <a:pt x="145" y="153"/>
                  </a:cubicBezTo>
                  <a:cubicBezTo>
                    <a:pt x="145" y="153"/>
                    <a:pt x="146" y="155"/>
                    <a:pt x="146" y="155"/>
                  </a:cubicBezTo>
                  <a:cubicBezTo>
                    <a:pt x="146" y="156"/>
                    <a:pt x="146" y="156"/>
                    <a:pt x="146" y="156"/>
                  </a:cubicBezTo>
                  <a:cubicBezTo>
                    <a:pt x="144" y="158"/>
                    <a:pt x="144" y="158"/>
                    <a:pt x="144" y="158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39" y="162"/>
                    <a:pt x="139" y="163"/>
                    <a:pt x="138" y="164"/>
                  </a:cubicBezTo>
                  <a:cubicBezTo>
                    <a:pt x="138" y="166"/>
                    <a:pt x="137" y="166"/>
                    <a:pt x="137" y="166"/>
                  </a:cubicBezTo>
                  <a:cubicBezTo>
                    <a:pt x="137" y="166"/>
                    <a:pt x="136" y="166"/>
                    <a:pt x="135" y="166"/>
                  </a:cubicBezTo>
                  <a:cubicBezTo>
                    <a:pt x="135" y="166"/>
                    <a:pt x="134" y="165"/>
                    <a:pt x="134" y="165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34" y="167"/>
                    <a:pt x="134" y="168"/>
                    <a:pt x="135" y="168"/>
                  </a:cubicBezTo>
                  <a:cubicBezTo>
                    <a:pt x="136" y="169"/>
                    <a:pt x="136" y="170"/>
                    <a:pt x="137" y="170"/>
                  </a:cubicBezTo>
                  <a:cubicBezTo>
                    <a:pt x="137" y="171"/>
                    <a:pt x="138" y="172"/>
                    <a:pt x="138" y="172"/>
                  </a:cubicBezTo>
                  <a:cubicBezTo>
                    <a:pt x="136" y="174"/>
                    <a:pt x="136" y="174"/>
                    <a:pt x="136" y="174"/>
                  </a:cubicBezTo>
                  <a:cubicBezTo>
                    <a:pt x="136" y="175"/>
                    <a:pt x="136" y="175"/>
                    <a:pt x="136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3" y="174"/>
                    <a:pt x="133" y="174"/>
                    <a:pt x="133" y="174"/>
                  </a:cubicBezTo>
                  <a:cubicBezTo>
                    <a:pt x="133" y="174"/>
                    <a:pt x="132" y="174"/>
                    <a:pt x="132" y="17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3" name="Freeform 45"/>
            <p:cNvSpPr>
              <a:spLocks/>
            </p:cNvSpPr>
            <p:nvPr/>
          </p:nvSpPr>
          <p:spPr bwMode="auto">
            <a:xfrm>
              <a:off x="2377254" y="5216239"/>
              <a:ext cx="422828" cy="639772"/>
            </a:xfrm>
            <a:custGeom>
              <a:avLst/>
              <a:gdLst>
                <a:gd name="T0" fmla="*/ 84 w 178"/>
                <a:gd name="T1" fmla="*/ 3 h 278"/>
                <a:gd name="T2" fmla="*/ 97 w 178"/>
                <a:gd name="T3" fmla="*/ 2 h 278"/>
                <a:gd name="T4" fmla="*/ 107 w 178"/>
                <a:gd name="T5" fmla="*/ 5 h 278"/>
                <a:gd name="T6" fmla="*/ 102 w 178"/>
                <a:gd name="T7" fmla="*/ 16 h 278"/>
                <a:gd name="T8" fmla="*/ 113 w 178"/>
                <a:gd name="T9" fmla="*/ 16 h 278"/>
                <a:gd name="T10" fmla="*/ 119 w 178"/>
                <a:gd name="T11" fmla="*/ 18 h 278"/>
                <a:gd name="T12" fmla="*/ 126 w 178"/>
                <a:gd name="T13" fmla="*/ 24 h 278"/>
                <a:gd name="T14" fmla="*/ 134 w 178"/>
                <a:gd name="T15" fmla="*/ 25 h 278"/>
                <a:gd name="T16" fmla="*/ 145 w 178"/>
                <a:gd name="T17" fmla="*/ 19 h 278"/>
                <a:gd name="T18" fmla="*/ 154 w 178"/>
                <a:gd name="T19" fmla="*/ 24 h 278"/>
                <a:gd name="T20" fmla="*/ 164 w 178"/>
                <a:gd name="T21" fmla="*/ 27 h 278"/>
                <a:gd name="T22" fmla="*/ 167 w 178"/>
                <a:gd name="T23" fmla="*/ 34 h 278"/>
                <a:gd name="T24" fmla="*/ 165 w 178"/>
                <a:gd name="T25" fmla="*/ 42 h 278"/>
                <a:gd name="T26" fmla="*/ 178 w 178"/>
                <a:gd name="T27" fmla="*/ 50 h 278"/>
                <a:gd name="T28" fmla="*/ 168 w 178"/>
                <a:gd name="T29" fmla="*/ 59 h 278"/>
                <a:gd name="T30" fmla="*/ 156 w 178"/>
                <a:gd name="T31" fmla="*/ 65 h 278"/>
                <a:gd name="T32" fmla="*/ 144 w 178"/>
                <a:gd name="T33" fmla="*/ 74 h 278"/>
                <a:gd name="T34" fmla="*/ 142 w 178"/>
                <a:gd name="T35" fmla="*/ 81 h 278"/>
                <a:gd name="T36" fmla="*/ 141 w 178"/>
                <a:gd name="T37" fmla="*/ 92 h 278"/>
                <a:gd name="T38" fmla="*/ 137 w 178"/>
                <a:gd name="T39" fmla="*/ 103 h 278"/>
                <a:gd name="T40" fmla="*/ 135 w 178"/>
                <a:gd name="T41" fmla="*/ 112 h 278"/>
                <a:gd name="T42" fmla="*/ 126 w 178"/>
                <a:gd name="T43" fmla="*/ 117 h 278"/>
                <a:gd name="T44" fmla="*/ 130 w 178"/>
                <a:gd name="T45" fmla="*/ 128 h 278"/>
                <a:gd name="T46" fmla="*/ 123 w 178"/>
                <a:gd name="T47" fmla="*/ 137 h 278"/>
                <a:gd name="T48" fmla="*/ 120 w 178"/>
                <a:gd name="T49" fmla="*/ 144 h 278"/>
                <a:gd name="T50" fmla="*/ 111 w 178"/>
                <a:gd name="T51" fmla="*/ 143 h 278"/>
                <a:gd name="T52" fmla="*/ 102 w 178"/>
                <a:gd name="T53" fmla="*/ 141 h 278"/>
                <a:gd name="T54" fmla="*/ 102 w 178"/>
                <a:gd name="T55" fmla="*/ 149 h 278"/>
                <a:gd name="T56" fmla="*/ 103 w 178"/>
                <a:gd name="T57" fmla="*/ 157 h 278"/>
                <a:gd name="T58" fmla="*/ 104 w 178"/>
                <a:gd name="T59" fmla="*/ 166 h 278"/>
                <a:gd name="T60" fmla="*/ 107 w 178"/>
                <a:gd name="T61" fmla="*/ 174 h 278"/>
                <a:gd name="T62" fmla="*/ 114 w 178"/>
                <a:gd name="T63" fmla="*/ 180 h 278"/>
                <a:gd name="T64" fmla="*/ 106 w 178"/>
                <a:gd name="T65" fmla="*/ 189 h 278"/>
                <a:gd name="T66" fmla="*/ 96 w 178"/>
                <a:gd name="T67" fmla="*/ 196 h 278"/>
                <a:gd name="T68" fmla="*/ 93 w 178"/>
                <a:gd name="T69" fmla="*/ 205 h 278"/>
                <a:gd name="T70" fmla="*/ 94 w 178"/>
                <a:gd name="T71" fmla="*/ 214 h 278"/>
                <a:gd name="T72" fmla="*/ 100 w 178"/>
                <a:gd name="T73" fmla="*/ 224 h 278"/>
                <a:gd name="T74" fmla="*/ 100 w 178"/>
                <a:gd name="T75" fmla="*/ 233 h 278"/>
                <a:gd name="T76" fmla="*/ 91 w 178"/>
                <a:gd name="T77" fmla="*/ 233 h 278"/>
                <a:gd name="T78" fmla="*/ 80 w 178"/>
                <a:gd name="T79" fmla="*/ 243 h 278"/>
                <a:gd name="T80" fmla="*/ 71 w 178"/>
                <a:gd name="T81" fmla="*/ 254 h 278"/>
                <a:gd name="T82" fmla="*/ 71 w 178"/>
                <a:gd name="T83" fmla="*/ 268 h 278"/>
                <a:gd name="T84" fmla="*/ 62 w 178"/>
                <a:gd name="T85" fmla="*/ 275 h 278"/>
                <a:gd name="T86" fmla="*/ 40 w 178"/>
                <a:gd name="T87" fmla="*/ 274 h 278"/>
                <a:gd name="T88" fmla="*/ 26 w 178"/>
                <a:gd name="T89" fmla="*/ 268 h 278"/>
                <a:gd name="T90" fmla="*/ 11 w 178"/>
                <a:gd name="T91" fmla="*/ 265 h 278"/>
                <a:gd name="T92" fmla="*/ 4 w 178"/>
                <a:gd name="T93" fmla="*/ 261 h 278"/>
                <a:gd name="T94" fmla="*/ 14 w 178"/>
                <a:gd name="T95" fmla="*/ 247 h 278"/>
                <a:gd name="T96" fmla="*/ 21 w 178"/>
                <a:gd name="T97" fmla="*/ 225 h 278"/>
                <a:gd name="T98" fmla="*/ 28 w 178"/>
                <a:gd name="T99" fmla="*/ 199 h 278"/>
                <a:gd name="T100" fmla="*/ 25 w 178"/>
                <a:gd name="T101" fmla="*/ 188 h 278"/>
                <a:gd name="T102" fmla="*/ 11 w 178"/>
                <a:gd name="T103" fmla="*/ 188 h 278"/>
                <a:gd name="T104" fmla="*/ 14 w 178"/>
                <a:gd name="T105" fmla="*/ 174 h 278"/>
                <a:gd name="T106" fmla="*/ 4 w 178"/>
                <a:gd name="T107" fmla="*/ 171 h 278"/>
                <a:gd name="T108" fmla="*/ 11 w 178"/>
                <a:gd name="T109" fmla="*/ 157 h 278"/>
                <a:gd name="T110" fmla="*/ 18 w 178"/>
                <a:gd name="T111" fmla="*/ 143 h 278"/>
                <a:gd name="T112" fmla="*/ 22 w 178"/>
                <a:gd name="T113" fmla="*/ 135 h 278"/>
                <a:gd name="T114" fmla="*/ 32 w 178"/>
                <a:gd name="T115" fmla="*/ 129 h 278"/>
                <a:gd name="T116" fmla="*/ 49 w 178"/>
                <a:gd name="T117" fmla="*/ 98 h 278"/>
                <a:gd name="T118" fmla="*/ 71 w 178"/>
                <a:gd name="T119" fmla="*/ 55 h 278"/>
                <a:gd name="T120" fmla="*/ 70 w 178"/>
                <a:gd name="T121" fmla="*/ 32 h 278"/>
                <a:gd name="T122" fmla="*/ 72 w 178"/>
                <a:gd name="T123" fmla="*/ 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278">
                  <a:moveTo>
                    <a:pt x="74" y="9"/>
                  </a:moveTo>
                  <a:cubicBezTo>
                    <a:pt x="74" y="9"/>
                    <a:pt x="78" y="6"/>
                    <a:pt x="78" y="6"/>
                  </a:cubicBezTo>
                  <a:cubicBezTo>
                    <a:pt x="78" y="6"/>
                    <a:pt x="79" y="5"/>
                    <a:pt x="79" y="5"/>
                  </a:cubicBezTo>
                  <a:cubicBezTo>
                    <a:pt x="80" y="5"/>
                    <a:pt x="81" y="5"/>
                    <a:pt x="82" y="5"/>
                  </a:cubicBezTo>
                  <a:cubicBezTo>
                    <a:pt x="82" y="5"/>
                    <a:pt x="83" y="4"/>
                    <a:pt x="83" y="4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8" y="2"/>
                    <a:pt x="88" y="2"/>
                    <a:pt x="88" y="2"/>
                  </a:cubicBezTo>
                  <a:cubicBezTo>
                    <a:pt x="88" y="2"/>
                    <a:pt x="89" y="2"/>
                    <a:pt x="89" y="2"/>
                  </a:cubicBezTo>
                  <a:cubicBezTo>
                    <a:pt x="89" y="2"/>
                    <a:pt x="93" y="1"/>
                    <a:pt x="93" y="1"/>
                  </a:cubicBezTo>
                  <a:cubicBezTo>
                    <a:pt x="93" y="1"/>
                    <a:pt x="94" y="2"/>
                    <a:pt x="95" y="2"/>
                  </a:cubicBezTo>
                  <a:cubicBezTo>
                    <a:pt x="95" y="2"/>
                    <a:pt x="97" y="2"/>
                    <a:pt x="97" y="2"/>
                  </a:cubicBezTo>
                  <a:cubicBezTo>
                    <a:pt x="98" y="2"/>
                    <a:pt x="100" y="1"/>
                    <a:pt x="100" y="1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4"/>
                    <a:pt x="105" y="4"/>
                  </a:cubicBezTo>
                  <a:cubicBezTo>
                    <a:pt x="105" y="4"/>
                    <a:pt x="105" y="5"/>
                    <a:pt x="106" y="5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07" y="6"/>
                    <a:pt x="107" y="9"/>
                    <a:pt x="107" y="9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104" y="10"/>
                    <a:pt x="103" y="10"/>
                    <a:pt x="103" y="11"/>
                  </a:cubicBezTo>
                  <a:cubicBezTo>
                    <a:pt x="103" y="11"/>
                    <a:pt x="101" y="12"/>
                    <a:pt x="101" y="12"/>
                  </a:cubicBezTo>
                  <a:cubicBezTo>
                    <a:pt x="101" y="13"/>
                    <a:pt x="100" y="13"/>
                    <a:pt x="101" y="14"/>
                  </a:cubicBezTo>
                  <a:cubicBezTo>
                    <a:pt x="101" y="15"/>
                    <a:pt x="102" y="16"/>
                    <a:pt x="102" y="16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9"/>
                    <a:pt x="103" y="19"/>
                  </a:cubicBezTo>
                  <a:cubicBezTo>
                    <a:pt x="103" y="20"/>
                    <a:pt x="104" y="19"/>
                    <a:pt x="105" y="19"/>
                  </a:cubicBezTo>
                  <a:cubicBezTo>
                    <a:pt x="107" y="19"/>
                    <a:pt x="108" y="18"/>
                    <a:pt x="109" y="18"/>
                  </a:cubicBezTo>
                  <a:cubicBezTo>
                    <a:pt x="109" y="18"/>
                    <a:pt x="110" y="18"/>
                    <a:pt x="110" y="18"/>
                  </a:cubicBezTo>
                  <a:cubicBezTo>
                    <a:pt x="111" y="17"/>
                    <a:pt x="113" y="16"/>
                    <a:pt x="113" y="16"/>
                  </a:cubicBezTo>
                  <a:cubicBezTo>
                    <a:pt x="113" y="16"/>
                    <a:pt x="113" y="14"/>
                    <a:pt x="114" y="15"/>
                  </a:cubicBezTo>
                  <a:cubicBezTo>
                    <a:pt x="114" y="15"/>
                    <a:pt x="114" y="17"/>
                    <a:pt x="114" y="17"/>
                  </a:cubicBezTo>
                  <a:cubicBezTo>
                    <a:pt x="114" y="17"/>
                    <a:pt x="113" y="19"/>
                    <a:pt x="113" y="19"/>
                  </a:cubicBezTo>
                  <a:cubicBezTo>
                    <a:pt x="114" y="20"/>
                    <a:pt x="115" y="19"/>
                    <a:pt x="115" y="19"/>
                  </a:cubicBezTo>
                  <a:cubicBezTo>
                    <a:pt x="116" y="18"/>
                    <a:pt x="117" y="18"/>
                    <a:pt x="117" y="18"/>
                  </a:cubicBezTo>
                  <a:cubicBezTo>
                    <a:pt x="119" y="18"/>
                    <a:pt x="119" y="18"/>
                    <a:pt x="119" y="18"/>
                  </a:cubicBezTo>
                  <a:cubicBezTo>
                    <a:pt x="119" y="18"/>
                    <a:pt x="121" y="18"/>
                    <a:pt x="121" y="18"/>
                  </a:cubicBezTo>
                  <a:cubicBezTo>
                    <a:pt x="121" y="18"/>
                    <a:pt x="122" y="19"/>
                    <a:pt x="123" y="19"/>
                  </a:cubicBezTo>
                  <a:cubicBezTo>
                    <a:pt x="123" y="20"/>
                    <a:pt x="126" y="21"/>
                    <a:pt x="126" y="21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23"/>
                    <a:pt x="124" y="25"/>
                    <a:pt x="125" y="25"/>
                  </a:cubicBezTo>
                  <a:cubicBezTo>
                    <a:pt x="125" y="25"/>
                    <a:pt x="126" y="24"/>
                    <a:pt x="126" y="24"/>
                  </a:cubicBezTo>
                  <a:cubicBezTo>
                    <a:pt x="127" y="24"/>
                    <a:pt x="128" y="23"/>
                    <a:pt x="128" y="23"/>
                  </a:cubicBezTo>
                  <a:cubicBezTo>
                    <a:pt x="128" y="23"/>
                    <a:pt x="128" y="22"/>
                    <a:pt x="128" y="22"/>
                  </a:cubicBezTo>
                  <a:cubicBezTo>
                    <a:pt x="128" y="23"/>
                    <a:pt x="130" y="24"/>
                    <a:pt x="130" y="24"/>
                  </a:cubicBezTo>
                  <a:cubicBezTo>
                    <a:pt x="130" y="24"/>
                    <a:pt x="131" y="26"/>
                    <a:pt x="131" y="26"/>
                  </a:cubicBezTo>
                  <a:cubicBezTo>
                    <a:pt x="131" y="26"/>
                    <a:pt x="133" y="25"/>
                    <a:pt x="133" y="25"/>
                  </a:cubicBezTo>
                  <a:cubicBezTo>
                    <a:pt x="133" y="25"/>
                    <a:pt x="133" y="25"/>
                    <a:pt x="134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6" y="26"/>
                    <a:pt x="139" y="26"/>
                    <a:pt x="139" y="26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5" y="19"/>
                    <a:pt x="145" y="19"/>
                  </a:cubicBezTo>
                  <a:cubicBezTo>
                    <a:pt x="145" y="19"/>
                    <a:pt x="146" y="19"/>
                    <a:pt x="146" y="20"/>
                  </a:cubicBezTo>
                  <a:cubicBezTo>
                    <a:pt x="146" y="20"/>
                    <a:pt x="148" y="22"/>
                    <a:pt x="148" y="22"/>
                  </a:cubicBezTo>
                  <a:cubicBezTo>
                    <a:pt x="148" y="22"/>
                    <a:pt x="150" y="22"/>
                    <a:pt x="150" y="22"/>
                  </a:cubicBezTo>
                  <a:cubicBezTo>
                    <a:pt x="151" y="22"/>
                    <a:pt x="151" y="21"/>
                    <a:pt x="152" y="22"/>
                  </a:cubicBezTo>
                  <a:cubicBezTo>
                    <a:pt x="152" y="23"/>
                    <a:pt x="152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5" y="25"/>
                    <a:pt x="157" y="25"/>
                    <a:pt x="157" y="25"/>
                  </a:cubicBezTo>
                  <a:cubicBezTo>
                    <a:pt x="158" y="23"/>
                    <a:pt x="158" y="23"/>
                    <a:pt x="158" y="23"/>
                  </a:cubicBezTo>
                  <a:cubicBezTo>
                    <a:pt x="158" y="23"/>
                    <a:pt x="158" y="22"/>
                    <a:pt x="159" y="23"/>
                  </a:cubicBezTo>
                  <a:cubicBezTo>
                    <a:pt x="160" y="23"/>
                    <a:pt x="160" y="25"/>
                    <a:pt x="160" y="25"/>
                  </a:cubicBezTo>
                  <a:cubicBezTo>
                    <a:pt x="160" y="25"/>
                    <a:pt x="161" y="26"/>
                    <a:pt x="161" y="26"/>
                  </a:cubicBezTo>
                  <a:cubicBezTo>
                    <a:pt x="161" y="26"/>
                    <a:pt x="164" y="27"/>
                    <a:pt x="164" y="27"/>
                  </a:cubicBezTo>
                  <a:cubicBezTo>
                    <a:pt x="164" y="27"/>
                    <a:pt x="166" y="26"/>
                    <a:pt x="166" y="26"/>
                  </a:cubicBezTo>
                  <a:cubicBezTo>
                    <a:pt x="167" y="26"/>
                    <a:pt x="167" y="28"/>
                    <a:pt x="167" y="28"/>
                  </a:cubicBezTo>
                  <a:cubicBezTo>
                    <a:pt x="167" y="28"/>
                    <a:pt x="167" y="29"/>
                    <a:pt x="167" y="29"/>
                  </a:cubicBezTo>
                  <a:cubicBezTo>
                    <a:pt x="166" y="30"/>
                    <a:pt x="166" y="30"/>
                    <a:pt x="167" y="30"/>
                  </a:cubicBezTo>
                  <a:cubicBezTo>
                    <a:pt x="167" y="31"/>
                    <a:pt x="168" y="32"/>
                    <a:pt x="168" y="32"/>
                  </a:cubicBezTo>
                  <a:cubicBezTo>
                    <a:pt x="168" y="32"/>
                    <a:pt x="167" y="34"/>
                    <a:pt x="167" y="34"/>
                  </a:cubicBezTo>
                  <a:cubicBezTo>
                    <a:pt x="167" y="35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5" y="38"/>
                    <a:pt x="165" y="38"/>
                    <a:pt x="165" y="38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5" y="40"/>
                    <a:pt x="165" y="40"/>
                  </a:cubicBezTo>
                  <a:cubicBezTo>
                    <a:pt x="164" y="40"/>
                    <a:pt x="165" y="42"/>
                    <a:pt x="165" y="42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66" y="43"/>
                    <a:pt x="168" y="42"/>
                    <a:pt x="168" y="42"/>
                  </a:cubicBezTo>
                  <a:cubicBezTo>
                    <a:pt x="168" y="42"/>
                    <a:pt x="171" y="43"/>
                    <a:pt x="171" y="43"/>
                  </a:cubicBezTo>
                  <a:cubicBezTo>
                    <a:pt x="171" y="43"/>
                    <a:pt x="173" y="44"/>
                    <a:pt x="173" y="45"/>
                  </a:cubicBezTo>
                  <a:cubicBezTo>
                    <a:pt x="174" y="45"/>
                    <a:pt x="176" y="47"/>
                    <a:pt x="176" y="47"/>
                  </a:cubicBezTo>
                  <a:cubicBezTo>
                    <a:pt x="178" y="50"/>
                    <a:pt x="178" y="50"/>
                    <a:pt x="178" y="50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74" y="55"/>
                    <a:pt x="174" y="55"/>
                    <a:pt x="174" y="55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56"/>
                    <a:pt x="171" y="58"/>
                    <a:pt x="171" y="58"/>
                  </a:cubicBezTo>
                  <a:cubicBezTo>
                    <a:pt x="171" y="58"/>
                    <a:pt x="169" y="59"/>
                    <a:pt x="169" y="59"/>
                  </a:cubicBezTo>
                  <a:cubicBezTo>
                    <a:pt x="168" y="59"/>
                    <a:pt x="168" y="59"/>
                    <a:pt x="168" y="59"/>
                  </a:cubicBezTo>
                  <a:cubicBezTo>
                    <a:pt x="165" y="62"/>
                    <a:pt x="165" y="62"/>
                    <a:pt x="165" y="62"/>
                  </a:cubicBezTo>
                  <a:cubicBezTo>
                    <a:pt x="163" y="63"/>
                    <a:pt x="163" y="63"/>
                    <a:pt x="163" y="63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6" y="65"/>
                    <a:pt x="156" y="65"/>
                    <a:pt x="156" y="65"/>
                  </a:cubicBezTo>
                  <a:cubicBezTo>
                    <a:pt x="153" y="66"/>
                    <a:pt x="153" y="66"/>
                    <a:pt x="153" y="66"/>
                  </a:cubicBezTo>
                  <a:cubicBezTo>
                    <a:pt x="153" y="67"/>
                    <a:pt x="153" y="67"/>
                    <a:pt x="153" y="67"/>
                  </a:cubicBezTo>
                  <a:cubicBezTo>
                    <a:pt x="149" y="69"/>
                    <a:pt x="149" y="69"/>
                    <a:pt x="149" y="69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2"/>
                    <a:pt x="146" y="72"/>
                    <a:pt x="146" y="73"/>
                  </a:cubicBezTo>
                  <a:cubicBezTo>
                    <a:pt x="145" y="73"/>
                    <a:pt x="144" y="74"/>
                    <a:pt x="144" y="74"/>
                  </a:cubicBezTo>
                  <a:cubicBezTo>
                    <a:pt x="142" y="73"/>
                    <a:pt x="142" y="73"/>
                    <a:pt x="142" y="73"/>
                  </a:cubicBezTo>
                  <a:cubicBezTo>
                    <a:pt x="141" y="74"/>
                    <a:pt x="141" y="74"/>
                    <a:pt x="141" y="74"/>
                  </a:cubicBezTo>
                  <a:cubicBezTo>
                    <a:pt x="141" y="76"/>
                    <a:pt x="141" y="76"/>
                    <a:pt x="141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2" y="78"/>
                    <a:pt x="142" y="78"/>
                  </a:cubicBezTo>
                  <a:cubicBezTo>
                    <a:pt x="142" y="79"/>
                    <a:pt x="142" y="81"/>
                    <a:pt x="142" y="81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5"/>
                    <a:pt x="143" y="85"/>
                  </a:cubicBezTo>
                  <a:cubicBezTo>
                    <a:pt x="143" y="85"/>
                    <a:pt x="141" y="86"/>
                    <a:pt x="141" y="86"/>
                  </a:cubicBezTo>
                  <a:cubicBezTo>
                    <a:pt x="141" y="87"/>
                    <a:pt x="141" y="87"/>
                    <a:pt x="141" y="87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89"/>
                    <a:pt x="142" y="92"/>
                    <a:pt x="141" y="92"/>
                  </a:cubicBezTo>
                  <a:cubicBezTo>
                    <a:pt x="141" y="93"/>
                    <a:pt x="140" y="95"/>
                    <a:pt x="140" y="95"/>
                  </a:cubicBezTo>
                  <a:cubicBezTo>
                    <a:pt x="139" y="96"/>
                    <a:pt x="139" y="96"/>
                    <a:pt x="139" y="96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7" y="107"/>
                    <a:pt x="137" y="107"/>
                    <a:pt x="137" y="107"/>
                  </a:cubicBezTo>
                  <a:cubicBezTo>
                    <a:pt x="138" y="109"/>
                    <a:pt x="138" y="109"/>
                    <a:pt x="138" y="109"/>
                  </a:cubicBezTo>
                  <a:cubicBezTo>
                    <a:pt x="137" y="111"/>
                    <a:pt x="137" y="111"/>
                    <a:pt x="137" y="111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1" y="114"/>
                    <a:pt x="131" y="114"/>
                    <a:pt x="131" y="114"/>
                  </a:cubicBezTo>
                  <a:cubicBezTo>
                    <a:pt x="130" y="114"/>
                    <a:pt x="130" y="114"/>
                    <a:pt x="130" y="114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6" y="119"/>
                    <a:pt x="126" y="120"/>
                    <a:pt x="126" y="120"/>
                  </a:cubicBezTo>
                  <a:cubicBezTo>
                    <a:pt x="127" y="120"/>
                    <a:pt x="127" y="121"/>
                    <a:pt x="127" y="121"/>
                  </a:cubicBezTo>
                  <a:cubicBezTo>
                    <a:pt x="128" y="123"/>
                    <a:pt x="128" y="123"/>
                    <a:pt x="128" y="123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30" y="128"/>
                    <a:pt x="129" y="130"/>
                    <a:pt x="129" y="130"/>
                  </a:cubicBezTo>
                  <a:cubicBezTo>
                    <a:pt x="129" y="130"/>
                    <a:pt x="128" y="132"/>
                    <a:pt x="128" y="132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26" y="136"/>
                    <a:pt x="126" y="136"/>
                    <a:pt x="126" y="136"/>
                  </a:cubicBezTo>
                  <a:cubicBezTo>
                    <a:pt x="125" y="137"/>
                    <a:pt x="125" y="137"/>
                    <a:pt x="125" y="137"/>
                  </a:cubicBezTo>
                  <a:cubicBezTo>
                    <a:pt x="123" y="137"/>
                    <a:pt x="123" y="137"/>
                    <a:pt x="123" y="137"/>
                  </a:cubicBezTo>
                  <a:cubicBezTo>
                    <a:pt x="123" y="138"/>
                    <a:pt x="123" y="138"/>
                    <a:pt x="123" y="138"/>
                  </a:cubicBezTo>
                  <a:cubicBezTo>
                    <a:pt x="122" y="140"/>
                    <a:pt x="122" y="140"/>
                    <a:pt x="122" y="140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3"/>
                    <a:pt x="121" y="143"/>
                    <a:pt x="121" y="143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0" y="144"/>
                    <a:pt x="119" y="144"/>
                    <a:pt x="119" y="144"/>
                  </a:cubicBezTo>
                  <a:cubicBezTo>
                    <a:pt x="118" y="144"/>
                    <a:pt x="117" y="145"/>
                    <a:pt x="117" y="145"/>
                  </a:cubicBezTo>
                  <a:cubicBezTo>
                    <a:pt x="117" y="145"/>
                    <a:pt x="115" y="145"/>
                    <a:pt x="115" y="144"/>
                  </a:cubicBezTo>
                  <a:cubicBezTo>
                    <a:pt x="115" y="144"/>
                    <a:pt x="114" y="145"/>
                    <a:pt x="113" y="144"/>
                  </a:cubicBezTo>
                  <a:cubicBezTo>
                    <a:pt x="113" y="144"/>
                    <a:pt x="112" y="143"/>
                    <a:pt x="112" y="143"/>
                  </a:cubicBezTo>
                  <a:cubicBezTo>
                    <a:pt x="111" y="143"/>
                    <a:pt x="111" y="143"/>
                    <a:pt x="111" y="143"/>
                  </a:cubicBezTo>
                  <a:cubicBezTo>
                    <a:pt x="109" y="143"/>
                    <a:pt x="109" y="143"/>
                    <a:pt x="109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4" y="143"/>
                    <a:pt x="104" y="143"/>
                    <a:pt x="104" y="143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8" y="141"/>
                    <a:pt x="98" y="142"/>
                    <a:pt x="99" y="143"/>
                  </a:cubicBezTo>
                  <a:cubicBezTo>
                    <a:pt x="99" y="143"/>
                    <a:pt x="100" y="145"/>
                    <a:pt x="100" y="145"/>
                  </a:cubicBezTo>
                  <a:cubicBezTo>
                    <a:pt x="100" y="145"/>
                    <a:pt x="100" y="147"/>
                    <a:pt x="100" y="147"/>
                  </a:cubicBezTo>
                  <a:cubicBezTo>
                    <a:pt x="100" y="147"/>
                    <a:pt x="102" y="149"/>
                    <a:pt x="102" y="149"/>
                  </a:cubicBezTo>
                  <a:cubicBezTo>
                    <a:pt x="102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3" y="152"/>
                    <a:pt x="105" y="153"/>
                    <a:pt x="105" y="153"/>
                  </a:cubicBezTo>
                  <a:cubicBezTo>
                    <a:pt x="105" y="155"/>
                    <a:pt x="105" y="155"/>
                    <a:pt x="105" y="155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3" y="157"/>
                    <a:pt x="103" y="157"/>
                    <a:pt x="103" y="157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5" y="163"/>
                    <a:pt x="105" y="163"/>
                    <a:pt x="105" y="163"/>
                  </a:cubicBezTo>
                  <a:cubicBezTo>
                    <a:pt x="104" y="164"/>
                    <a:pt x="104" y="164"/>
                    <a:pt x="104" y="164"/>
                  </a:cubicBezTo>
                  <a:cubicBezTo>
                    <a:pt x="104" y="166"/>
                    <a:pt x="104" y="166"/>
                    <a:pt x="104" y="166"/>
                  </a:cubicBezTo>
                  <a:cubicBezTo>
                    <a:pt x="105" y="168"/>
                    <a:pt x="105" y="168"/>
                    <a:pt x="105" y="168"/>
                  </a:cubicBezTo>
                  <a:cubicBezTo>
                    <a:pt x="106" y="170"/>
                    <a:pt x="106" y="170"/>
                    <a:pt x="106" y="170"/>
                  </a:cubicBezTo>
                  <a:cubicBezTo>
                    <a:pt x="108" y="170"/>
                    <a:pt x="108" y="170"/>
                    <a:pt x="108" y="170"/>
                  </a:cubicBezTo>
                  <a:cubicBezTo>
                    <a:pt x="108" y="172"/>
                    <a:pt x="108" y="172"/>
                    <a:pt x="108" y="172"/>
                  </a:cubicBezTo>
                  <a:cubicBezTo>
                    <a:pt x="107" y="173"/>
                    <a:pt x="107" y="173"/>
                    <a:pt x="107" y="173"/>
                  </a:cubicBezTo>
                  <a:cubicBezTo>
                    <a:pt x="107" y="173"/>
                    <a:pt x="107" y="174"/>
                    <a:pt x="107" y="174"/>
                  </a:cubicBezTo>
                  <a:cubicBezTo>
                    <a:pt x="108" y="174"/>
                    <a:pt x="109" y="175"/>
                    <a:pt x="109" y="175"/>
                  </a:cubicBezTo>
                  <a:cubicBezTo>
                    <a:pt x="111" y="174"/>
                    <a:pt x="111" y="174"/>
                    <a:pt x="111" y="174"/>
                  </a:cubicBezTo>
                  <a:cubicBezTo>
                    <a:pt x="111" y="174"/>
                    <a:pt x="112" y="174"/>
                    <a:pt x="112" y="174"/>
                  </a:cubicBezTo>
                  <a:cubicBezTo>
                    <a:pt x="112" y="175"/>
                    <a:pt x="113" y="177"/>
                    <a:pt x="113" y="177"/>
                  </a:cubicBezTo>
                  <a:cubicBezTo>
                    <a:pt x="114" y="178"/>
                    <a:pt x="114" y="178"/>
                    <a:pt x="114" y="178"/>
                  </a:cubicBezTo>
                  <a:cubicBezTo>
                    <a:pt x="114" y="180"/>
                    <a:pt x="114" y="180"/>
                    <a:pt x="114" y="180"/>
                  </a:cubicBezTo>
                  <a:cubicBezTo>
                    <a:pt x="112" y="182"/>
                    <a:pt x="112" y="182"/>
                    <a:pt x="112" y="182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09" y="185"/>
                    <a:pt x="109" y="185"/>
                    <a:pt x="109" y="185"/>
                  </a:cubicBezTo>
                  <a:cubicBezTo>
                    <a:pt x="109" y="187"/>
                    <a:pt x="109" y="187"/>
                    <a:pt x="109" y="187"/>
                  </a:cubicBezTo>
                  <a:cubicBezTo>
                    <a:pt x="108" y="188"/>
                    <a:pt x="108" y="188"/>
                    <a:pt x="108" y="188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104" y="190"/>
                    <a:pt x="104" y="190"/>
                    <a:pt x="104" y="190"/>
                  </a:cubicBezTo>
                  <a:cubicBezTo>
                    <a:pt x="103" y="190"/>
                    <a:pt x="103" y="190"/>
                    <a:pt x="103" y="190"/>
                  </a:cubicBezTo>
                  <a:cubicBezTo>
                    <a:pt x="102" y="191"/>
                    <a:pt x="102" y="191"/>
                    <a:pt x="102" y="191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6" y="196"/>
                    <a:pt x="96" y="196"/>
                    <a:pt x="96" y="196"/>
                  </a:cubicBezTo>
                  <a:cubicBezTo>
                    <a:pt x="96" y="196"/>
                    <a:pt x="96" y="198"/>
                    <a:pt x="96" y="198"/>
                  </a:cubicBezTo>
                  <a:cubicBezTo>
                    <a:pt x="96" y="198"/>
                    <a:pt x="97" y="199"/>
                    <a:pt x="97" y="199"/>
                  </a:cubicBezTo>
                  <a:cubicBezTo>
                    <a:pt x="97" y="199"/>
                    <a:pt x="95" y="201"/>
                    <a:pt x="95" y="201"/>
                  </a:cubicBezTo>
                  <a:cubicBezTo>
                    <a:pt x="95" y="201"/>
                    <a:pt x="93" y="202"/>
                    <a:pt x="93" y="202"/>
                  </a:cubicBezTo>
                  <a:cubicBezTo>
                    <a:pt x="92" y="204"/>
                    <a:pt x="92" y="204"/>
                    <a:pt x="92" y="204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1" y="208"/>
                    <a:pt x="91" y="208"/>
                    <a:pt x="91" y="208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09"/>
                    <a:pt x="93" y="212"/>
                    <a:pt x="93" y="212"/>
                  </a:cubicBezTo>
                  <a:cubicBezTo>
                    <a:pt x="93" y="213"/>
                    <a:pt x="94" y="214"/>
                    <a:pt x="94" y="214"/>
                  </a:cubicBezTo>
                  <a:cubicBezTo>
                    <a:pt x="94" y="214"/>
                    <a:pt x="95" y="215"/>
                    <a:pt x="95" y="215"/>
                  </a:cubicBezTo>
                  <a:cubicBezTo>
                    <a:pt x="95" y="216"/>
                    <a:pt x="95" y="217"/>
                    <a:pt x="95" y="218"/>
                  </a:cubicBezTo>
                  <a:cubicBezTo>
                    <a:pt x="95" y="219"/>
                    <a:pt x="96" y="221"/>
                    <a:pt x="96" y="221"/>
                  </a:cubicBezTo>
                  <a:cubicBezTo>
                    <a:pt x="97" y="223"/>
                    <a:pt x="97" y="223"/>
                    <a:pt x="97" y="223"/>
                  </a:cubicBezTo>
                  <a:cubicBezTo>
                    <a:pt x="97" y="223"/>
                    <a:pt x="97" y="224"/>
                    <a:pt x="97" y="224"/>
                  </a:cubicBezTo>
                  <a:cubicBezTo>
                    <a:pt x="98" y="224"/>
                    <a:pt x="100" y="224"/>
                    <a:pt x="100" y="224"/>
                  </a:cubicBezTo>
                  <a:cubicBezTo>
                    <a:pt x="100" y="224"/>
                    <a:pt x="102" y="224"/>
                    <a:pt x="102" y="224"/>
                  </a:cubicBezTo>
                  <a:cubicBezTo>
                    <a:pt x="102" y="224"/>
                    <a:pt x="103" y="223"/>
                    <a:pt x="104" y="224"/>
                  </a:cubicBezTo>
                  <a:cubicBezTo>
                    <a:pt x="104" y="224"/>
                    <a:pt x="104" y="225"/>
                    <a:pt x="104" y="225"/>
                  </a:cubicBezTo>
                  <a:cubicBezTo>
                    <a:pt x="104" y="225"/>
                    <a:pt x="104" y="226"/>
                    <a:pt x="104" y="226"/>
                  </a:cubicBezTo>
                  <a:cubicBezTo>
                    <a:pt x="100" y="230"/>
                    <a:pt x="100" y="230"/>
                    <a:pt x="100" y="230"/>
                  </a:cubicBezTo>
                  <a:cubicBezTo>
                    <a:pt x="100" y="233"/>
                    <a:pt x="100" y="233"/>
                    <a:pt x="100" y="233"/>
                  </a:cubicBezTo>
                  <a:cubicBezTo>
                    <a:pt x="100" y="233"/>
                    <a:pt x="99" y="233"/>
                    <a:pt x="99" y="233"/>
                  </a:cubicBezTo>
                  <a:cubicBezTo>
                    <a:pt x="98" y="233"/>
                    <a:pt x="97" y="233"/>
                    <a:pt x="97" y="233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3" y="232"/>
                    <a:pt x="93" y="232"/>
                    <a:pt x="93" y="232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93" y="233"/>
                    <a:pt x="91" y="233"/>
                    <a:pt x="91" y="233"/>
                  </a:cubicBezTo>
                  <a:cubicBezTo>
                    <a:pt x="91" y="233"/>
                    <a:pt x="88" y="233"/>
                    <a:pt x="88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6" y="238"/>
                    <a:pt x="86" y="238"/>
                    <a:pt x="86" y="238"/>
                  </a:cubicBezTo>
                  <a:cubicBezTo>
                    <a:pt x="84" y="240"/>
                    <a:pt x="84" y="240"/>
                    <a:pt x="84" y="240"/>
                  </a:cubicBezTo>
                  <a:cubicBezTo>
                    <a:pt x="82" y="241"/>
                    <a:pt x="82" y="241"/>
                    <a:pt x="82" y="241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77" y="244"/>
                    <a:pt x="77" y="244"/>
                    <a:pt x="77" y="244"/>
                  </a:cubicBezTo>
                  <a:cubicBezTo>
                    <a:pt x="77" y="244"/>
                    <a:pt x="76" y="245"/>
                    <a:pt x="76" y="245"/>
                  </a:cubicBezTo>
                  <a:cubicBezTo>
                    <a:pt x="76" y="246"/>
                    <a:pt x="75" y="249"/>
                    <a:pt x="75" y="249"/>
                  </a:cubicBezTo>
                  <a:cubicBezTo>
                    <a:pt x="75" y="249"/>
                    <a:pt x="73" y="250"/>
                    <a:pt x="73" y="251"/>
                  </a:cubicBezTo>
                  <a:cubicBezTo>
                    <a:pt x="73" y="251"/>
                    <a:pt x="71" y="252"/>
                    <a:pt x="71" y="252"/>
                  </a:cubicBezTo>
                  <a:cubicBezTo>
                    <a:pt x="71" y="252"/>
                    <a:pt x="71" y="254"/>
                    <a:pt x="71" y="254"/>
                  </a:cubicBezTo>
                  <a:cubicBezTo>
                    <a:pt x="71" y="254"/>
                    <a:pt x="72" y="256"/>
                    <a:pt x="72" y="256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2" y="261"/>
                    <a:pt x="72" y="261"/>
                    <a:pt x="72" y="261"/>
                  </a:cubicBezTo>
                  <a:cubicBezTo>
                    <a:pt x="73" y="263"/>
                    <a:pt x="73" y="263"/>
                    <a:pt x="73" y="263"/>
                  </a:cubicBezTo>
                  <a:cubicBezTo>
                    <a:pt x="72" y="265"/>
                    <a:pt x="72" y="265"/>
                    <a:pt x="72" y="265"/>
                  </a:cubicBezTo>
                  <a:cubicBezTo>
                    <a:pt x="71" y="268"/>
                    <a:pt x="71" y="268"/>
                    <a:pt x="71" y="268"/>
                  </a:cubicBezTo>
                  <a:cubicBezTo>
                    <a:pt x="71" y="269"/>
                    <a:pt x="71" y="269"/>
                    <a:pt x="71" y="269"/>
                  </a:cubicBezTo>
                  <a:cubicBezTo>
                    <a:pt x="71" y="271"/>
                    <a:pt x="71" y="271"/>
                    <a:pt x="71" y="271"/>
                  </a:cubicBezTo>
                  <a:cubicBezTo>
                    <a:pt x="71" y="275"/>
                    <a:pt x="71" y="275"/>
                    <a:pt x="71" y="275"/>
                  </a:cubicBezTo>
                  <a:cubicBezTo>
                    <a:pt x="68" y="274"/>
                    <a:pt x="68" y="274"/>
                    <a:pt x="68" y="274"/>
                  </a:cubicBezTo>
                  <a:cubicBezTo>
                    <a:pt x="65" y="274"/>
                    <a:pt x="65" y="274"/>
                    <a:pt x="65" y="274"/>
                  </a:cubicBezTo>
                  <a:cubicBezTo>
                    <a:pt x="62" y="275"/>
                    <a:pt x="62" y="275"/>
                    <a:pt x="62" y="275"/>
                  </a:cubicBezTo>
                  <a:cubicBezTo>
                    <a:pt x="58" y="277"/>
                    <a:pt x="58" y="277"/>
                    <a:pt x="58" y="277"/>
                  </a:cubicBezTo>
                  <a:cubicBezTo>
                    <a:pt x="52" y="278"/>
                    <a:pt x="52" y="278"/>
                    <a:pt x="52" y="278"/>
                  </a:cubicBezTo>
                  <a:cubicBezTo>
                    <a:pt x="47" y="278"/>
                    <a:pt x="47" y="278"/>
                    <a:pt x="47" y="278"/>
                  </a:cubicBezTo>
                  <a:cubicBezTo>
                    <a:pt x="44" y="277"/>
                    <a:pt x="44" y="277"/>
                    <a:pt x="44" y="277"/>
                  </a:cubicBezTo>
                  <a:cubicBezTo>
                    <a:pt x="42" y="276"/>
                    <a:pt x="42" y="276"/>
                    <a:pt x="42" y="276"/>
                  </a:cubicBezTo>
                  <a:cubicBezTo>
                    <a:pt x="40" y="274"/>
                    <a:pt x="40" y="274"/>
                    <a:pt x="40" y="274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4" y="271"/>
                    <a:pt x="34" y="271"/>
                    <a:pt x="34" y="271"/>
                  </a:cubicBezTo>
                  <a:cubicBezTo>
                    <a:pt x="32" y="270"/>
                    <a:pt x="32" y="270"/>
                    <a:pt x="32" y="27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22" y="266"/>
                    <a:pt x="22" y="266"/>
                    <a:pt x="22" y="266"/>
                  </a:cubicBezTo>
                  <a:cubicBezTo>
                    <a:pt x="18" y="264"/>
                    <a:pt x="18" y="264"/>
                    <a:pt x="18" y="264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266"/>
                    <a:pt x="16" y="266"/>
                    <a:pt x="16" y="266"/>
                  </a:cubicBezTo>
                  <a:cubicBezTo>
                    <a:pt x="13" y="265"/>
                    <a:pt x="13" y="265"/>
                    <a:pt x="13" y="265"/>
                  </a:cubicBezTo>
                  <a:cubicBezTo>
                    <a:pt x="11" y="265"/>
                    <a:pt x="11" y="265"/>
                    <a:pt x="11" y="265"/>
                  </a:cubicBezTo>
                  <a:cubicBezTo>
                    <a:pt x="9" y="265"/>
                    <a:pt x="9" y="265"/>
                    <a:pt x="9" y="265"/>
                  </a:cubicBezTo>
                  <a:cubicBezTo>
                    <a:pt x="5" y="266"/>
                    <a:pt x="5" y="266"/>
                    <a:pt x="5" y="266"/>
                  </a:cubicBezTo>
                  <a:cubicBezTo>
                    <a:pt x="2" y="267"/>
                    <a:pt x="2" y="267"/>
                    <a:pt x="2" y="267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2" y="264"/>
                    <a:pt x="2" y="264"/>
                    <a:pt x="2" y="264"/>
                  </a:cubicBezTo>
                  <a:cubicBezTo>
                    <a:pt x="4" y="261"/>
                    <a:pt x="4" y="261"/>
                    <a:pt x="4" y="261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7" y="257"/>
                    <a:pt x="7" y="257"/>
                    <a:pt x="7" y="257"/>
                  </a:cubicBezTo>
                  <a:cubicBezTo>
                    <a:pt x="10" y="255"/>
                    <a:pt x="10" y="255"/>
                    <a:pt x="10" y="255"/>
                  </a:cubicBezTo>
                  <a:cubicBezTo>
                    <a:pt x="10" y="252"/>
                    <a:pt x="10" y="252"/>
                    <a:pt x="10" y="252"/>
                  </a:cubicBezTo>
                  <a:cubicBezTo>
                    <a:pt x="12" y="248"/>
                    <a:pt x="12" y="248"/>
                    <a:pt x="12" y="248"/>
                  </a:cubicBezTo>
                  <a:cubicBezTo>
                    <a:pt x="12" y="248"/>
                    <a:pt x="14" y="248"/>
                    <a:pt x="14" y="247"/>
                  </a:cubicBezTo>
                  <a:cubicBezTo>
                    <a:pt x="15" y="245"/>
                    <a:pt x="15" y="244"/>
                    <a:pt x="16" y="243"/>
                  </a:cubicBezTo>
                  <a:cubicBezTo>
                    <a:pt x="16" y="242"/>
                    <a:pt x="17" y="242"/>
                    <a:pt x="17" y="241"/>
                  </a:cubicBezTo>
                  <a:cubicBezTo>
                    <a:pt x="17" y="240"/>
                    <a:pt x="16" y="237"/>
                    <a:pt x="16" y="237"/>
                  </a:cubicBezTo>
                  <a:cubicBezTo>
                    <a:pt x="16" y="237"/>
                    <a:pt x="18" y="233"/>
                    <a:pt x="18" y="233"/>
                  </a:cubicBezTo>
                  <a:cubicBezTo>
                    <a:pt x="19" y="232"/>
                    <a:pt x="19" y="228"/>
                    <a:pt x="19" y="228"/>
                  </a:cubicBezTo>
                  <a:cubicBezTo>
                    <a:pt x="19" y="228"/>
                    <a:pt x="20" y="226"/>
                    <a:pt x="21" y="225"/>
                  </a:cubicBezTo>
                  <a:cubicBezTo>
                    <a:pt x="21" y="224"/>
                    <a:pt x="21" y="221"/>
                    <a:pt x="21" y="221"/>
                  </a:cubicBezTo>
                  <a:cubicBezTo>
                    <a:pt x="19" y="218"/>
                    <a:pt x="19" y="218"/>
                    <a:pt x="19" y="218"/>
                  </a:cubicBezTo>
                  <a:cubicBezTo>
                    <a:pt x="21" y="214"/>
                    <a:pt x="21" y="214"/>
                    <a:pt x="21" y="214"/>
                  </a:cubicBezTo>
                  <a:cubicBezTo>
                    <a:pt x="24" y="209"/>
                    <a:pt x="24" y="209"/>
                    <a:pt x="24" y="209"/>
                  </a:cubicBezTo>
                  <a:cubicBezTo>
                    <a:pt x="27" y="204"/>
                    <a:pt x="27" y="204"/>
                    <a:pt x="27" y="204"/>
                  </a:cubicBezTo>
                  <a:cubicBezTo>
                    <a:pt x="28" y="199"/>
                    <a:pt x="28" y="199"/>
                    <a:pt x="28" y="199"/>
                  </a:cubicBezTo>
                  <a:cubicBezTo>
                    <a:pt x="28" y="199"/>
                    <a:pt x="28" y="197"/>
                    <a:pt x="28" y="196"/>
                  </a:cubicBezTo>
                  <a:cubicBezTo>
                    <a:pt x="28" y="196"/>
                    <a:pt x="28" y="194"/>
                    <a:pt x="28" y="194"/>
                  </a:cubicBezTo>
                  <a:cubicBezTo>
                    <a:pt x="28" y="194"/>
                    <a:pt x="28" y="192"/>
                    <a:pt x="28" y="192"/>
                  </a:cubicBezTo>
                  <a:cubicBezTo>
                    <a:pt x="28" y="192"/>
                    <a:pt x="27" y="190"/>
                    <a:pt x="27" y="190"/>
                  </a:cubicBezTo>
                  <a:cubicBezTo>
                    <a:pt x="26" y="187"/>
                    <a:pt x="26" y="187"/>
                    <a:pt x="26" y="187"/>
                  </a:cubicBezTo>
                  <a:cubicBezTo>
                    <a:pt x="25" y="188"/>
                    <a:pt x="25" y="188"/>
                    <a:pt x="25" y="188"/>
                  </a:cubicBezTo>
                  <a:cubicBezTo>
                    <a:pt x="25" y="188"/>
                    <a:pt x="24" y="189"/>
                    <a:pt x="23" y="188"/>
                  </a:cubicBezTo>
                  <a:cubicBezTo>
                    <a:pt x="23" y="188"/>
                    <a:pt x="19" y="188"/>
                    <a:pt x="19" y="188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8"/>
                    <a:pt x="13" y="189"/>
                    <a:pt x="12" y="189"/>
                  </a:cubicBezTo>
                  <a:cubicBezTo>
                    <a:pt x="12" y="189"/>
                    <a:pt x="11" y="189"/>
                    <a:pt x="11" y="188"/>
                  </a:cubicBezTo>
                  <a:cubicBezTo>
                    <a:pt x="11" y="188"/>
                    <a:pt x="14" y="185"/>
                    <a:pt x="14" y="185"/>
                  </a:cubicBezTo>
                  <a:cubicBezTo>
                    <a:pt x="14" y="185"/>
                    <a:pt x="14" y="185"/>
                    <a:pt x="14" y="184"/>
                  </a:cubicBezTo>
                  <a:cubicBezTo>
                    <a:pt x="14" y="183"/>
                    <a:pt x="14" y="181"/>
                    <a:pt x="14" y="181"/>
                  </a:cubicBezTo>
                  <a:cubicBezTo>
                    <a:pt x="14" y="180"/>
                    <a:pt x="13" y="177"/>
                    <a:pt x="13" y="177"/>
                  </a:cubicBezTo>
                  <a:cubicBezTo>
                    <a:pt x="13" y="177"/>
                    <a:pt x="12" y="176"/>
                    <a:pt x="13" y="175"/>
                  </a:cubicBezTo>
                  <a:cubicBezTo>
                    <a:pt x="13" y="174"/>
                    <a:pt x="14" y="174"/>
                    <a:pt x="14" y="174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0" y="174"/>
                    <a:pt x="9" y="174"/>
                    <a:pt x="9" y="174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8" y="172"/>
                    <a:pt x="7" y="173"/>
                    <a:pt x="7" y="172"/>
                  </a:cubicBezTo>
                  <a:cubicBezTo>
                    <a:pt x="6" y="172"/>
                    <a:pt x="4" y="171"/>
                    <a:pt x="4" y="171"/>
                  </a:cubicBezTo>
                  <a:cubicBezTo>
                    <a:pt x="4" y="171"/>
                    <a:pt x="4" y="169"/>
                    <a:pt x="4" y="169"/>
                  </a:cubicBezTo>
                  <a:cubicBezTo>
                    <a:pt x="5" y="168"/>
                    <a:pt x="5" y="168"/>
                    <a:pt x="5" y="167"/>
                  </a:cubicBezTo>
                  <a:cubicBezTo>
                    <a:pt x="5" y="166"/>
                    <a:pt x="5" y="165"/>
                    <a:pt x="6" y="164"/>
                  </a:cubicBezTo>
                  <a:cubicBezTo>
                    <a:pt x="6" y="163"/>
                    <a:pt x="7" y="162"/>
                    <a:pt x="8" y="162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1" y="155"/>
                    <a:pt x="11" y="155"/>
                  </a:cubicBezTo>
                  <a:cubicBezTo>
                    <a:pt x="11" y="155"/>
                    <a:pt x="12" y="153"/>
                    <a:pt x="12" y="152"/>
                  </a:cubicBezTo>
                  <a:cubicBezTo>
                    <a:pt x="12" y="152"/>
                    <a:pt x="13" y="150"/>
                    <a:pt x="13" y="150"/>
                  </a:cubicBezTo>
                  <a:cubicBezTo>
                    <a:pt x="13" y="150"/>
                    <a:pt x="14" y="149"/>
                    <a:pt x="14" y="148"/>
                  </a:cubicBezTo>
                  <a:cubicBezTo>
                    <a:pt x="15" y="148"/>
                    <a:pt x="17" y="146"/>
                    <a:pt x="17" y="146"/>
                  </a:cubicBezTo>
                  <a:cubicBezTo>
                    <a:pt x="17" y="146"/>
                    <a:pt x="18" y="143"/>
                    <a:pt x="18" y="143"/>
                  </a:cubicBezTo>
                  <a:cubicBezTo>
                    <a:pt x="18" y="143"/>
                    <a:pt x="19" y="140"/>
                    <a:pt x="19" y="140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6"/>
                    <a:pt x="20" y="136"/>
                  </a:cubicBezTo>
                  <a:cubicBezTo>
                    <a:pt x="21" y="136"/>
                    <a:pt x="22" y="135"/>
                    <a:pt x="22" y="135"/>
                  </a:cubicBezTo>
                  <a:cubicBezTo>
                    <a:pt x="23" y="135"/>
                    <a:pt x="25" y="134"/>
                    <a:pt x="25" y="134"/>
                  </a:cubicBezTo>
                  <a:cubicBezTo>
                    <a:pt x="25" y="133"/>
                    <a:pt x="26" y="133"/>
                    <a:pt x="26" y="133"/>
                  </a:cubicBezTo>
                  <a:cubicBezTo>
                    <a:pt x="27" y="133"/>
                    <a:pt x="29" y="132"/>
                    <a:pt x="29" y="132"/>
                  </a:cubicBezTo>
                  <a:cubicBezTo>
                    <a:pt x="29" y="132"/>
                    <a:pt x="30" y="131"/>
                    <a:pt x="30" y="131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3" y="128"/>
                    <a:pt x="33" y="127"/>
                  </a:cubicBezTo>
                  <a:cubicBezTo>
                    <a:pt x="33" y="127"/>
                    <a:pt x="34" y="125"/>
                    <a:pt x="34" y="125"/>
                  </a:cubicBezTo>
                  <a:cubicBezTo>
                    <a:pt x="34" y="124"/>
                    <a:pt x="37" y="121"/>
                    <a:pt x="37" y="121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74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4" name="Freeform 78"/>
            <p:cNvSpPr>
              <a:spLocks noEditPoints="1"/>
            </p:cNvSpPr>
            <p:nvPr/>
          </p:nvSpPr>
          <p:spPr bwMode="auto">
            <a:xfrm>
              <a:off x="4031896" y="3833401"/>
              <a:ext cx="741380" cy="951882"/>
            </a:xfrm>
            <a:custGeom>
              <a:avLst/>
              <a:gdLst>
                <a:gd name="T0" fmla="*/ 264 w 312"/>
                <a:gd name="T1" fmla="*/ 340 h 413"/>
                <a:gd name="T2" fmla="*/ 240 w 312"/>
                <a:gd name="T3" fmla="*/ 363 h 413"/>
                <a:gd name="T4" fmla="*/ 252 w 312"/>
                <a:gd name="T5" fmla="*/ 385 h 413"/>
                <a:gd name="T6" fmla="*/ 237 w 312"/>
                <a:gd name="T7" fmla="*/ 387 h 413"/>
                <a:gd name="T8" fmla="*/ 211 w 312"/>
                <a:gd name="T9" fmla="*/ 393 h 413"/>
                <a:gd name="T10" fmla="*/ 177 w 312"/>
                <a:gd name="T11" fmla="*/ 404 h 413"/>
                <a:gd name="T12" fmla="*/ 157 w 312"/>
                <a:gd name="T13" fmla="*/ 404 h 413"/>
                <a:gd name="T14" fmla="*/ 142 w 312"/>
                <a:gd name="T15" fmla="*/ 400 h 413"/>
                <a:gd name="T16" fmla="*/ 121 w 312"/>
                <a:gd name="T17" fmla="*/ 394 h 413"/>
                <a:gd name="T18" fmla="*/ 101 w 312"/>
                <a:gd name="T19" fmla="*/ 391 h 413"/>
                <a:gd name="T20" fmla="*/ 94 w 312"/>
                <a:gd name="T21" fmla="*/ 388 h 413"/>
                <a:gd name="T22" fmla="*/ 89 w 312"/>
                <a:gd name="T23" fmla="*/ 383 h 413"/>
                <a:gd name="T24" fmla="*/ 90 w 312"/>
                <a:gd name="T25" fmla="*/ 393 h 413"/>
                <a:gd name="T26" fmla="*/ 73 w 312"/>
                <a:gd name="T27" fmla="*/ 396 h 413"/>
                <a:gd name="T28" fmla="*/ 57 w 312"/>
                <a:gd name="T29" fmla="*/ 396 h 413"/>
                <a:gd name="T30" fmla="*/ 53 w 312"/>
                <a:gd name="T31" fmla="*/ 368 h 413"/>
                <a:gd name="T32" fmla="*/ 50 w 312"/>
                <a:gd name="T33" fmla="*/ 308 h 413"/>
                <a:gd name="T34" fmla="*/ 13 w 312"/>
                <a:gd name="T35" fmla="*/ 292 h 413"/>
                <a:gd name="T36" fmla="*/ 6 w 312"/>
                <a:gd name="T37" fmla="*/ 262 h 413"/>
                <a:gd name="T38" fmla="*/ 12 w 312"/>
                <a:gd name="T39" fmla="*/ 245 h 413"/>
                <a:gd name="T40" fmla="*/ 11 w 312"/>
                <a:gd name="T41" fmla="*/ 228 h 413"/>
                <a:gd name="T42" fmla="*/ 5 w 312"/>
                <a:gd name="T43" fmla="*/ 217 h 413"/>
                <a:gd name="T44" fmla="*/ 1 w 312"/>
                <a:gd name="T45" fmla="*/ 207 h 413"/>
                <a:gd name="T46" fmla="*/ 7 w 312"/>
                <a:gd name="T47" fmla="*/ 198 h 413"/>
                <a:gd name="T48" fmla="*/ 9 w 312"/>
                <a:gd name="T49" fmla="*/ 175 h 413"/>
                <a:gd name="T50" fmla="*/ 12 w 312"/>
                <a:gd name="T51" fmla="*/ 161 h 413"/>
                <a:gd name="T52" fmla="*/ 32 w 312"/>
                <a:gd name="T53" fmla="*/ 160 h 413"/>
                <a:gd name="T54" fmla="*/ 41 w 312"/>
                <a:gd name="T55" fmla="*/ 146 h 413"/>
                <a:gd name="T56" fmla="*/ 33 w 312"/>
                <a:gd name="T57" fmla="*/ 128 h 413"/>
                <a:gd name="T58" fmla="*/ 47 w 312"/>
                <a:gd name="T59" fmla="*/ 94 h 413"/>
                <a:gd name="T60" fmla="*/ 49 w 312"/>
                <a:gd name="T61" fmla="*/ 65 h 413"/>
                <a:gd name="T62" fmla="*/ 78 w 312"/>
                <a:gd name="T63" fmla="*/ 80 h 413"/>
                <a:gd name="T64" fmla="*/ 93 w 312"/>
                <a:gd name="T65" fmla="*/ 74 h 413"/>
                <a:gd name="T66" fmla="*/ 114 w 312"/>
                <a:gd name="T67" fmla="*/ 57 h 413"/>
                <a:gd name="T68" fmla="*/ 102 w 312"/>
                <a:gd name="T69" fmla="*/ 41 h 413"/>
                <a:gd name="T70" fmla="*/ 104 w 312"/>
                <a:gd name="T71" fmla="*/ 25 h 413"/>
                <a:gd name="T72" fmla="*/ 95 w 312"/>
                <a:gd name="T73" fmla="*/ 12 h 413"/>
                <a:gd name="T74" fmla="*/ 119 w 312"/>
                <a:gd name="T75" fmla="*/ 5 h 413"/>
                <a:gd name="T76" fmla="*/ 136 w 312"/>
                <a:gd name="T77" fmla="*/ 25 h 413"/>
                <a:gd name="T78" fmla="*/ 163 w 312"/>
                <a:gd name="T79" fmla="*/ 35 h 413"/>
                <a:gd name="T80" fmla="*/ 176 w 312"/>
                <a:gd name="T81" fmla="*/ 25 h 413"/>
                <a:gd name="T82" fmla="*/ 162 w 312"/>
                <a:gd name="T83" fmla="*/ 46 h 413"/>
                <a:gd name="T84" fmla="*/ 182 w 312"/>
                <a:gd name="T85" fmla="*/ 53 h 413"/>
                <a:gd name="T86" fmla="*/ 212 w 312"/>
                <a:gd name="T87" fmla="*/ 30 h 413"/>
                <a:gd name="T88" fmla="*/ 221 w 312"/>
                <a:gd name="T89" fmla="*/ 28 h 413"/>
                <a:gd name="T90" fmla="*/ 236 w 312"/>
                <a:gd name="T91" fmla="*/ 18 h 413"/>
                <a:gd name="T92" fmla="*/ 242 w 312"/>
                <a:gd name="T93" fmla="*/ 21 h 413"/>
                <a:gd name="T94" fmla="*/ 253 w 312"/>
                <a:gd name="T95" fmla="*/ 29 h 413"/>
                <a:gd name="T96" fmla="*/ 262 w 312"/>
                <a:gd name="T97" fmla="*/ 42 h 413"/>
                <a:gd name="T98" fmla="*/ 273 w 312"/>
                <a:gd name="T99" fmla="*/ 58 h 413"/>
                <a:gd name="T100" fmla="*/ 279 w 312"/>
                <a:gd name="T101" fmla="*/ 113 h 413"/>
                <a:gd name="T102" fmla="*/ 294 w 312"/>
                <a:gd name="T103" fmla="*/ 162 h 413"/>
                <a:gd name="T104" fmla="*/ 309 w 312"/>
                <a:gd name="T105" fmla="*/ 197 h 413"/>
                <a:gd name="T106" fmla="*/ 297 w 312"/>
                <a:gd name="T107" fmla="*/ 205 h 413"/>
                <a:gd name="T108" fmla="*/ 262 w 312"/>
                <a:gd name="T109" fmla="*/ 224 h 413"/>
                <a:gd name="T110" fmla="*/ 219 w 312"/>
                <a:gd name="T111" fmla="*/ 253 h 413"/>
                <a:gd name="T112" fmla="*/ 226 w 312"/>
                <a:gd name="T113" fmla="*/ 277 h 413"/>
                <a:gd name="T114" fmla="*/ 257 w 312"/>
                <a:gd name="T115" fmla="*/ 309 h 413"/>
                <a:gd name="T116" fmla="*/ 55 w 312"/>
                <a:gd name="T117" fmla="*/ 394 h 413"/>
                <a:gd name="T118" fmla="*/ 312 w 312"/>
                <a:gd name="T119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2" h="413">
                  <a:moveTo>
                    <a:pt x="275" y="325"/>
                  </a:moveTo>
                  <a:cubicBezTo>
                    <a:pt x="275" y="325"/>
                    <a:pt x="275" y="325"/>
                    <a:pt x="275" y="325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6" y="333"/>
                    <a:pt x="276" y="333"/>
                    <a:pt x="276" y="333"/>
                  </a:cubicBezTo>
                  <a:cubicBezTo>
                    <a:pt x="276" y="336"/>
                    <a:pt x="276" y="336"/>
                    <a:pt x="276" y="336"/>
                  </a:cubicBezTo>
                  <a:cubicBezTo>
                    <a:pt x="276" y="336"/>
                    <a:pt x="275" y="338"/>
                    <a:pt x="274" y="338"/>
                  </a:cubicBezTo>
                  <a:cubicBezTo>
                    <a:pt x="274" y="338"/>
                    <a:pt x="273" y="339"/>
                    <a:pt x="272" y="339"/>
                  </a:cubicBezTo>
                  <a:cubicBezTo>
                    <a:pt x="271" y="338"/>
                    <a:pt x="270" y="337"/>
                    <a:pt x="270" y="337"/>
                  </a:cubicBezTo>
                  <a:cubicBezTo>
                    <a:pt x="264" y="337"/>
                    <a:pt x="264" y="337"/>
                    <a:pt x="264" y="337"/>
                  </a:cubicBezTo>
                  <a:cubicBezTo>
                    <a:pt x="264" y="337"/>
                    <a:pt x="264" y="339"/>
                    <a:pt x="264" y="340"/>
                  </a:cubicBezTo>
                  <a:cubicBezTo>
                    <a:pt x="263" y="342"/>
                    <a:pt x="263" y="342"/>
                    <a:pt x="263" y="342"/>
                  </a:cubicBezTo>
                  <a:cubicBezTo>
                    <a:pt x="263" y="347"/>
                    <a:pt x="263" y="347"/>
                    <a:pt x="263" y="347"/>
                  </a:cubicBezTo>
                  <a:cubicBezTo>
                    <a:pt x="258" y="352"/>
                    <a:pt x="258" y="352"/>
                    <a:pt x="258" y="352"/>
                  </a:cubicBezTo>
                  <a:cubicBezTo>
                    <a:pt x="257" y="352"/>
                    <a:pt x="257" y="352"/>
                    <a:pt x="257" y="352"/>
                  </a:cubicBezTo>
                  <a:cubicBezTo>
                    <a:pt x="257" y="352"/>
                    <a:pt x="256" y="353"/>
                    <a:pt x="256" y="353"/>
                  </a:cubicBezTo>
                  <a:cubicBezTo>
                    <a:pt x="256" y="353"/>
                    <a:pt x="251" y="355"/>
                    <a:pt x="251" y="355"/>
                  </a:cubicBezTo>
                  <a:cubicBezTo>
                    <a:pt x="249" y="357"/>
                    <a:pt x="249" y="357"/>
                    <a:pt x="249" y="357"/>
                  </a:cubicBezTo>
                  <a:cubicBezTo>
                    <a:pt x="248" y="357"/>
                    <a:pt x="248" y="357"/>
                    <a:pt x="248" y="357"/>
                  </a:cubicBezTo>
                  <a:cubicBezTo>
                    <a:pt x="248" y="357"/>
                    <a:pt x="245" y="359"/>
                    <a:pt x="243" y="361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0" y="363"/>
                    <a:pt x="240" y="363"/>
                    <a:pt x="240" y="363"/>
                  </a:cubicBezTo>
                  <a:cubicBezTo>
                    <a:pt x="242" y="368"/>
                    <a:pt x="242" y="368"/>
                    <a:pt x="242" y="368"/>
                  </a:cubicBezTo>
                  <a:cubicBezTo>
                    <a:pt x="245" y="371"/>
                    <a:pt x="245" y="371"/>
                    <a:pt x="245" y="371"/>
                  </a:cubicBezTo>
                  <a:cubicBezTo>
                    <a:pt x="248" y="376"/>
                    <a:pt x="248" y="376"/>
                    <a:pt x="248" y="376"/>
                  </a:cubicBezTo>
                  <a:cubicBezTo>
                    <a:pt x="248" y="379"/>
                    <a:pt x="248" y="379"/>
                    <a:pt x="248" y="379"/>
                  </a:cubicBezTo>
                  <a:cubicBezTo>
                    <a:pt x="248" y="379"/>
                    <a:pt x="246" y="381"/>
                    <a:pt x="246" y="381"/>
                  </a:cubicBezTo>
                  <a:cubicBezTo>
                    <a:pt x="246" y="382"/>
                    <a:pt x="245" y="384"/>
                    <a:pt x="246" y="384"/>
                  </a:cubicBezTo>
                  <a:cubicBezTo>
                    <a:pt x="247" y="384"/>
                    <a:pt x="251" y="385"/>
                    <a:pt x="251" y="385"/>
                  </a:cubicBezTo>
                  <a:cubicBezTo>
                    <a:pt x="251" y="385"/>
                    <a:pt x="252" y="385"/>
                    <a:pt x="252" y="385"/>
                  </a:cubicBezTo>
                  <a:cubicBezTo>
                    <a:pt x="253" y="385"/>
                    <a:pt x="253" y="386"/>
                    <a:pt x="253" y="386"/>
                  </a:cubicBezTo>
                  <a:cubicBezTo>
                    <a:pt x="253" y="390"/>
                    <a:pt x="253" y="390"/>
                    <a:pt x="253" y="390"/>
                  </a:cubicBezTo>
                  <a:cubicBezTo>
                    <a:pt x="253" y="390"/>
                    <a:pt x="253" y="391"/>
                    <a:pt x="253" y="395"/>
                  </a:cubicBezTo>
                  <a:cubicBezTo>
                    <a:pt x="253" y="399"/>
                    <a:pt x="252" y="398"/>
                    <a:pt x="252" y="398"/>
                  </a:cubicBezTo>
                  <a:cubicBezTo>
                    <a:pt x="252" y="398"/>
                    <a:pt x="247" y="396"/>
                    <a:pt x="247" y="396"/>
                  </a:cubicBezTo>
                  <a:cubicBezTo>
                    <a:pt x="247" y="396"/>
                    <a:pt x="245" y="394"/>
                    <a:pt x="245" y="394"/>
                  </a:cubicBezTo>
                  <a:cubicBezTo>
                    <a:pt x="244" y="393"/>
                    <a:pt x="244" y="392"/>
                    <a:pt x="244" y="391"/>
                  </a:cubicBezTo>
                  <a:cubicBezTo>
                    <a:pt x="244" y="390"/>
                    <a:pt x="245" y="388"/>
                    <a:pt x="245" y="388"/>
                  </a:cubicBezTo>
                  <a:cubicBezTo>
                    <a:pt x="245" y="388"/>
                    <a:pt x="241" y="387"/>
                    <a:pt x="241" y="387"/>
                  </a:cubicBezTo>
                  <a:cubicBezTo>
                    <a:pt x="241" y="387"/>
                    <a:pt x="238" y="387"/>
                    <a:pt x="237" y="387"/>
                  </a:cubicBezTo>
                  <a:cubicBezTo>
                    <a:pt x="236" y="387"/>
                    <a:pt x="235" y="389"/>
                    <a:pt x="235" y="389"/>
                  </a:cubicBezTo>
                  <a:cubicBezTo>
                    <a:pt x="234" y="390"/>
                    <a:pt x="233" y="389"/>
                    <a:pt x="232" y="389"/>
                  </a:cubicBezTo>
                  <a:cubicBezTo>
                    <a:pt x="232" y="389"/>
                    <a:pt x="231" y="387"/>
                    <a:pt x="231" y="387"/>
                  </a:cubicBezTo>
                  <a:cubicBezTo>
                    <a:pt x="230" y="387"/>
                    <a:pt x="226" y="386"/>
                    <a:pt x="225" y="386"/>
                  </a:cubicBezTo>
                  <a:cubicBezTo>
                    <a:pt x="225" y="386"/>
                    <a:pt x="223" y="386"/>
                    <a:pt x="221" y="386"/>
                  </a:cubicBezTo>
                  <a:cubicBezTo>
                    <a:pt x="220" y="387"/>
                    <a:pt x="221" y="387"/>
                    <a:pt x="222" y="390"/>
                  </a:cubicBezTo>
                  <a:cubicBezTo>
                    <a:pt x="222" y="393"/>
                    <a:pt x="221" y="391"/>
                    <a:pt x="220" y="391"/>
                  </a:cubicBezTo>
                  <a:cubicBezTo>
                    <a:pt x="219" y="391"/>
                    <a:pt x="219" y="391"/>
                    <a:pt x="217" y="391"/>
                  </a:cubicBezTo>
                  <a:cubicBezTo>
                    <a:pt x="215" y="391"/>
                    <a:pt x="214" y="391"/>
                    <a:pt x="212" y="391"/>
                  </a:cubicBezTo>
                  <a:cubicBezTo>
                    <a:pt x="211" y="392"/>
                    <a:pt x="211" y="392"/>
                    <a:pt x="211" y="393"/>
                  </a:cubicBezTo>
                  <a:cubicBezTo>
                    <a:pt x="210" y="394"/>
                    <a:pt x="208" y="394"/>
                    <a:pt x="207" y="394"/>
                  </a:cubicBezTo>
                  <a:cubicBezTo>
                    <a:pt x="206" y="394"/>
                    <a:pt x="202" y="394"/>
                    <a:pt x="202" y="394"/>
                  </a:cubicBezTo>
                  <a:cubicBezTo>
                    <a:pt x="201" y="394"/>
                    <a:pt x="200" y="396"/>
                    <a:pt x="199" y="397"/>
                  </a:cubicBezTo>
                  <a:cubicBezTo>
                    <a:pt x="199" y="397"/>
                    <a:pt x="195" y="397"/>
                    <a:pt x="195" y="397"/>
                  </a:cubicBezTo>
                  <a:cubicBezTo>
                    <a:pt x="194" y="398"/>
                    <a:pt x="194" y="398"/>
                    <a:pt x="193" y="399"/>
                  </a:cubicBezTo>
                  <a:cubicBezTo>
                    <a:pt x="191" y="400"/>
                    <a:pt x="191" y="400"/>
                    <a:pt x="190" y="402"/>
                  </a:cubicBezTo>
                  <a:cubicBezTo>
                    <a:pt x="188" y="404"/>
                    <a:pt x="189" y="403"/>
                    <a:pt x="185" y="402"/>
                  </a:cubicBezTo>
                  <a:cubicBezTo>
                    <a:pt x="182" y="402"/>
                    <a:pt x="184" y="403"/>
                    <a:pt x="183" y="403"/>
                  </a:cubicBezTo>
                  <a:cubicBezTo>
                    <a:pt x="182" y="403"/>
                    <a:pt x="181" y="404"/>
                    <a:pt x="180" y="405"/>
                  </a:cubicBezTo>
                  <a:cubicBezTo>
                    <a:pt x="180" y="406"/>
                    <a:pt x="178" y="404"/>
                    <a:pt x="177" y="404"/>
                  </a:cubicBezTo>
                  <a:cubicBezTo>
                    <a:pt x="176" y="405"/>
                    <a:pt x="176" y="403"/>
                    <a:pt x="176" y="400"/>
                  </a:cubicBezTo>
                  <a:cubicBezTo>
                    <a:pt x="175" y="398"/>
                    <a:pt x="173" y="398"/>
                    <a:pt x="173" y="398"/>
                  </a:cubicBezTo>
                  <a:cubicBezTo>
                    <a:pt x="173" y="398"/>
                    <a:pt x="171" y="398"/>
                    <a:pt x="171" y="397"/>
                  </a:cubicBezTo>
                  <a:cubicBezTo>
                    <a:pt x="171" y="396"/>
                    <a:pt x="167" y="396"/>
                    <a:pt x="166" y="396"/>
                  </a:cubicBezTo>
                  <a:cubicBezTo>
                    <a:pt x="166" y="396"/>
                    <a:pt x="163" y="396"/>
                    <a:pt x="163" y="396"/>
                  </a:cubicBezTo>
                  <a:cubicBezTo>
                    <a:pt x="163" y="396"/>
                    <a:pt x="160" y="396"/>
                    <a:pt x="160" y="397"/>
                  </a:cubicBezTo>
                  <a:cubicBezTo>
                    <a:pt x="160" y="397"/>
                    <a:pt x="159" y="397"/>
                    <a:pt x="157" y="398"/>
                  </a:cubicBezTo>
                  <a:cubicBezTo>
                    <a:pt x="154" y="399"/>
                    <a:pt x="156" y="398"/>
                    <a:pt x="156" y="400"/>
                  </a:cubicBezTo>
                  <a:cubicBezTo>
                    <a:pt x="157" y="401"/>
                    <a:pt x="157" y="402"/>
                    <a:pt x="157" y="402"/>
                  </a:cubicBezTo>
                  <a:cubicBezTo>
                    <a:pt x="158" y="403"/>
                    <a:pt x="157" y="402"/>
                    <a:pt x="157" y="404"/>
                  </a:cubicBezTo>
                  <a:cubicBezTo>
                    <a:pt x="156" y="406"/>
                    <a:pt x="156" y="405"/>
                    <a:pt x="156" y="407"/>
                  </a:cubicBezTo>
                  <a:cubicBezTo>
                    <a:pt x="155" y="408"/>
                    <a:pt x="155" y="407"/>
                    <a:pt x="154" y="410"/>
                  </a:cubicBezTo>
                  <a:cubicBezTo>
                    <a:pt x="153" y="412"/>
                    <a:pt x="154" y="410"/>
                    <a:pt x="153" y="412"/>
                  </a:cubicBezTo>
                  <a:cubicBezTo>
                    <a:pt x="152" y="413"/>
                    <a:pt x="150" y="412"/>
                    <a:pt x="148" y="411"/>
                  </a:cubicBezTo>
                  <a:cubicBezTo>
                    <a:pt x="147" y="411"/>
                    <a:pt x="148" y="410"/>
                    <a:pt x="148" y="408"/>
                  </a:cubicBezTo>
                  <a:cubicBezTo>
                    <a:pt x="149" y="406"/>
                    <a:pt x="148" y="407"/>
                    <a:pt x="148" y="406"/>
                  </a:cubicBezTo>
                  <a:cubicBezTo>
                    <a:pt x="148" y="405"/>
                    <a:pt x="147" y="406"/>
                    <a:pt x="145" y="407"/>
                  </a:cubicBezTo>
                  <a:cubicBezTo>
                    <a:pt x="144" y="407"/>
                    <a:pt x="144" y="405"/>
                    <a:pt x="145" y="403"/>
                  </a:cubicBezTo>
                  <a:cubicBezTo>
                    <a:pt x="145" y="401"/>
                    <a:pt x="144" y="402"/>
                    <a:pt x="144" y="401"/>
                  </a:cubicBezTo>
                  <a:cubicBezTo>
                    <a:pt x="144" y="401"/>
                    <a:pt x="143" y="400"/>
                    <a:pt x="142" y="400"/>
                  </a:cubicBezTo>
                  <a:cubicBezTo>
                    <a:pt x="141" y="400"/>
                    <a:pt x="140" y="399"/>
                    <a:pt x="140" y="399"/>
                  </a:cubicBezTo>
                  <a:cubicBezTo>
                    <a:pt x="139" y="398"/>
                    <a:pt x="137" y="396"/>
                    <a:pt x="136" y="395"/>
                  </a:cubicBezTo>
                  <a:cubicBezTo>
                    <a:pt x="134" y="394"/>
                    <a:pt x="132" y="395"/>
                    <a:pt x="132" y="395"/>
                  </a:cubicBezTo>
                  <a:cubicBezTo>
                    <a:pt x="132" y="395"/>
                    <a:pt x="130" y="397"/>
                    <a:pt x="128" y="399"/>
                  </a:cubicBezTo>
                  <a:cubicBezTo>
                    <a:pt x="128" y="399"/>
                    <a:pt x="128" y="400"/>
                    <a:pt x="128" y="400"/>
                  </a:cubicBezTo>
                  <a:cubicBezTo>
                    <a:pt x="127" y="400"/>
                    <a:pt x="127" y="400"/>
                    <a:pt x="127" y="399"/>
                  </a:cubicBezTo>
                  <a:cubicBezTo>
                    <a:pt x="127" y="399"/>
                    <a:pt x="126" y="398"/>
                    <a:pt x="126" y="398"/>
                  </a:cubicBezTo>
                  <a:cubicBezTo>
                    <a:pt x="126" y="398"/>
                    <a:pt x="126" y="396"/>
                    <a:pt x="125" y="396"/>
                  </a:cubicBezTo>
                  <a:cubicBezTo>
                    <a:pt x="125" y="396"/>
                    <a:pt x="124" y="396"/>
                    <a:pt x="123" y="395"/>
                  </a:cubicBezTo>
                  <a:cubicBezTo>
                    <a:pt x="122" y="395"/>
                    <a:pt x="121" y="394"/>
                    <a:pt x="121" y="394"/>
                  </a:cubicBezTo>
                  <a:cubicBezTo>
                    <a:pt x="120" y="394"/>
                    <a:pt x="118" y="392"/>
                    <a:pt x="118" y="392"/>
                  </a:cubicBezTo>
                  <a:cubicBezTo>
                    <a:pt x="118" y="392"/>
                    <a:pt x="118" y="392"/>
                    <a:pt x="117" y="392"/>
                  </a:cubicBezTo>
                  <a:cubicBezTo>
                    <a:pt x="117" y="392"/>
                    <a:pt x="116" y="391"/>
                    <a:pt x="116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5" y="391"/>
                    <a:pt x="115" y="391"/>
                    <a:pt x="115" y="391"/>
                  </a:cubicBezTo>
                  <a:cubicBezTo>
                    <a:pt x="114" y="391"/>
                    <a:pt x="114" y="391"/>
                    <a:pt x="113" y="390"/>
                  </a:cubicBezTo>
                  <a:cubicBezTo>
                    <a:pt x="111" y="390"/>
                    <a:pt x="112" y="390"/>
                    <a:pt x="110" y="390"/>
                  </a:cubicBezTo>
                  <a:cubicBezTo>
                    <a:pt x="109" y="390"/>
                    <a:pt x="108" y="390"/>
                    <a:pt x="108" y="390"/>
                  </a:cubicBezTo>
                  <a:cubicBezTo>
                    <a:pt x="108" y="390"/>
                    <a:pt x="107" y="389"/>
                    <a:pt x="105" y="389"/>
                  </a:cubicBezTo>
                  <a:cubicBezTo>
                    <a:pt x="104" y="390"/>
                    <a:pt x="102" y="391"/>
                    <a:pt x="101" y="391"/>
                  </a:cubicBezTo>
                  <a:cubicBezTo>
                    <a:pt x="101" y="391"/>
                    <a:pt x="100" y="390"/>
                    <a:pt x="100" y="390"/>
                  </a:cubicBezTo>
                  <a:cubicBezTo>
                    <a:pt x="100" y="390"/>
                    <a:pt x="100" y="389"/>
                    <a:pt x="100" y="389"/>
                  </a:cubicBezTo>
                  <a:cubicBezTo>
                    <a:pt x="100" y="389"/>
                    <a:pt x="99" y="388"/>
                    <a:pt x="98" y="387"/>
                  </a:cubicBezTo>
                  <a:cubicBezTo>
                    <a:pt x="98" y="387"/>
                    <a:pt x="97" y="387"/>
                    <a:pt x="97" y="387"/>
                  </a:cubicBezTo>
                  <a:cubicBezTo>
                    <a:pt x="97" y="387"/>
                    <a:pt x="97" y="387"/>
                    <a:pt x="97" y="388"/>
                  </a:cubicBezTo>
                  <a:cubicBezTo>
                    <a:pt x="97" y="389"/>
                    <a:pt x="99" y="389"/>
                    <a:pt x="97" y="389"/>
                  </a:cubicBezTo>
                  <a:cubicBezTo>
                    <a:pt x="96" y="388"/>
                    <a:pt x="95" y="388"/>
                    <a:pt x="95" y="388"/>
                  </a:cubicBezTo>
                  <a:cubicBezTo>
                    <a:pt x="92" y="389"/>
                    <a:pt x="92" y="389"/>
                    <a:pt x="92" y="389"/>
                  </a:cubicBezTo>
                  <a:cubicBezTo>
                    <a:pt x="93" y="388"/>
                    <a:pt x="93" y="388"/>
                    <a:pt x="93" y="388"/>
                  </a:cubicBezTo>
                  <a:cubicBezTo>
                    <a:pt x="93" y="388"/>
                    <a:pt x="94" y="388"/>
                    <a:pt x="94" y="388"/>
                  </a:cubicBezTo>
                  <a:cubicBezTo>
                    <a:pt x="94" y="387"/>
                    <a:pt x="94" y="387"/>
                    <a:pt x="94" y="387"/>
                  </a:cubicBezTo>
                  <a:cubicBezTo>
                    <a:pt x="94" y="387"/>
                    <a:pt x="94" y="386"/>
                    <a:pt x="94" y="386"/>
                  </a:cubicBezTo>
                  <a:cubicBezTo>
                    <a:pt x="95" y="386"/>
                    <a:pt x="96" y="385"/>
                    <a:pt x="95" y="385"/>
                  </a:cubicBezTo>
                  <a:cubicBezTo>
                    <a:pt x="94" y="385"/>
                    <a:pt x="93" y="385"/>
                    <a:pt x="93" y="385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3" y="384"/>
                    <a:pt x="92" y="383"/>
                    <a:pt x="92" y="383"/>
                  </a:cubicBezTo>
                  <a:cubicBezTo>
                    <a:pt x="92" y="384"/>
                    <a:pt x="92" y="385"/>
                    <a:pt x="92" y="385"/>
                  </a:cubicBezTo>
                  <a:cubicBezTo>
                    <a:pt x="91" y="385"/>
                    <a:pt x="91" y="385"/>
                    <a:pt x="91" y="384"/>
                  </a:cubicBezTo>
                  <a:cubicBezTo>
                    <a:pt x="91" y="383"/>
                    <a:pt x="91" y="383"/>
                    <a:pt x="91" y="383"/>
                  </a:cubicBezTo>
                  <a:cubicBezTo>
                    <a:pt x="90" y="383"/>
                    <a:pt x="89" y="383"/>
                    <a:pt x="89" y="383"/>
                  </a:cubicBezTo>
                  <a:cubicBezTo>
                    <a:pt x="89" y="383"/>
                    <a:pt x="90" y="384"/>
                    <a:pt x="88" y="384"/>
                  </a:cubicBezTo>
                  <a:cubicBezTo>
                    <a:pt x="87" y="384"/>
                    <a:pt x="86" y="385"/>
                    <a:pt x="85" y="385"/>
                  </a:cubicBezTo>
                  <a:cubicBezTo>
                    <a:pt x="84" y="386"/>
                    <a:pt x="84" y="387"/>
                    <a:pt x="84" y="387"/>
                  </a:cubicBezTo>
                  <a:cubicBezTo>
                    <a:pt x="84" y="388"/>
                    <a:pt x="82" y="388"/>
                    <a:pt x="82" y="389"/>
                  </a:cubicBezTo>
                  <a:cubicBezTo>
                    <a:pt x="83" y="389"/>
                    <a:pt x="82" y="389"/>
                    <a:pt x="84" y="390"/>
                  </a:cubicBezTo>
                  <a:cubicBezTo>
                    <a:pt x="85" y="390"/>
                    <a:pt x="85" y="390"/>
                    <a:pt x="86" y="390"/>
                  </a:cubicBezTo>
                  <a:cubicBezTo>
                    <a:pt x="87" y="391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1"/>
                  </a:cubicBezTo>
                  <a:cubicBezTo>
                    <a:pt x="89" y="391"/>
                    <a:pt x="90" y="390"/>
                    <a:pt x="90" y="391"/>
                  </a:cubicBezTo>
                  <a:cubicBezTo>
                    <a:pt x="90" y="392"/>
                    <a:pt x="91" y="393"/>
                    <a:pt x="90" y="393"/>
                  </a:cubicBezTo>
                  <a:cubicBezTo>
                    <a:pt x="89" y="393"/>
                    <a:pt x="88" y="394"/>
                    <a:pt x="88" y="393"/>
                  </a:cubicBezTo>
                  <a:cubicBezTo>
                    <a:pt x="88" y="393"/>
                    <a:pt x="88" y="392"/>
                    <a:pt x="87" y="392"/>
                  </a:cubicBezTo>
                  <a:cubicBezTo>
                    <a:pt x="87" y="392"/>
                    <a:pt x="86" y="392"/>
                    <a:pt x="86" y="392"/>
                  </a:cubicBezTo>
                  <a:cubicBezTo>
                    <a:pt x="85" y="394"/>
                    <a:pt x="85" y="394"/>
                    <a:pt x="85" y="394"/>
                  </a:cubicBezTo>
                  <a:cubicBezTo>
                    <a:pt x="85" y="394"/>
                    <a:pt x="85" y="395"/>
                    <a:pt x="84" y="395"/>
                  </a:cubicBezTo>
                  <a:cubicBezTo>
                    <a:pt x="83" y="395"/>
                    <a:pt x="84" y="395"/>
                    <a:pt x="82" y="395"/>
                  </a:cubicBezTo>
                  <a:cubicBezTo>
                    <a:pt x="80" y="395"/>
                    <a:pt x="80" y="394"/>
                    <a:pt x="79" y="394"/>
                  </a:cubicBezTo>
                  <a:cubicBezTo>
                    <a:pt x="79" y="394"/>
                    <a:pt x="79" y="394"/>
                    <a:pt x="78" y="394"/>
                  </a:cubicBezTo>
                  <a:cubicBezTo>
                    <a:pt x="78" y="394"/>
                    <a:pt x="76" y="392"/>
                    <a:pt x="75" y="394"/>
                  </a:cubicBezTo>
                  <a:cubicBezTo>
                    <a:pt x="74" y="395"/>
                    <a:pt x="73" y="396"/>
                    <a:pt x="73" y="396"/>
                  </a:cubicBezTo>
                  <a:cubicBezTo>
                    <a:pt x="70" y="396"/>
                    <a:pt x="70" y="396"/>
                    <a:pt x="70" y="396"/>
                  </a:cubicBezTo>
                  <a:cubicBezTo>
                    <a:pt x="70" y="396"/>
                    <a:pt x="69" y="396"/>
                    <a:pt x="68" y="396"/>
                  </a:cubicBezTo>
                  <a:cubicBezTo>
                    <a:pt x="67" y="396"/>
                    <a:pt x="66" y="396"/>
                    <a:pt x="66" y="396"/>
                  </a:cubicBezTo>
                  <a:cubicBezTo>
                    <a:pt x="65" y="397"/>
                    <a:pt x="64" y="394"/>
                    <a:pt x="64" y="394"/>
                  </a:cubicBezTo>
                  <a:cubicBezTo>
                    <a:pt x="64" y="394"/>
                    <a:pt x="65" y="392"/>
                    <a:pt x="62" y="394"/>
                  </a:cubicBezTo>
                  <a:cubicBezTo>
                    <a:pt x="59" y="396"/>
                    <a:pt x="58" y="396"/>
                    <a:pt x="58" y="396"/>
                  </a:cubicBezTo>
                  <a:cubicBezTo>
                    <a:pt x="58" y="396"/>
                    <a:pt x="57" y="396"/>
                    <a:pt x="57" y="397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7" y="396"/>
                    <a:pt x="57" y="396"/>
                    <a:pt x="57" y="396"/>
                  </a:cubicBezTo>
                  <a:cubicBezTo>
                    <a:pt x="56" y="396"/>
                    <a:pt x="56" y="396"/>
                    <a:pt x="56" y="395"/>
                  </a:cubicBezTo>
                  <a:cubicBezTo>
                    <a:pt x="56" y="395"/>
                    <a:pt x="56" y="395"/>
                    <a:pt x="56" y="395"/>
                  </a:cubicBezTo>
                  <a:cubicBezTo>
                    <a:pt x="56" y="395"/>
                    <a:pt x="55" y="395"/>
                    <a:pt x="55" y="394"/>
                  </a:cubicBezTo>
                  <a:cubicBezTo>
                    <a:pt x="53" y="392"/>
                    <a:pt x="50" y="388"/>
                    <a:pt x="50" y="388"/>
                  </a:cubicBezTo>
                  <a:cubicBezTo>
                    <a:pt x="52" y="384"/>
                    <a:pt x="52" y="384"/>
                    <a:pt x="52" y="384"/>
                  </a:cubicBezTo>
                  <a:cubicBezTo>
                    <a:pt x="52" y="384"/>
                    <a:pt x="53" y="377"/>
                    <a:pt x="53" y="375"/>
                  </a:cubicBezTo>
                  <a:cubicBezTo>
                    <a:pt x="53" y="374"/>
                    <a:pt x="53" y="368"/>
                    <a:pt x="53" y="368"/>
                  </a:cubicBezTo>
                  <a:cubicBezTo>
                    <a:pt x="53" y="368"/>
                    <a:pt x="49" y="367"/>
                    <a:pt x="52" y="364"/>
                  </a:cubicBezTo>
                  <a:cubicBezTo>
                    <a:pt x="55" y="360"/>
                    <a:pt x="58" y="355"/>
                    <a:pt x="58" y="355"/>
                  </a:cubicBezTo>
                  <a:cubicBezTo>
                    <a:pt x="58" y="345"/>
                    <a:pt x="58" y="345"/>
                    <a:pt x="58" y="345"/>
                  </a:cubicBezTo>
                  <a:cubicBezTo>
                    <a:pt x="58" y="345"/>
                    <a:pt x="55" y="342"/>
                    <a:pt x="59" y="340"/>
                  </a:cubicBezTo>
                  <a:cubicBezTo>
                    <a:pt x="63" y="337"/>
                    <a:pt x="70" y="328"/>
                    <a:pt x="70" y="328"/>
                  </a:cubicBezTo>
                  <a:cubicBezTo>
                    <a:pt x="77" y="320"/>
                    <a:pt x="77" y="320"/>
                    <a:pt x="77" y="320"/>
                  </a:cubicBezTo>
                  <a:cubicBezTo>
                    <a:pt x="65" y="317"/>
                    <a:pt x="65" y="317"/>
                    <a:pt x="65" y="317"/>
                  </a:cubicBezTo>
                  <a:cubicBezTo>
                    <a:pt x="58" y="316"/>
                    <a:pt x="58" y="316"/>
                    <a:pt x="58" y="316"/>
                  </a:cubicBezTo>
                  <a:cubicBezTo>
                    <a:pt x="53" y="313"/>
                    <a:pt x="53" y="313"/>
                    <a:pt x="53" y="313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7" y="310"/>
                    <a:pt x="47" y="310"/>
                    <a:pt x="47" y="310"/>
                  </a:cubicBezTo>
                  <a:cubicBezTo>
                    <a:pt x="44" y="312"/>
                    <a:pt x="44" y="312"/>
                    <a:pt x="44" y="312"/>
                  </a:cubicBezTo>
                  <a:cubicBezTo>
                    <a:pt x="37" y="311"/>
                    <a:pt x="37" y="311"/>
                    <a:pt x="37" y="311"/>
                  </a:cubicBezTo>
                  <a:cubicBezTo>
                    <a:pt x="32" y="306"/>
                    <a:pt x="32" y="306"/>
                    <a:pt x="32" y="306"/>
                  </a:cubicBezTo>
                  <a:cubicBezTo>
                    <a:pt x="28" y="309"/>
                    <a:pt x="28" y="309"/>
                    <a:pt x="28" y="30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1" y="301"/>
                    <a:pt x="21" y="301"/>
                    <a:pt x="21" y="301"/>
                  </a:cubicBezTo>
                  <a:cubicBezTo>
                    <a:pt x="20" y="297"/>
                    <a:pt x="20" y="297"/>
                    <a:pt x="20" y="297"/>
                  </a:cubicBezTo>
                  <a:cubicBezTo>
                    <a:pt x="15" y="292"/>
                    <a:pt x="15" y="292"/>
                    <a:pt x="15" y="292"/>
                  </a:cubicBezTo>
                  <a:cubicBezTo>
                    <a:pt x="13" y="292"/>
                    <a:pt x="13" y="292"/>
                    <a:pt x="13" y="292"/>
                  </a:cubicBezTo>
                  <a:cubicBezTo>
                    <a:pt x="13" y="291"/>
                    <a:pt x="13" y="291"/>
                    <a:pt x="13" y="291"/>
                  </a:cubicBezTo>
                  <a:cubicBezTo>
                    <a:pt x="12" y="285"/>
                    <a:pt x="12" y="285"/>
                    <a:pt x="12" y="285"/>
                  </a:cubicBezTo>
                  <a:cubicBezTo>
                    <a:pt x="15" y="283"/>
                    <a:pt x="15" y="283"/>
                    <a:pt x="15" y="283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9" y="277"/>
                    <a:pt x="19" y="277"/>
                    <a:pt x="19" y="277"/>
                  </a:cubicBezTo>
                  <a:cubicBezTo>
                    <a:pt x="18" y="273"/>
                    <a:pt x="18" y="273"/>
                    <a:pt x="18" y="273"/>
                  </a:cubicBezTo>
                  <a:cubicBezTo>
                    <a:pt x="18" y="273"/>
                    <a:pt x="14" y="273"/>
                    <a:pt x="13" y="272"/>
                  </a:cubicBezTo>
                  <a:cubicBezTo>
                    <a:pt x="12" y="272"/>
                    <a:pt x="9" y="270"/>
                    <a:pt x="9" y="270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6" y="262"/>
                    <a:pt x="6" y="262"/>
                    <a:pt x="6" y="262"/>
                  </a:cubicBezTo>
                  <a:cubicBezTo>
                    <a:pt x="5" y="257"/>
                    <a:pt x="5" y="257"/>
                    <a:pt x="5" y="257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6" y="252"/>
                    <a:pt x="6" y="252"/>
                    <a:pt x="6" y="252"/>
                  </a:cubicBezTo>
                  <a:cubicBezTo>
                    <a:pt x="7" y="252"/>
                    <a:pt x="7" y="252"/>
                    <a:pt x="7" y="252"/>
                  </a:cubicBezTo>
                  <a:cubicBezTo>
                    <a:pt x="8" y="250"/>
                    <a:pt x="8" y="250"/>
                    <a:pt x="8" y="250"/>
                  </a:cubicBezTo>
                  <a:cubicBezTo>
                    <a:pt x="8" y="249"/>
                    <a:pt x="8" y="249"/>
                    <a:pt x="8" y="249"/>
                  </a:cubicBezTo>
                  <a:cubicBezTo>
                    <a:pt x="8" y="249"/>
                    <a:pt x="9" y="248"/>
                    <a:pt x="10" y="248"/>
                  </a:cubicBezTo>
                  <a:cubicBezTo>
                    <a:pt x="10" y="248"/>
                    <a:pt x="11" y="248"/>
                    <a:pt x="11" y="248"/>
                  </a:cubicBezTo>
                  <a:cubicBezTo>
                    <a:pt x="12" y="248"/>
                    <a:pt x="12" y="245"/>
                    <a:pt x="12" y="245"/>
                  </a:cubicBezTo>
                  <a:cubicBezTo>
                    <a:pt x="14" y="245"/>
                    <a:pt x="14" y="245"/>
                    <a:pt x="14" y="245"/>
                  </a:cubicBezTo>
                  <a:cubicBezTo>
                    <a:pt x="14" y="245"/>
                    <a:pt x="15" y="244"/>
                    <a:pt x="15" y="244"/>
                  </a:cubicBezTo>
                  <a:cubicBezTo>
                    <a:pt x="15" y="243"/>
                    <a:pt x="15" y="242"/>
                    <a:pt x="15" y="242"/>
                  </a:cubicBezTo>
                  <a:cubicBezTo>
                    <a:pt x="15" y="242"/>
                    <a:pt x="16" y="240"/>
                    <a:pt x="16" y="239"/>
                  </a:cubicBezTo>
                  <a:cubicBezTo>
                    <a:pt x="16" y="238"/>
                    <a:pt x="15" y="237"/>
                    <a:pt x="15" y="237"/>
                  </a:cubicBezTo>
                  <a:cubicBezTo>
                    <a:pt x="15" y="237"/>
                    <a:pt x="14" y="235"/>
                    <a:pt x="13" y="235"/>
                  </a:cubicBezTo>
                  <a:cubicBezTo>
                    <a:pt x="13" y="235"/>
                    <a:pt x="11" y="235"/>
                    <a:pt x="11" y="235"/>
                  </a:cubicBezTo>
                  <a:cubicBezTo>
                    <a:pt x="10" y="235"/>
                    <a:pt x="9" y="233"/>
                    <a:pt x="9" y="233"/>
                  </a:cubicBezTo>
                  <a:cubicBezTo>
                    <a:pt x="9" y="233"/>
                    <a:pt x="10" y="232"/>
                    <a:pt x="10" y="231"/>
                  </a:cubicBezTo>
                  <a:cubicBezTo>
                    <a:pt x="11" y="231"/>
                    <a:pt x="11" y="228"/>
                    <a:pt x="11" y="228"/>
                  </a:cubicBezTo>
                  <a:cubicBezTo>
                    <a:pt x="11" y="228"/>
                    <a:pt x="10" y="227"/>
                    <a:pt x="9" y="227"/>
                  </a:cubicBezTo>
                  <a:cubicBezTo>
                    <a:pt x="9" y="227"/>
                    <a:pt x="7" y="227"/>
                    <a:pt x="7" y="227"/>
                  </a:cubicBezTo>
                  <a:cubicBezTo>
                    <a:pt x="7" y="224"/>
                    <a:pt x="7" y="224"/>
                    <a:pt x="7" y="224"/>
                  </a:cubicBezTo>
                  <a:cubicBezTo>
                    <a:pt x="7" y="224"/>
                    <a:pt x="5" y="223"/>
                    <a:pt x="4" y="223"/>
                  </a:cubicBezTo>
                  <a:cubicBezTo>
                    <a:pt x="4" y="223"/>
                    <a:pt x="4" y="222"/>
                    <a:pt x="3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2"/>
                    <a:pt x="4" y="222"/>
                    <a:pt x="4" y="222"/>
                  </a:cubicBezTo>
                  <a:cubicBezTo>
                    <a:pt x="4" y="221"/>
                    <a:pt x="3" y="220"/>
                    <a:pt x="3" y="219"/>
                  </a:cubicBezTo>
                  <a:cubicBezTo>
                    <a:pt x="3" y="219"/>
                    <a:pt x="4" y="219"/>
                    <a:pt x="4" y="219"/>
                  </a:cubicBezTo>
                  <a:cubicBezTo>
                    <a:pt x="4" y="219"/>
                    <a:pt x="4" y="218"/>
                    <a:pt x="5" y="217"/>
                  </a:cubicBezTo>
                  <a:cubicBezTo>
                    <a:pt x="5" y="217"/>
                    <a:pt x="5" y="217"/>
                    <a:pt x="6" y="217"/>
                  </a:cubicBezTo>
                  <a:cubicBezTo>
                    <a:pt x="6" y="217"/>
                    <a:pt x="6" y="216"/>
                    <a:pt x="7" y="216"/>
                  </a:cubicBezTo>
                  <a:cubicBezTo>
                    <a:pt x="7" y="215"/>
                    <a:pt x="7" y="213"/>
                    <a:pt x="7" y="213"/>
                  </a:cubicBezTo>
                  <a:cubicBezTo>
                    <a:pt x="7" y="213"/>
                    <a:pt x="7" y="213"/>
                    <a:pt x="6" y="212"/>
                  </a:cubicBezTo>
                  <a:cubicBezTo>
                    <a:pt x="5" y="212"/>
                    <a:pt x="5" y="212"/>
                    <a:pt x="5" y="211"/>
                  </a:cubicBezTo>
                  <a:cubicBezTo>
                    <a:pt x="4" y="211"/>
                    <a:pt x="5" y="210"/>
                    <a:pt x="5" y="210"/>
                  </a:cubicBezTo>
                  <a:cubicBezTo>
                    <a:pt x="5" y="210"/>
                    <a:pt x="3" y="209"/>
                    <a:pt x="3" y="209"/>
                  </a:cubicBezTo>
                  <a:cubicBezTo>
                    <a:pt x="3" y="209"/>
                    <a:pt x="1" y="209"/>
                    <a:pt x="1" y="209"/>
                  </a:cubicBezTo>
                  <a:cubicBezTo>
                    <a:pt x="1" y="209"/>
                    <a:pt x="1" y="209"/>
                    <a:pt x="1" y="209"/>
                  </a:cubicBezTo>
                  <a:cubicBezTo>
                    <a:pt x="1" y="207"/>
                    <a:pt x="1" y="207"/>
                    <a:pt x="1" y="20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204"/>
                    <a:pt x="1" y="204"/>
                    <a:pt x="1" y="204"/>
                  </a:cubicBezTo>
                  <a:cubicBezTo>
                    <a:pt x="3" y="206"/>
                    <a:pt x="3" y="206"/>
                    <a:pt x="3" y="206"/>
                  </a:cubicBezTo>
                  <a:cubicBezTo>
                    <a:pt x="3" y="206"/>
                    <a:pt x="3" y="205"/>
                    <a:pt x="3" y="204"/>
                  </a:cubicBezTo>
                  <a:cubicBezTo>
                    <a:pt x="4" y="204"/>
                    <a:pt x="5" y="202"/>
                    <a:pt x="5" y="202"/>
                  </a:cubicBezTo>
                  <a:cubicBezTo>
                    <a:pt x="7" y="202"/>
                    <a:pt x="7" y="202"/>
                    <a:pt x="7" y="202"/>
                  </a:cubicBezTo>
                  <a:cubicBezTo>
                    <a:pt x="7" y="202"/>
                    <a:pt x="11" y="202"/>
                    <a:pt x="11" y="202"/>
                  </a:cubicBezTo>
                  <a:cubicBezTo>
                    <a:pt x="12" y="201"/>
                    <a:pt x="10" y="199"/>
                    <a:pt x="10" y="199"/>
                  </a:cubicBezTo>
                  <a:cubicBezTo>
                    <a:pt x="10" y="199"/>
                    <a:pt x="8" y="201"/>
                    <a:pt x="8" y="201"/>
                  </a:cubicBezTo>
                  <a:cubicBezTo>
                    <a:pt x="7" y="201"/>
                    <a:pt x="7" y="198"/>
                    <a:pt x="7" y="198"/>
                  </a:cubicBezTo>
                  <a:cubicBezTo>
                    <a:pt x="7" y="196"/>
                    <a:pt x="7" y="196"/>
                    <a:pt x="7" y="196"/>
                  </a:cubicBezTo>
                  <a:cubicBezTo>
                    <a:pt x="9" y="195"/>
                    <a:pt x="9" y="195"/>
                    <a:pt x="9" y="195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2" y="191"/>
                    <a:pt x="12" y="191"/>
                  </a:cubicBezTo>
                  <a:cubicBezTo>
                    <a:pt x="13" y="190"/>
                    <a:pt x="12" y="188"/>
                    <a:pt x="12" y="188"/>
                  </a:cubicBezTo>
                  <a:cubicBezTo>
                    <a:pt x="13" y="185"/>
                    <a:pt x="13" y="185"/>
                    <a:pt x="13" y="185"/>
                  </a:cubicBezTo>
                  <a:cubicBezTo>
                    <a:pt x="11" y="182"/>
                    <a:pt x="11" y="182"/>
                    <a:pt x="11" y="182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75"/>
                    <a:pt x="9" y="175"/>
                    <a:pt x="9" y="175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71"/>
                    <a:pt x="6" y="169"/>
                    <a:pt x="5" y="169"/>
                  </a:cubicBezTo>
                  <a:cubicBezTo>
                    <a:pt x="4" y="169"/>
                    <a:pt x="5" y="168"/>
                    <a:pt x="5" y="168"/>
                  </a:cubicBezTo>
                  <a:cubicBezTo>
                    <a:pt x="5" y="166"/>
                    <a:pt x="5" y="166"/>
                    <a:pt x="5" y="166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10" y="164"/>
                    <a:pt x="10" y="164"/>
                    <a:pt x="10" y="164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7" y="164"/>
                    <a:pt x="17" y="164"/>
                    <a:pt x="17" y="164"/>
                  </a:cubicBezTo>
                  <a:cubicBezTo>
                    <a:pt x="18" y="166"/>
                    <a:pt x="18" y="166"/>
                    <a:pt x="18" y="166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30" y="161"/>
                    <a:pt x="30" y="161"/>
                    <a:pt x="30" y="161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3" y="159"/>
                    <a:pt x="33" y="159"/>
                    <a:pt x="33" y="159"/>
                  </a:cubicBezTo>
                  <a:cubicBezTo>
                    <a:pt x="30" y="157"/>
                    <a:pt x="30" y="157"/>
                    <a:pt x="30" y="157"/>
                  </a:cubicBezTo>
                  <a:cubicBezTo>
                    <a:pt x="28" y="154"/>
                    <a:pt x="28" y="154"/>
                    <a:pt x="28" y="154"/>
                  </a:cubicBezTo>
                  <a:cubicBezTo>
                    <a:pt x="30" y="154"/>
                    <a:pt x="30" y="154"/>
                    <a:pt x="30" y="154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151"/>
                    <a:pt x="34" y="152"/>
                    <a:pt x="34" y="152"/>
                  </a:cubicBezTo>
                  <a:cubicBezTo>
                    <a:pt x="34" y="151"/>
                    <a:pt x="34" y="151"/>
                    <a:pt x="35" y="150"/>
                  </a:cubicBezTo>
                  <a:cubicBezTo>
                    <a:pt x="36" y="150"/>
                    <a:pt x="38" y="149"/>
                    <a:pt x="38" y="14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9" y="147"/>
                    <a:pt x="41" y="146"/>
                    <a:pt x="41" y="146"/>
                  </a:cubicBezTo>
                  <a:cubicBezTo>
                    <a:pt x="42" y="146"/>
                    <a:pt x="41" y="145"/>
                    <a:pt x="41" y="144"/>
                  </a:cubicBezTo>
                  <a:cubicBezTo>
                    <a:pt x="41" y="143"/>
                    <a:pt x="41" y="141"/>
                    <a:pt x="41" y="141"/>
                  </a:cubicBezTo>
                  <a:cubicBezTo>
                    <a:pt x="42" y="139"/>
                    <a:pt x="42" y="139"/>
                    <a:pt x="42" y="139"/>
                  </a:cubicBezTo>
                  <a:cubicBezTo>
                    <a:pt x="40" y="135"/>
                    <a:pt x="40" y="135"/>
                    <a:pt x="40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2" y="134"/>
                    <a:pt x="32" y="133"/>
                  </a:cubicBezTo>
                  <a:cubicBezTo>
                    <a:pt x="31" y="132"/>
                    <a:pt x="30" y="130"/>
                    <a:pt x="30" y="130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40" y="125"/>
                    <a:pt x="41" y="125"/>
                  </a:cubicBezTo>
                  <a:cubicBezTo>
                    <a:pt x="42" y="126"/>
                    <a:pt x="42" y="122"/>
                    <a:pt x="42" y="122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2" y="113"/>
                    <a:pt x="43" y="112"/>
                  </a:cubicBezTo>
                  <a:cubicBezTo>
                    <a:pt x="44" y="112"/>
                    <a:pt x="47" y="106"/>
                    <a:pt x="47" y="106"/>
                  </a:cubicBezTo>
                  <a:cubicBezTo>
                    <a:pt x="47" y="106"/>
                    <a:pt x="47" y="100"/>
                    <a:pt x="47" y="99"/>
                  </a:cubicBezTo>
                  <a:cubicBezTo>
                    <a:pt x="47" y="98"/>
                    <a:pt x="47" y="94"/>
                    <a:pt x="47" y="94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47" y="93"/>
                    <a:pt x="44" y="92"/>
                    <a:pt x="43" y="92"/>
                  </a:cubicBezTo>
                  <a:cubicBezTo>
                    <a:pt x="43" y="91"/>
                    <a:pt x="44" y="89"/>
                    <a:pt x="44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40" y="85"/>
                    <a:pt x="41" y="80"/>
                    <a:pt x="42" y="80"/>
                  </a:cubicBezTo>
                  <a:cubicBezTo>
                    <a:pt x="43" y="79"/>
                    <a:pt x="45" y="77"/>
                    <a:pt x="45" y="77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5" y="67"/>
                    <a:pt x="45" y="67"/>
                    <a:pt x="45" y="67"/>
                  </a:cubicBezTo>
                  <a:cubicBezTo>
                    <a:pt x="45" y="67"/>
                    <a:pt x="49" y="65"/>
                    <a:pt x="49" y="65"/>
                  </a:cubicBezTo>
                  <a:cubicBezTo>
                    <a:pt x="50" y="65"/>
                    <a:pt x="56" y="65"/>
                    <a:pt x="56" y="65"/>
                  </a:cubicBezTo>
                  <a:cubicBezTo>
                    <a:pt x="60" y="63"/>
                    <a:pt x="60" y="63"/>
                    <a:pt x="60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5" y="66"/>
                    <a:pt x="75" y="67"/>
                  </a:cubicBezTo>
                  <a:cubicBezTo>
                    <a:pt x="75" y="67"/>
                    <a:pt x="77" y="69"/>
                    <a:pt x="77" y="70"/>
                  </a:cubicBezTo>
                  <a:cubicBezTo>
                    <a:pt x="76" y="70"/>
                    <a:pt x="78" y="73"/>
                    <a:pt x="78" y="73"/>
                  </a:cubicBezTo>
                  <a:cubicBezTo>
                    <a:pt x="78" y="73"/>
                    <a:pt x="77" y="75"/>
                    <a:pt x="77" y="76"/>
                  </a:cubicBezTo>
                  <a:cubicBezTo>
                    <a:pt x="77" y="76"/>
                    <a:pt x="78" y="80"/>
                    <a:pt x="78" y="80"/>
                  </a:cubicBezTo>
                  <a:cubicBezTo>
                    <a:pt x="78" y="81"/>
                    <a:pt x="80" y="82"/>
                    <a:pt x="80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2"/>
                    <a:pt x="83" y="71"/>
                    <a:pt x="84" y="72"/>
                  </a:cubicBezTo>
                  <a:cubicBezTo>
                    <a:pt x="85" y="72"/>
                    <a:pt x="88" y="75"/>
                    <a:pt x="88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6"/>
                    <a:pt x="93" y="74"/>
                    <a:pt x="93" y="74"/>
                  </a:cubicBezTo>
                  <a:cubicBezTo>
                    <a:pt x="93" y="74"/>
                    <a:pt x="90" y="70"/>
                    <a:pt x="90" y="70"/>
                  </a:cubicBezTo>
                  <a:cubicBezTo>
                    <a:pt x="91" y="65"/>
                    <a:pt x="91" y="65"/>
                    <a:pt x="91" y="65"/>
                  </a:cubicBezTo>
                  <a:cubicBezTo>
                    <a:pt x="92" y="61"/>
                    <a:pt x="92" y="61"/>
                    <a:pt x="92" y="61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9" y="60"/>
                    <a:pt x="109" y="60"/>
                    <a:pt x="109" y="60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6" y="59"/>
                    <a:pt x="114" y="57"/>
                    <a:pt x="114" y="57"/>
                  </a:cubicBezTo>
                  <a:cubicBezTo>
                    <a:pt x="113" y="57"/>
                    <a:pt x="111" y="55"/>
                    <a:pt x="111" y="55"/>
                  </a:cubicBezTo>
                  <a:cubicBezTo>
                    <a:pt x="111" y="55"/>
                    <a:pt x="110" y="57"/>
                    <a:pt x="110" y="57"/>
                  </a:cubicBezTo>
                  <a:cubicBezTo>
                    <a:pt x="109" y="58"/>
                    <a:pt x="106" y="58"/>
                    <a:pt x="106" y="57"/>
                  </a:cubicBezTo>
                  <a:cubicBezTo>
                    <a:pt x="105" y="57"/>
                    <a:pt x="104" y="54"/>
                    <a:pt x="104" y="54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4"/>
                    <a:pt x="104" y="43"/>
                  </a:cubicBezTo>
                  <a:cubicBezTo>
                    <a:pt x="105" y="43"/>
                    <a:pt x="105" y="41"/>
                    <a:pt x="105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1" y="41"/>
                    <a:pt x="101" y="39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5"/>
                    <a:pt x="103" y="26"/>
                    <a:pt x="103" y="26"/>
                  </a:cubicBezTo>
                  <a:cubicBezTo>
                    <a:pt x="102" y="26"/>
                    <a:pt x="100" y="26"/>
                    <a:pt x="100" y="26"/>
                  </a:cubicBezTo>
                  <a:cubicBezTo>
                    <a:pt x="100" y="24"/>
                    <a:pt x="100" y="24"/>
                    <a:pt x="100" y="24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3" y="22"/>
                    <a:pt x="103" y="22"/>
                    <a:pt x="103" y="22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104" y="2"/>
                    <a:pt x="105" y="2"/>
                  </a:cubicBezTo>
                  <a:cubicBezTo>
                    <a:pt x="106" y="2"/>
                    <a:pt x="108" y="3"/>
                    <a:pt x="108" y="3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6" y="6"/>
                    <a:pt x="116" y="6"/>
                  </a:cubicBezTo>
                  <a:cubicBezTo>
                    <a:pt x="117" y="6"/>
                    <a:pt x="119" y="5"/>
                    <a:pt x="119" y="5"/>
                  </a:cubicBezTo>
                  <a:cubicBezTo>
                    <a:pt x="119" y="5"/>
                    <a:pt x="122" y="3"/>
                    <a:pt x="123" y="3"/>
                  </a:cubicBezTo>
                  <a:cubicBezTo>
                    <a:pt x="123" y="2"/>
                    <a:pt x="124" y="2"/>
                    <a:pt x="124" y="2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8" y="15"/>
                    <a:pt x="138" y="15"/>
                    <a:pt x="138" y="15"/>
                  </a:cubicBezTo>
                  <a:cubicBezTo>
                    <a:pt x="138" y="15"/>
                    <a:pt x="138" y="18"/>
                    <a:pt x="138" y="18"/>
                  </a:cubicBezTo>
                  <a:cubicBezTo>
                    <a:pt x="137" y="18"/>
                    <a:pt x="136" y="22"/>
                    <a:pt x="136" y="22"/>
                  </a:cubicBezTo>
                  <a:cubicBezTo>
                    <a:pt x="136" y="25"/>
                    <a:pt x="136" y="25"/>
                    <a:pt x="136" y="25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4" y="29"/>
                    <a:pt x="144" y="29"/>
                    <a:pt x="144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8" y="33"/>
                    <a:pt x="158" y="33"/>
                    <a:pt x="158" y="33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5" y="31"/>
                    <a:pt x="165" y="31"/>
                    <a:pt x="165" y="31"/>
                  </a:cubicBezTo>
                  <a:cubicBezTo>
                    <a:pt x="168" y="31"/>
                    <a:pt x="168" y="31"/>
                    <a:pt x="168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1" y="29"/>
                    <a:pt x="171" y="29"/>
                    <a:pt x="171" y="29"/>
                  </a:cubicBezTo>
                  <a:cubicBezTo>
                    <a:pt x="168" y="26"/>
                    <a:pt x="168" y="26"/>
                    <a:pt x="168" y="26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0" y="21"/>
                    <a:pt x="170" y="21"/>
                  </a:cubicBezTo>
                  <a:cubicBezTo>
                    <a:pt x="171" y="21"/>
                    <a:pt x="175" y="22"/>
                    <a:pt x="175" y="22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7" y="28"/>
                    <a:pt x="177" y="28"/>
                    <a:pt x="177" y="28"/>
                  </a:cubicBezTo>
                  <a:cubicBezTo>
                    <a:pt x="173" y="29"/>
                    <a:pt x="173" y="29"/>
                    <a:pt x="173" y="29"/>
                  </a:cubicBezTo>
                  <a:cubicBezTo>
                    <a:pt x="172" y="31"/>
                    <a:pt x="172" y="31"/>
                    <a:pt x="172" y="31"/>
                  </a:cubicBezTo>
                  <a:cubicBezTo>
                    <a:pt x="172" y="35"/>
                    <a:pt x="172" y="35"/>
                    <a:pt x="172" y="35"/>
                  </a:cubicBezTo>
                  <a:cubicBezTo>
                    <a:pt x="172" y="39"/>
                    <a:pt x="172" y="39"/>
                    <a:pt x="172" y="39"/>
                  </a:cubicBezTo>
                  <a:cubicBezTo>
                    <a:pt x="172" y="39"/>
                    <a:pt x="172" y="41"/>
                    <a:pt x="171" y="41"/>
                  </a:cubicBezTo>
                  <a:cubicBezTo>
                    <a:pt x="170" y="42"/>
                    <a:pt x="168" y="42"/>
                    <a:pt x="168" y="42"/>
                  </a:cubicBezTo>
                  <a:cubicBezTo>
                    <a:pt x="168" y="44"/>
                    <a:pt x="168" y="44"/>
                    <a:pt x="168" y="44"/>
                  </a:cubicBezTo>
                  <a:cubicBezTo>
                    <a:pt x="165" y="46"/>
                    <a:pt x="165" y="46"/>
                    <a:pt x="165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62" y="50"/>
                    <a:pt x="162" y="50"/>
                    <a:pt x="162" y="50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77" y="51"/>
                    <a:pt x="177" y="51"/>
                    <a:pt x="177" y="51"/>
                  </a:cubicBezTo>
                  <a:cubicBezTo>
                    <a:pt x="178" y="53"/>
                    <a:pt x="178" y="53"/>
                    <a:pt x="178" y="53"/>
                  </a:cubicBezTo>
                  <a:cubicBezTo>
                    <a:pt x="178" y="53"/>
                    <a:pt x="182" y="53"/>
                    <a:pt x="182" y="53"/>
                  </a:cubicBezTo>
                  <a:cubicBezTo>
                    <a:pt x="182" y="53"/>
                    <a:pt x="183" y="50"/>
                    <a:pt x="183" y="50"/>
                  </a:cubicBezTo>
                  <a:cubicBezTo>
                    <a:pt x="183" y="50"/>
                    <a:pt x="184" y="48"/>
                    <a:pt x="185" y="48"/>
                  </a:cubicBezTo>
                  <a:cubicBezTo>
                    <a:pt x="186" y="48"/>
                    <a:pt x="187" y="46"/>
                    <a:pt x="188" y="46"/>
                  </a:cubicBezTo>
                  <a:cubicBezTo>
                    <a:pt x="188" y="45"/>
                    <a:pt x="189" y="43"/>
                    <a:pt x="189" y="43"/>
                  </a:cubicBezTo>
                  <a:cubicBezTo>
                    <a:pt x="189" y="43"/>
                    <a:pt x="191" y="42"/>
                    <a:pt x="192" y="42"/>
                  </a:cubicBezTo>
                  <a:cubicBezTo>
                    <a:pt x="193" y="42"/>
                    <a:pt x="199" y="41"/>
                    <a:pt x="199" y="41"/>
                  </a:cubicBezTo>
                  <a:cubicBezTo>
                    <a:pt x="199" y="41"/>
                    <a:pt x="203" y="40"/>
                    <a:pt x="204" y="39"/>
                  </a:cubicBezTo>
                  <a:cubicBezTo>
                    <a:pt x="204" y="39"/>
                    <a:pt x="208" y="36"/>
                    <a:pt x="208" y="36"/>
                  </a:cubicBezTo>
                  <a:cubicBezTo>
                    <a:pt x="209" y="33"/>
                    <a:pt x="209" y="33"/>
                    <a:pt x="209" y="33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3" y="30"/>
                    <a:pt x="213" y="29"/>
                  </a:cubicBezTo>
                  <a:cubicBezTo>
                    <a:pt x="213" y="28"/>
                    <a:pt x="214" y="25"/>
                    <a:pt x="214" y="25"/>
                  </a:cubicBezTo>
                  <a:cubicBezTo>
                    <a:pt x="216" y="24"/>
                    <a:pt x="216" y="24"/>
                    <a:pt x="216" y="24"/>
                  </a:cubicBezTo>
                  <a:cubicBezTo>
                    <a:pt x="216" y="24"/>
                    <a:pt x="218" y="25"/>
                    <a:pt x="218" y="26"/>
                  </a:cubicBezTo>
                  <a:cubicBezTo>
                    <a:pt x="218" y="26"/>
                    <a:pt x="217" y="28"/>
                    <a:pt x="217" y="28"/>
                  </a:cubicBezTo>
                  <a:cubicBezTo>
                    <a:pt x="217" y="28"/>
                    <a:pt x="215" y="29"/>
                    <a:pt x="214" y="30"/>
                  </a:cubicBezTo>
                  <a:cubicBezTo>
                    <a:pt x="214" y="30"/>
                    <a:pt x="214" y="32"/>
                    <a:pt x="214" y="32"/>
                  </a:cubicBezTo>
                  <a:cubicBezTo>
                    <a:pt x="216" y="30"/>
                    <a:pt x="216" y="30"/>
                    <a:pt x="216" y="30"/>
                  </a:cubicBezTo>
                  <a:cubicBezTo>
                    <a:pt x="216" y="30"/>
                    <a:pt x="217" y="29"/>
                    <a:pt x="217" y="29"/>
                  </a:cubicBezTo>
                  <a:cubicBezTo>
                    <a:pt x="217" y="29"/>
                    <a:pt x="221" y="28"/>
                    <a:pt x="221" y="28"/>
                  </a:cubicBezTo>
                  <a:cubicBezTo>
                    <a:pt x="221" y="28"/>
                    <a:pt x="223" y="29"/>
                    <a:pt x="223" y="29"/>
                  </a:cubicBezTo>
                  <a:cubicBezTo>
                    <a:pt x="223" y="29"/>
                    <a:pt x="225" y="30"/>
                    <a:pt x="225" y="30"/>
                  </a:cubicBezTo>
                  <a:cubicBezTo>
                    <a:pt x="229" y="29"/>
                    <a:pt x="229" y="29"/>
                    <a:pt x="229" y="29"/>
                  </a:cubicBezTo>
                  <a:cubicBezTo>
                    <a:pt x="229" y="27"/>
                    <a:pt x="229" y="27"/>
                    <a:pt x="229" y="27"/>
                  </a:cubicBezTo>
                  <a:cubicBezTo>
                    <a:pt x="229" y="27"/>
                    <a:pt x="229" y="26"/>
                    <a:pt x="230" y="26"/>
                  </a:cubicBezTo>
                  <a:cubicBezTo>
                    <a:pt x="231" y="25"/>
                    <a:pt x="233" y="24"/>
                    <a:pt x="233" y="24"/>
                  </a:cubicBezTo>
                  <a:cubicBezTo>
                    <a:pt x="233" y="24"/>
                    <a:pt x="233" y="22"/>
                    <a:pt x="233" y="21"/>
                  </a:cubicBezTo>
                  <a:cubicBezTo>
                    <a:pt x="233" y="21"/>
                    <a:pt x="234" y="19"/>
                    <a:pt x="234" y="19"/>
                  </a:cubicBezTo>
                  <a:cubicBezTo>
                    <a:pt x="234" y="19"/>
                    <a:pt x="234" y="19"/>
                    <a:pt x="234" y="19"/>
                  </a:cubicBezTo>
                  <a:cubicBezTo>
                    <a:pt x="234" y="19"/>
                    <a:pt x="236" y="18"/>
                    <a:pt x="236" y="18"/>
                  </a:cubicBezTo>
                  <a:cubicBezTo>
                    <a:pt x="236" y="18"/>
                    <a:pt x="237" y="15"/>
                    <a:pt x="237" y="15"/>
                  </a:cubicBezTo>
                  <a:cubicBezTo>
                    <a:pt x="237" y="15"/>
                    <a:pt x="237" y="14"/>
                    <a:pt x="238" y="14"/>
                  </a:cubicBezTo>
                  <a:cubicBezTo>
                    <a:pt x="238" y="14"/>
                    <a:pt x="240" y="12"/>
                    <a:pt x="240" y="12"/>
                  </a:cubicBezTo>
                  <a:cubicBezTo>
                    <a:pt x="241" y="11"/>
                    <a:pt x="241" y="11"/>
                    <a:pt x="242" y="11"/>
                  </a:cubicBezTo>
                  <a:cubicBezTo>
                    <a:pt x="242" y="11"/>
                    <a:pt x="243" y="13"/>
                    <a:pt x="243" y="13"/>
                  </a:cubicBezTo>
                  <a:cubicBezTo>
                    <a:pt x="243" y="13"/>
                    <a:pt x="243" y="14"/>
                    <a:pt x="242" y="15"/>
                  </a:cubicBezTo>
                  <a:cubicBezTo>
                    <a:pt x="241" y="15"/>
                    <a:pt x="240" y="16"/>
                    <a:pt x="240" y="16"/>
                  </a:cubicBezTo>
                  <a:cubicBezTo>
                    <a:pt x="240" y="16"/>
                    <a:pt x="242" y="18"/>
                    <a:pt x="242" y="18"/>
                  </a:cubicBezTo>
                  <a:cubicBezTo>
                    <a:pt x="242" y="18"/>
                    <a:pt x="243" y="19"/>
                    <a:pt x="243" y="19"/>
                  </a:cubicBezTo>
                  <a:cubicBezTo>
                    <a:pt x="243" y="20"/>
                    <a:pt x="242" y="21"/>
                    <a:pt x="242" y="21"/>
                  </a:cubicBezTo>
                  <a:cubicBezTo>
                    <a:pt x="243" y="21"/>
                    <a:pt x="246" y="20"/>
                    <a:pt x="246" y="20"/>
                  </a:cubicBezTo>
                  <a:cubicBezTo>
                    <a:pt x="246" y="20"/>
                    <a:pt x="246" y="18"/>
                    <a:pt x="246" y="18"/>
                  </a:cubicBezTo>
                  <a:cubicBezTo>
                    <a:pt x="246" y="18"/>
                    <a:pt x="248" y="16"/>
                    <a:pt x="248" y="16"/>
                  </a:cubicBezTo>
                  <a:cubicBezTo>
                    <a:pt x="249" y="16"/>
                    <a:pt x="251" y="17"/>
                    <a:pt x="251" y="17"/>
                  </a:cubicBezTo>
                  <a:cubicBezTo>
                    <a:pt x="251" y="17"/>
                    <a:pt x="251" y="18"/>
                    <a:pt x="251" y="19"/>
                  </a:cubicBezTo>
                  <a:cubicBezTo>
                    <a:pt x="250" y="19"/>
                    <a:pt x="248" y="21"/>
                    <a:pt x="248" y="21"/>
                  </a:cubicBezTo>
                  <a:cubicBezTo>
                    <a:pt x="248" y="22"/>
                    <a:pt x="247" y="22"/>
                    <a:pt x="248" y="22"/>
                  </a:cubicBezTo>
                  <a:cubicBezTo>
                    <a:pt x="248" y="23"/>
                    <a:pt x="250" y="25"/>
                    <a:pt x="250" y="25"/>
                  </a:cubicBezTo>
                  <a:cubicBezTo>
                    <a:pt x="253" y="27"/>
                    <a:pt x="253" y="27"/>
                    <a:pt x="253" y="27"/>
                  </a:cubicBezTo>
                  <a:cubicBezTo>
                    <a:pt x="253" y="27"/>
                    <a:pt x="253" y="28"/>
                    <a:pt x="253" y="29"/>
                  </a:cubicBezTo>
                  <a:cubicBezTo>
                    <a:pt x="253" y="29"/>
                    <a:pt x="248" y="29"/>
                    <a:pt x="248" y="29"/>
                  </a:cubicBezTo>
                  <a:cubicBezTo>
                    <a:pt x="248" y="29"/>
                    <a:pt x="248" y="29"/>
                    <a:pt x="247" y="30"/>
                  </a:cubicBezTo>
                  <a:cubicBezTo>
                    <a:pt x="247" y="30"/>
                    <a:pt x="246" y="31"/>
                    <a:pt x="244" y="32"/>
                  </a:cubicBezTo>
                  <a:cubicBezTo>
                    <a:pt x="242" y="32"/>
                    <a:pt x="242" y="32"/>
                    <a:pt x="242" y="33"/>
                  </a:cubicBezTo>
                  <a:cubicBezTo>
                    <a:pt x="242" y="34"/>
                    <a:pt x="241" y="35"/>
                    <a:pt x="242" y="36"/>
                  </a:cubicBezTo>
                  <a:cubicBezTo>
                    <a:pt x="243" y="37"/>
                    <a:pt x="245" y="38"/>
                    <a:pt x="245" y="38"/>
                  </a:cubicBezTo>
                  <a:cubicBezTo>
                    <a:pt x="245" y="38"/>
                    <a:pt x="250" y="40"/>
                    <a:pt x="250" y="39"/>
                  </a:cubicBezTo>
                  <a:cubicBezTo>
                    <a:pt x="250" y="39"/>
                    <a:pt x="257" y="39"/>
                    <a:pt x="257" y="39"/>
                  </a:cubicBezTo>
                  <a:cubicBezTo>
                    <a:pt x="260" y="39"/>
                    <a:pt x="260" y="39"/>
                    <a:pt x="260" y="39"/>
                  </a:cubicBezTo>
                  <a:cubicBezTo>
                    <a:pt x="260" y="39"/>
                    <a:pt x="261" y="41"/>
                    <a:pt x="262" y="42"/>
                  </a:cubicBezTo>
                  <a:cubicBezTo>
                    <a:pt x="262" y="42"/>
                    <a:pt x="266" y="45"/>
                    <a:pt x="266" y="45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9" y="49"/>
                    <a:pt x="269" y="49"/>
                    <a:pt x="269" y="49"/>
                  </a:cubicBezTo>
                  <a:cubicBezTo>
                    <a:pt x="268" y="52"/>
                    <a:pt x="268" y="52"/>
                    <a:pt x="268" y="52"/>
                  </a:cubicBezTo>
                  <a:cubicBezTo>
                    <a:pt x="265" y="53"/>
                    <a:pt x="265" y="53"/>
                    <a:pt x="265" y="53"/>
                  </a:cubicBezTo>
                  <a:cubicBezTo>
                    <a:pt x="261" y="56"/>
                    <a:pt x="261" y="56"/>
                    <a:pt x="261" y="56"/>
                  </a:cubicBezTo>
                  <a:cubicBezTo>
                    <a:pt x="259" y="55"/>
                    <a:pt x="259" y="55"/>
                    <a:pt x="259" y="55"/>
                  </a:cubicBezTo>
                  <a:cubicBezTo>
                    <a:pt x="259" y="55"/>
                    <a:pt x="261" y="57"/>
                    <a:pt x="262" y="57"/>
                  </a:cubicBezTo>
                  <a:cubicBezTo>
                    <a:pt x="263" y="57"/>
                    <a:pt x="264" y="58"/>
                    <a:pt x="264" y="58"/>
                  </a:cubicBezTo>
                  <a:cubicBezTo>
                    <a:pt x="265" y="58"/>
                    <a:pt x="269" y="58"/>
                    <a:pt x="273" y="58"/>
                  </a:cubicBezTo>
                  <a:cubicBezTo>
                    <a:pt x="273" y="59"/>
                    <a:pt x="273" y="59"/>
                    <a:pt x="273" y="60"/>
                  </a:cubicBezTo>
                  <a:cubicBezTo>
                    <a:pt x="274" y="61"/>
                    <a:pt x="275" y="65"/>
                    <a:pt x="275" y="66"/>
                  </a:cubicBezTo>
                  <a:cubicBezTo>
                    <a:pt x="275" y="66"/>
                    <a:pt x="276" y="70"/>
                    <a:pt x="278" y="73"/>
                  </a:cubicBezTo>
                  <a:cubicBezTo>
                    <a:pt x="281" y="77"/>
                    <a:pt x="280" y="78"/>
                    <a:pt x="280" y="78"/>
                  </a:cubicBezTo>
                  <a:cubicBezTo>
                    <a:pt x="280" y="87"/>
                    <a:pt x="280" y="87"/>
                    <a:pt x="280" y="87"/>
                  </a:cubicBezTo>
                  <a:cubicBezTo>
                    <a:pt x="280" y="95"/>
                    <a:pt x="280" y="95"/>
                    <a:pt x="280" y="95"/>
                  </a:cubicBezTo>
                  <a:cubicBezTo>
                    <a:pt x="275" y="99"/>
                    <a:pt x="275" y="99"/>
                    <a:pt x="275" y="99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8"/>
                    <a:pt x="274" y="109"/>
                    <a:pt x="275" y="109"/>
                  </a:cubicBezTo>
                  <a:cubicBezTo>
                    <a:pt x="276" y="110"/>
                    <a:pt x="279" y="113"/>
                    <a:pt x="279" y="113"/>
                  </a:cubicBezTo>
                  <a:cubicBezTo>
                    <a:pt x="280" y="114"/>
                    <a:pt x="286" y="117"/>
                    <a:pt x="289" y="118"/>
                  </a:cubicBezTo>
                  <a:cubicBezTo>
                    <a:pt x="292" y="120"/>
                    <a:pt x="291" y="125"/>
                    <a:pt x="291" y="125"/>
                  </a:cubicBezTo>
                  <a:cubicBezTo>
                    <a:pt x="289" y="132"/>
                    <a:pt x="289" y="132"/>
                    <a:pt x="289" y="132"/>
                  </a:cubicBezTo>
                  <a:cubicBezTo>
                    <a:pt x="289" y="132"/>
                    <a:pt x="290" y="136"/>
                    <a:pt x="292" y="136"/>
                  </a:cubicBezTo>
                  <a:cubicBezTo>
                    <a:pt x="293" y="135"/>
                    <a:pt x="294" y="141"/>
                    <a:pt x="294" y="141"/>
                  </a:cubicBezTo>
                  <a:cubicBezTo>
                    <a:pt x="294" y="141"/>
                    <a:pt x="295" y="147"/>
                    <a:pt x="295" y="148"/>
                  </a:cubicBezTo>
                  <a:cubicBezTo>
                    <a:pt x="294" y="149"/>
                    <a:pt x="295" y="150"/>
                    <a:pt x="295" y="150"/>
                  </a:cubicBezTo>
                  <a:cubicBezTo>
                    <a:pt x="297" y="154"/>
                    <a:pt x="297" y="154"/>
                    <a:pt x="297" y="154"/>
                  </a:cubicBezTo>
                  <a:cubicBezTo>
                    <a:pt x="297" y="154"/>
                    <a:pt x="296" y="157"/>
                    <a:pt x="295" y="158"/>
                  </a:cubicBezTo>
                  <a:cubicBezTo>
                    <a:pt x="295" y="160"/>
                    <a:pt x="294" y="162"/>
                    <a:pt x="294" y="162"/>
                  </a:cubicBezTo>
                  <a:cubicBezTo>
                    <a:pt x="295" y="165"/>
                    <a:pt x="295" y="165"/>
                    <a:pt x="295" y="165"/>
                  </a:cubicBezTo>
                  <a:cubicBezTo>
                    <a:pt x="299" y="170"/>
                    <a:pt x="299" y="170"/>
                    <a:pt x="299" y="170"/>
                  </a:cubicBezTo>
                  <a:cubicBezTo>
                    <a:pt x="299" y="175"/>
                    <a:pt x="299" y="175"/>
                    <a:pt x="299" y="175"/>
                  </a:cubicBezTo>
                  <a:cubicBezTo>
                    <a:pt x="299" y="178"/>
                    <a:pt x="299" y="178"/>
                    <a:pt x="299" y="178"/>
                  </a:cubicBezTo>
                  <a:cubicBezTo>
                    <a:pt x="299" y="178"/>
                    <a:pt x="302" y="179"/>
                    <a:pt x="303" y="179"/>
                  </a:cubicBezTo>
                  <a:cubicBezTo>
                    <a:pt x="304" y="179"/>
                    <a:pt x="306" y="181"/>
                    <a:pt x="306" y="181"/>
                  </a:cubicBezTo>
                  <a:cubicBezTo>
                    <a:pt x="306" y="181"/>
                    <a:pt x="306" y="183"/>
                    <a:pt x="306" y="184"/>
                  </a:cubicBezTo>
                  <a:cubicBezTo>
                    <a:pt x="306" y="184"/>
                    <a:pt x="309" y="188"/>
                    <a:pt x="309" y="188"/>
                  </a:cubicBezTo>
                  <a:cubicBezTo>
                    <a:pt x="310" y="189"/>
                    <a:pt x="312" y="192"/>
                    <a:pt x="312" y="192"/>
                  </a:cubicBezTo>
                  <a:cubicBezTo>
                    <a:pt x="312" y="192"/>
                    <a:pt x="312" y="194"/>
                    <a:pt x="309" y="197"/>
                  </a:cubicBezTo>
                  <a:cubicBezTo>
                    <a:pt x="307" y="200"/>
                    <a:pt x="308" y="200"/>
                    <a:pt x="308" y="201"/>
                  </a:cubicBezTo>
                  <a:cubicBezTo>
                    <a:pt x="308" y="202"/>
                    <a:pt x="309" y="204"/>
                    <a:pt x="309" y="204"/>
                  </a:cubicBezTo>
                  <a:cubicBezTo>
                    <a:pt x="309" y="204"/>
                    <a:pt x="308" y="205"/>
                    <a:pt x="307" y="206"/>
                  </a:cubicBezTo>
                  <a:cubicBezTo>
                    <a:pt x="307" y="206"/>
                    <a:pt x="306" y="208"/>
                    <a:pt x="306" y="210"/>
                  </a:cubicBezTo>
                  <a:cubicBezTo>
                    <a:pt x="302" y="213"/>
                    <a:pt x="302" y="213"/>
                    <a:pt x="302" y="213"/>
                  </a:cubicBezTo>
                  <a:cubicBezTo>
                    <a:pt x="302" y="213"/>
                    <a:pt x="302" y="213"/>
                    <a:pt x="301" y="214"/>
                  </a:cubicBezTo>
                  <a:cubicBezTo>
                    <a:pt x="301" y="213"/>
                    <a:pt x="300" y="213"/>
                    <a:pt x="299" y="213"/>
                  </a:cubicBezTo>
                  <a:cubicBezTo>
                    <a:pt x="298" y="212"/>
                    <a:pt x="297" y="211"/>
                    <a:pt x="297" y="211"/>
                  </a:cubicBezTo>
                  <a:cubicBezTo>
                    <a:pt x="297" y="211"/>
                    <a:pt x="297" y="209"/>
                    <a:pt x="297" y="207"/>
                  </a:cubicBezTo>
                  <a:cubicBezTo>
                    <a:pt x="297" y="205"/>
                    <a:pt x="297" y="206"/>
                    <a:pt x="297" y="205"/>
                  </a:cubicBezTo>
                  <a:cubicBezTo>
                    <a:pt x="296" y="204"/>
                    <a:pt x="294" y="203"/>
                    <a:pt x="292" y="202"/>
                  </a:cubicBezTo>
                  <a:cubicBezTo>
                    <a:pt x="290" y="202"/>
                    <a:pt x="286" y="202"/>
                    <a:pt x="285" y="203"/>
                  </a:cubicBezTo>
                  <a:cubicBezTo>
                    <a:pt x="285" y="203"/>
                    <a:pt x="285" y="207"/>
                    <a:pt x="285" y="207"/>
                  </a:cubicBezTo>
                  <a:cubicBezTo>
                    <a:pt x="287" y="210"/>
                    <a:pt x="287" y="210"/>
                    <a:pt x="287" y="210"/>
                  </a:cubicBezTo>
                  <a:cubicBezTo>
                    <a:pt x="286" y="212"/>
                    <a:pt x="286" y="212"/>
                    <a:pt x="286" y="212"/>
                  </a:cubicBezTo>
                  <a:cubicBezTo>
                    <a:pt x="286" y="212"/>
                    <a:pt x="277" y="214"/>
                    <a:pt x="274" y="214"/>
                  </a:cubicBezTo>
                  <a:cubicBezTo>
                    <a:pt x="271" y="214"/>
                    <a:pt x="272" y="216"/>
                    <a:pt x="272" y="216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68" y="222"/>
                    <a:pt x="268" y="222"/>
                    <a:pt x="268" y="222"/>
                  </a:cubicBezTo>
                  <a:cubicBezTo>
                    <a:pt x="262" y="224"/>
                    <a:pt x="262" y="224"/>
                    <a:pt x="262" y="224"/>
                  </a:cubicBezTo>
                  <a:cubicBezTo>
                    <a:pt x="262" y="224"/>
                    <a:pt x="256" y="229"/>
                    <a:pt x="255" y="229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51" y="232"/>
                    <a:pt x="250" y="232"/>
                    <a:pt x="247" y="234"/>
                  </a:cubicBezTo>
                  <a:cubicBezTo>
                    <a:pt x="243" y="235"/>
                    <a:pt x="245" y="237"/>
                    <a:pt x="244" y="238"/>
                  </a:cubicBezTo>
                  <a:cubicBezTo>
                    <a:pt x="244" y="240"/>
                    <a:pt x="243" y="240"/>
                    <a:pt x="241" y="241"/>
                  </a:cubicBezTo>
                  <a:cubicBezTo>
                    <a:pt x="240" y="241"/>
                    <a:pt x="237" y="240"/>
                    <a:pt x="235" y="240"/>
                  </a:cubicBezTo>
                  <a:cubicBezTo>
                    <a:pt x="234" y="240"/>
                    <a:pt x="231" y="242"/>
                    <a:pt x="229" y="242"/>
                  </a:cubicBezTo>
                  <a:cubicBezTo>
                    <a:pt x="226" y="242"/>
                    <a:pt x="226" y="242"/>
                    <a:pt x="226" y="242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19" y="253"/>
                    <a:pt x="219" y="253"/>
                    <a:pt x="219" y="253"/>
                  </a:cubicBezTo>
                  <a:cubicBezTo>
                    <a:pt x="218" y="250"/>
                    <a:pt x="218" y="250"/>
                    <a:pt x="218" y="250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249"/>
                    <a:pt x="215" y="256"/>
                    <a:pt x="216" y="257"/>
                  </a:cubicBezTo>
                  <a:cubicBezTo>
                    <a:pt x="217" y="258"/>
                    <a:pt x="218" y="258"/>
                    <a:pt x="220" y="259"/>
                  </a:cubicBezTo>
                  <a:cubicBezTo>
                    <a:pt x="223" y="261"/>
                    <a:pt x="223" y="261"/>
                    <a:pt x="226" y="263"/>
                  </a:cubicBezTo>
                  <a:cubicBezTo>
                    <a:pt x="229" y="265"/>
                    <a:pt x="228" y="267"/>
                    <a:pt x="228" y="268"/>
                  </a:cubicBezTo>
                  <a:cubicBezTo>
                    <a:pt x="228" y="270"/>
                    <a:pt x="228" y="270"/>
                    <a:pt x="226" y="272"/>
                  </a:cubicBezTo>
                  <a:cubicBezTo>
                    <a:pt x="224" y="275"/>
                    <a:pt x="226" y="277"/>
                    <a:pt x="226" y="277"/>
                  </a:cubicBezTo>
                  <a:cubicBezTo>
                    <a:pt x="226" y="277"/>
                    <a:pt x="227" y="279"/>
                    <a:pt x="229" y="281"/>
                  </a:cubicBezTo>
                  <a:cubicBezTo>
                    <a:pt x="231" y="283"/>
                    <a:pt x="230" y="284"/>
                    <a:pt x="231" y="287"/>
                  </a:cubicBezTo>
                  <a:cubicBezTo>
                    <a:pt x="231" y="290"/>
                    <a:pt x="231" y="289"/>
                    <a:pt x="233" y="292"/>
                  </a:cubicBezTo>
                  <a:cubicBezTo>
                    <a:pt x="235" y="294"/>
                    <a:pt x="234" y="293"/>
                    <a:pt x="236" y="295"/>
                  </a:cubicBezTo>
                  <a:cubicBezTo>
                    <a:pt x="238" y="297"/>
                    <a:pt x="238" y="298"/>
                    <a:pt x="238" y="298"/>
                  </a:cubicBezTo>
                  <a:cubicBezTo>
                    <a:pt x="238" y="298"/>
                    <a:pt x="244" y="296"/>
                    <a:pt x="246" y="298"/>
                  </a:cubicBezTo>
                  <a:cubicBezTo>
                    <a:pt x="248" y="300"/>
                    <a:pt x="247" y="299"/>
                    <a:pt x="251" y="302"/>
                  </a:cubicBezTo>
                  <a:cubicBezTo>
                    <a:pt x="254" y="306"/>
                    <a:pt x="251" y="304"/>
                    <a:pt x="252" y="307"/>
                  </a:cubicBezTo>
                  <a:cubicBezTo>
                    <a:pt x="253" y="309"/>
                    <a:pt x="254" y="308"/>
                    <a:pt x="254" y="308"/>
                  </a:cubicBezTo>
                  <a:cubicBezTo>
                    <a:pt x="254" y="308"/>
                    <a:pt x="255" y="309"/>
                    <a:pt x="257" y="309"/>
                  </a:cubicBezTo>
                  <a:cubicBezTo>
                    <a:pt x="259" y="309"/>
                    <a:pt x="259" y="311"/>
                    <a:pt x="259" y="313"/>
                  </a:cubicBezTo>
                  <a:cubicBezTo>
                    <a:pt x="260" y="315"/>
                    <a:pt x="260" y="315"/>
                    <a:pt x="262" y="317"/>
                  </a:cubicBezTo>
                  <a:cubicBezTo>
                    <a:pt x="263" y="318"/>
                    <a:pt x="264" y="317"/>
                    <a:pt x="267" y="316"/>
                  </a:cubicBezTo>
                  <a:cubicBezTo>
                    <a:pt x="269" y="316"/>
                    <a:pt x="268" y="318"/>
                    <a:pt x="268" y="319"/>
                  </a:cubicBezTo>
                  <a:cubicBezTo>
                    <a:pt x="268" y="320"/>
                    <a:pt x="270" y="320"/>
                    <a:pt x="272" y="321"/>
                  </a:cubicBezTo>
                  <a:cubicBezTo>
                    <a:pt x="274" y="322"/>
                    <a:pt x="273" y="322"/>
                    <a:pt x="275" y="324"/>
                  </a:cubicBezTo>
                  <a:cubicBezTo>
                    <a:pt x="275" y="324"/>
                    <a:pt x="275" y="324"/>
                    <a:pt x="275" y="325"/>
                  </a:cubicBezTo>
                  <a:close/>
                  <a:moveTo>
                    <a:pt x="55" y="394"/>
                  </a:move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ubicBezTo>
                    <a:pt x="55" y="394"/>
                    <a:pt x="55" y="394"/>
                    <a:pt x="55" y="394"/>
                  </a:cubicBezTo>
                  <a:close/>
                  <a:moveTo>
                    <a:pt x="128" y="400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ubicBezTo>
                    <a:pt x="128" y="400"/>
                    <a:pt x="128" y="400"/>
                    <a:pt x="128" y="400"/>
                  </a:cubicBezTo>
                  <a:close/>
                  <a:moveTo>
                    <a:pt x="312" y="204"/>
                  </a:move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ubicBezTo>
                    <a:pt x="312" y="204"/>
                    <a:pt x="312" y="204"/>
                    <a:pt x="312" y="20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5" name="Freeform 80"/>
            <p:cNvSpPr>
              <a:spLocks noEditPoints="1"/>
            </p:cNvSpPr>
            <p:nvPr/>
          </p:nvSpPr>
          <p:spPr bwMode="auto">
            <a:xfrm>
              <a:off x="4065127" y="4800833"/>
              <a:ext cx="1168791" cy="1292872"/>
            </a:xfrm>
            <a:custGeom>
              <a:avLst/>
              <a:gdLst>
                <a:gd name="T0" fmla="*/ 372 w 492"/>
                <a:gd name="T1" fmla="*/ 536 h 561"/>
                <a:gd name="T2" fmla="*/ 338 w 492"/>
                <a:gd name="T3" fmla="*/ 556 h 561"/>
                <a:gd name="T4" fmla="*/ 272 w 492"/>
                <a:gd name="T5" fmla="*/ 521 h 561"/>
                <a:gd name="T6" fmla="*/ 260 w 492"/>
                <a:gd name="T7" fmla="*/ 489 h 561"/>
                <a:gd name="T8" fmla="*/ 318 w 492"/>
                <a:gd name="T9" fmla="*/ 489 h 561"/>
                <a:gd name="T10" fmla="*/ 376 w 492"/>
                <a:gd name="T11" fmla="*/ 476 h 561"/>
                <a:gd name="T12" fmla="*/ 403 w 492"/>
                <a:gd name="T13" fmla="*/ 478 h 561"/>
                <a:gd name="T14" fmla="*/ 442 w 492"/>
                <a:gd name="T15" fmla="*/ 422 h 561"/>
                <a:gd name="T16" fmla="*/ 411 w 492"/>
                <a:gd name="T17" fmla="*/ 385 h 561"/>
                <a:gd name="T18" fmla="*/ 455 w 492"/>
                <a:gd name="T19" fmla="*/ 350 h 561"/>
                <a:gd name="T20" fmla="*/ 490 w 492"/>
                <a:gd name="T21" fmla="*/ 351 h 561"/>
                <a:gd name="T22" fmla="*/ 379 w 492"/>
                <a:gd name="T23" fmla="*/ 295 h 561"/>
                <a:gd name="T24" fmla="*/ 340 w 492"/>
                <a:gd name="T25" fmla="*/ 271 h 561"/>
                <a:gd name="T26" fmla="*/ 275 w 492"/>
                <a:gd name="T27" fmla="*/ 186 h 561"/>
                <a:gd name="T28" fmla="*/ 218 w 492"/>
                <a:gd name="T29" fmla="*/ 109 h 561"/>
                <a:gd name="T30" fmla="*/ 247 w 492"/>
                <a:gd name="T31" fmla="*/ 78 h 561"/>
                <a:gd name="T32" fmla="*/ 267 w 492"/>
                <a:gd name="T33" fmla="*/ 63 h 561"/>
                <a:gd name="T34" fmla="*/ 262 w 492"/>
                <a:gd name="T35" fmla="*/ 56 h 561"/>
                <a:gd name="T36" fmla="*/ 258 w 492"/>
                <a:gd name="T37" fmla="*/ 46 h 561"/>
                <a:gd name="T38" fmla="*/ 267 w 492"/>
                <a:gd name="T39" fmla="*/ 30 h 561"/>
                <a:gd name="T40" fmla="*/ 212 w 492"/>
                <a:gd name="T41" fmla="*/ 15 h 561"/>
                <a:gd name="T42" fmla="*/ 185 w 492"/>
                <a:gd name="T43" fmla="*/ 4 h 561"/>
                <a:gd name="T44" fmla="*/ 148 w 492"/>
                <a:gd name="T45" fmla="*/ 15 h 561"/>
                <a:gd name="T46" fmla="*/ 148 w 492"/>
                <a:gd name="T47" fmla="*/ 26 h 561"/>
                <a:gd name="T48" fmla="*/ 139 w 492"/>
                <a:gd name="T49" fmla="*/ 27 h 561"/>
                <a:gd name="T50" fmla="*/ 132 w 492"/>
                <a:gd name="T51" fmla="*/ 34 h 561"/>
                <a:gd name="T52" fmla="*/ 136 w 492"/>
                <a:gd name="T53" fmla="*/ 46 h 561"/>
                <a:gd name="T54" fmla="*/ 129 w 492"/>
                <a:gd name="T55" fmla="*/ 40 h 561"/>
                <a:gd name="T56" fmla="*/ 114 w 492"/>
                <a:gd name="T57" fmla="*/ 45 h 561"/>
                <a:gd name="T58" fmla="*/ 104 w 492"/>
                <a:gd name="T59" fmla="*/ 34 h 561"/>
                <a:gd name="T60" fmla="*/ 101 w 492"/>
                <a:gd name="T61" fmla="*/ 47 h 561"/>
                <a:gd name="T62" fmla="*/ 94 w 492"/>
                <a:gd name="T63" fmla="*/ 61 h 561"/>
                <a:gd name="T64" fmla="*/ 89 w 492"/>
                <a:gd name="T65" fmla="*/ 71 h 561"/>
                <a:gd name="T66" fmla="*/ 87 w 492"/>
                <a:gd name="T67" fmla="*/ 58 h 561"/>
                <a:gd name="T68" fmla="*/ 73 w 492"/>
                <a:gd name="T69" fmla="*/ 51 h 561"/>
                <a:gd name="T70" fmla="*/ 65 w 492"/>
                <a:gd name="T71" fmla="*/ 39 h 561"/>
                <a:gd name="T72" fmla="*/ 58 w 492"/>
                <a:gd name="T73" fmla="*/ 51 h 561"/>
                <a:gd name="T74" fmla="*/ 50 w 492"/>
                <a:gd name="T75" fmla="*/ 63 h 561"/>
                <a:gd name="T76" fmla="*/ 35 w 492"/>
                <a:gd name="T77" fmla="*/ 63 h 561"/>
                <a:gd name="T78" fmla="*/ 19 w 492"/>
                <a:gd name="T79" fmla="*/ 69 h 561"/>
                <a:gd name="T80" fmla="*/ 18 w 492"/>
                <a:gd name="T81" fmla="*/ 100 h 561"/>
                <a:gd name="T82" fmla="*/ 14 w 492"/>
                <a:gd name="T83" fmla="*/ 134 h 561"/>
                <a:gd name="T84" fmla="*/ 31 w 492"/>
                <a:gd name="T85" fmla="*/ 180 h 561"/>
                <a:gd name="T86" fmla="*/ 86 w 492"/>
                <a:gd name="T87" fmla="*/ 147 h 561"/>
                <a:gd name="T88" fmla="*/ 139 w 492"/>
                <a:gd name="T89" fmla="*/ 179 h 561"/>
                <a:gd name="T90" fmla="*/ 162 w 492"/>
                <a:gd name="T91" fmla="*/ 237 h 561"/>
                <a:gd name="T92" fmla="*/ 207 w 492"/>
                <a:gd name="T93" fmla="*/ 276 h 561"/>
                <a:gd name="T94" fmla="*/ 251 w 492"/>
                <a:gd name="T95" fmla="*/ 307 h 561"/>
                <a:gd name="T96" fmla="*/ 289 w 492"/>
                <a:gd name="T97" fmla="*/ 317 h 561"/>
                <a:gd name="T98" fmla="*/ 334 w 492"/>
                <a:gd name="T99" fmla="*/ 346 h 561"/>
                <a:gd name="T100" fmla="*/ 357 w 492"/>
                <a:gd name="T101" fmla="*/ 374 h 561"/>
                <a:gd name="T102" fmla="*/ 395 w 492"/>
                <a:gd name="T103" fmla="*/ 418 h 561"/>
                <a:gd name="T104" fmla="*/ 390 w 492"/>
                <a:gd name="T105" fmla="*/ 463 h 561"/>
                <a:gd name="T106" fmla="*/ 75 w 492"/>
                <a:gd name="T107" fmla="*/ 342 h 561"/>
                <a:gd name="T108" fmla="*/ 126 w 492"/>
                <a:gd name="T109" fmla="*/ 355 h 561"/>
                <a:gd name="T110" fmla="*/ 113 w 492"/>
                <a:gd name="T111" fmla="*/ 441 h 561"/>
                <a:gd name="T112" fmla="*/ 71 w 492"/>
                <a:gd name="T113" fmla="*/ 446 h 561"/>
                <a:gd name="T114" fmla="*/ 73 w 492"/>
                <a:gd name="T115" fmla="*/ 395 h 561"/>
                <a:gd name="T116" fmla="*/ 57 w 492"/>
                <a:gd name="T117" fmla="*/ 358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2" h="561">
                  <a:moveTo>
                    <a:pt x="376" y="476"/>
                  </a:moveTo>
                  <a:cubicBezTo>
                    <a:pt x="377" y="483"/>
                    <a:pt x="377" y="483"/>
                    <a:pt x="377" y="483"/>
                  </a:cubicBezTo>
                  <a:cubicBezTo>
                    <a:pt x="377" y="483"/>
                    <a:pt x="371" y="493"/>
                    <a:pt x="371" y="494"/>
                  </a:cubicBezTo>
                  <a:cubicBezTo>
                    <a:pt x="371" y="495"/>
                    <a:pt x="369" y="499"/>
                    <a:pt x="367" y="502"/>
                  </a:cubicBezTo>
                  <a:cubicBezTo>
                    <a:pt x="366" y="504"/>
                    <a:pt x="360" y="512"/>
                    <a:pt x="360" y="512"/>
                  </a:cubicBezTo>
                  <a:cubicBezTo>
                    <a:pt x="360" y="512"/>
                    <a:pt x="360" y="515"/>
                    <a:pt x="362" y="517"/>
                  </a:cubicBezTo>
                  <a:cubicBezTo>
                    <a:pt x="363" y="519"/>
                    <a:pt x="366" y="522"/>
                    <a:pt x="366" y="525"/>
                  </a:cubicBezTo>
                  <a:cubicBezTo>
                    <a:pt x="366" y="527"/>
                    <a:pt x="371" y="530"/>
                    <a:pt x="371" y="530"/>
                  </a:cubicBezTo>
                  <a:cubicBezTo>
                    <a:pt x="372" y="536"/>
                    <a:pt x="372" y="536"/>
                    <a:pt x="372" y="536"/>
                  </a:cubicBezTo>
                  <a:cubicBezTo>
                    <a:pt x="372" y="536"/>
                    <a:pt x="375" y="539"/>
                    <a:pt x="375" y="540"/>
                  </a:cubicBezTo>
                  <a:cubicBezTo>
                    <a:pt x="374" y="541"/>
                    <a:pt x="369" y="546"/>
                    <a:pt x="369" y="546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9" y="555"/>
                    <a:pt x="368" y="558"/>
                  </a:cubicBezTo>
                  <a:cubicBezTo>
                    <a:pt x="367" y="560"/>
                    <a:pt x="367" y="560"/>
                    <a:pt x="366" y="560"/>
                  </a:cubicBezTo>
                  <a:cubicBezTo>
                    <a:pt x="365" y="561"/>
                    <a:pt x="355" y="560"/>
                    <a:pt x="355" y="560"/>
                  </a:cubicBezTo>
                  <a:cubicBezTo>
                    <a:pt x="345" y="558"/>
                    <a:pt x="345" y="558"/>
                    <a:pt x="345" y="558"/>
                  </a:cubicBezTo>
                  <a:cubicBezTo>
                    <a:pt x="345" y="558"/>
                    <a:pt x="340" y="557"/>
                    <a:pt x="338" y="556"/>
                  </a:cubicBezTo>
                  <a:cubicBezTo>
                    <a:pt x="337" y="555"/>
                    <a:pt x="335" y="554"/>
                    <a:pt x="335" y="554"/>
                  </a:cubicBezTo>
                  <a:cubicBezTo>
                    <a:pt x="332" y="545"/>
                    <a:pt x="332" y="545"/>
                    <a:pt x="332" y="545"/>
                  </a:cubicBezTo>
                  <a:cubicBezTo>
                    <a:pt x="324" y="544"/>
                    <a:pt x="324" y="544"/>
                    <a:pt x="324" y="544"/>
                  </a:cubicBezTo>
                  <a:cubicBezTo>
                    <a:pt x="304" y="541"/>
                    <a:pt x="304" y="541"/>
                    <a:pt x="304" y="541"/>
                  </a:cubicBezTo>
                  <a:cubicBezTo>
                    <a:pt x="304" y="541"/>
                    <a:pt x="297" y="535"/>
                    <a:pt x="296" y="534"/>
                  </a:cubicBezTo>
                  <a:cubicBezTo>
                    <a:pt x="294" y="533"/>
                    <a:pt x="292" y="530"/>
                    <a:pt x="292" y="530"/>
                  </a:cubicBezTo>
                  <a:cubicBezTo>
                    <a:pt x="288" y="529"/>
                    <a:pt x="288" y="529"/>
                    <a:pt x="288" y="529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2" y="521"/>
                    <a:pt x="272" y="521"/>
                    <a:pt x="272" y="521"/>
                  </a:cubicBezTo>
                  <a:cubicBezTo>
                    <a:pt x="266" y="517"/>
                    <a:pt x="266" y="517"/>
                    <a:pt x="266" y="517"/>
                  </a:cubicBezTo>
                  <a:cubicBezTo>
                    <a:pt x="259" y="517"/>
                    <a:pt x="259" y="517"/>
                    <a:pt x="259" y="517"/>
                  </a:cubicBezTo>
                  <a:cubicBezTo>
                    <a:pt x="259" y="517"/>
                    <a:pt x="254" y="516"/>
                    <a:pt x="254" y="515"/>
                  </a:cubicBezTo>
                  <a:cubicBezTo>
                    <a:pt x="253" y="513"/>
                    <a:pt x="247" y="510"/>
                    <a:pt x="247" y="510"/>
                  </a:cubicBezTo>
                  <a:cubicBezTo>
                    <a:pt x="247" y="510"/>
                    <a:pt x="247" y="504"/>
                    <a:pt x="247" y="503"/>
                  </a:cubicBezTo>
                  <a:cubicBezTo>
                    <a:pt x="247" y="502"/>
                    <a:pt x="248" y="492"/>
                    <a:pt x="248" y="492"/>
                  </a:cubicBezTo>
                  <a:cubicBezTo>
                    <a:pt x="252" y="487"/>
                    <a:pt x="252" y="487"/>
                    <a:pt x="252" y="487"/>
                  </a:cubicBezTo>
                  <a:cubicBezTo>
                    <a:pt x="258" y="485"/>
                    <a:pt x="258" y="485"/>
                    <a:pt x="258" y="485"/>
                  </a:cubicBezTo>
                  <a:cubicBezTo>
                    <a:pt x="260" y="489"/>
                    <a:pt x="260" y="489"/>
                    <a:pt x="260" y="489"/>
                  </a:cubicBezTo>
                  <a:cubicBezTo>
                    <a:pt x="267" y="492"/>
                    <a:pt x="267" y="492"/>
                    <a:pt x="267" y="492"/>
                  </a:cubicBezTo>
                  <a:cubicBezTo>
                    <a:pt x="271" y="489"/>
                    <a:pt x="271" y="489"/>
                    <a:pt x="271" y="489"/>
                  </a:cubicBezTo>
                  <a:cubicBezTo>
                    <a:pt x="273" y="483"/>
                    <a:pt x="273" y="483"/>
                    <a:pt x="273" y="483"/>
                  </a:cubicBezTo>
                  <a:cubicBezTo>
                    <a:pt x="279" y="481"/>
                    <a:pt x="279" y="481"/>
                    <a:pt x="279" y="481"/>
                  </a:cubicBezTo>
                  <a:cubicBezTo>
                    <a:pt x="286" y="484"/>
                    <a:pt x="286" y="484"/>
                    <a:pt x="286" y="484"/>
                  </a:cubicBezTo>
                  <a:cubicBezTo>
                    <a:pt x="291" y="489"/>
                    <a:pt x="291" y="489"/>
                    <a:pt x="291" y="489"/>
                  </a:cubicBezTo>
                  <a:cubicBezTo>
                    <a:pt x="301" y="492"/>
                    <a:pt x="301" y="492"/>
                    <a:pt x="301" y="492"/>
                  </a:cubicBezTo>
                  <a:cubicBezTo>
                    <a:pt x="310" y="490"/>
                    <a:pt x="310" y="490"/>
                    <a:pt x="310" y="490"/>
                  </a:cubicBezTo>
                  <a:cubicBezTo>
                    <a:pt x="318" y="489"/>
                    <a:pt x="318" y="489"/>
                    <a:pt x="318" y="489"/>
                  </a:cubicBezTo>
                  <a:cubicBezTo>
                    <a:pt x="318" y="489"/>
                    <a:pt x="322" y="489"/>
                    <a:pt x="324" y="489"/>
                  </a:cubicBezTo>
                  <a:cubicBezTo>
                    <a:pt x="325" y="488"/>
                    <a:pt x="331" y="486"/>
                    <a:pt x="331" y="486"/>
                  </a:cubicBezTo>
                  <a:cubicBezTo>
                    <a:pt x="341" y="483"/>
                    <a:pt x="341" y="483"/>
                    <a:pt x="341" y="483"/>
                  </a:cubicBezTo>
                  <a:cubicBezTo>
                    <a:pt x="347" y="475"/>
                    <a:pt x="347" y="475"/>
                    <a:pt x="347" y="475"/>
                  </a:cubicBezTo>
                  <a:cubicBezTo>
                    <a:pt x="355" y="478"/>
                    <a:pt x="355" y="478"/>
                    <a:pt x="355" y="478"/>
                  </a:cubicBezTo>
                  <a:cubicBezTo>
                    <a:pt x="362" y="479"/>
                    <a:pt x="362" y="479"/>
                    <a:pt x="362" y="479"/>
                  </a:cubicBezTo>
                  <a:cubicBezTo>
                    <a:pt x="365" y="474"/>
                    <a:pt x="365" y="474"/>
                    <a:pt x="365" y="474"/>
                  </a:cubicBezTo>
                  <a:cubicBezTo>
                    <a:pt x="372" y="470"/>
                    <a:pt x="372" y="470"/>
                    <a:pt x="372" y="470"/>
                  </a:cubicBezTo>
                  <a:cubicBezTo>
                    <a:pt x="376" y="476"/>
                    <a:pt x="376" y="476"/>
                    <a:pt x="376" y="476"/>
                  </a:cubicBezTo>
                  <a:close/>
                  <a:moveTo>
                    <a:pt x="388" y="469"/>
                  </a:moveTo>
                  <a:cubicBezTo>
                    <a:pt x="388" y="469"/>
                    <a:pt x="388" y="469"/>
                    <a:pt x="388" y="469"/>
                  </a:cubicBezTo>
                  <a:cubicBezTo>
                    <a:pt x="384" y="473"/>
                    <a:pt x="384" y="473"/>
                    <a:pt x="384" y="473"/>
                  </a:cubicBezTo>
                  <a:cubicBezTo>
                    <a:pt x="380" y="476"/>
                    <a:pt x="380" y="476"/>
                    <a:pt x="380" y="476"/>
                  </a:cubicBezTo>
                  <a:cubicBezTo>
                    <a:pt x="380" y="476"/>
                    <a:pt x="381" y="480"/>
                    <a:pt x="381" y="482"/>
                  </a:cubicBezTo>
                  <a:cubicBezTo>
                    <a:pt x="382" y="484"/>
                    <a:pt x="385" y="489"/>
                    <a:pt x="385" y="489"/>
                  </a:cubicBezTo>
                  <a:cubicBezTo>
                    <a:pt x="395" y="489"/>
                    <a:pt x="395" y="489"/>
                    <a:pt x="395" y="489"/>
                  </a:cubicBezTo>
                  <a:cubicBezTo>
                    <a:pt x="402" y="485"/>
                    <a:pt x="402" y="485"/>
                    <a:pt x="402" y="485"/>
                  </a:cubicBezTo>
                  <a:cubicBezTo>
                    <a:pt x="403" y="478"/>
                    <a:pt x="403" y="478"/>
                    <a:pt x="403" y="478"/>
                  </a:cubicBezTo>
                  <a:cubicBezTo>
                    <a:pt x="406" y="471"/>
                    <a:pt x="406" y="471"/>
                    <a:pt x="406" y="471"/>
                  </a:cubicBezTo>
                  <a:cubicBezTo>
                    <a:pt x="412" y="467"/>
                    <a:pt x="412" y="467"/>
                    <a:pt x="412" y="467"/>
                  </a:cubicBezTo>
                  <a:cubicBezTo>
                    <a:pt x="417" y="462"/>
                    <a:pt x="417" y="462"/>
                    <a:pt x="417" y="462"/>
                  </a:cubicBezTo>
                  <a:cubicBezTo>
                    <a:pt x="420" y="457"/>
                    <a:pt x="420" y="457"/>
                    <a:pt x="420" y="457"/>
                  </a:cubicBezTo>
                  <a:cubicBezTo>
                    <a:pt x="421" y="444"/>
                    <a:pt x="421" y="444"/>
                    <a:pt x="421" y="444"/>
                  </a:cubicBezTo>
                  <a:cubicBezTo>
                    <a:pt x="424" y="434"/>
                    <a:pt x="424" y="434"/>
                    <a:pt x="424" y="434"/>
                  </a:cubicBezTo>
                  <a:cubicBezTo>
                    <a:pt x="440" y="428"/>
                    <a:pt x="440" y="428"/>
                    <a:pt x="440" y="428"/>
                  </a:cubicBezTo>
                  <a:cubicBezTo>
                    <a:pt x="443" y="426"/>
                    <a:pt x="443" y="426"/>
                    <a:pt x="443" y="426"/>
                  </a:cubicBezTo>
                  <a:cubicBezTo>
                    <a:pt x="443" y="426"/>
                    <a:pt x="443" y="424"/>
                    <a:pt x="442" y="422"/>
                  </a:cubicBezTo>
                  <a:cubicBezTo>
                    <a:pt x="442" y="421"/>
                    <a:pt x="439" y="418"/>
                    <a:pt x="439" y="418"/>
                  </a:cubicBezTo>
                  <a:cubicBezTo>
                    <a:pt x="439" y="418"/>
                    <a:pt x="440" y="415"/>
                    <a:pt x="440" y="414"/>
                  </a:cubicBezTo>
                  <a:cubicBezTo>
                    <a:pt x="440" y="413"/>
                    <a:pt x="439" y="406"/>
                    <a:pt x="439" y="406"/>
                  </a:cubicBezTo>
                  <a:cubicBezTo>
                    <a:pt x="437" y="399"/>
                    <a:pt x="437" y="399"/>
                    <a:pt x="437" y="399"/>
                  </a:cubicBezTo>
                  <a:cubicBezTo>
                    <a:pt x="437" y="399"/>
                    <a:pt x="435" y="399"/>
                    <a:pt x="432" y="397"/>
                  </a:cubicBezTo>
                  <a:cubicBezTo>
                    <a:pt x="429" y="396"/>
                    <a:pt x="424" y="393"/>
                    <a:pt x="424" y="393"/>
                  </a:cubicBezTo>
                  <a:cubicBezTo>
                    <a:pt x="419" y="391"/>
                    <a:pt x="419" y="391"/>
                    <a:pt x="419" y="391"/>
                  </a:cubicBezTo>
                  <a:cubicBezTo>
                    <a:pt x="413" y="390"/>
                    <a:pt x="413" y="390"/>
                    <a:pt x="413" y="390"/>
                  </a:cubicBezTo>
                  <a:cubicBezTo>
                    <a:pt x="411" y="385"/>
                    <a:pt x="411" y="385"/>
                    <a:pt x="411" y="385"/>
                  </a:cubicBezTo>
                  <a:cubicBezTo>
                    <a:pt x="415" y="371"/>
                    <a:pt x="415" y="371"/>
                    <a:pt x="415" y="371"/>
                  </a:cubicBezTo>
                  <a:cubicBezTo>
                    <a:pt x="412" y="364"/>
                    <a:pt x="412" y="364"/>
                    <a:pt x="412" y="364"/>
                  </a:cubicBezTo>
                  <a:cubicBezTo>
                    <a:pt x="421" y="354"/>
                    <a:pt x="421" y="354"/>
                    <a:pt x="421" y="354"/>
                  </a:cubicBezTo>
                  <a:cubicBezTo>
                    <a:pt x="425" y="347"/>
                    <a:pt x="425" y="347"/>
                    <a:pt x="425" y="347"/>
                  </a:cubicBezTo>
                  <a:cubicBezTo>
                    <a:pt x="430" y="343"/>
                    <a:pt x="430" y="343"/>
                    <a:pt x="430" y="343"/>
                  </a:cubicBezTo>
                  <a:cubicBezTo>
                    <a:pt x="438" y="345"/>
                    <a:pt x="438" y="345"/>
                    <a:pt x="438" y="345"/>
                  </a:cubicBezTo>
                  <a:cubicBezTo>
                    <a:pt x="441" y="349"/>
                    <a:pt x="441" y="349"/>
                    <a:pt x="441" y="349"/>
                  </a:cubicBezTo>
                  <a:cubicBezTo>
                    <a:pt x="446" y="350"/>
                    <a:pt x="446" y="350"/>
                    <a:pt x="446" y="350"/>
                  </a:cubicBezTo>
                  <a:cubicBezTo>
                    <a:pt x="455" y="350"/>
                    <a:pt x="455" y="350"/>
                    <a:pt x="455" y="350"/>
                  </a:cubicBezTo>
                  <a:cubicBezTo>
                    <a:pt x="465" y="352"/>
                    <a:pt x="465" y="352"/>
                    <a:pt x="465" y="352"/>
                  </a:cubicBezTo>
                  <a:cubicBezTo>
                    <a:pt x="469" y="358"/>
                    <a:pt x="469" y="358"/>
                    <a:pt x="469" y="358"/>
                  </a:cubicBezTo>
                  <a:cubicBezTo>
                    <a:pt x="473" y="365"/>
                    <a:pt x="473" y="365"/>
                    <a:pt x="473" y="365"/>
                  </a:cubicBezTo>
                  <a:cubicBezTo>
                    <a:pt x="473" y="365"/>
                    <a:pt x="475" y="368"/>
                    <a:pt x="476" y="369"/>
                  </a:cubicBezTo>
                  <a:cubicBezTo>
                    <a:pt x="476" y="369"/>
                    <a:pt x="480" y="372"/>
                    <a:pt x="481" y="372"/>
                  </a:cubicBezTo>
                  <a:cubicBezTo>
                    <a:pt x="482" y="373"/>
                    <a:pt x="488" y="374"/>
                    <a:pt x="488" y="374"/>
                  </a:cubicBezTo>
                  <a:cubicBezTo>
                    <a:pt x="488" y="374"/>
                    <a:pt x="488" y="367"/>
                    <a:pt x="489" y="365"/>
                  </a:cubicBezTo>
                  <a:cubicBezTo>
                    <a:pt x="490" y="364"/>
                    <a:pt x="492" y="360"/>
                    <a:pt x="492" y="359"/>
                  </a:cubicBezTo>
                  <a:cubicBezTo>
                    <a:pt x="492" y="358"/>
                    <a:pt x="490" y="351"/>
                    <a:pt x="490" y="351"/>
                  </a:cubicBezTo>
                  <a:cubicBezTo>
                    <a:pt x="483" y="343"/>
                    <a:pt x="483" y="343"/>
                    <a:pt x="483" y="343"/>
                  </a:cubicBezTo>
                  <a:cubicBezTo>
                    <a:pt x="476" y="338"/>
                    <a:pt x="476" y="338"/>
                    <a:pt x="476" y="338"/>
                  </a:cubicBezTo>
                  <a:cubicBezTo>
                    <a:pt x="459" y="327"/>
                    <a:pt x="459" y="327"/>
                    <a:pt x="459" y="327"/>
                  </a:cubicBezTo>
                  <a:cubicBezTo>
                    <a:pt x="435" y="319"/>
                    <a:pt x="435" y="319"/>
                    <a:pt x="435" y="319"/>
                  </a:cubicBezTo>
                  <a:cubicBezTo>
                    <a:pt x="419" y="309"/>
                    <a:pt x="419" y="309"/>
                    <a:pt x="419" y="309"/>
                  </a:cubicBezTo>
                  <a:cubicBezTo>
                    <a:pt x="406" y="306"/>
                    <a:pt x="406" y="306"/>
                    <a:pt x="406" y="306"/>
                  </a:cubicBezTo>
                  <a:cubicBezTo>
                    <a:pt x="406" y="306"/>
                    <a:pt x="392" y="299"/>
                    <a:pt x="391" y="299"/>
                  </a:cubicBezTo>
                  <a:cubicBezTo>
                    <a:pt x="390" y="299"/>
                    <a:pt x="387" y="298"/>
                    <a:pt x="387" y="298"/>
                  </a:cubicBezTo>
                  <a:cubicBezTo>
                    <a:pt x="387" y="298"/>
                    <a:pt x="379" y="296"/>
                    <a:pt x="379" y="295"/>
                  </a:cubicBezTo>
                  <a:cubicBezTo>
                    <a:pt x="378" y="294"/>
                    <a:pt x="377" y="291"/>
                    <a:pt x="376" y="290"/>
                  </a:cubicBezTo>
                  <a:cubicBezTo>
                    <a:pt x="376" y="289"/>
                    <a:pt x="377" y="286"/>
                    <a:pt x="377" y="286"/>
                  </a:cubicBezTo>
                  <a:cubicBezTo>
                    <a:pt x="381" y="282"/>
                    <a:pt x="381" y="282"/>
                    <a:pt x="381" y="282"/>
                  </a:cubicBezTo>
                  <a:cubicBezTo>
                    <a:pt x="381" y="282"/>
                    <a:pt x="385" y="278"/>
                    <a:pt x="385" y="277"/>
                  </a:cubicBezTo>
                  <a:cubicBezTo>
                    <a:pt x="385" y="276"/>
                    <a:pt x="386" y="270"/>
                    <a:pt x="386" y="270"/>
                  </a:cubicBezTo>
                  <a:cubicBezTo>
                    <a:pt x="381" y="268"/>
                    <a:pt x="381" y="268"/>
                    <a:pt x="381" y="268"/>
                  </a:cubicBezTo>
                  <a:cubicBezTo>
                    <a:pt x="369" y="269"/>
                    <a:pt x="369" y="269"/>
                    <a:pt x="369" y="269"/>
                  </a:cubicBezTo>
                  <a:cubicBezTo>
                    <a:pt x="350" y="271"/>
                    <a:pt x="350" y="271"/>
                    <a:pt x="350" y="271"/>
                  </a:cubicBezTo>
                  <a:cubicBezTo>
                    <a:pt x="340" y="271"/>
                    <a:pt x="340" y="271"/>
                    <a:pt x="340" y="271"/>
                  </a:cubicBezTo>
                  <a:cubicBezTo>
                    <a:pt x="327" y="263"/>
                    <a:pt x="327" y="263"/>
                    <a:pt x="327" y="263"/>
                  </a:cubicBezTo>
                  <a:cubicBezTo>
                    <a:pt x="316" y="254"/>
                    <a:pt x="316" y="254"/>
                    <a:pt x="316" y="254"/>
                  </a:cubicBezTo>
                  <a:cubicBezTo>
                    <a:pt x="309" y="250"/>
                    <a:pt x="309" y="250"/>
                    <a:pt x="309" y="250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4" y="232"/>
                    <a:pt x="294" y="232"/>
                    <a:pt x="294" y="232"/>
                  </a:cubicBezTo>
                  <a:cubicBezTo>
                    <a:pt x="294" y="232"/>
                    <a:pt x="291" y="222"/>
                    <a:pt x="290" y="218"/>
                  </a:cubicBezTo>
                  <a:cubicBezTo>
                    <a:pt x="289" y="215"/>
                    <a:pt x="281" y="204"/>
                    <a:pt x="281" y="204"/>
                  </a:cubicBezTo>
                  <a:cubicBezTo>
                    <a:pt x="281" y="204"/>
                    <a:pt x="277" y="195"/>
                    <a:pt x="277" y="194"/>
                  </a:cubicBezTo>
                  <a:cubicBezTo>
                    <a:pt x="277" y="193"/>
                    <a:pt x="275" y="186"/>
                    <a:pt x="275" y="186"/>
                  </a:cubicBezTo>
                  <a:cubicBezTo>
                    <a:pt x="262" y="180"/>
                    <a:pt x="262" y="180"/>
                    <a:pt x="262" y="180"/>
                  </a:cubicBezTo>
                  <a:cubicBezTo>
                    <a:pt x="245" y="170"/>
                    <a:pt x="245" y="170"/>
                    <a:pt x="245" y="170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18" y="135"/>
                    <a:pt x="218" y="135"/>
                    <a:pt x="218" y="135"/>
                  </a:cubicBezTo>
                  <a:cubicBezTo>
                    <a:pt x="217" y="122"/>
                    <a:pt x="217" y="122"/>
                    <a:pt x="217" y="122"/>
                  </a:cubicBezTo>
                  <a:cubicBezTo>
                    <a:pt x="224" y="119"/>
                    <a:pt x="224" y="119"/>
                    <a:pt x="224" y="119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18" y="109"/>
                    <a:pt x="218" y="109"/>
                    <a:pt x="218" y="109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5" y="101"/>
                    <a:pt x="215" y="101"/>
                    <a:pt x="215" y="101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9" y="92"/>
                    <a:pt x="219" y="92"/>
                    <a:pt x="219" y="92"/>
                  </a:cubicBezTo>
                  <a:cubicBezTo>
                    <a:pt x="219" y="92"/>
                    <a:pt x="222" y="88"/>
                    <a:pt x="226" y="88"/>
                  </a:cubicBezTo>
                  <a:cubicBezTo>
                    <a:pt x="230" y="88"/>
                    <a:pt x="233" y="84"/>
                    <a:pt x="233" y="84"/>
                  </a:cubicBezTo>
                  <a:cubicBezTo>
                    <a:pt x="233" y="84"/>
                    <a:pt x="236" y="81"/>
                    <a:pt x="237" y="81"/>
                  </a:cubicBezTo>
                  <a:cubicBezTo>
                    <a:pt x="239" y="81"/>
                    <a:pt x="241" y="80"/>
                    <a:pt x="243" y="79"/>
                  </a:cubicBezTo>
                  <a:cubicBezTo>
                    <a:pt x="244" y="79"/>
                    <a:pt x="247" y="78"/>
                    <a:pt x="247" y="78"/>
                  </a:cubicBezTo>
                  <a:cubicBezTo>
                    <a:pt x="247" y="77"/>
                    <a:pt x="248" y="70"/>
                    <a:pt x="249" y="70"/>
                  </a:cubicBezTo>
                  <a:cubicBezTo>
                    <a:pt x="250" y="70"/>
                    <a:pt x="252" y="74"/>
                    <a:pt x="255" y="74"/>
                  </a:cubicBezTo>
                  <a:cubicBezTo>
                    <a:pt x="256" y="74"/>
                    <a:pt x="258" y="76"/>
                    <a:pt x="259" y="75"/>
                  </a:cubicBezTo>
                  <a:cubicBezTo>
                    <a:pt x="261" y="74"/>
                    <a:pt x="262" y="71"/>
                    <a:pt x="262" y="71"/>
                  </a:cubicBezTo>
                  <a:cubicBezTo>
                    <a:pt x="263" y="70"/>
                    <a:pt x="264" y="69"/>
                    <a:pt x="267" y="68"/>
                  </a:cubicBezTo>
                  <a:cubicBezTo>
                    <a:pt x="267" y="68"/>
                    <a:pt x="267" y="68"/>
                    <a:pt x="267" y="68"/>
                  </a:cubicBezTo>
                  <a:cubicBezTo>
                    <a:pt x="267" y="68"/>
                    <a:pt x="265" y="67"/>
                    <a:pt x="265" y="67"/>
                  </a:cubicBezTo>
                  <a:cubicBezTo>
                    <a:pt x="265" y="66"/>
                    <a:pt x="265" y="66"/>
                    <a:pt x="266" y="65"/>
                  </a:cubicBezTo>
                  <a:cubicBezTo>
                    <a:pt x="266" y="64"/>
                    <a:pt x="266" y="64"/>
                    <a:pt x="267" y="63"/>
                  </a:cubicBezTo>
                  <a:cubicBezTo>
                    <a:pt x="267" y="63"/>
                    <a:pt x="267" y="61"/>
                    <a:pt x="267" y="61"/>
                  </a:cubicBezTo>
                  <a:cubicBezTo>
                    <a:pt x="267" y="61"/>
                    <a:pt x="268" y="60"/>
                    <a:pt x="267" y="60"/>
                  </a:cubicBezTo>
                  <a:cubicBezTo>
                    <a:pt x="267" y="59"/>
                    <a:pt x="266" y="58"/>
                    <a:pt x="266" y="58"/>
                  </a:cubicBezTo>
                  <a:cubicBezTo>
                    <a:pt x="266" y="58"/>
                    <a:pt x="266" y="58"/>
                    <a:pt x="265" y="58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3" y="60"/>
                    <a:pt x="263" y="60"/>
                    <a:pt x="263" y="60"/>
                  </a:cubicBezTo>
                  <a:cubicBezTo>
                    <a:pt x="263" y="60"/>
                    <a:pt x="262" y="58"/>
                    <a:pt x="262" y="58"/>
                  </a:cubicBezTo>
                  <a:cubicBezTo>
                    <a:pt x="261" y="58"/>
                    <a:pt x="261" y="58"/>
                    <a:pt x="261" y="57"/>
                  </a:cubicBezTo>
                  <a:cubicBezTo>
                    <a:pt x="261" y="57"/>
                    <a:pt x="262" y="56"/>
                    <a:pt x="262" y="56"/>
                  </a:cubicBezTo>
                  <a:cubicBezTo>
                    <a:pt x="262" y="56"/>
                    <a:pt x="261" y="55"/>
                    <a:pt x="261" y="55"/>
                  </a:cubicBezTo>
                  <a:cubicBezTo>
                    <a:pt x="261" y="55"/>
                    <a:pt x="262" y="53"/>
                    <a:pt x="263" y="53"/>
                  </a:cubicBezTo>
                  <a:cubicBezTo>
                    <a:pt x="264" y="52"/>
                    <a:pt x="266" y="50"/>
                    <a:pt x="266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66" y="47"/>
                    <a:pt x="266" y="47"/>
                    <a:pt x="266" y="47"/>
                  </a:cubicBezTo>
                  <a:cubicBezTo>
                    <a:pt x="266" y="47"/>
                    <a:pt x="265" y="48"/>
                    <a:pt x="265" y="48"/>
                  </a:cubicBezTo>
                  <a:cubicBezTo>
                    <a:pt x="263" y="47"/>
                    <a:pt x="263" y="47"/>
                    <a:pt x="263" y="47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58" y="46"/>
                    <a:pt x="258" y="46"/>
                    <a:pt x="258" y="46"/>
                  </a:cubicBezTo>
                  <a:cubicBezTo>
                    <a:pt x="256" y="44"/>
                    <a:pt x="256" y="44"/>
                    <a:pt x="256" y="44"/>
                  </a:cubicBezTo>
                  <a:cubicBezTo>
                    <a:pt x="257" y="42"/>
                    <a:pt x="257" y="42"/>
                    <a:pt x="257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9" y="38"/>
                    <a:pt x="259" y="38"/>
                  </a:cubicBezTo>
                  <a:cubicBezTo>
                    <a:pt x="260" y="37"/>
                    <a:pt x="262" y="36"/>
                    <a:pt x="262" y="36"/>
                  </a:cubicBezTo>
                  <a:cubicBezTo>
                    <a:pt x="263" y="34"/>
                    <a:pt x="263" y="34"/>
                    <a:pt x="263" y="34"/>
                  </a:cubicBezTo>
                  <a:cubicBezTo>
                    <a:pt x="263" y="34"/>
                    <a:pt x="264" y="33"/>
                    <a:pt x="265" y="33"/>
                  </a:cubicBezTo>
                  <a:cubicBezTo>
                    <a:pt x="266" y="33"/>
                    <a:pt x="266" y="34"/>
                    <a:pt x="266" y="33"/>
                  </a:cubicBezTo>
                  <a:cubicBezTo>
                    <a:pt x="267" y="33"/>
                    <a:pt x="267" y="31"/>
                    <a:pt x="267" y="30"/>
                  </a:cubicBezTo>
                  <a:cubicBezTo>
                    <a:pt x="267" y="27"/>
                    <a:pt x="267" y="27"/>
                    <a:pt x="267" y="27"/>
                  </a:cubicBezTo>
                  <a:cubicBezTo>
                    <a:pt x="262" y="28"/>
                    <a:pt x="262" y="28"/>
                    <a:pt x="262" y="28"/>
                  </a:cubicBezTo>
                  <a:cubicBezTo>
                    <a:pt x="262" y="28"/>
                    <a:pt x="257" y="27"/>
                    <a:pt x="254" y="27"/>
                  </a:cubicBezTo>
                  <a:cubicBezTo>
                    <a:pt x="250" y="27"/>
                    <a:pt x="242" y="25"/>
                    <a:pt x="242" y="25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26" y="22"/>
                    <a:pt x="226" y="22"/>
                    <a:pt x="226" y="2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7" y="21"/>
                    <a:pt x="216" y="19"/>
                    <a:pt x="215" y="18"/>
                  </a:cubicBezTo>
                  <a:cubicBezTo>
                    <a:pt x="215" y="17"/>
                    <a:pt x="212" y="15"/>
                    <a:pt x="212" y="15"/>
                  </a:cubicBezTo>
                  <a:cubicBezTo>
                    <a:pt x="212" y="13"/>
                    <a:pt x="212" y="13"/>
                    <a:pt x="212" y="13"/>
                  </a:cubicBezTo>
                  <a:cubicBezTo>
                    <a:pt x="210" y="8"/>
                    <a:pt x="210" y="8"/>
                    <a:pt x="210" y="8"/>
                  </a:cubicBezTo>
                  <a:cubicBezTo>
                    <a:pt x="208" y="4"/>
                    <a:pt x="208" y="4"/>
                    <a:pt x="208" y="4"/>
                  </a:cubicBezTo>
                  <a:cubicBezTo>
                    <a:pt x="210" y="1"/>
                    <a:pt x="210" y="1"/>
                    <a:pt x="210" y="1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0"/>
                    <a:pt x="204" y="1"/>
                    <a:pt x="202" y="1"/>
                  </a:cubicBezTo>
                  <a:cubicBezTo>
                    <a:pt x="201" y="2"/>
                    <a:pt x="195" y="3"/>
                    <a:pt x="195" y="3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85" y="4"/>
                    <a:pt x="185" y="4"/>
                    <a:pt x="185" y="4"/>
                  </a:cubicBezTo>
                  <a:cubicBezTo>
                    <a:pt x="177" y="5"/>
                    <a:pt x="177" y="5"/>
                    <a:pt x="177" y="5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68" y="14"/>
                    <a:pt x="168" y="14"/>
                    <a:pt x="168" y="14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5" y="14"/>
                    <a:pt x="155" y="14"/>
                    <a:pt x="155" y="14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48" y="15"/>
                    <a:pt x="148" y="15"/>
                    <a:pt x="148" y="15"/>
                  </a:cubicBezTo>
                  <a:cubicBezTo>
                    <a:pt x="147" y="15"/>
                    <a:pt x="147" y="15"/>
                    <a:pt x="147" y="15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146" y="15"/>
                    <a:pt x="145" y="16"/>
                    <a:pt x="145" y="16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5" y="19"/>
                    <a:pt x="145" y="19"/>
                    <a:pt x="145" y="19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1"/>
                    <a:pt x="145" y="22"/>
                    <a:pt x="144" y="23"/>
                  </a:cubicBezTo>
                  <a:cubicBezTo>
                    <a:pt x="143" y="23"/>
                    <a:pt x="145" y="25"/>
                    <a:pt x="145" y="25"/>
                  </a:cubicBezTo>
                  <a:cubicBezTo>
                    <a:pt x="145" y="25"/>
                    <a:pt x="146" y="25"/>
                    <a:pt x="148" y="26"/>
                  </a:cubicBezTo>
                  <a:cubicBezTo>
                    <a:pt x="149" y="27"/>
                    <a:pt x="148" y="27"/>
                    <a:pt x="148" y="27"/>
                  </a:cubicBezTo>
                  <a:cubicBezTo>
                    <a:pt x="148" y="28"/>
                    <a:pt x="148" y="29"/>
                    <a:pt x="147" y="29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0"/>
                    <a:pt x="143" y="31"/>
                    <a:pt x="143" y="30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42" y="30"/>
                    <a:pt x="139" y="28"/>
                    <a:pt x="139" y="28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8" y="26"/>
                    <a:pt x="138" y="26"/>
                  </a:cubicBezTo>
                  <a:cubicBezTo>
                    <a:pt x="137" y="26"/>
                    <a:pt x="137" y="27"/>
                    <a:pt x="137" y="27"/>
                  </a:cubicBezTo>
                  <a:cubicBezTo>
                    <a:pt x="136" y="27"/>
                    <a:pt x="135" y="27"/>
                    <a:pt x="134" y="27"/>
                  </a:cubicBezTo>
                  <a:cubicBezTo>
                    <a:pt x="134" y="27"/>
                    <a:pt x="134" y="28"/>
                    <a:pt x="133" y="28"/>
                  </a:cubicBezTo>
                  <a:cubicBezTo>
                    <a:pt x="133" y="29"/>
                    <a:pt x="133" y="29"/>
                    <a:pt x="133" y="30"/>
                  </a:cubicBezTo>
                  <a:cubicBezTo>
                    <a:pt x="132" y="30"/>
                    <a:pt x="132" y="31"/>
                    <a:pt x="132" y="31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3" y="38"/>
                    <a:pt x="134" y="37"/>
                    <a:pt x="134" y="37"/>
                  </a:cubicBezTo>
                  <a:cubicBezTo>
                    <a:pt x="134" y="37"/>
                    <a:pt x="135" y="38"/>
                    <a:pt x="135" y="39"/>
                  </a:cubicBezTo>
                  <a:cubicBezTo>
                    <a:pt x="136" y="39"/>
                    <a:pt x="135" y="40"/>
                    <a:pt x="135" y="40"/>
                  </a:cubicBezTo>
                  <a:cubicBezTo>
                    <a:pt x="135" y="40"/>
                    <a:pt x="134" y="41"/>
                    <a:pt x="134" y="41"/>
                  </a:cubicBezTo>
                  <a:cubicBezTo>
                    <a:pt x="133" y="41"/>
                    <a:pt x="133" y="41"/>
                    <a:pt x="134" y="42"/>
                  </a:cubicBezTo>
                  <a:cubicBezTo>
                    <a:pt x="134" y="43"/>
                    <a:pt x="135" y="43"/>
                    <a:pt x="135" y="43"/>
                  </a:cubicBezTo>
                  <a:cubicBezTo>
                    <a:pt x="136" y="43"/>
                    <a:pt x="136" y="46"/>
                    <a:pt x="136" y="46"/>
                  </a:cubicBezTo>
                  <a:cubicBezTo>
                    <a:pt x="136" y="47"/>
                    <a:pt x="135" y="48"/>
                    <a:pt x="135" y="48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4" y="48"/>
                    <a:pt x="134" y="48"/>
                    <a:pt x="134" y="49"/>
                  </a:cubicBezTo>
                  <a:cubicBezTo>
                    <a:pt x="134" y="49"/>
                    <a:pt x="132" y="49"/>
                    <a:pt x="132" y="49"/>
                  </a:cubicBezTo>
                  <a:cubicBezTo>
                    <a:pt x="132" y="49"/>
                    <a:pt x="133" y="47"/>
                    <a:pt x="132" y="47"/>
                  </a:cubicBezTo>
                  <a:cubicBezTo>
                    <a:pt x="132" y="46"/>
                    <a:pt x="131" y="46"/>
                    <a:pt x="130" y="45"/>
                  </a:cubicBezTo>
                  <a:cubicBezTo>
                    <a:pt x="129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2"/>
                  </a:cubicBezTo>
                  <a:cubicBezTo>
                    <a:pt x="129" y="41"/>
                    <a:pt x="129" y="40"/>
                    <a:pt x="129" y="40"/>
                  </a:cubicBezTo>
                  <a:cubicBezTo>
                    <a:pt x="129" y="40"/>
                    <a:pt x="127" y="40"/>
                    <a:pt x="126" y="40"/>
                  </a:cubicBezTo>
                  <a:cubicBezTo>
                    <a:pt x="124" y="40"/>
                    <a:pt x="125" y="41"/>
                    <a:pt x="125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2" y="42"/>
                    <a:pt x="122" y="42"/>
                  </a:cubicBezTo>
                  <a:cubicBezTo>
                    <a:pt x="121" y="43"/>
                    <a:pt x="121" y="42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8" y="43"/>
                    <a:pt x="119" y="44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8" y="46"/>
                    <a:pt x="116" y="45"/>
                    <a:pt x="114" y="45"/>
                  </a:cubicBezTo>
                  <a:cubicBezTo>
                    <a:pt x="111" y="45"/>
                    <a:pt x="113" y="44"/>
                    <a:pt x="112" y="44"/>
                  </a:cubicBezTo>
                  <a:cubicBezTo>
                    <a:pt x="112" y="43"/>
                    <a:pt x="110" y="43"/>
                    <a:pt x="110" y="42"/>
                  </a:cubicBezTo>
                  <a:cubicBezTo>
                    <a:pt x="110" y="40"/>
                    <a:pt x="110" y="40"/>
                    <a:pt x="110" y="39"/>
                  </a:cubicBezTo>
                  <a:cubicBezTo>
                    <a:pt x="110" y="38"/>
                    <a:pt x="109" y="37"/>
                    <a:pt x="109" y="37"/>
                  </a:cubicBezTo>
                  <a:cubicBezTo>
                    <a:pt x="108" y="36"/>
                    <a:pt x="109" y="35"/>
                    <a:pt x="110" y="35"/>
                  </a:cubicBezTo>
                  <a:cubicBezTo>
                    <a:pt x="110" y="34"/>
                    <a:pt x="109" y="34"/>
                    <a:pt x="109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5" y="34"/>
                    <a:pt x="104" y="34"/>
                  </a:cubicBezTo>
                  <a:cubicBezTo>
                    <a:pt x="104" y="33"/>
                    <a:pt x="103" y="34"/>
                    <a:pt x="103" y="34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2"/>
                    <a:pt x="102" y="43"/>
                  </a:cubicBezTo>
                  <a:cubicBezTo>
                    <a:pt x="102" y="43"/>
                    <a:pt x="102" y="44"/>
                    <a:pt x="102" y="44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5"/>
                    <a:pt x="101" y="46"/>
                    <a:pt x="101" y="47"/>
                  </a:cubicBezTo>
                  <a:cubicBezTo>
                    <a:pt x="101" y="47"/>
                    <a:pt x="101" y="48"/>
                    <a:pt x="101" y="49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99" y="51"/>
                    <a:pt x="99" y="52"/>
                  </a:cubicBezTo>
                  <a:cubicBezTo>
                    <a:pt x="99" y="52"/>
                    <a:pt x="97" y="52"/>
                    <a:pt x="97" y="52"/>
                  </a:cubicBezTo>
                  <a:cubicBezTo>
                    <a:pt x="97" y="52"/>
                    <a:pt x="96" y="54"/>
                    <a:pt x="95" y="54"/>
                  </a:cubicBezTo>
                  <a:cubicBezTo>
                    <a:pt x="95" y="54"/>
                    <a:pt x="95" y="56"/>
                    <a:pt x="95" y="57"/>
                  </a:cubicBezTo>
                  <a:cubicBezTo>
                    <a:pt x="95" y="57"/>
                    <a:pt x="95" y="58"/>
                    <a:pt x="95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4" y="61"/>
                    <a:pt x="94" y="61"/>
                  </a:cubicBezTo>
                  <a:cubicBezTo>
                    <a:pt x="94" y="62"/>
                    <a:pt x="93" y="62"/>
                    <a:pt x="93" y="62"/>
                  </a:cubicBezTo>
                  <a:cubicBezTo>
                    <a:pt x="92" y="63"/>
                    <a:pt x="93" y="63"/>
                    <a:pt x="93" y="64"/>
                  </a:cubicBezTo>
                  <a:cubicBezTo>
                    <a:pt x="92" y="65"/>
                    <a:pt x="93" y="65"/>
                    <a:pt x="93" y="65"/>
                  </a:cubicBezTo>
                  <a:cubicBezTo>
                    <a:pt x="93" y="66"/>
                    <a:pt x="96" y="67"/>
                    <a:pt x="96" y="67"/>
                  </a:cubicBezTo>
                  <a:cubicBezTo>
                    <a:pt x="96" y="67"/>
                    <a:pt x="96" y="67"/>
                    <a:pt x="95" y="68"/>
                  </a:cubicBezTo>
                  <a:cubicBezTo>
                    <a:pt x="93" y="69"/>
                    <a:pt x="94" y="71"/>
                    <a:pt x="94" y="71"/>
                  </a:cubicBezTo>
                  <a:cubicBezTo>
                    <a:pt x="93" y="72"/>
                    <a:pt x="93" y="72"/>
                    <a:pt x="93" y="72"/>
                  </a:cubicBezTo>
                  <a:cubicBezTo>
                    <a:pt x="93" y="72"/>
                    <a:pt x="92" y="71"/>
                    <a:pt x="91" y="71"/>
                  </a:cubicBezTo>
                  <a:cubicBezTo>
                    <a:pt x="91" y="71"/>
                    <a:pt x="91" y="71"/>
                    <a:pt x="89" y="71"/>
                  </a:cubicBezTo>
                  <a:cubicBezTo>
                    <a:pt x="87" y="71"/>
                    <a:pt x="89" y="70"/>
                    <a:pt x="89" y="70"/>
                  </a:cubicBezTo>
                  <a:cubicBezTo>
                    <a:pt x="89" y="70"/>
                    <a:pt x="89" y="68"/>
                    <a:pt x="89" y="67"/>
                  </a:cubicBezTo>
                  <a:cubicBezTo>
                    <a:pt x="89" y="67"/>
                    <a:pt x="89" y="67"/>
                    <a:pt x="89" y="67"/>
                  </a:cubicBezTo>
                  <a:cubicBezTo>
                    <a:pt x="89" y="67"/>
                    <a:pt x="89" y="66"/>
                    <a:pt x="88" y="65"/>
                  </a:cubicBezTo>
                  <a:cubicBezTo>
                    <a:pt x="88" y="64"/>
                    <a:pt x="87" y="64"/>
                    <a:pt x="87" y="64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5" y="60"/>
                    <a:pt x="86" y="59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7" y="58"/>
                  </a:cubicBezTo>
                  <a:cubicBezTo>
                    <a:pt x="87" y="57"/>
                    <a:pt x="86" y="57"/>
                    <a:pt x="86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2" y="57"/>
                    <a:pt x="82" y="56"/>
                  </a:cubicBezTo>
                  <a:cubicBezTo>
                    <a:pt x="81" y="56"/>
                    <a:pt x="79" y="56"/>
                    <a:pt x="79" y="55"/>
                  </a:cubicBezTo>
                  <a:cubicBezTo>
                    <a:pt x="79" y="55"/>
                    <a:pt x="78" y="55"/>
                    <a:pt x="77" y="55"/>
                  </a:cubicBezTo>
                  <a:cubicBezTo>
                    <a:pt x="77" y="55"/>
                    <a:pt x="76" y="55"/>
                    <a:pt x="76" y="55"/>
                  </a:cubicBezTo>
                  <a:cubicBezTo>
                    <a:pt x="75" y="54"/>
                    <a:pt x="74" y="53"/>
                    <a:pt x="74" y="53"/>
                  </a:cubicBezTo>
                  <a:cubicBezTo>
                    <a:pt x="74" y="52"/>
                    <a:pt x="73" y="51"/>
                    <a:pt x="73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1" y="49"/>
                    <a:pt x="70" y="49"/>
                  </a:cubicBezTo>
                  <a:cubicBezTo>
                    <a:pt x="70" y="49"/>
                    <a:pt x="70" y="48"/>
                    <a:pt x="70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5"/>
                  </a:cubicBezTo>
                  <a:cubicBezTo>
                    <a:pt x="69" y="45"/>
                    <a:pt x="70" y="43"/>
                    <a:pt x="70" y="43"/>
                  </a:cubicBezTo>
                  <a:cubicBezTo>
                    <a:pt x="70" y="43"/>
                    <a:pt x="69" y="41"/>
                    <a:pt x="69" y="40"/>
                  </a:cubicBezTo>
                  <a:cubicBezTo>
                    <a:pt x="69" y="39"/>
                    <a:pt x="70" y="37"/>
                    <a:pt x="70" y="37"/>
                  </a:cubicBezTo>
                  <a:cubicBezTo>
                    <a:pt x="70" y="37"/>
                    <a:pt x="66" y="38"/>
                    <a:pt x="65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1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1" y="44"/>
                    <a:pt x="60" y="44"/>
                  </a:cubicBezTo>
                  <a:cubicBezTo>
                    <a:pt x="60" y="45"/>
                    <a:pt x="60" y="45"/>
                    <a:pt x="59" y="45"/>
                  </a:cubicBezTo>
                  <a:cubicBezTo>
                    <a:pt x="58" y="45"/>
                    <a:pt x="57" y="46"/>
                    <a:pt x="57" y="46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4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4" y="58"/>
                    <a:pt x="54" y="58"/>
                    <a:pt x="54" y="58"/>
                  </a:cubicBezTo>
                  <a:cubicBezTo>
                    <a:pt x="54" y="58"/>
                    <a:pt x="54" y="59"/>
                    <a:pt x="54" y="60"/>
                  </a:cubicBezTo>
                  <a:cubicBezTo>
                    <a:pt x="54" y="60"/>
                    <a:pt x="54" y="61"/>
                    <a:pt x="53" y="62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1" y="63"/>
                    <a:pt x="50" y="63"/>
                  </a:cubicBezTo>
                  <a:cubicBezTo>
                    <a:pt x="49" y="63"/>
                    <a:pt x="49" y="64"/>
                    <a:pt x="48" y="64"/>
                  </a:cubicBezTo>
                  <a:cubicBezTo>
                    <a:pt x="46" y="64"/>
                    <a:pt x="47" y="65"/>
                    <a:pt x="47" y="66"/>
                  </a:cubicBezTo>
                  <a:cubicBezTo>
                    <a:pt x="47" y="66"/>
                    <a:pt x="47" y="66"/>
                    <a:pt x="47" y="67"/>
                  </a:cubicBezTo>
                  <a:cubicBezTo>
                    <a:pt x="46" y="67"/>
                    <a:pt x="44" y="67"/>
                    <a:pt x="44" y="66"/>
                  </a:cubicBezTo>
                  <a:cubicBezTo>
                    <a:pt x="43" y="66"/>
                    <a:pt x="43" y="66"/>
                    <a:pt x="42" y="66"/>
                  </a:cubicBezTo>
                  <a:cubicBezTo>
                    <a:pt x="42" y="67"/>
                    <a:pt x="41" y="65"/>
                    <a:pt x="41" y="65"/>
                  </a:cubicBezTo>
                  <a:cubicBezTo>
                    <a:pt x="41" y="65"/>
                    <a:pt x="40" y="64"/>
                    <a:pt x="40" y="64"/>
                  </a:cubicBezTo>
                  <a:cubicBezTo>
                    <a:pt x="40" y="63"/>
                    <a:pt x="38" y="64"/>
                    <a:pt x="38" y="64"/>
                  </a:cubicBezTo>
                  <a:cubicBezTo>
                    <a:pt x="37" y="63"/>
                    <a:pt x="35" y="63"/>
                    <a:pt x="35" y="63"/>
                  </a:cubicBezTo>
                  <a:cubicBezTo>
                    <a:pt x="34" y="63"/>
                    <a:pt x="35" y="64"/>
                    <a:pt x="35" y="64"/>
                  </a:cubicBezTo>
                  <a:cubicBezTo>
                    <a:pt x="35" y="64"/>
                    <a:pt x="34" y="64"/>
                    <a:pt x="33" y="64"/>
                  </a:cubicBezTo>
                  <a:cubicBezTo>
                    <a:pt x="32" y="64"/>
                    <a:pt x="32" y="65"/>
                    <a:pt x="32" y="65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29" y="67"/>
                    <a:pt x="28" y="67"/>
                  </a:cubicBezTo>
                  <a:cubicBezTo>
                    <a:pt x="27" y="67"/>
                    <a:pt x="26" y="66"/>
                    <a:pt x="25" y="66"/>
                  </a:cubicBezTo>
                  <a:cubicBezTo>
                    <a:pt x="24" y="66"/>
                    <a:pt x="23" y="67"/>
                    <a:pt x="23" y="67"/>
                  </a:cubicBezTo>
                  <a:cubicBezTo>
                    <a:pt x="23" y="67"/>
                    <a:pt x="21" y="68"/>
                    <a:pt x="21" y="68"/>
                  </a:cubicBezTo>
                  <a:cubicBezTo>
                    <a:pt x="21" y="68"/>
                    <a:pt x="20" y="69"/>
                    <a:pt x="19" y="69"/>
                  </a:cubicBezTo>
                  <a:cubicBezTo>
                    <a:pt x="18" y="69"/>
                    <a:pt x="18" y="68"/>
                    <a:pt x="18" y="68"/>
                  </a:cubicBezTo>
                  <a:cubicBezTo>
                    <a:pt x="18" y="68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11" y="79"/>
                    <a:pt x="9" y="81"/>
                    <a:pt x="18" y="85"/>
                  </a:cubicBezTo>
                  <a:cubicBezTo>
                    <a:pt x="19" y="85"/>
                    <a:pt x="21" y="90"/>
                    <a:pt x="21" y="90"/>
                  </a:cubicBezTo>
                  <a:cubicBezTo>
                    <a:pt x="21" y="91"/>
                    <a:pt x="19" y="99"/>
                    <a:pt x="18" y="100"/>
                  </a:cubicBezTo>
                  <a:cubicBezTo>
                    <a:pt x="16" y="101"/>
                    <a:pt x="14" y="105"/>
                    <a:pt x="14" y="105"/>
                  </a:cubicBezTo>
                  <a:cubicBezTo>
                    <a:pt x="14" y="105"/>
                    <a:pt x="10" y="109"/>
                    <a:pt x="9" y="109"/>
                  </a:cubicBezTo>
                  <a:cubicBezTo>
                    <a:pt x="8" y="109"/>
                    <a:pt x="5" y="110"/>
                    <a:pt x="4" y="110"/>
                  </a:cubicBezTo>
                  <a:cubicBezTo>
                    <a:pt x="4" y="110"/>
                    <a:pt x="0" y="110"/>
                    <a:pt x="1" y="111"/>
                  </a:cubicBezTo>
                  <a:cubicBezTo>
                    <a:pt x="1" y="111"/>
                    <a:pt x="1" y="113"/>
                    <a:pt x="1" y="113"/>
                  </a:cubicBezTo>
                  <a:cubicBezTo>
                    <a:pt x="2" y="114"/>
                    <a:pt x="5" y="118"/>
                    <a:pt x="5" y="118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6" y="145"/>
                    <a:pt x="8" y="142"/>
                    <a:pt x="9" y="149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7" y="157"/>
                    <a:pt x="17" y="157"/>
                    <a:pt x="17" y="157"/>
                  </a:cubicBezTo>
                  <a:cubicBezTo>
                    <a:pt x="27" y="161"/>
                    <a:pt x="27" y="161"/>
                    <a:pt x="27" y="161"/>
                  </a:cubicBezTo>
                  <a:cubicBezTo>
                    <a:pt x="36" y="161"/>
                    <a:pt x="36" y="161"/>
                    <a:pt x="36" y="161"/>
                  </a:cubicBezTo>
                  <a:cubicBezTo>
                    <a:pt x="40" y="164"/>
                    <a:pt x="40" y="164"/>
                    <a:pt x="40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1" y="180"/>
                    <a:pt x="31" y="180"/>
                    <a:pt x="31" y="180"/>
                  </a:cubicBezTo>
                  <a:cubicBezTo>
                    <a:pt x="31" y="180"/>
                    <a:pt x="31" y="180"/>
                    <a:pt x="30" y="180"/>
                  </a:cubicBezTo>
                  <a:cubicBezTo>
                    <a:pt x="30" y="180"/>
                    <a:pt x="31" y="181"/>
                    <a:pt x="34" y="182"/>
                  </a:cubicBezTo>
                  <a:cubicBezTo>
                    <a:pt x="36" y="182"/>
                    <a:pt x="36" y="184"/>
                    <a:pt x="39" y="183"/>
                  </a:cubicBezTo>
                  <a:cubicBezTo>
                    <a:pt x="42" y="182"/>
                    <a:pt x="46" y="181"/>
                    <a:pt x="47" y="180"/>
                  </a:cubicBezTo>
                  <a:cubicBezTo>
                    <a:pt x="48" y="178"/>
                    <a:pt x="50" y="177"/>
                    <a:pt x="51" y="176"/>
                  </a:cubicBezTo>
                  <a:cubicBezTo>
                    <a:pt x="52" y="174"/>
                    <a:pt x="58" y="167"/>
                    <a:pt x="59" y="167"/>
                  </a:cubicBezTo>
                  <a:cubicBezTo>
                    <a:pt x="59" y="167"/>
                    <a:pt x="65" y="159"/>
                    <a:pt x="66" y="158"/>
                  </a:cubicBezTo>
                  <a:cubicBezTo>
                    <a:pt x="67" y="157"/>
                    <a:pt x="75" y="151"/>
                    <a:pt x="75" y="151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6" y="147"/>
                    <a:pt x="91" y="152"/>
                    <a:pt x="92" y="153"/>
                  </a:cubicBezTo>
                  <a:cubicBezTo>
                    <a:pt x="93" y="153"/>
                    <a:pt x="104" y="158"/>
                    <a:pt x="104" y="158"/>
                  </a:cubicBezTo>
                  <a:cubicBezTo>
                    <a:pt x="104" y="158"/>
                    <a:pt x="111" y="161"/>
                    <a:pt x="112" y="162"/>
                  </a:cubicBezTo>
                  <a:cubicBezTo>
                    <a:pt x="112" y="163"/>
                    <a:pt x="118" y="168"/>
                    <a:pt x="118" y="168"/>
                  </a:cubicBezTo>
                  <a:cubicBezTo>
                    <a:pt x="122" y="170"/>
                    <a:pt x="122" y="170"/>
                    <a:pt x="122" y="170"/>
                  </a:cubicBezTo>
                  <a:cubicBezTo>
                    <a:pt x="125" y="167"/>
                    <a:pt x="125" y="167"/>
                    <a:pt x="125" y="167"/>
                  </a:cubicBezTo>
                  <a:cubicBezTo>
                    <a:pt x="129" y="169"/>
                    <a:pt x="129" y="169"/>
                    <a:pt x="129" y="169"/>
                  </a:cubicBezTo>
                  <a:cubicBezTo>
                    <a:pt x="136" y="173"/>
                    <a:pt x="136" y="173"/>
                    <a:pt x="136" y="173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9"/>
                    <a:pt x="141" y="187"/>
                    <a:pt x="141" y="190"/>
                  </a:cubicBezTo>
                  <a:cubicBezTo>
                    <a:pt x="141" y="193"/>
                    <a:pt x="142" y="198"/>
                    <a:pt x="142" y="198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51" y="202"/>
                    <a:pt x="151" y="211"/>
                    <a:pt x="151" y="212"/>
                  </a:cubicBezTo>
                  <a:cubicBezTo>
                    <a:pt x="151" y="214"/>
                    <a:pt x="152" y="217"/>
                    <a:pt x="152" y="220"/>
                  </a:cubicBezTo>
                  <a:cubicBezTo>
                    <a:pt x="152" y="223"/>
                    <a:pt x="152" y="226"/>
                    <a:pt x="152" y="226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61" y="232"/>
                    <a:pt x="161" y="232"/>
                    <a:pt x="161" y="232"/>
                  </a:cubicBezTo>
                  <a:cubicBezTo>
                    <a:pt x="162" y="237"/>
                    <a:pt x="162" y="237"/>
                    <a:pt x="162" y="237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72" y="246"/>
                    <a:pt x="172" y="246"/>
                    <a:pt x="172" y="24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177" y="255"/>
                    <a:pt x="177" y="255"/>
                    <a:pt x="177" y="255"/>
                  </a:cubicBezTo>
                  <a:cubicBezTo>
                    <a:pt x="177" y="255"/>
                    <a:pt x="177" y="257"/>
                    <a:pt x="179" y="257"/>
                  </a:cubicBezTo>
                  <a:cubicBezTo>
                    <a:pt x="181" y="257"/>
                    <a:pt x="188" y="256"/>
                    <a:pt x="188" y="256"/>
                  </a:cubicBezTo>
                  <a:cubicBezTo>
                    <a:pt x="195" y="262"/>
                    <a:pt x="195" y="262"/>
                    <a:pt x="195" y="262"/>
                  </a:cubicBezTo>
                  <a:cubicBezTo>
                    <a:pt x="203" y="269"/>
                    <a:pt x="203" y="269"/>
                    <a:pt x="203" y="269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13" y="278"/>
                    <a:pt x="213" y="278"/>
                    <a:pt x="213" y="278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4" y="290"/>
                    <a:pt x="224" y="290"/>
                    <a:pt x="224" y="290"/>
                  </a:cubicBezTo>
                  <a:cubicBezTo>
                    <a:pt x="231" y="297"/>
                    <a:pt x="231" y="297"/>
                    <a:pt x="231" y="297"/>
                  </a:cubicBezTo>
                  <a:cubicBezTo>
                    <a:pt x="235" y="299"/>
                    <a:pt x="235" y="299"/>
                    <a:pt x="235" y="299"/>
                  </a:cubicBezTo>
                  <a:cubicBezTo>
                    <a:pt x="237" y="303"/>
                    <a:pt x="237" y="303"/>
                    <a:pt x="237" y="303"/>
                  </a:cubicBezTo>
                  <a:cubicBezTo>
                    <a:pt x="241" y="305"/>
                    <a:pt x="241" y="305"/>
                    <a:pt x="241" y="305"/>
                  </a:cubicBezTo>
                  <a:cubicBezTo>
                    <a:pt x="245" y="306"/>
                    <a:pt x="245" y="306"/>
                    <a:pt x="245" y="306"/>
                  </a:cubicBezTo>
                  <a:cubicBezTo>
                    <a:pt x="251" y="307"/>
                    <a:pt x="251" y="307"/>
                    <a:pt x="251" y="307"/>
                  </a:cubicBezTo>
                  <a:cubicBezTo>
                    <a:pt x="255" y="311"/>
                    <a:pt x="255" y="311"/>
                    <a:pt x="255" y="311"/>
                  </a:cubicBezTo>
                  <a:cubicBezTo>
                    <a:pt x="255" y="311"/>
                    <a:pt x="257" y="313"/>
                    <a:pt x="257" y="314"/>
                  </a:cubicBezTo>
                  <a:cubicBezTo>
                    <a:pt x="257" y="316"/>
                    <a:pt x="255" y="317"/>
                    <a:pt x="258" y="317"/>
                  </a:cubicBezTo>
                  <a:cubicBezTo>
                    <a:pt x="261" y="317"/>
                    <a:pt x="264" y="316"/>
                    <a:pt x="264" y="316"/>
                  </a:cubicBezTo>
                  <a:cubicBezTo>
                    <a:pt x="270" y="315"/>
                    <a:pt x="270" y="315"/>
                    <a:pt x="270" y="315"/>
                  </a:cubicBezTo>
                  <a:cubicBezTo>
                    <a:pt x="274" y="315"/>
                    <a:pt x="274" y="315"/>
                    <a:pt x="274" y="315"/>
                  </a:cubicBezTo>
                  <a:cubicBezTo>
                    <a:pt x="278" y="315"/>
                    <a:pt x="278" y="315"/>
                    <a:pt x="278" y="315"/>
                  </a:cubicBezTo>
                  <a:cubicBezTo>
                    <a:pt x="285" y="314"/>
                    <a:pt x="285" y="314"/>
                    <a:pt x="285" y="314"/>
                  </a:cubicBezTo>
                  <a:cubicBezTo>
                    <a:pt x="289" y="317"/>
                    <a:pt x="289" y="317"/>
                    <a:pt x="289" y="317"/>
                  </a:cubicBezTo>
                  <a:cubicBezTo>
                    <a:pt x="300" y="330"/>
                    <a:pt x="300" y="330"/>
                    <a:pt x="300" y="330"/>
                  </a:cubicBezTo>
                  <a:cubicBezTo>
                    <a:pt x="300" y="330"/>
                    <a:pt x="303" y="335"/>
                    <a:pt x="303" y="337"/>
                  </a:cubicBezTo>
                  <a:cubicBezTo>
                    <a:pt x="303" y="338"/>
                    <a:pt x="307" y="337"/>
                    <a:pt x="308" y="337"/>
                  </a:cubicBezTo>
                  <a:cubicBezTo>
                    <a:pt x="309" y="337"/>
                    <a:pt x="317" y="337"/>
                    <a:pt x="317" y="337"/>
                  </a:cubicBezTo>
                  <a:cubicBezTo>
                    <a:pt x="323" y="341"/>
                    <a:pt x="323" y="341"/>
                    <a:pt x="323" y="341"/>
                  </a:cubicBezTo>
                  <a:cubicBezTo>
                    <a:pt x="319" y="346"/>
                    <a:pt x="319" y="346"/>
                    <a:pt x="319" y="346"/>
                  </a:cubicBezTo>
                  <a:cubicBezTo>
                    <a:pt x="325" y="349"/>
                    <a:pt x="325" y="349"/>
                    <a:pt x="325" y="349"/>
                  </a:cubicBezTo>
                  <a:cubicBezTo>
                    <a:pt x="328" y="345"/>
                    <a:pt x="328" y="345"/>
                    <a:pt x="328" y="345"/>
                  </a:cubicBezTo>
                  <a:cubicBezTo>
                    <a:pt x="334" y="346"/>
                    <a:pt x="334" y="346"/>
                    <a:pt x="334" y="346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0" y="353"/>
                    <a:pt x="340" y="353"/>
                    <a:pt x="340" y="353"/>
                  </a:cubicBezTo>
                  <a:cubicBezTo>
                    <a:pt x="343" y="355"/>
                    <a:pt x="343" y="355"/>
                    <a:pt x="343" y="355"/>
                  </a:cubicBezTo>
                  <a:cubicBezTo>
                    <a:pt x="342" y="360"/>
                    <a:pt x="342" y="360"/>
                    <a:pt x="342" y="360"/>
                  </a:cubicBezTo>
                  <a:cubicBezTo>
                    <a:pt x="342" y="363"/>
                    <a:pt x="342" y="363"/>
                    <a:pt x="342" y="363"/>
                  </a:cubicBezTo>
                  <a:cubicBezTo>
                    <a:pt x="344" y="367"/>
                    <a:pt x="344" y="367"/>
                    <a:pt x="344" y="367"/>
                  </a:cubicBezTo>
                  <a:cubicBezTo>
                    <a:pt x="349" y="369"/>
                    <a:pt x="349" y="369"/>
                    <a:pt x="349" y="369"/>
                  </a:cubicBezTo>
                  <a:cubicBezTo>
                    <a:pt x="354" y="372"/>
                    <a:pt x="354" y="372"/>
                    <a:pt x="354" y="372"/>
                  </a:cubicBezTo>
                  <a:cubicBezTo>
                    <a:pt x="357" y="374"/>
                    <a:pt x="357" y="374"/>
                    <a:pt x="357" y="374"/>
                  </a:cubicBezTo>
                  <a:cubicBezTo>
                    <a:pt x="361" y="374"/>
                    <a:pt x="361" y="374"/>
                    <a:pt x="361" y="374"/>
                  </a:cubicBezTo>
                  <a:cubicBezTo>
                    <a:pt x="367" y="373"/>
                    <a:pt x="367" y="373"/>
                    <a:pt x="367" y="373"/>
                  </a:cubicBezTo>
                  <a:cubicBezTo>
                    <a:pt x="374" y="374"/>
                    <a:pt x="374" y="374"/>
                    <a:pt x="374" y="374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7" y="401"/>
                    <a:pt x="387" y="401"/>
                    <a:pt x="387" y="401"/>
                  </a:cubicBezTo>
                  <a:cubicBezTo>
                    <a:pt x="390" y="406"/>
                    <a:pt x="390" y="406"/>
                    <a:pt x="390" y="406"/>
                  </a:cubicBezTo>
                  <a:cubicBezTo>
                    <a:pt x="392" y="414"/>
                    <a:pt x="392" y="414"/>
                    <a:pt x="392" y="414"/>
                  </a:cubicBezTo>
                  <a:cubicBezTo>
                    <a:pt x="395" y="418"/>
                    <a:pt x="395" y="418"/>
                    <a:pt x="395" y="418"/>
                  </a:cubicBezTo>
                  <a:cubicBezTo>
                    <a:pt x="400" y="428"/>
                    <a:pt x="400" y="428"/>
                    <a:pt x="400" y="428"/>
                  </a:cubicBezTo>
                  <a:cubicBezTo>
                    <a:pt x="402" y="432"/>
                    <a:pt x="402" y="432"/>
                    <a:pt x="402" y="432"/>
                  </a:cubicBezTo>
                  <a:cubicBezTo>
                    <a:pt x="400" y="437"/>
                    <a:pt x="400" y="437"/>
                    <a:pt x="400" y="437"/>
                  </a:cubicBezTo>
                  <a:cubicBezTo>
                    <a:pt x="400" y="437"/>
                    <a:pt x="398" y="442"/>
                    <a:pt x="397" y="442"/>
                  </a:cubicBezTo>
                  <a:cubicBezTo>
                    <a:pt x="397" y="443"/>
                    <a:pt x="394" y="444"/>
                    <a:pt x="393" y="444"/>
                  </a:cubicBezTo>
                  <a:cubicBezTo>
                    <a:pt x="392" y="445"/>
                    <a:pt x="391" y="445"/>
                    <a:pt x="390" y="446"/>
                  </a:cubicBezTo>
                  <a:cubicBezTo>
                    <a:pt x="389" y="447"/>
                    <a:pt x="388" y="450"/>
                    <a:pt x="388" y="450"/>
                  </a:cubicBezTo>
                  <a:cubicBezTo>
                    <a:pt x="391" y="456"/>
                    <a:pt x="391" y="456"/>
                    <a:pt x="391" y="456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388" y="469"/>
                    <a:pt x="388" y="469"/>
                    <a:pt x="388" y="469"/>
                  </a:cubicBezTo>
                  <a:close/>
                  <a:moveTo>
                    <a:pt x="57" y="345"/>
                  </a:moveTo>
                  <a:cubicBezTo>
                    <a:pt x="57" y="345"/>
                    <a:pt x="57" y="345"/>
                    <a:pt x="57" y="345"/>
                  </a:cubicBezTo>
                  <a:cubicBezTo>
                    <a:pt x="60" y="335"/>
                    <a:pt x="60" y="335"/>
                    <a:pt x="60" y="335"/>
                  </a:cubicBezTo>
                  <a:cubicBezTo>
                    <a:pt x="64" y="331"/>
                    <a:pt x="64" y="331"/>
                    <a:pt x="64" y="331"/>
                  </a:cubicBezTo>
                  <a:cubicBezTo>
                    <a:pt x="63" y="336"/>
                    <a:pt x="63" y="336"/>
                    <a:pt x="63" y="336"/>
                  </a:cubicBezTo>
                  <a:cubicBezTo>
                    <a:pt x="62" y="342"/>
                    <a:pt x="62" y="342"/>
                    <a:pt x="62" y="342"/>
                  </a:cubicBezTo>
                  <a:cubicBezTo>
                    <a:pt x="62" y="342"/>
                    <a:pt x="70" y="345"/>
                    <a:pt x="71" y="345"/>
                  </a:cubicBezTo>
                  <a:cubicBezTo>
                    <a:pt x="72" y="345"/>
                    <a:pt x="73" y="343"/>
                    <a:pt x="75" y="342"/>
                  </a:cubicBezTo>
                  <a:cubicBezTo>
                    <a:pt x="76" y="341"/>
                    <a:pt x="83" y="341"/>
                    <a:pt x="83" y="341"/>
                  </a:cubicBezTo>
                  <a:cubicBezTo>
                    <a:pt x="83" y="341"/>
                    <a:pt x="84" y="338"/>
                    <a:pt x="85" y="336"/>
                  </a:cubicBezTo>
                  <a:cubicBezTo>
                    <a:pt x="86" y="334"/>
                    <a:pt x="91" y="329"/>
                    <a:pt x="92" y="328"/>
                  </a:cubicBezTo>
                  <a:cubicBezTo>
                    <a:pt x="93" y="328"/>
                    <a:pt x="95" y="326"/>
                    <a:pt x="96" y="326"/>
                  </a:cubicBezTo>
                  <a:cubicBezTo>
                    <a:pt x="97" y="325"/>
                    <a:pt x="102" y="323"/>
                    <a:pt x="102" y="323"/>
                  </a:cubicBezTo>
                  <a:cubicBezTo>
                    <a:pt x="115" y="328"/>
                    <a:pt x="115" y="328"/>
                    <a:pt x="115" y="328"/>
                  </a:cubicBezTo>
                  <a:cubicBezTo>
                    <a:pt x="117" y="336"/>
                    <a:pt x="117" y="336"/>
                    <a:pt x="117" y="336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6" y="355"/>
                    <a:pt x="129" y="358"/>
                    <a:pt x="128" y="361"/>
                  </a:cubicBezTo>
                  <a:cubicBezTo>
                    <a:pt x="127" y="365"/>
                    <a:pt x="121" y="375"/>
                    <a:pt x="121" y="375"/>
                  </a:cubicBezTo>
                  <a:cubicBezTo>
                    <a:pt x="121" y="381"/>
                    <a:pt x="121" y="381"/>
                    <a:pt x="121" y="381"/>
                  </a:cubicBezTo>
                  <a:cubicBezTo>
                    <a:pt x="125" y="389"/>
                    <a:pt x="125" y="389"/>
                    <a:pt x="125" y="389"/>
                  </a:cubicBezTo>
                  <a:cubicBezTo>
                    <a:pt x="119" y="404"/>
                    <a:pt x="119" y="404"/>
                    <a:pt x="119" y="404"/>
                  </a:cubicBezTo>
                  <a:cubicBezTo>
                    <a:pt x="122" y="415"/>
                    <a:pt x="122" y="415"/>
                    <a:pt x="122" y="415"/>
                  </a:cubicBezTo>
                  <a:cubicBezTo>
                    <a:pt x="120" y="430"/>
                    <a:pt x="120" y="430"/>
                    <a:pt x="120" y="430"/>
                  </a:cubicBezTo>
                  <a:cubicBezTo>
                    <a:pt x="119" y="438"/>
                    <a:pt x="119" y="438"/>
                    <a:pt x="119" y="438"/>
                  </a:cubicBezTo>
                  <a:cubicBezTo>
                    <a:pt x="119" y="438"/>
                    <a:pt x="115" y="442"/>
                    <a:pt x="113" y="441"/>
                  </a:cubicBezTo>
                  <a:cubicBezTo>
                    <a:pt x="111" y="440"/>
                    <a:pt x="101" y="433"/>
                    <a:pt x="101" y="433"/>
                  </a:cubicBezTo>
                  <a:cubicBezTo>
                    <a:pt x="97" y="432"/>
                    <a:pt x="97" y="432"/>
                    <a:pt x="97" y="432"/>
                  </a:cubicBezTo>
                  <a:cubicBezTo>
                    <a:pt x="94" y="439"/>
                    <a:pt x="94" y="439"/>
                    <a:pt x="94" y="439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0" y="453"/>
                    <a:pt x="90" y="453"/>
                    <a:pt x="90" y="453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79" y="451"/>
                    <a:pt x="79" y="451"/>
                    <a:pt x="79" y="451"/>
                  </a:cubicBezTo>
                  <a:cubicBezTo>
                    <a:pt x="73" y="443"/>
                    <a:pt x="73" y="443"/>
                    <a:pt x="73" y="443"/>
                  </a:cubicBezTo>
                  <a:cubicBezTo>
                    <a:pt x="73" y="443"/>
                    <a:pt x="73" y="445"/>
                    <a:pt x="71" y="446"/>
                  </a:cubicBezTo>
                  <a:cubicBezTo>
                    <a:pt x="69" y="446"/>
                    <a:pt x="66" y="445"/>
                    <a:pt x="66" y="445"/>
                  </a:cubicBezTo>
                  <a:cubicBezTo>
                    <a:pt x="68" y="439"/>
                    <a:pt x="68" y="439"/>
                    <a:pt x="68" y="439"/>
                  </a:cubicBezTo>
                  <a:cubicBezTo>
                    <a:pt x="66" y="432"/>
                    <a:pt x="66" y="432"/>
                    <a:pt x="66" y="432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68" y="415"/>
                    <a:pt x="68" y="415"/>
                    <a:pt x="68" y="415"/>
                  </a:cubicBezTo>
                  <a:cubicBezTo>
                    <a:pt x="70" y="411"/>
                    <a:pt x="70" y="411"/>
                    <a:pt x="70" y="411"/>
                  </a:cubicBezTo>
                  <a:cubicBezTo>
                    <a:pt x="71" y="406"/>
                    <a:pt x="71" y="406"/>
                    <a:pt x="71" y="406"/>
                  </a:cubicBezTo>
                  <a:cubicBezTo>
                    <a:pt x="74" y="400"/>
                    <a:pt x="74" y="400"/>
                    <a:pt x="74" y="400"/>
                  </a:cubicBezTo>
                  <a:cubicBezTo>
                    <a:pt x="73" y="395"/>
                    <a:pt x="73" y="395"/>
                    <a:pt x="73" y="395"/>
                  </a:cubicBezTo>
                  <a:cubicBezTo>
                    <a:pt x="71" y="396"/>
                    <a:pt x="71" y="396"/>
                    <a:pt x="71" y="396"/>
                  </a:cubicBezTo>
                  <a:cubicBezTo>
                    <a:pt x="65" y="390"/>
                    <a:pt x="65" y="390"/>
                    <a:pt x="65" y="390"/>
                  </a:cubicBezTo>
                  <a:cubicBezTo>
                    <a:pt x="65" y="390"/>
                    <a:pt x="67" y="388"/>
                    <a:pt x="69" y="386"/>
                  </a:cubicBezTo>
                  <a:cubicBezTo>
                    <a:pt x="71" y="384"/>
                    <a:pt x="71" y="383"/>
                    <a:pt x="71" y="381"/>
                  </a:cubicBezTo>
                  <a:cubicBezTo>
                    <a:pt x="71" y="379"/>
                    <a:pt x="70" y="374"/>
                    <a:pt x="69" y="374"/>
                  </a:cubicBezTo>
                  <a:cubicBezTo>
                    <a:pt x="68" y="373"/>
                    <a:pt x="66" y="371"/>
                    <a:pt x="66" y="371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5"/>
                    <a:pt x="65" y="362"/>
                    <a:pt x="64" y="362"/>
                  </a:cubicBezTo>
                  <a:cubicBezTo>
                    <a:pt x="62" y="361"/>
                    <a:pt x="57" y="358"/>
                    <a:pt x="57" y="358"/>
                  </a:cubicBezTo>
                  <a:cubicBezTo>
                    <a:pt x="58" y="351"/>
                    <a:pt x="58" y="351"/>
                    <a:pt x="58" y="351"/>
                  </a:cubicBezTo>
                  <a:cubicBezTo>
                    <a:pt x="56" y="349"/>
                    <a:pt x="56" y="349"/>
                    <a:pt x="56" y="349"/>
                  </a:cubicBezTo>
                  <a:lnTo>
                    <a:pt x="57" y="3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6" name="Freeform 86"/>
            <p:cNvSpPr>
              <a:spLocks/>
            </p:cNvSpPr>
            <p:nvPr/>
          </p:nvSpPr>
          <p:spPr bwMode="auto">
            <a:xfrm>
              <a:off x="5282045" y="4485390"/>
              <a:ext cx="876593" cy="613114"/>
            </a:xfrm>
            <a:custGeom>
              <a:avLst/>
              <a:gdLst>
                <a:gd name="T0" fmla="*/ 59 w 369"/>
                <a:gd name="T1" fmla="*/ 73 h 266"/>
                <a:gd name="T2" fmla="*/ 59 w 369"/>
                <a:gd name="T3" fmla="*/ 83 h 266"/>
                <a:gd name="T4" fmla="*/ 59 w 369"/>
                <a:gd name="T5" fmla="*/ 83 h 266"/>
                <a:gd name="T6" fmla="*/ 58 w 369"/>
                <a:gd name="T7" fmla="*/ 84 h 266"/>
                <a:gd name="T8" fmla="*/ 58 w 369"/>
                <a:gd name="T9" fmla="*/ 84 h 266"/>
                <a:gd name="T10" fmla="*/ 56 w 369"/>
                <a:gd name="T11" fmla="*/ 84 h 266"/>
                <a:gd name="T12" fmla="*/ 56 w 369"/>
                <a:gd name="T13" fmla="*/ 85 h 266"/>
                <a:gd name="T14" fmla="*/ 56 w 369"/>
                <a:gd name="T15" fmla="*/ 85 h 266"/>
                <a:gd name="T16" fmla="*/ 56 w 369"/>
                <a:gd name="T17" fmla="*/ 85 h 266"/>
                <a:gd name="T18" fmla="*/ 51 w 369"/>
                <a:gd name="T19" fmla="*/ 97 h 266"/>
                <a:gd name="T20" fmla="*/ 50 w 369"/>
                <a:gd name="T21" fmla="*/ 106 h 266"/>
                <a:gd name="T22" fmla="*/ 50 w 369"/>
                <a:gd name="T23" fmla="*/ 106 h 266"/>
                <a:gd name="T24" fmla="*/ 50 w 369"/>
                <a:gd name="T25" fmla="*/ 106 h 266"/>
                <a:gd name="T26" fmla="*/ 50 w 369"/>
                <a:gd name="T27" fmla="*/ 107 h 266"/>
                <a:gd name="T28" fmla="*/ 50 w 369"/>
                <a:gd name="T29" fmla="*/ 107 h 266"/>
                <a:gd name="T30" fmla="*/ 50 w 369"/>
                <a:gd name="T31" fmla="*/ 107 h 266"/>
                <a:gd name="T32" fmla="*/ 50 w 369"/>
                <a:gd name="T33" fmla="*/ 108 h 266"/>
                <a:gd name="T34" fmla="*/ 49 w 369"/>
                <a:gd name="T35" fmla="*/ 109 h 266"/>
                <a:gd name="T36" fmla="*/ 42 w 369"/>
                <a:gd name="T37" fmla="*/ 131 h 266"/>
                <a:gd name="T38" fmla="*/ 26 w 369"/>
                <a:gd name="T39" fmla="*/ 154 h 266"/>
                <a:gd name="T40" fmla="*/ 6 w 369"/>
                <a:gd name="T41" fmla="*/ 161 h 266"/>
                <a:gd name="T42" fmla="*/ 2 w 369"/>
                <a:gd name="T43" fmla="*/ 161 h 266"/>
                <a:gd name="T44" fmla="*/ 1 w 369"/>
                <a:gd name="T45" fmla="*/ 161 h 266"/>
                <a:gd name="T46" fmla="*/ 0 w 369"/>
                <a:gd name="T47" fmla="*/ 161 h 266"/>
                <a:gd name="T48" fmla="*/ 0 w 369"/>
                <a:gd name="T49" fmla="*/ 161 h 266"/>
                <a:gd name="T50" fmla="*/ 14 w 369"/>
                <a:gd name="T51" fmla="*/ 169 h 266"/>
                <a:gd name="T52" fmla="*/ 28 w 369"/>
                <a:gd name="T53" fmla="*/ 190 h 266"/>
                <a:gd name="T54" fmla="*/ 52 w 369"/>
                <a:gd name="T55" fmla="*/ 201 h 266"/>
                <a:gd name="T56" fmla="*/ 64 w 369"/>
                <a:gd name="T57" fmla="*/ 216 h 266"/>
                <a:gd name="T58" fmla="*/ 69 w 369"/>
                <a:gd name="T59" fmla="*/ 229 h 266"/>
                <a:gd name="T60" fmla="*/ 90 w 369"/>
                <a:gd name="T61" fmla="*/ 232 h 266"/>
                <a:gd name="T62" fmla="*/ 113 w 369"/>
                <a:gd name="T63" fmla="*/ 227 h 266"/>
                <a:gd name="T64" fmla="*/ 107 w 369"/>
                <a:gd name="T65" fmla="*/ 240 h 266"/>
                <a:gd name="T66" fmla="*/ 128 w 369"/>
                <a:gd name="T67" fmla="*/ 250 h 266"/>
                <a:gd name="T68" fmla="*/ 241 w 369"/>
                <a:gd name="T69" fmla="*/ 249 h 266"/>
                <a:gd name="T70" fmla="*/ 346 w 369"/>
                <a:gd name="T71" fmla="*/ 215 h 266"/>
                <a:gd name="T72" fmla="*/ 361 w 369"/>
                <a:gd name="T73" fmla="*/ 123 h 266"/>
                <a:gd name="T74" fmla="*/ 350 w 369"/>
                <a:gd name="T75" fmla="*/ 120 h 266"/>
                <a:gd name="T76" fmla="*/ 302 w 369"/>
                <a:gd name="T77" fmla="*/ 127 h 266"/>
                <a:gd name="T78" fmla="*/ 300 w 369"/>
                <a:gd name="T79" fmla="*/ 118 h 266"/>
                <a:gd name="T80" fmla="*/ 293 w 369"/>
                <a:gd name="T81" fmla="*/ 101 h 266"/>
                <a:gd name="T82" fmla="*/ 293 w 369"/>
                <a:gd name="T83" fmla="*/ 88 h 266"/>
                <a:gd name="T84" fmla="*/ 290 w 369"/>
                <a:gd name="T85" fmla="*/ 74 h 266"/>
                <a:gd name="T86" fmla="*/ 280 w 369"/>
                <a:gd name="T87" fmla="*/ 57 h 266"/>
                <a:gd name="T88" fmla="*/ 264 w 369"/>
                <a:gd name="T89" fmla="*/ 44 h 266"/>
                <a:gd name="T90" fmla="*/ 251 w 369"/>
                <a:gd name="T91" fmla="*/ 33 h 266"/>
                <a:gd name="T92" fmla="*/ 242 w 369"/>
                <a:gd name="T93" fmla="*/ 26 h 266"/>
                <a:gd name="T94" fmla="*/ 237 w 369"/>
                <a:gd name="T95" fmla="*/ 17 h 266"/>
                <a:gd name="T96" fmla="*/ 232 w 369"/>
                <a:gd name="T97" fmla="*/ 11 h 266"/>
                <a:gd name="T98" fmla="*/ 224 w 369"/>
                <a:gd name="T99" fmla="*/ 5 h 266"/>
                <a:gd name="T100" fmla="*/ 217 w 369"/>
                <a:gd name="T101" fmla="*/ 1 h 266"/>
                <a:gd name="T102" fmla="*/ 199 w 369"/>
                <a:gd name="T103" fmla="*/ 7 h 266"/>
                <a:gd name="T104" fmla="*/ 150 w 369"/>
                <a:gd name="T105" fmla="*/ 40 h 266"/>
                <a:gd name="T106" fmla="*/ 110 w 369"/>
                <a:gd name="T107" fmla="*/ 38 h 266"/>
                <a:gd name="T108" fmla="*/ 85 w 369"/>
                <a:gd name="T109" fmla="*/ 50 h 266"/>
                <a:gd name="T110" fmla="*/ 81 w 369"/>
                <a:gd name="T111" fmla="*/ 54 h 266"/>
                <a:gd name="T112" fmla="*/ 81 w 369"/>
                <a:gd name="T113" fmla="*/ 54 h 266"/>
                <a:gd name="T114" fmla="*/ 77 w 369"/>
                <a:gd name="T115" fmla="*/ 56 h 266"/>
                <a:gd name="T116" fmla="*/ 77 w 369"/>
                <a:gd name="T117" fmla="*/ 5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9" h="266">
                  <a:moveTo>
                    <a:pt x="69" y="61"/>
                  </a:moveTo>
                  <a:cubicBezTo>
                    <a:pt x="69" y="61"/>
                    <a:pt x="69" y="61"/>
                    <a:pt x="69" y="61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9" y="82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8"/>
                    <a:pt x="50" y="108"/>
                    <a:pt x="50" y="108"/>
                  </a:cubicBezTo>
                  <a:cubicBezTo>
                    <a:pt x="50" y="109"/>
                    <a:pt x="50" y="109"/>
                    <a:pt x="49" y="109"/>
                  </a:cubicBezTo>
                  <a:cubicBezTo>
                    <a:pt x="47" y="110"/>
                    <a:pt x="46" y="112"/>
                    <a:pt x="46" y="112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43" y="124"/>
                    <a:pt x="43" y="124"/>
                    <a:pt x="43" y="124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4" y="128"/>
                    <a:pt x="44" y="128"/>
                    <a:pt x="44" y="128"/>
                  </a:cubicBezTo>
                  <a:cubicBezTo>
                    <a:pt x="42" y="131"/>
                    <a:pt x="42" y="131"/>
                    <a:pt x="42" y="131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3"/>
                    <a:pt x="39" y="143"/>
                    <a:pt x="39" y="143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29" y="155"/>
                    <a:pt x="29" y="155"/>
                    <a:pt x="29" y="155"/>
                  </a:cubicBezTo>
                  <a:cubicBezTo>
                    <a:pt x="26" y="154"/>
                    <a:pt x="26" y="154"/>
                    <a:pt x="26" y="154"/>
                  </a:cubicBezTo>
                  <a:cubicBezTo>
                    <a:pt x="24" y="155"/>
                    <a:pt x="24" y="155"/>
                    <a:pt x="24" y="155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22" y="157"/>
                    <a:pt x="23" y="157"/>
                    <a:pt x="21" y="159"/>
                  </a:cubicBezTo>
                  <a:cubicBezTo>
                    <a:pt x="19" y="160"/>
                    <a:pt x="15" y="161"/>
                    <a:pt x="15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6" y="161"/>
                    <a:pt x="6" y="161"/>
                  </a:cubicBezTo>
                  <a:cubicBezTo>
                    <a:pt x="6" y="161"/>
                    <a:pt x="5" y="160"/>
                    <a:pt x="4" y="161"/>
                  </a:cubicBezTo>
                  <a:cubicBezTo>
                    <a:pt x="4" y="161"/>
                    <a:pt x="3" y="161"/>
                    <a:pt x="3" y="161"/>
                  </a:cubicBezTo>
                  <a:cubicBezTo>
                    <a:pt x="3" y="161"/>
                    <a:pt x="3" y="161"/>
                    <a:pt x="3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2" y="161"/>
                    <a:pt x="2" y="161"/>
                    <a:pt x="2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1"/>
                    <a:pt x="1" y="162"/>
                    <a:pt x="2" y="162"/>
                  </a:cubicBezTo>
                  <a:cubicBezTo>
                    <a:pt x="4" y="163"/>
                    <a:pt x="5" y="166"/>
                    <a:pt x="6" y="166"/>
                  </a:cubicBezTo>
                  <a:cubicBezTo>
                    <a:pt x="8" y="167"/>
                    <a:pt x="10" y="167"/>
                    <a:pt x="11" y="167"/>
                  </a:cubicBezTo>
                  <a:cubicBezTo>
                    <a:pt x="12" y="168"/>
                    <a:pt x="14" y="169"/>
                    <a:pt x="14" y="169"/>
                  </a:cubicBezTo>
                  <a:cubicBezTo>
                    <a:pt x="14" y="169"/>
                    <a:pt x="19" y="174"/>
                    <a:pt x="20" y="174"/>
                  </a:cubicBezTo>
                  <a:cubicBezTo>
                    <a:pt x="21" y="174"/>
                    <a:pt x="21" y="174"/>
                    <a:pt x="22" y="176"/>
                  </a:cubicBezTo>
                  <a:cubicBezTo>
                    <a:pt x="23" y="177"/>
                    <a:pt x="26" y="176"/>
                    <a:pt x="26" y="176"/>
                  </a:cubicBezTo>
                  <a:cubicBezTo>
                    <a:pt x="26" y="176"/>
                    <a:pt x="27" y="179"/>
                    <a:pt x="26" y="180"/>
                  </a:cubicBezTo>
                  <a:cubicBezTo>
                    <a:pt x="26" y="181"/>
                    <a:pt x="26" y="184"/>
                    <a:pt x="26" y="184"/>
                  </a:cubicBezTo>
                  <a:cubicBezTo>
                    <a:pt x="26" y="184"/>
                    <a:pt x="26" y="185"/>
                    <a:pt x="26" y="186"/>
                  </a:cubicBezTo>
                  <a:cubicBezTo>
                    <a:pt x="27" y="188"/>
                    <a:pt x="28" y="188"/>
                    <a:pt x="28" y="190"/>
                  </a:cubicBezTo>
                  <a:cubicBezTo>
                    <a:pt x="29" y="191"/>
                    <a:pt x="28" y="191"/>
                    <a:pt x="29" y="192"/>
                  </a:cubicBezTo>
                  <a:cubicBezTo>
                    <a:pt x="30" y="193"/>
                    <a:pt x="31" y="195"/>
                    <a:pt x="32" y="195"/>
                  </a:cubicBezTo>
                  <a:cubicBezTo>
                    <a:pt x="33" y="195"/>
                    <a:pt x="34" y="195"/>
                    <a:pt x="37" y="196"/>
                  </a:cubicBezTo>
                  <a:cubicBezTo>
                    <a:pt x="40" y="198"/>
                    <a:pt x="41" y="198"/>
                    <a:pt x="42" y="199"/>
                  </a:cubicBezTo>
                  <a:cubicBezTo>
                    <a:pt x="44" y="200"/>
                    <a:pt x="43" y="199"/>
                    <a:pt x="46" y="200"/>
                  </a:cubicBezTo>
                  <a:cubicBezTo>
                    <a:pt x="50" y="201"/>
                    <a:pt x="49" y="200"/>
                    <a:pt x="50" y="201"/>
                  </a:cubicBezTo>
                  <a:cubicBezTo>
                    <a:pt x="51" y="201"/>
                    <a:pt x="50" y="200"/>
                    <a:pt x="52" y="201"/>
                  </a:cubicBezTo>
                  <a:cubicBezTo>
                    <a:pt x="55" y="201"/>
                    <a:pt x="57" y="202"/>
                    <a:pt x="57" y="202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5" y="208"/>
                    <a:pt x="55" y="208"/>
                    <a:pt x="55" y="208"/>
                  </a:cubicBezTo>
                  <a:cubicBezTo>
                    <a:pt x="55" y="211"/>
                    <a:pt x="55" y="211"/>
                    <a:pt x="55" y="211"/>
                  </a:cubicBezTo>
                  <a:cubicBezTo>
                    <a:pt x="55" y="211"/>
                    <a:pt x="53" y="211"/>
                    <a:pt x="55" y="212"/>
                  </a:cubicBezTo>
                  <a:cubicBezTo>
                    <a:pt x="57" y="213"/>
                    <a:pt x="61" y="214"/>
                    <a:pt x="61" y="214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2" y="219"/>
                    <a:pt x="61" y="220"/>
                  </a:cubicBezTo>
                  <a:cubicBezTo>
                    <a:pt x="60" y="220"/>
                    <a:pt x="57" y="220"/>
                    <a:pt x="57" y="220"/>
                  </a:cubicBezTo>
                  <a:cubicBezTo>
                    <a:pt x="57" y="220"/>
                    <a:pt x="56" y="223"/>
                    <a:pt x="58" y="223"/>
                  </a:cubicBezTo>
                  <a:cubicBezTo>
                    <a:pt x="59" y="224"/>
                    <a:pt x="61" y="224"/>
                    <a:pt x="62" y="224"/>
                  </a:cubicBezTo>
                  <a:cubicBezTo>
                    <a:pt x="63" y="224"/>
                    <a:pt x="65" y="225"/>
                    <a:pt x="65" y="225"/>
                  </a:cubicBezTo>
                  <a:cubicBezTo>
                    <a:pt x="65" y="225"/>
                    <a:pt x="66" y="225"/>
                    <a:pt x="67" y="226"/>
                  </a:cubicBezTo>
                  <a:cubicBezTo>
                    <a:pt x="67" y="228"/>
                    <a:pt x="68" y="229"/>
                    <a:pt x="69" y="229"/>
                  </a:cubicBezTo>
                  <a:cubicBezTo>
                    <a:pt x="70" y="229"/>
                    <a:pt x="72" y="229"/>
                    <a:pt x="73" y="229"/>
                  </a:cubicBezTo>
                  <a:cubicBezTo>
                    <a:pt x="74" y="229"/>
                    <a:pt x="74" y="228"/>
                    <a:pt x="75" y="228"/>
                  </a:cubicBezTo>
                  <a:cubicBezTo>
                    <a:pt x="76" y="229"/>
                    <a:pt x="82" y="228"/>
                    <a:pt x="82" y="228"/>
                  </a:cubicBezTo>
                  <a:cubicBezTo>
                    <a:pt x="82" y="228"/>
                    <a:pt x="82" y="228"/>
                    <a:pt x="83" y="230"/>
                  </a:cubicBezTo>
                  <a:cubicBezTo>
                    <a:pt x="85" y="233"/>
                    <a:pt x="88" y="234"/>
                    <a:pt x="88" y="234"/>
                  </a:cubicBezTo>
                  <a:cubicBezTo>
                    <a:pt x="88" y="234"/>
                    <a:pt x="89" y="235"/>
                    <a:pt x="89" y="234"/>
                  </a:cubicBezTo>
                  <a:cubicBezTo>
                    <a:pt x="89" y="233"/>
                    <a:pt x="90" y="232"/>
                    <a:pt x="90" y="232"/>
                  </a:cubicBezTo>
                  <a:cubicBezTo>
                    <a:pt x="90" y="232"/>
                    <a:pt x="92" y="229"/>
                    <a:pt x="92" y="228"/>
                  </a:cubicBezTo>
                  <a:cubicBezTo>
                    <a:pt x="93" y="227"/>
                    <a:pt x="94" y="224"/>
                    <a:pt x="95" y="224"/>
                  </a:cubicBezTo>
                  <a:cubicBezTo>
                    <a:pt x="96" y="223"/>
                    <a:pt x="99" y="221"/>
                    <a:pt x="99" y="221"/>
                  </a:cubicBezTo>
                  <a:cubicBezTo>
                    <a:pt x="99" y="221"/>
                    <a:pt x="99" y="220"/>
                    <a:pt x="101" y="221"/>
                  </a:cubicBezTo>
                  <a:cubicBezTo>
                    <a:pt x="102" y="223"/>
                    <a:pt x="105" y="225"/>
                    <a:pt x="105" y="225"/>
                  </a:cubicBezTo>
                  <a:cubicBezTo>
                    <a:pt x="110" y="225"/>
                    <a:pt x="110" y="225"/>
                    <a:pt x="110" y="225"/>
                  </a:cubicBezTo>
                  <a:cubicBezTo>
                    <a:pt x="110" y="225"/>
                    <a:pt x="113" y="226"/>
                    <a:pt x="113" y="227"/>
                  </a:cubicBezTo>
                  <a:cubicBezTo>
                    <a:pt x="113" y="228"/>
                    <a:pt x="112" y="228"/>
                    <a:pt x="110" y="229"/>
                  </a:cubicBezTo>
                  <a:cubicBezTo>
                    <a:pt x="109" y="229"/>
                    <a:pt x="106" y="226"/>
                    <a:pt x="106" y="227"/>
                  </a:cubicBezTo>
                  <a:cubicBezTo>
                    <a:pt x="105" y="228"/>
                    <a:pt x="105" y="230"/>
                    <a:pt x="105" y="230"/>
                  </a:cubicBezTo>
                  <a:cubicBezTo>
                    <a:pt x="101" y="232"/>
                    <a:pt x="101" y="232"/>
                    <a:pt x="101" y="232"/>
                  </a:cubicBezTo>
                  <a:cubicBezTo>
                    <a:pt x="102" y="234"/>
                    <a:pt x="102" y="234"/>
                    <a:pt x="102" y="234"/>
                  </a:cubicBezTo>
                  <a:cubicBezTo>
                    <a:pt x="102" y="234"/>
                    <a:pt x="107" y="236"/>
                    <a:pt x="107" y="237"/>
                  </a:cubicBezTo>
                  <a:cubicBezTo>
                    <a:pt x="107" y="238"/>
                    <a:pt x="107" y="240"/>
                    <a:pt x="107" y="240"/>
                  </a:cubicBezTo>
                  <a:cubicBezTo>
                    <a:pt x="110" y="241"/>
                    <a:pt x="110" y="241"/>
                    <a:pt x="110" y="241"/>
                  </a:cubicBezTo>
                  <a:cubicBezTo>
                    <a:pt x="112" y="240"/>
                    <a:pt x="112" y="240"/>
                    <a:pt x="112" y="240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2" y="248"/>
                    <a:pt x="112" y="248"/>
                    <a:pt x="112" y="248"/>
                  </a:cubicBezTo>
                  <a:cubicBezTo>
                    <a:pt x="119" y="246"/>
                    <a:pt x="125" y="250"/>
                    <a:pt x="128" y="250"/>
                  </a:cubicBezTo>
                  <a:cubicBezTo>
                    <a:pt x="134" y="251"/>
                    <a:pt x="121" y="258"/>
                    <a:pt x="123" y="258"/>
                  </a:cubicBezTo>
                  <a:cubicBezTo>
                    <a:pt x="125" y="257"/>
                    <a:pt x="123" y="263"/>
                    <a:pt x="126" y="264"/>
                  </a:cubicBezTo>
                  <a:cubicBezTo>
                    <a:pt x="131" y="265"/>
                    <a:pt x="135" y="261"/>
                    <a:pt x="141" y="261"/>
                  </a:cubicBezTo>
                  <a:cubicBezTo>
                    <a:pt x="146" y="260"/>
                    <a:pt x="152" y="263"/>
                    <a:pt x="154" y="261"/>
                  </a:cubicBezTo>
                  <a:cubicBezTo>
                    <a:pt x="158" y="256"/>
                    <a:pt x="174" y="266"/>
                    <a:pt x="182" y="261"/>
                  </a:cubicBezTo>
                  <a:cubicBezTo>
                    <a:pt x="187" y="257"/>
                    <a:pt x="207" y="255"/>
                    <a:pt x="214" y="255"/>
                  </a:cubicBezTo>
                  <a:cubicBezTo>
                    <a:pt x="232" y="254"/>
                    <a:pt x="233" y="254"/>
                    <a:pt x="241" y="249"/>
                  </a:cubicBezTo>
                  <a:cubicBezTo>
                    <a:pt x="241" y="249"/>
                    <a:pt x="246" y="238"/>
                    <a:pt x="249" y="233"/>
                  </a:cubicBezTo>
                  <a:cubicBezTo>
                    <a:pt x="251" y="229"/>
                    <a:pt x="257" y="227"/>
                    <a:pt x="263" y="223"/>
                  </a:cubicBezTo>
                  <a:cubicBezTo>
                    <a:pt x="268" y="219"/>
                    <a:pt x="281" y="215"/>
                    <a:pt x="284" y="214"/>
                  </a:cubicBezTo>
                  <a:cubicBezTo>
                    <a:pt x="287" y="214"/>
                    <a:pt x="308" y="215"/>
                    <a:pt x="308" y="215"/>
                  </a:cubicBezTo>
                  <a:cubicBezTo>
                    <a:pt x="319" y="212"/>
                    <a:pt x="319" y="212"/>
                    <a:pt x="319" y="212"/>
                  </a:cubicBezTo>
                  <a:cubicBezTo>
                    <a:pt x="319" y="212"/>
                    <a:pt x="321" y="220"/>
                    <a:pt x="324" y="221"/>
                  </a:cubicBezTo>
                  <a:cubicBezTo>
                    <a:pt x="337" y="223"/>
                    <a:pt x="345" y="222"/>
                    <a:pt x="346" y="215"/>
                  </a:cubicBezTo>
                  <a:cubicBezTo>
                    <a:pt x="347" y="210"/>
                    <a:pt x="342" y="201"/>
                    <a:pt x="341" y="194"/>
                  </a:cubicBezTo>
                  <a:cubicBezTo>
                    <a:pt x="340" y="186"/>
                    <a:pt x="344" y="178"/>
                    <a:pt x="344" y="171"/>
                  </a:cubicBezTo>
                  <a:cubicBezTo>
                    <a:pt x="344" y="170"/>
                    <a:pt x="342" y="168"/>
                    <a:pt x="348" y="160"/>
                  </a:cubicBezTo>
                  <a:cubicBezTo>
                    <a:pt x="353" y="152"/>
                    <a:pt x="367" y="156"/>
                    <a:pt x="369" y="151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2" y="123"/>
                    <a:pt x="362" y="123"/>
                    <a:pt x="362" y="123"/>
                  </a:cubicBezTo>
                  <a:cubicBezTo>
                    <a:pt x="361" y="123"/>
                    <a:pt x="361" y="123"/>
                    <a:pt x="361" y="123"/>
                  </a:cubicBezTo>
                  <a:cubicBezTo>
                    <a:pt x="359" y="122"/>
                    <a:pt x="359" y="122"/>
                    <a:pt x="359" y="122"/>
                  </a:cubicBezTo>
                  <a:cubicBezTo>
                    <a:pt x="357" y="122"/>
                    <a:pt x="357" y="122"/>
                    <a:pt x="357" y="122"/>
                  </a:cubicBezTo>
                  <a:cubicBezTo>
                    <a:pt x="355" y="121"/>
                    <a:pt x="355" y="121"/>
                    <a:pt x="355" y="121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1" y="120"/>
                    <a:pt x="351" y="120"/>
                    <a:pt x="351" y="120"/>
                  </a:cubicBezTo>
                  <a:cubicBezTo>
                    <a:pt x="350" y="120"/>
                    <a:pt x="350" y="120"/>
                    <a:pt x="350" y="120"/>
                  </a:cubicBezTo>
                  <a:cubicBezTo>
                    <a:pt x="343" y="119"/>
                    <a:pt x="334" y="135"/>
                    <a:pt x="334" y="135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320" y="140"/>
                    <a:pt x="310" y="139"/>
                    <a:pt x="303" y="131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3" y="128"/>
                    <a:pt x="303" y="128"/>
                    <a:pt x="303" y="128"/>
                  </a:cubicBezTo>
                  <a:cubicBezTo>
                    <a:pt x="302" y="127"/>
                    <a:pt x="302" y="127"/>
                    <a:pt x="302" y="127"/>
                  </a:cubicBezTo>
                  <a:cubicBezTo>
                    <a:pt x="302" y="127"/>
                    <a:pt x="301" y="127"/>
                    <a:pt x="301" y="127"/>
                  </a:cubicBezTo>
                  <a:cubicBezTo>
                    <a:pt x="300" y="127"/>
                    <a:pt x="299" y="126"/>
                    <a:pt x="299" y="126"/>
                  </a:cubicBezTo>
                  <a:cubicBezTo>
                    <a:pt x="300" y="124"/>
                    <a:pt x="300" y="124"/>
                    <a:pt x="300" y="124"/>
                  </a:cubicBezTo>
                  <a:cubicBezTo>
                    <a:pt x="300" y="124"/>
                    <a:pt x="301" y="123"/>
                    <a:pt x="301" y="123"/>
                  </a:cubicBezTo>
                  <a:cubicBezTo>
                    <a:pt x="302" y="123"/>
                    <a:pt x="301" y="123"/>
                    <a:pt x="301" y="122"/>
                  </a:cubicBezTo>
                  <a:cubicBezTo>
                    <a:pt x="301" y="122"/>
                    <a:pt x="301" y="120"/>
                    <a:pt x="301" y="119"/>
                  </a:cubicBezTo>
                  <a:cubicBezTo>
                    <a:pt x="300" y="118"/>
                    <a:pt x="300" y="118"/>
                    <a:pt x="300" y="118"/>
                  </a:cubicBezTo>
                  <a:cubicBezTo>
                    <a:pt x="300" y="118"/>
                    <a:pt x="299" y="116"/>
                    <a:pt x="298" y="115"/>
                  </a:cubicBezTo>
                  <a:cubicBezTo>
                    <a:pt x="297" y="115"/>
                    <a:pt x="298" y="114"/>
                    <a:pt x="298" y="114"/>
                  </a:cubicBezTo>
                  <a:cubicBezTo>
                    <a:pt x="297" y="113"/>
                    <a:pt x="298" y="113"/>
                    <a:pt x="298" y="112"/>
                  </a:cubicBezTo>
                  <a:cubicBezTo>
                    <a:pt x="298" y="112"/>
                    <a:pt x="297" y="110"/>
                    <a:pt x="297" y="110"/>
                  </a:cubicBezTo>
                  <a:cubicBezTo>
                    <a:pt x="297" y="110"/>
                    <a:pt x="295" y="107"/>
                    <a:pt x="294" y="105"/>
                  </a:cubicBezTo>
                  <a:cubicBezTo>
                    <a:pt x="294" y="104"/>
                    <a:pt x="294" y="103"/>
                    <a:pt x="294" y="103"/>
                  </a:cubicBezTo>
                  <a:cubicBezTo>
                    <a:pt x="295" y="102"/>
                    <a:pt x="293" y="101"/>
                    <a:pt x="293" y="101"/>
                  </a:cubicBezTo>
                  <a:cubicBezTo>
                    <a:pt x="293" y="101"/>
                    <a:pt x="293" y="99"/>
                    <a:pt x="293" y="99"/>
                  </a:cubicBezTo>
                  <a:cubicBezTo>
                    <a:pt x="293" y="99"/>
                    <a:pt x="293" y="97"/>
                    <a:pt x="293" y="97"/>
                  </a:cubicBezTo>
                  <a:cubicBezTo>
                    <a:pt x="294" y="96"/>
                    <a:pt x="293" y="95"/>
                    <a:pt x="293" y="94"/>
                  </a:cubicBezTo>
                  <a:cubicBezTo>
                    <a:pt x="293" y="94"/>
                    <a:pt x="291" y="93"/>
                    <a:pt x="291" y="93"/>
                  </a:cubicBezTo>
                  <a:cubicBezTo>
                    <a:pt x="292" y="91"/>
                    <a:pt x="292" y="91"/>
                    <a:pt x="292" y="91"/>
                  </a:cubicBezTo>
                  <a:cubicBezTo>
                    <a:pt x="292" y="90"/>
                    <a:pt x="292" y="90"/>
                    <a:pt x="292" y="90"/>
                  </a:cubicBezTo>
                  <a:cubicBezTo>
                    <a:pt x="292" y="90"/>
                    <a:pt x="293" y="88"/>
                    <a:pt x="293" y="88"/>
                  </a:cubicBezTo>
                  <a:cubicBezTo>
                    <a:pt x="294" y="87"/>
                    <a:pt x="293" y="86"/>
                    <a:pt x="292" y="86"/>
                  </a:cubicBezTo>
                  <a:cubicBezTo>
                    <a:pt x="291" y="86"/>
                    <a:pt x="292" y="85"/>
                    <a:pt x="292" y="85"/>
                  </a:cubicBezTo>
                  <a:cubicBezTo>
                    <a:pt x="293" y="83"/>
                    <a:pt x="293" y="83"/>
                    <a:pt x="293" y="83"/>
                  </a:cubicBezTo>
                  <a:cubicBezTo>
                    <a:pt x="292" y="80"/>
                    <a:pt x="292" y="80"/>
                    <a:pt x="292" y="80"/>
                  </a:cubicBezTo>
                  <a:cubicBezTo>
                    <a:pt x="292" y="79"/>
                    <a:pt x="292" y="79"/>
                    <a:pt x="292" y="79"/>
                  </a:cubicBezTo>
                  <a:cubicBezTo>
                    <a:pt x="292" y="79"/>
                    <a:pt x="291" y="77"/>
                    <a:pt x="291" y="77"/>
                  </a:cubicBezTo>
                  <a:cubicBezTo>
                    <a:pt x="291" y="76"/>
                    <a:pt x="290" y="74"/>
                    <a:pt x="290" y="74"/>
                  </a:cubicBezTo>
                  <a:cubicBezTo>
                    <a:pt x="290" y="74"/>
                    <a:pt x="290" y="73"/>
                    <a:pt x="290" y="73"/>
                  </a:cubicBezTo>
                  <a:cubicBezTo>
                    <a:pt x="290" y="72"/>
                    <a:pt x="290" y="72"/>
                    <a:pt x="290" y="72"/>
                  </a:cubicBezTo>
                  <a:cubicBezTo>
                    <a:pt x="290" y="71"/>
                    <a:pt x="289" y="70"/>
                    <a:pt x="288" y="69"/>
                  </a:cubicBezTo>
                  <a:cubicBezTo>
                    <a:pt x="287" y="67"/>
                    <a:pt x="287" y="67"/>
                    <a:pt x="287" y="67"/>
                  </a:cubicBezTo>
                  <a:cubicBezTo>
                    <a:pt x="287" y="67"/>
                    <a:pt x="285" y="65"/>
                    <a:pt x="284" y="64"/>
                  </a:cubicBezTo>
                  <a:cubicBezTo>
                    <a:pt x="284" y="62"/>
                    <a:pt x="284" y="62"/>
                    <a:pt x="283" y="61"/>
                  </a:cubicBezTo>
                  <a:cubicBezTo>
                    <a:pt x="283" y="59"/>
                    <a:pt x="281" y="57"/>
                    <a:pt x="280" y="57"/>
                  </a:cubicBezTo>
                  <a:cubicBezTo>
                    <a:pt x="280" y="57"/>
                    <a:pt x="279" y="54"/>
                    <a:pt x="279" y="53"/>
                  </a:cubicBezTo>
                  <a:cubicBezTo>
                    <a:pt x="278" y="53"/>
                    <a:pt x="276" y="52"/>
                    <a:pt x="276" y="52"/>
                  </a:cubicBezTo>
                  <a:cubicBezTo>
                    <a:pt x="275" y="52"/>
                    <a:pt x="273" y="51"/>
                    <a:pt x="273" y="51"/>
                  </a:cubicBezTo>
                  <a:cubicBezTo>
                    <a:pt x="270" y="50"/>
                    <a:pt x="270" y="50"/>
                    <a:pt x="270" y="50"/>
                  </a:cubicBezTo>
                  <a:cubicBezTo>
                    <a:pt x="267" y="47"/>
                    <a:pt x="267" y="47"/>
                    <a:pt x="267" y="47"/>
                  </a:cubicBezTo>
                  <a:cubicBezTo>
                    <a:pt x="267" y="47"/>
                    <a:pt x="266" y="47"/>
                    <a:pt x="265" y="46"/>
                  </a:cubicBezTo>
                  <a:cubicBezTo>
                    <a:pt x="265" y="46"/>
                    <a:pt x="264" y="44"/>
                    <a:pt x="264" y="44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57" y="40"/>
                    <a:pt x="257" y="40"/>
                    <a:pt x="257" y="40"/>
                  </a:cubicBezTo>
                  <a:cubicBezTo>
                    <a:pt x="257" y="40"/>
                    <a:pt x="256" y="38"/>
                    <a:pt x="256" y="38"/>
                  </a:cubicBezTo>
                  <a:cubicBezTo>
                    <a:pt x="256" y="37"/>
                    <a:pt x="255" y="37"/>
                    <a:pt x="255" y="36"/>
                  </a:cubicBezTo>
                  <a:cubicBezTo>
                    <a:pt x="255" y="35"/>
                    <a:pt x="254" y="35"/>
                    <a:pt x="254" y="34"/>
                  </a:cubicBezTo>
                  <a:cubicBezTo>
                    <a:pt x="254" y="33"/>
                    <a:pt x="253" y="33"/>
                    <a:pt x="253" y="33"/>
                  </a:cubicBezTo>
                  <a:cubicBezTo>
                    <a:pt x="252" y="33"/>
                    <a:pt x="251" y="33"/>
                    <a:pt x="251" y="33"/>
                  </a:cubicBezTo>
                  <a:cubicBezTo>
                    <a:pt x="251" y="33"/>
                    <a:pt x="250" y="32"/>
                    <a:pt x="250" y="32"/>
                  </a:cubicBezTo>
                  <a:cubicBezTo>
                    <a:pt x="250" y="32"/>
                    <a:pt x="248" y="30"/>
                    <a:pt x="247" y="30"/>
                  </a:cubicBezTo>
                  <a:cubicBezTo>
                    <a:pt x="247" y="29"/>
                    <a:pt x="247" y="29"/>
                    <a:pt x="247" y="29"/>
                  </a:cubicBezTo>
                  <a:cubicBezTo>
                    <a:pt x="247" y="29"/>
                    <a:pt x="247" y="29"/>
                    <a:pt x="246" y="29"/>
                  </a:cubicBezTo>
                  <a:cubicBezTo>
                    <a:pt x="245" y="29"/>
                    <a:pt x="245" y="29"/>
                    <a:pt x="245" y="28"/>
                  </a:cubicBezTo>
                  <a:cubicBezTo>
                    <a:pt x="244" y="28"/>
                    <a:pt x="244" y="26"/>
                    <a:pt x="243" y="26"/>
                  </a:cubicBezTo>
                  <a:cubicBezTo>
                    <a:pt x="243" y="26"/>
                    <a:pt x="243" y="26"/>
                    <a:pt x="242" y="26"/>
                  </a:cubicBezTo>
                  <a:cubicBezTo>
                    <a:pt x="241" y="26"/>
                    <a:pt x="240" y="24"/>
                    <a:pt x="240" y="24"/>
                  </a:cubicBezTo>
                  <a:cubicBezTo>
                    <a:pt x="239" y="24"/>
                    <a:pt x="240" y="23"/>
                    <a:pt x="240" y="22"/>
                  </a:cubicBezTo>
                  <a:cubicBezTo>
                    <a:pt x="240" y="21"/>
                    <a:pt x="239" y="21"/>
                    <a:pt x="239" y="21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39" y="21"/>
                    <a:pt x="238" y="21"/>
                    <a:pt x="238" y="20"/>
                  </a:cubicBezTo>
                  <a:cubicBezTo>
                    <a:pt x="238" y="20"/>
                    <a:pt x="237" y="19"/>
                    <a:pt x="237" y="1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237" y="17"/>
                    <a:pt x="236" y="16"/>
                    <a:pt x="236" y="16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3" y="13"/>
                    <a:pt x="233" y="12"/>
                  </a:cubicBezTo>
                  <a:cubicBezTo>
                    <a:pt x="233" y="12"/>
                    <a:pt x="233" y="12"/>
                    <a:pt x="233" y="12"/>
                  </a:cubicBezTo>
                  <a:cubicBezTo>
                    <a:pt x="232" y="11"/>
                    <a:pt x="232" y="11"/>
                    <a:pt x="232" y="11"/>
                  </a:cubicBezTo>
                  <a:cubicBezTo>
                    <a:pt x="231" y="10"/>
                    <a:pt x="231" y="10"/>
                    <a:pt x="231" y="10"/>
                  </a:cubicBezTo>
                  <a:cubicBezTo>
                    <a:pt x="230" y="9"/>
                    <a:pt x="230" y="9"/>
                    <a:pt x="230" y="9"/>
                  </a:cubicBezTo>
                  <a:cubicBezTo>
                    <a:pt x="230" y="9"/>
                    <a:pt x="229" y="8"/>
                    <a:pt x="229" y="8"/>
                  </a:cubicBezTo>
                  <a:cubicBezTo>
                    <a:pt x="228" y="7"/>
                    <a:pt x="227" y="6"/>
                    <a:pt x="227" y="6"/>
                  </a:cubicBezTo>
                  <a:cubicBezTo>
                    <a:pt x="227" y="6"/>
                    <a:pt x="227" y="5"/>
                    <a:pt x="227" y="5"/>
                  </a:cubicBezTo>
                  <a:cubicBezTo>
                    <a:pt x="227" y="5"/>
                    <a:pt x="226" y="5"/>
                    <a:pt x="226" y="5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4" y="3"/>
                    <a:pt x="223" y="3"/>
                  </a:cubicBezTo>
                  <a:cubicBezTo>
                    <a:pt x="222" y="3"/>
                    <a:pt x="222" y="2"/>
                    <a:pt x="222" y="2"/>
                  </a:cubicBezTo>
                  <a:cubicBezTo>
                    <a:pt x="222" y="1"/>
                    <a:pt x="222" y="1"/>
                    <a:pt x="222" y="1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9" y="2"/>
                    <a:pt x="219" y="2"/>
                  </a:cubicBezTo>
                  <a:cubicBezTo>
                    <a:pt x="219" y="2"/>
                    <a:pt x="217" y="1"/>
                    <a:pt x="217" y="1"/>
                  </a:cubicBezTo>
                  <a:cubicBezTo>
                    <a:pt x="217" y="0"/>
                    <a:pt x="216" y="0"/>
                    <a:pt x="216" y="0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13" y="1"/>
                    <a:pt x="213" y="1"/>
                    <a:pt x="213" y="1"/>
                  </a:cubicBezTo>
                  <a:cubicBezTo>
                    <a:pt x="212" y="1"/>
                    <a:pt x="212" y="1"/>
                    <a:pt x="212" y="1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8" y="1"/>
                    <a:pt x="207" y="1"/>
                    <a:pt x="207" y="1"/>
                  </a:cubicBezTo>
                  <a:cubicBezTo>
                    <a:pt x="204" y="2"/>
                    <a:pt x="199" y="5"/>
                    <a:pt x="199" y="7"/>
                  </a:cubicBezTo>
                  <a:cubicBezTo>
                    <a:pt x="198" y="9"/>
                    <a:pt x="199" y="14"/>
                    <a:pt x="197" y="15"/>
                  </a:cubicBezTo>
                  <a:cubicBezTo>
                    <a:pt x="194" y="15"/>
                    <a:pt x="191" y="20"/>
                    <a:pt x="190" y="20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74" y="28"/>
                    <a:pt x="170" y="28"/>
                  </a:cubicBezTo>
                  <a:cubicBezTo>
                    <a:pt x="166" y="29"/>
                    <a:pt x="163" y="32"/>
                    <a:pt x="163" y="32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02" y="39"/>
                    <a:pt x="10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8"/>
                    <a:pt x="93" y="36"/>
                    <a:pt x="93" y="36"/>
                  </a:cubicBezTo>
                  <a:cubicBezTo>
                    <a:pt x="93" y="36"/>
                    <a:pt x="89" y="37"/>
                    <a:pt x="88" y="38"/>
                  </a:cubicBezTo>
                  <a:cubicBezTo>
                    <a:pt x="87" y="39"/>
                    <a:pt x="83" y="44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5"/>
                    <a:pt x="80" y="55"/>
                    <a:pt x="79" y="55"/>
                  </a:cubicBezTo>
                  <a:cubicBezTo>
                    <a:pt x="79" y="56"/>
                    <a:pt x="78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69" y="61"/>
                    <a:pt x="69" y="61"/>
                    <a:pt x="69" y="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7" name="Freeform 90"/>
            <p:cNvSpPr>
              <a:spLocks/>
            </p:cNvSpPr>
            <p:nvPr/>
          </p:nvSpPr>
          <p:spPr bwMode="auto">
            <a:xfrm>
              <a:off x="5397778" y="3827847"/>
              <a:ext cx="1459843" cy="984093"/>
            </a:xfrm>
            <a:custGeom>
              <a:avLst/>
              <a:gdLst>
                <a:gd name="T0" fmla="*/ 166 w 614"/>
                <a:gd name="T1" fmla="*/ 283 h 427"/>
                <a:gd name="T2" fmla="*/ 173 w 614"/>
                <a:gd name="T3" fmla="*/ 277 h 427"/>
                <a:gd name="T4" fmla="*/ 185 w 614"/>
                <a:gd name="T5" fmla="*/ 270 h 427"/>
                <a:gd name="T6" fmla="*/ 195 w 614"/>
                <a:gd name="T7" fmla="*/ 267 h 427"/>
                <a:gd name="T8" fmla="*/ 207 w 614"/>
                <a:gd name="T9" fmla="*/ 270 h 427"/>
                <a:gd name="T10" fmla="*/ 208 w 614"/>
                <a:gd name="T11" fmla="*/ 270 h 427"/>
                <a:gd name="T12" fmla="*/ 208 w 614"/>
                <a:gd name="T13" fmla="*/ 270 h 427"/>
                <a:gd name="T14" fmla="*/ 209 w 614"/>
                <a:gd name="T15" fmla="*/ 270 h 427"/>
                <a:gd name="T16" fmla="*/ 210 w 614"/>
                <a:gd name="T17" fmla="*/ 270 h 427"/>
                <a:gd name="T18" fmla="*/ 210 w 614"/>
                <a:gd name="T19" fmla="*/ 270 h 427"/>
                <a:gd name="T20" fmla="*/ 211 w 614"/>
                <a:gd name="T21" fmla="*/ 270 h 427"/>
                <a:gd name="T22" fmla="*/ 213 w 614"/>
                <a:gd name="T23" fmla="*/ 273 h 427"/>
                <a:gd name="T24" fmla="*/ 223 w 614"/>
                <a:gd name="T25" fmla="*/ 273 h 427"/>
                <a:gd name="T26" fmla="*/ 227 w 614"/>
                <a:gd name="T27" fmla="*/ 278 h 427"/>
                <a:gd name="T28" fmla="*/ 249 w 614"/>
                <a:gd name="T29" fmla="*/ 280 h 427"/>
                <a:gd name="T30" fmla="*/ 259 w 614"/>
                <a:gd name="T31" fmla="*/ 288 h 427"/>
                <a:gd name="T32" fmla="*/ 268 w 614"/>
                <a:gd name="T33" fmla="*/ 305 h 427"/>
                <a:gd name="T34" fmla="*/ 280 w 614"/>
                <a:gd name="T35" fmla="*/ 312 h 427"/>
                <a:gd name="T36" fmla="*/ 287 w 614"/>
                <a:gd name="T37" fmla="*/ 326 h 427"/>
                <a:gd name="T38" fmla="*/ 302 w 614"/>
                <a:gd name="T39" fmla="*/ 337 h 427"/>
                <a:gd name="T40" fmla="*/ 305 w 614"/>
                <a:gd name="T41" fmla="*/ 349 h 427"/>
                <a:gd name="T42" fmla="*/ 292 w 614"/>
                <a:gd name="T43" fmla="*/ 353 h 427"/>
                <a:gd name="T44" fmla="*/ 281 w 614"/>
                <a:gd name="T45" fmla="*/ 356 h 427"/>
                <a:gd name="T46" fmla="*/ 271 w 614"/>
                <a:gd name="T47" fmla="*/ 366 h 427"/>
                <a:gd name="T48" fmla="*/ 270 w 614"/>
                <a:gd name="T49" fmla="*/ 387 h 427"/>
                <a:gd name="T50" fmla="*/ 268 w 614"/>
                <a:gd name="T51" fmla="*/ 405 h 427"/>
                <a:gd name="T52" fmla="*/ 255 w 614"/>
                <a:gd name="T53" fmla="*/ 414 h 427"/>
                <a:gd name="T54" fmla="*/ 314 w 614"/>
                <a:gd name="T55" fmla="*/ 376 h 427"/>
                <a:gd name="T56" fmla="*/ 377 w 614"/>
                <a:gd name="T57" fmla="*/ 333 h 427"/>
                <a:gd name="T58" fmla="*/ 407 w 614"/>
                <a:gd name="T59" fmla="*/ 375 h 427"/>
                <a:gd name="T60" fmla="*/ 478 w 614"/>
                <a:gd name="T61" fmla="*/ 393 h 427"/>
                <a:gd name="T62" fmla="*/ 548 w 614"/>
                <a:gd name="T63" fmla="*/ 335 h 427"/>
                <a:gd name="T64" fmla="*/ 481 w 614"/>
                <a:gd name="T65" fmla="*/ 326 h 427"/>
                <a:gd name="T66" fmla="*/ 450 w 614"/>
                <a:gd name="T67" fmla="*/ 310 h 427"/>
                <a:gd name="T68" fmla="*/ 518 w 614"/>
                <a:gd name="T69" fmla="*/ 261 h 427"/>
                <a:gd name="T70" fmla="*/ 572 w 614"/>
                <a:gd name="T71" fmla="*/ 207 h 427"/>
                <a:gd name="T72" fmla="*/ 606 w 614"/>
                <a:gd name="T73" fmla="*/ 147 h 427"/>
                <a:gd name="T74" fmla="*/ 586 w 614"/>
                <a:gd name="T75" fmla="*/ 102 h 427"/>
                <a:gd name="T76" fmla="*/ 567 w 614"/>
                <a:gd name="T77" fmla="*/ 72 h 427"/>
                <a:gd name="T78" fmla="*/ 512 w 614"/>
                <a:gd name="T79" fmla="*/ 67 h 427"/>
                <a:gd name="T80" fmla="*/ 472 w 614"/>
                <a:gd name="T81" fmla="*/ 70 h 427"/>
                <a:gd name="T82" fmla="*/ 436 w 614"/>
                <a:gd name="T83" fmla="*/ 77 h 427"/>
                <a:gd name="T84" fmla="*/ 386 w 614"/>
                <a:gd name="T85" fmla="*/ 51 h 427"/>
                <a:gd name="T86" fmla="*/ 361 w 614"/>
                <a:gd name="T87" fmla="*/ 26 h 427"/>
                <a:gd name="T88" fmla="*/ 307 w 614"/>
                <a:gd name="T89" fmla="*/ 17 h 427"/>
                <a:gd name="T90" fmla="*/ 258 w 614"/>
                <a:gd name="T91" fmla="*/ 44 h 427"/>
                <a:gd name="T92" fmla="*/ 243 w 614"/>
                <a:gd name="T93" fmla="*/ 94 h 427"/>
                <a:gd name="T94" fmla="*/ 202 w 614"/>
                <a:gd name="T95" fmla="*/ 96 h 427"/>
                <a:gd name="T96" fmla="*/ 166 w 614"/>
                <a:gd name="T97" fmla="*/ 97 h 427"/>
                <a:gd name="T98" fmla="*/ 118 w 614"/>
                <a:gd name="T99" fmla="*/ 102 h 427"/>
                <a:gd name="T100" fmla="*/ 44 w 614"/>
                <a:gd name="T101" fmla="*/ 111 h 427"/>
                <a:gd name="T102" fmla="*/ 30 w 614"/>
                <a:gd name="T103" fmla="*/ 130 h 427"/>
                <a:gd name="T104" fmla="*/ 27 w 614"/>
                <a:gd name="T105" fmla="*/ 152 h 427"/>
                <a:gd name="T106" fmla="*/ 46 w 614"/>
                <a:gd name="T107" fmla="*/ 182 h 427"/>
                <a:gd name="T108" fmla="*/ 33 w 614"/>
                <a:gd name="T109" fmla="*/ 207 h 427"/>
                <a:gd name="T110" fmla="*/ 14 w 614"/>
                <a:gd name="T111" fmla="*/ 261 h 427"/>
                <a:gd name="T112" fmla="*/ 15 w 614"/>
                <a:gd name="T113" fmla="*/ 273 h 427"/>
                <a:gd name="T114" fmla="*/ 6 w 614"/>
                <a:gd name="T115" fmla="*/ 282 h 427"/>
                <a:gd name="T116" fmla="*/ 1 w 614"/>
                <a:gd name="T117" fmla="*/ 297 h 427"/>
                <a:gd name="T118" fmla="*/ 0 w 614"/>
                <a:gd name="T119" fmla="*/ 311 h 427"/>
                <a:gd name="T120" fmla="*/ 22 w 614"/>
                <a:gd name="T121" fmla="*/ 321 h 427"/>
                <a:gd name="T122" fmla="*/ 61 w 614"/>
                <a:gd name="T123" fmla="*/ 323 h 427"/>
                <a:gd name="T124" fmla="*/ 114 w 614"/>
                <a:gd name="T125" fmla="*/ 31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4" h="427">
                  <a:moveTo>
                    <a:pt x="141" y="305"/>
                  </a:moveTo>
                  <a:cubicBezTo>
                    <a:pt x="142" y="305"/>
                    <a:pt x="145" y="300"/>
                    <a:pt x="148" y="300"/>
                  </a:cubicBezTo>
                  <a:cubicBezTo>
                    <a:pt x="150" y="299"/>
                    <a:pt x="149" y="294"/>
                    <a:pt x="150" y="292"/>
                  </a:cubicBezTo>
                  <a:cubicBezTo>
                    <a:pt x="151" y="290"/>
                    <a:pt x="156" y="286"/>
                    <a:pt x="159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160" y="283"/>
                    <a:pt x="163" y="282"/>
                    <a:pt x="163" y="281"/>
                  </a:cubicBezTo>
                  <a:cubicBezTo>
                    <a:pt x="164" y="281"/>
                    <a:pt x="164" y="282"/>
                    <a:pt x="164" y="282"/>
                  </a:cubicBezTo>
                  <a:cubicBezTo>
                    <a:pt x="164" y="282"/>
                    <a:pt x="165" y="283"/>
                    <a:pt x="166" y="283"/>
                  </a:cubicBezTo>
                  <a:cubicBezTo>
                    <a:pt x="166" y="283"/>
                    <a:pt x="167" y="282"/>
                    <a:pt x="167" y="282"/>
                  </a:cubicBezTo>
                  <a:cubicBezTo>
                    <a:pt x="167" y="281"/>
                    <a:pt x="167" y="280"/>
                    <a:pt x="167" y="280"/>
                  </a:cubicBezTo>
                  <a:cubicBezTo>
                    <a:pt x="166" y="279"/>
                    <a:pt x="166" y="278"/>
                    <a:pt x="166" y="278"/>
                  </a:cubicBezTo>
                  <a:cubicBezTo>
                    <a:pt x="166" y="278"/>
                    <a:pt x="166" y="278"/>
                    <a:pt x="166" y="278"/>
                  </a:cubicBezTo>
                  <a:cubicBezTo>
                    <a:pt x="166" y="278"/>
                    <a:pt x="167" y="278"/>
                    <a:pt x="167" y="278"/>
                  </a:cubicBezTo>
                  <a:cubicBezTo>
                    <a:pt x="167" y="278"/>
                    <a:pt x="168" y="277"/>
                    <a:pt x="168" y="277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0" y="278"/>
                    <a:pt x="171" y="278"/>
                    <a:pt x="171" y="278"/>
                  </a:cubicBezTo>
                  <a:cubicBezTo>
                    <a:pt x="172" y="279"/>
                    <a:pt x="173" y="277"/>
                    <a:pt x="173" y="277"/>
                  </a:cubicBezTo>
                  <a:cubicBezTo>
                    <a:pt x="174" y="276"/>
                    <a:pt x="174" y="276"/>
                    <a:pt x="174" y="276"/>
                  </a:cubicBezTo>
                  <a:cubicBezTo>
                    <a:pt x="174" y="276"/>
                    <a:pt x="174" y="276"/>
                    <a:pt x="174" y="275"/>
                  </a:cubicBezTo>
                  <a:cubicBezTo>
                    <a:pt x="174" y="275"/>
                    <a:pt x="175" y="275"/>
                    <a:pt x="176" y="275"/>
                  </a:cubicBezTo>
                  <a:cubicBezTo>
                    <a:pt x="176" y="275"/>
                    <a:pt x="178" y="275"/>
                    <a:pt x="179" y="275"/>
                  </a:cubicBezTo>
                  <a:cubicBezTo>
                    <a:pt x="180" y="275"/>
                    <a:pt x="180" y="275"/>
                    <a:pt x="180" y="275"/>
                  </a:cubicBezTo>
                  <a:cubicBezTo>
                    <a:pt x="182" y="274"/>
                    <a:pt x="182" y="274"/>
                    <a:pt x="182" y="274"/>
                  </a:cubicBezTo>
                  <a:cubicBezTo>
                    <a:pt x="182" y="274"/>
                    <a:pt x="183" y="273"/>
                    <a:pt x="183" y="273"/>
                  </a:cubicBezTo>
                  <a:cubicBezTo>
                    <a:pt x="183" y="272"/>
                    <a:pt x="183" y="271"/>
                    <a:pt x="183" y="271"/>
                  </a:cubicBezTo>
                  <a:cubicBezTo>
                    <a:pt x="183" y="270"/>
                    <a:pt x="185" y="270"/>
                    <a:pt x="185" y="270"/>
                  </a:cubicBezTo>
                  <a:cubicBezTo>
                    <a:pt x="185" y="270"/>
                    <a:pt x="185" y="270"/>
                    <a:pt x="185" y="270"/>
                  </a:cubicBezTo>
                  <a:cubicBezTo>
                    <a:pt x="186" y="270"/>
                    <a:pt x="186" y="271"/>
                    <a:pt x="186" y="271"/>
                  </a:cubicBezTo>
                  <a:cubicBezTo>
                    <a:pt x="186" y="271"/>
                    <a:pt x="187" y="270"/>
                    <a:pt x="187" y="270"/>
                  </a:cubicBezTo>
                  <a:cubicBezTo>
                    <a:pt x="187" y="269"/>
                    <a:pt x="188" y="269"/>
                    <a:pt x="188" y="269"/>
                  </a:cubicBezTo>
                  <a:cubicBezTo>
                    <a:pt x="188" y="269"/>
                    <a:pt x="190" y="268"/>
                    <a:pt x="190" y="267"/>
                  </a:cubicBezTo>
                  <a:cubicBezTo>
                    <a:pt x="191" y="266"/>
                    <a:pt x="191" y="267"/>
                    <a:pt x="191" y="265"/>
                  </a:cubicBezTo>
                  <a:cubicBezTo>
                    <a:pt x="191" y="264"/>
                    <a:pt x="192" y="265"/>
                    <a:pt x="192" y="266"/>
                  </a:cubicBezTo>
                  <a:cubicBezTo>
                    <a:pt x="192" y="266"/>
                    <a:pt x="192" y="266"/>
                    <a:pt x="193" y="267"/>
                  </a:cubicBezTo>
                  <a:cubicBezTo>
                    <a:pt x="193" y="267"/>
                    <a:pt x="193" y="267"/>
                    <a:pt x="195" y="267"/>
                  </a:cubicBezTo>
                  <a:cubicBezTo>
                    <a:pt x="196" y="268"/>
                    <a:pt x="196" y="266"/>
                    <a:pt x="198" y="266"/>
                  </a:cubicBezTo>
                  <a:cubicBezTo>
                    <a:pt x="200" y="266"/>
                    <a:pt x="199" y="266"/>
                    <a:pt x="200" y="267"/>
                  </a:cubicBezTo>
                  <a:cubicBezTo>
                    <a:pt x="201" y="267"/>
                    <a:pt x="201" y="267"/>
                    <a:pt x="202" y="267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03" y="268"/>
                    <a:pt x="204" y="268"/>
                    <a:pt x="205" y="269"/>
                  </a:cubicBezTo>
                  <a:cubicBezTo>
                    <a:pt x="205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7" y="270"/>
                    <a:pt x="207" y="270"/>
                    <a:pt x="207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8" y="270"/>
                    <a:pt x="208" y="270"/>
                    <a:pt x="208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09" y="270"/>
                    <a:pt x="209" y="270"/>
                    <a:pt x="209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0" y="270"/>
                    <a:pt x="210" y="270"/>
                    <a:pt x="210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1" y="270"/>
                    <a:pt x="211" y="270"/>
                    <a:pt x="211" y="270"/>
                  </a:cubicBezTo>
                  <a:cubicBezTo>
                    <a:pt x="212" y="271"/>
                    <a:pt x="212" y="271"/>
                    <a:pt x="212" y="271"/>
                  </a:cubicBezTo>
                  <a:cubicBezTo>
                    <a:pt x="212" y="271"/>
                    <a:pt x="212" y="273"/>
                    <a:pt x="213" y="273"/>
                  </a:cubicBezTo>
                  <a:cubicBezTo>
                    <a:pt x="213" y="274"/>
                    <a:pt x="213" y="274"/>
                    <a:pt x="214" y="274"/>
                  </a:cubicBezTo>
                  <a:cubicBezTo>
                    <a:pt x="214" y="274"/>
                    <a:pt x="215" y="272"/>
                    <a:pt x="215" y="271"/>
                  </a:cubicBezTo>
                  <a:cubicBezTo>
                    <a:pt x="215" y="271"/>
                    <a:pt x="216" y="272"/>
                    <a:pt x="216" y="272"/>
                  </a:cubicBezTo>
                  <a:cubicBezTo>
                    <a:pt x="216" y="272"/>
                    <a:pt x="216" y="274"/>
                    <a:pt x="217" y="274"/>
                  </a:cubicBezTo>
                  <a:cubicBezTo>
                    <a:pt x="217" y="273"/>
                    <a:pt x="218" y="273"/>
                    <a:pt x="218" y="273"/>
                  </a:cubicBezTo>
                  <a:cubicBezTo>
                    <a:pt x="219" y="273"/>
                    <a:pt x="218" y="272"/>
                    <a:pt x="218" y="272"/>
                  </a:cubicBezTo>
                  <a:cubicBezTo>
                    <a:pt x="218" y="272"/>
                    <a:pt x="219" y="271"/>
                    <a:pt x="219" y="271"/>
                  </a:cubicBezTo>
                  <a:cubicBezTo>
                    <a:pt x="220" y="271"/>
                    <a:pt x="222" y="271"/>
                    <a:pt x="222" y="271"/>
                  </a:cubicBezTo>
                  <a:cubicBezTo>
                    <a:pt x="223" y="271"/>
                    <a:pt x="223" y="273"/>
                    <a:pt x="223" y="273"/>
                  </a:cubicBezTo>
                  <a:cubicBezTo>
                    <a:pt x="223" y="273"/>
                    <a:pt x="222" y="275"/>
                    <a:pt x="222" y="275"/>
                  </a:cubicBezTo>
                  <a:cubicBezTo>
                    <a:pt x="222" y="275"/>
                    <a:pt x="221" y="276"/>
                    <a:pt x="221" y="277"/>
                  </a:cubicBezTo>
                  <a:cubicBezTo>
                    <a:pt x="221" y="277"/>
                    <a:pt x="221" y="277"/>
                    <a:pt x="222" y="276"/>
                  </a:cubicBezTo>
                  <a:cubicBezTo>
                    <a:pt x="224" y="276"/>
                    <a:pt x="223" y="275"/>
                    <a:pt x="223" y="275"/>
                  </a:cubicBezTo>
                  <a:cubicBezTo>
                    <a:pt x="224" y="273"/>
                    <a:pt x="224" y="273"/>
                    <a:pt x="224" y="273"/>
                  </a:cubicBezTo>
                  <a:cubicBezTo>
                    <a:pt x="224" y="273"/>
                    <a:pt x="226" y="274"/>
                    <a:pt x="226" y="275"/>
                  </a:cubicBezTo>
                  <a:cubicBezTo>
                    <a:pt x="226" y="275"/>
                    <a:pt x="226" y="276"/>
                    <a:pt x="226" y="276"/>
                  </a:cubicBezTo>
                  <a:cubicBezTo>
                    <a:pt x="226" y="277"/>
                    <a:pt x="227" y="277"/>
                    <a:pt x="227" y="278"/>
                  </a:cubicBezTo>
                  <a:cubicBezTo>
                    <a:pt x="228" y="279"/>
                    <a:pt x="227" y="278"/>
                    <a:pt x="227" y="278"/>
                  </a:cubicBezTo>
                  <a:cubicBezTo>
                    <a:pt x="227" y="277"/>
                    <a:pt x="228" y="275"/>
                    <a:pt x="228" y="275"/>
                  </a:cubicBezTo>
                  <a:cubicBezTo>
                    <a:pt x="229" y="273"/>
                    <a:pt x="229" y="273"/>
                    <a:pt x="229" y="273"/>
                  </a:cubicBezTo>
                  <a:cubicBezTo>
                    <a:pt x="229" y="273"/>
                    <a:pt x="233" y="273"/>
                    <a:pt x="237" y="273"/>
                  </a:cubicBezTo>
                  <a:cubicBezTo>
                    <a:pt x="241" y="273"/>
                    <a:pt x="238" y="272"/>
                    <a:pt x="238" y="272"/>
                  </a:cubicBezTo>
                  <a:cubicBezTo>
                    <a:pt x="240" y="272"/>
                    <a:pt x="240" y="272"/>
                    <a:pt x="240" y="272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1" y="276"/>
                    <a:pt x="243" y="278"/>
                    <a:pt x="244" y="278"/>
                  </a:cubicBezTo>
                  <a:cubicBezTo>
                    <a:pt x="245" y="279"/>
                    <a:pt x="245" y="279"/>
                    <a:pt x="247" y="280"/>
                  </a:cubicBezTo>
                  <a:cubicBezTo>
                    <a:pt x="250" y="280"/>
                    <a:pt x="249" y="280"/>
                    <a:pt x="249" y="280"/>
                  </a:cubicBezTo>
                  <a:cubicBezTo>
                    <a:pt x="250" y="280"/>
                    <a:pt x="250" y="278"/>
                    <a:pt x="251" y="277"/>
                  </a:cubicBezTo>
                  <a:cubicBezTo>
                    <a:pt x="251" y="276"/>
                    <a:pt x="252" y="276"/>
                    <a:pt x="252" y="276"/>
                  </a:cubicBezTo>
                  <a:cubicBezTo>
                    <a:pt x="252" y="276"/>
                    <a:pt x="254" y="278"/>
                    <a:pt x="254" y="278"/>
                  </a:cubicBezTo>
                  <a:cubicBezTo>
                    <a:pt x="255" y="279"/>
                    <a:pt x="255" y="280"/>
                    <a:pt x="255" y="280"/>
                  </a:cubicBezTo>
                  <a:cubicBezTo>
                    <a:pt x="258" y="281"/>
                    <a:pt x="258" y="281"/>
                    <a:pt x="258" y="281"/>
                  </a:cubicBezTo>
                  <a:cubicBezTo>
                    <a:pt x="258" y="282"/>
                    <a:pt x="258" y="282"/>
                    <a:pt x="258" y="282"/>
                  </a:cubicBezTo>
                  <a:cubicBezTo>
                    <a:pt x="258" y="285"/>
                    <a:pt x="258" y="285"/>
                    <a:pt x="258" y="285"/>
                  </a:cubicBezTo>
                  <a:cubicBezTo>
                    <a:pt x="260" y="286"/>
                    <a:pt x="260" y="286"/>
                    <a:pt x="260" y="286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60" y="290"/>
                    <a:pt x="260" y="291"/>
                  </a:cubicBezTo>
                  <a:cubicBezTo>
                    <a:pt x="260" y="291"/>
                    <a:pt x="261" y="293"/>
                    <a:pt x="261" y="293"/>
                  </a:cubicBezTo>
                  <a:cubicBezTo>
                    <a:pt x="261" y="296"/>
                    <a:pt x="261" y="296"/>
                    <a:pt x="261" y="296"/>
                  </a:cubicBezTo>
                  <a:cubicBezTo>
                    <a:pt x="260" y="298"/>
                    <a:pt x="260" y="298"/>
                    <a:pt x="260" y="298"/>
                  </a:cubicBezTo>
                  <a:cubicBezTo>
                    <a:pt x="261" y="299"/>
                    <a:pt x="261" y="299"/>
                    <a:pt x="261" y="299"/>
                  </a:cubicBezTo>
                  <a:cubicBezTo>
                    <a:pt x="261" y="299"/>
                    <a:pt x="261" y="302"/>
                    <a:pt x="262" y="303"/>
                  </a:cubicBezTo>
                  <a:cubicBezTo>
                    <a:pt x="263" y="305"/>
                    <a:pt x="264" y="302"/>
                    <a:pt x="264" y="302"/>
                  </a:cubicBezTo>
                  <a:cubicBezTo>
                    <a:pt x="266" y="302"/>
                    <a:pt x="266" y="302"/>
                    <a:pt x="266" y="30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9" y="305"/>
                    <a:pt x="269" y="305"/>
                    <a:pt x="269" y="305"/>
                  </a:cubicBezTo>
                  <a:cubicBezTo>
                    <a:pt x="271" y="306"/>
                    <a:pt x="271" y="306"/>
                    <a:pt x="271" y="306"/>
                  </a:cubicBezTo>
                  <a:cubicBezTo>
                    <a:pt x="272" y="309"/>
                    <a:pt x="272" y="309"/>
                    <a:pt x="272" y="309"/>
                  </a:cubicBezTo>
                  <a:cubicBezTo>
                    <a:pt x="274" y="308"/>
                    <a:pt x="274" y="308"/>
                    <a:pt x="274" y="308"/>
                  </a:cubicBezTo>
                  <a:cubicBezTo>
                    <a:pt x="275" y="305"/>
                    <a:pt x="275" y="305"/>
                    <a:pt x="275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79" y="306"/>
                    <a:pt x="279" y="306"/>
                    <a:pt x="279" y="306"/>
                  </a:cubicBezTo>
                  <a:cubicBezTo>
                    <a:pt x="279" y="310"/>
                    <a:pt x="279" y="310"/>
                    <a:pt x="279" y="310"/>
                  </a:cubicBezTo>
                  <a:cubicBezTo>
                    <a:pt x="279" y="310"/>
                    <a:pt x="280" y="311"/>
                    <a:pt x="280" y="312"/>
                  </a:cubicBezTo>
                  <a:cubicBezTo>
                    <a:pt x="280" y="312"/>
                    <a:pt x="280" y="314"/>
                    <a:pt x="280" y="314"/>
                  </a:cubicBezTo>
                  <a:cubicBezTo>
                    <a:pt x="281" y="316"/>
                    <a:pt x="281" y="316"/>
                    <a:pt x="281" y="316"/>
                  </a:cubicBezTo>
                  <a:cubicBezTo>
                    <a:pt x="278" y="317"/>
                    <a:pt x="278" y="317"/>
                    <a:pt x="278" y="317"/>
                  </a:cubicBezTo>
                  <a:cubicBezTo>
                    <a:pt x="280" y="318"/>
                    <a:pt x="280" y="318"/>
                    <a:pt x="280" y="318"/>
                  </a:cubicBezTo>
                  <a:cubicBezTo>
                    <a:pt x="280" y="318"/>
                    <a:pt x="282" y="318"/>
                    <a:pt x="283" y="318"/>
                  </a:cubicBezTo>
                  <a:cubicBezTo>
                    <a:pt x="284" y="318"/>
                    <a:pt x="284" y="321"/>
                    <a:pt x="284" y="321"/>
                  </a:cubicBezTo>
                  <a:cubicBezTo>
                    <a:pt x="284" y="321"/>
                    <a:pt x="284" y="322"/>
                    <a:pt x="283" y="323"/>
                  </a:cubicBezTo>
                  <a:cubicBezTo>
                    <a:pt x="283" y="323"/>
                    <a:pt x="283" y="324"/>
                    <a:pt x="283" y="325"/>
                  </a:cubicBezTo>
                  <a:cubicBezTo>
                    <a:pt x="284" y="325"/>
                    <a:pt x="286" y="326"/>
                    <a:pt x="287" y="326"/>
                  </a:cubicBezTo>
                  <a:cubicBezTo>
                    <a:pt x="289" y="326"/>
                    <a:pt x="289" y="326"/>
                    <a:pt x="289" y="326"/>
                  </a:cubicBezTo>
                  <a:cubicBezTo>
                    <a:pt x="291" y="326"/>
                    <a:pt x="291" y="326"/>
                    <a:pt x="291" y="326"/>
                  </a:cubicBezTo>
                  <a:cubicBezTo>
                    <a:pt x="291" y="326"/>
                    <a:pt x="292" y="327"/>
                    <a:pt x="293" y="327"/>
                  </a:cubicBezTo>
                  <a:cubicBezTo>
                    <a:pt x="293" y="326"/>
                    <a:pt x="295" y="326"/>
                    <a:pt x="295" y="326"/>
                  </a:cubicBezTo>
                  <a:cubicBezTo>
                    <a:pt x="297" y="328"/>
                    <a:pt x="297" y="328"/>
                    <a:pt x="297" y="328"/>
                  </a:cubicBezTo>
                  <a:cubicBezTo>
                    <a:pt x="299" y="327"/>
                    <a:pt x="299" y="327"/>
                    <a:pt x="299" y="327"/>
                  </a:cubicBezTo>
                  <a:cubicBezTo>
                    <a:pt x="299" y="329"/>
                    <a:pt x="299" y="329"/>
                    <a:pt x="299" y="329"/>
                  </a:cubicBezTo>
                  <a:cubicBezTo>
                    <a:pt x="299" y="329"/>
                    <a:pt x="301" y="333"/>
                    <a:pt x="301" y="333"/>
                  </a:cubicBezTo>
                  <a:cubicBezTo>
                    <a:pt x="302" y="334"/>
                    <a:pt x="302" y="336"/>
                    <a:pt x="302" y="337"/>
                  </a:cubicBezTo>
                  <a:cubicBezTo>
                    <a:pt x="302" y="338"/>
                    <a:pt x="303" y="340"/>
                    <a:pt x="303" y="340"/>
                  </a:cubicBezTo>
                  <a:cubicBezTo>
                    <a:pt x="303" y="340"/>
                    <a:pt x="302" y="340"/>
                    <a:pt x="301" y="341"/>
                  </a:cubicBezTo>
                  <a:cubicBezTo>
                    <a:pt x="300" y="342"/>
                    <a:pt x="302" y="343"/>
                    <a:pt x="302" y="343"/>
                  </a:cubicBezTo>
                  <a:cubicBezTo>
                    <a:pt x="304" y="343"/>
                    <a:pt x="304" y="343"/>
                    <a:pt x="304" y="343"/>
                  </a:cubicBezTo>
                  <a:cubicBezTo>
                    <a:pt x="304" y="343"/>
                    <a:pt x="306" y="345"/>
                    <a:pt x="306" y="346"/>
                  </a:cubicBezTo>
                  <a:cubicBezTo>
                    <a:pt x="307" y="347"/>
                    <a:pt x="309" y="346"/>
                    <a:pt x="310" y="346"/>
                  </a:cubicBezTo>
                  <a:cubicBezTo>
                    <a:pt x="311" y="345"/>
                    <a:pt x="313" y="346"/>
                    <a:pt x="313" y="347"/>
                  </a:cubicBezTo>
                  <a:cubicBezTo>
                    <a:pt x="313" y="347"/>
                    <a:pt x="310" y="348"/>
                    <a:pt x="309" y="348"/>
                  </a:cubicBezTo>
                  <a:cubicBezTo>
                    <a:pt x="308" y="349"/>
                    <a:pt x="305" y="349"/>
                    <a:pt x="305" y="349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2" y="353"/>
                    <a:pt x="302" y="353"/>
                    <a:pt x="302" y="353"/>
                  </a:cubicBezTo>
                  <a:cubicBezTo>
                    <a:pt x="301" y="350"/>
                    <a:pt x="301" y="350"/>
                    <a:pt x="301" y="350"/>
                  </a:cubicBezTo>
                  <a:cubicBezTo>
                    <a:pt x="297" y="347"/>
                    <a:pt x="297" y="347"/>
                    <a:pt x="297" y="347"/>
                  </a:cubicBezTo>
                  <a:cubicBezTo>
                    <a:pt x="297" y="350"/>
                    <a:pt x="297" y="350"/>
                    <a:pt x="297" y="350"/>
                  </a:cubicBezTo>
                  <a:cubicBezTo>
                    <a:pt x="295" y="351"/>
                    <a:pt x="295" y="351"/>
                    <a:pt x="295" y="351"/>
                  </a:cubicBezTo>
                  <a:cubicBezTo>
                    <a:pt x="295" y="351"/>
                    <a:pt x="295" y="352"/>
                    <a:pt x="295" y="353"/>
                  </a:cubicBezTo>
                  <a:cubicBezTo>
                    <a:pt x="295" y="354"/>
                    <a:pt x="294" y="354"/>
                    <a:pt x="294" y="354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2" y="353"/>
                    <a:pt x="290" y="353"/>
                    <a:pt x="289" y="353"/>
                  </a:cubicBezTo>
                  <a:cubicBezTo>
                    <a:pt x="288" y="353"/>
                    <a:pt x="288" y="351"/>
                    <a:pt x="288" y="351"/>
                  </a:cubicBezTo>
                  <a:cubicBezTo>
                    <a:pt x="287" y="352"/>
                    <a:pt x="287" y="352"/>
                    <a:pt x="287" y="352"/>
                  </a:cubicBezTo>
                  <a:cubicBezTo>
                    <a:pt x="287" y="352"/>
                    <a:pt x="287" y="353"/>
                    <a:pt x="286" y="354"/>
                  </a:cubicBezTo>
                  <a:cubicBezTo>
                    <a:pt x="286" y="355"/>
                    <a:pt x="286" y="354"/>
                    <a:pt x="284" y="354"/>
                  </a:cubicBezTo>
                  <a:cubicBezTo>
                    <a:pt x="283" y="355"/>
                    <a:pt x="283" y="353"/>
                    <a:pt x="282" y="352"/>
                  </a:cubicBezTo>
                  <a:cubicBezTo>
                    <a:pt x="282" y="350"/>
                    <a:pt x="282" y="352"/>
                    <a:pt x="281" y="352"/>
                  </a:cubicBezTo>
                  <a:cubicBezTo>
                    <a:pt x="280" y="352"/>
                    <a:pt x="282" y="355"/>
                    <a:pt x="282" y="355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1" y="356"/>
                    <a:pt x="281" y="358"/>
                    <a:pt x="279" y="359"/>
                  </a:cubicBezTo>
                  <a:cubicBezTo>
                    <a:pt x="278" y="359"/>
                    <a:pt x="279" y="357"/>
                    <a:pt x="279" y="357"/>
                  </a:cubicBezTo>
                  <a:cubicBezTo>
                    <a:pt x="279" y="353"/>
                    <a:pt x="279" y="353"/>
                    <a:pt x="279" y="353"/>
                  </a:cubicBezTo>
                  <a:cubicBezTo>
                    <a:pt x="277" y="348"/>
                    <a:pt x="277" y="348"/>
                    <a:pt x="277" y="348"/>
                  </a:cubicBezTo>
                  <a:cubicBezTo>
                    <a:pt x="277" y="348"/>
                    <a:pt x="273" y="352"/>
                    <a:pt x="272" y="352"/>
                  </a:cubicBezTo>
                  <a:cubicBezTo>
                    <a:pt x="272" y="353"/>
                    <a:pt x="270" y="357"/>
                    <a:pt x="269" y="357"/>
                  </a:cubicBezTo>
                  <a:cubicBezTo>
                    <a:pt x="269" y="358"/>
                    <a:pt x="269" y="360"/>
                    <a:pt x="269" y="360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1" y="366"/>
                    <a:pt x="271" y="366"/>
                    <a:pt x="271" y="366"/>
                  </a:cubicBezTo>
                  <a:cubicBezTo>
                    <a:pt x="273" y="368"/>
                    <a:pt x="273" y="368"/>
                    <a:pt x="273" y="368"/>
                  </a:cubicBezTo>
                  <a:cubicBezTo>
                    <a:pt x="273" y="368"/>
                    <a:pt x="275" y="368"/>
                    <a:pt x="276" y="369"/>
                  </a:cubicBezTo>
                  <a:cubicBezTo>
                    <a:pt x="277" y="369"/>
                    <a:pt x="276" y="371"/>
                    <a:pt x="276" y="371"/>
                  </a:cubicBezTo>
                  <a:cubicBezTo>
                    <a:pt x="275" y="375"/>
                    <a:pt x="275" y="375"/>
                    <a:pt x="275" y="375"/>
                  </a:cubicBezTo>
                  <a:cubicBezTo>
                    <a:pt x="275" y="375"/>
                    <a:pt x="276" y="376"/>
                    <a:pt x="277" y="377"/>
                  </a:cubicBezTo>
                  <a:cubicBezTo>
                    <a:pt x="277" y="378"/>
                    <a:pt x="275" y="380"/>
                    <a:pt x="275" y="380"/>
                  </a:cubicBezTo>
                  <a:cubicBezTo>
                    <a:pt x="274" y="380"/>
                    <a:pt x="271" y="383"/>
                    <a:pt x="271" y="383"/>
                  </a:cubicBezTo>
                  <a:cubicBezTo>
                    <a:pt x="271" y="383"/>
                    <a:pt x="270" y="384"/>
                    <a:pt x="269" y="384"/>
                  </a:cubicBezTo>
                  <a:cubicBezTo>
                    <a:pt x="268" y="384"/>
                    <a:pt x="270" y="387"/>
                    <a:pt x="270" y="387"/>
                  </a:cubicBezTo>
                  <a:cubicBezTo>
                    <a:pt x="271" y="390"/>
                    <a:pt x="271" y="390"/>
                    <a:pt x="271" y="390"/>
                  </a:cubicBezTo>
                  <a:cubicBezTo>
                    <a:pt x="271" y="390"/>
                    <a:pt x="270" y="391"/>
                    <a:pt x="270" y="391"/>
                  </a:cubicBezTo>
                  <a:cubicBezTo>
                    <a:pt x="269" y="392"/>
                    <a:pt x="269" y="394"/>
                    <a:pt x="269" y="394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6" y="396"/>
                    <a:pt x="266" y="396"/>
                    <a:pt x="266" y="396"/>
                  </a:cubicBezTo>
                  <a:cubicBezTo>
                    <a:pt x="266" y="396"/>
                    <a:pt x="266" y="399"/>
                    <a:pt x="265" y="399"/>
                  </a:cubicBezTo>
                  <a:cubicBezTo>
                    <a:pt x="264" y="399"/>
                    <a:pt x="265" y="401"/>
                    <a:pt x="265" y="401"/>
                  </a:cubicBezTo>
                  <a:cubicBezTo>
                    <a:pt x="264" y="403"/>
                    <a:pt x="264" y="403"/>
                    <a:pt x="264" y="403"/>
                  </a:cubicBezTo>
                  <a:cubicBezTo>
                    <a:pt x="268" y="405"/>
                    <a:pt x="268" y="405"/>
                    <a:pt x="268" y="405"/>
                  </a:cubicBezTo>
                  <a:cubicBezTo>
                    <a:pt x="267" y="407"/>
                    <a:pt x="267" y="407"/>
                    <a:pt x="267" y="407"/>
                  </a:cubicBezTo>
                  <a:cubicBezTo>
                    <a:pt x="267" y="409"/>
                    <a:pt x="267" y="409"/>
                    <a:pt x="267" y="409"/>
                  </a:cubicBezTo>
                  <a:cubicBezTo>
                    <a:pt x="268" y="409"/>
                    <a:pt x="268" y="409"/>
                    <a:pt x="268" y="409"/>
                  </a:cubicBezTo>
                  <a:cubicBezTo>
                    <a:pt x="268" y="409"/>
                    <a:pt x="266" y="410"/>
                    <a:pt x="265" y="410"/>
                  </a:cubicBezTo>
                  <a:cubicBezTo>
                    <a:pt x="264" y="411"/>
                    <a:pt x="263" y="410"/>
                    <a:pt x="262" y="411"/>
                  </a:cubicBezTo>
                  <a:cubicBezTo>
                    <a:pt x="261" y="411"/>
                    <a:pt x="258" y="412"/>
                    <a:pt x="258" y="412"/>
                  </a:cubicBezTo>
                  <a:cubicBezTo>
                    <a:pt x="257" y="416"/>
                    <a:pt x="257" y="416"/>
                    <a:pt x="257" y="416"/>
                  </a:cubicBezTo>
                  <a:cubicBezTo>
                    <a:pt x="255" y="416"/>
                    <a:pt x="255" y="416"/>
                    <a:pt x="255" y="416"/>
                  </a:cubicBezTo>
                  <a:cubicBezTo>
                    <a:pt x="255" y="414"/>
                    <a:pt x="255" y="414"/>
                    <a:pt x="255" y="414"/>
                  </a:cubicBezTo>
                  <a:cubicBezTo>
                    <a:pt x="254" y="413"/>
                    <a:pt x="254" y="413"/>
                    <a:pt x="254" y="413"/>
                  </a:cubicBezTo>
                  <a:cubicBezTo>
                    <a:pt x="254" y="415"/>
                    <a:pt x="254" y="416"/>
                    <a:pt x="254" y="416"/>
                  </a:cubicBezTo>
                  <a:cubicBezTo>
                    <a:pt x="264" y="423"/>
                    <a:pt x="264" y="423"/>
                    <a:pt x="264" y="423"/>
                  </a:cubicBezTo>
                  <a:cubicBezTo>
                    <a:pt x="281" y="427"/>
                    <a:pt x="281" y="427"/>
                    <a:pt x="281" y="427"/>
                  </a:cubicBezTo>
                  <a:cubicBezTo>
                    <a:pt x="285" y="420"/>
                    <a:pt x="285" y="420"/>
                    <a:pt x="285" y="420"/>
                  </a:cubicBezTo>
                  <a:cubicBezTo>
                    <a:pt x="285" y="420"/>
                    <a:pt x="294" y="404"/>
                    <a:pt x="301" y="405"/>
                  </a:cubicBezTo>
                  <a:cubicBezTo>
                    <a:pt x="306" y="406"/>
                    <a:pt x="313" y="408"/>
                    <a:pt x="314" y="408"/>
                  </a:cubicBezTo>
                  <a:cubicBezTo>
                    <a:pt x="313" y="402"/>
                    <a:pt x="302" y="392"/>
                    <a:pt x="304" y="390"/>
                  </a:cubicBezTo>
                  <a:cubicBezTo>
                    <a:pt x="306" y="387"/>
                    <a:pt x="311" y="380"/>
                    <a:pt x="314" y="376"/>
                  </a:cubicBezTo>
                  <a:cubicBezTo>
                    <a:pt x="316" y="372"/>
                    <a:pt x="326" y="369"/>
                    <a:pt x="326" y="369"/>
                  </a:cubicBezTo>
                  <a:cubicBezTo>
                    <a:pt x="334" y="354"/>
                    <a:pt x="334" y="354"/>
                    <a:pt x="334" y="354"/>
                  </a:cubicBezTo>
                  <a:cubicBezTo>
                    <a:pt x="332" y="331"/>
                    <a:pt x="330" y="325"/>
                    <a:pt x="354" y="322"/>
                  </a:cubicBezTo>
                  <a:cubicBezTo>
                    <a:pt x="358" y="321"/>
                    <a:pt x="363" y="318"/>
                    <a:pt x="363" y="318"/>
                  </a:cubicBezTo>
                  <a:cubicBezTo>
                    <a:pt x="371" y="315"/>
                    <a:pt x="371" y="315"/>
                    <a:pt x="371" y="315"/>
                  </a:cubicBezTo>
                  <a:cubicBezTo>
                    <a:pt x="386" y="313"/>
                    <a:pt x="386" y="313"/>
                    <a:pt x="386" y="313"/>
                  </a:cubicBezTo>
                  <a:cubicBezTo>
                    <a:pt x="374" y="320"/>
                    <a:pt x="374" y="320"/>
                    <a:pt x="374" y="320"/>
                  </a:cubicBezTo>
                  <a:cubicBezTo>
                    <a:pt x="365" y="330"/>
                    <a:pt x="365" y="330"/>
                    <a:pt x="365" y="330"/>
                  </a:cubicBezTo>
                  <a:cubicBezTo>
                    <a:pt x="377" y="333"/>
                    <a:pt x="377" y="333"/>
                    <a:pt x="377" y="333"/>
                  </a:cubicBezTo>
                  <a:cubicBezTo>
                    <a:pt x="377" y="333"/>
                    <a:pt x="377" y="342"/>
                    <a:pt x="383" y="340"/>
                  </a:cubicBezTo>
                  <a:cubicBezTo>
                    <a:pt x="388" y="338"/>
                    <a:pt x="400" y="333"/>
                    <a:pt x="402" y="333"/>
                  </a:cubicBezTo>
                  <a:cubicBezTo>
                    <a:pt x="404" y="332"/>
                    <a:pt x="415" y="329"/>
                    <a:pt x="418" y="329"/>
                  </a:cubicBezTo>
                  <a:cubicBezTo>
                    <a:pt x="421" y="329"/>
                    <a:pt x="437" y="327"/>
                    <a:pt x="437" y="327"/>
                  </a:cubicBezTo>
                  <a:cubicBezTo>
                    <a:pt x="439" y="336"/>
                    <a:pt x="439" y="336"/>
                    <a:pt x="439" y="336"/>
                  </a:cubicBezTo>
                  <a:cubicBezTo>
                    <a:pt x="432" y="345"/>
                    <a:pt x="432" y="345"/>
                    <a:pt x="432" y="345"/>
                  </a:cubicBezTo>
                  <a:cubicBezTo>
                    <a:pt x="423" y="354"/>
                    <a:pt x="423" y="354"/>
                    <a:pt x="423" y="354"/>
                  </a:cubicBezTo>
                  <a:cubicBezTo>
                    <a:pt x="409" y="367"/>
                    <a:pt x="409" y="367"/>
                    <a:pt x="409" y="367"/>
                  </a:cubicBezTo>
                  <a:cubicBezTo>
                    <a:pt x="409" y="367"/>
                    <a:pt x="405" y="374"/>
                    <a:pt x="407" y="375"/>
                  </a:cubicBezTo>
                  <a:cubicBezTo>
                    <a:pt x="409" y="376"/>
                    <a:pt x="424" y="374"/>
                    <a:pt x="424" y="374"/>
                  </a:cubicBezTo>
                  <a:cubicBezTo>
                    <a:pt x="441" y="375"/>
                    <a:pt x="441" y="375"/>
                    <a:pt x="441" y="375"/>
                  </a:cubicBezTo>
                  <a:cubicBezTo>
                    <a:pt x="441" y="375"/>
                    <a:pt x="444" y="376"/>
                    <a:pt x="446" y="382"/>
                  </a:cubicBezTo>
                  <a:cubicBezTo>
                    <a:pt x="449" y="389"/>
                    <a:pt x="451" y="392"/>
                    <a:pt x="452" y="394"/>
                  </a:cubicBezTo>
                  <a:cubicBezTo>
                    <a:pt x="454" y="397"/>
                    <a:pt x="458" y="403"/>
                    <a:pt x="458" y="403"/>
                  </a:cubicBezTo>
                  <a:cubicBezTo>
                    <a:pt x="458" y="403"/>
                    <a:pt x="454" y="407"/>
                    <a:pt x="459" y="406"/>
                  </a:cubicBezTo>
                  <a:cubicBezTo>
                    <a:pt x="465" y="406"/>
                    <a:pt x="469" y="405"/>
                    <a:pt x="469" y="405"/>
                  </a:cubicBezTo>
                  <a:cubicBezTo>
                    <a:pt x="469" y="405"/>
                    <a:pt x="470" y="399"/>
                    <a:pt x="472" y="397"/>
                  </a:cubicBezTo>
                  <a:cubicBezTo>
                    <a:pt x="475" y="396"/>
                    <a:pt x="478" y="393"/>
                    <a:pt x="478" y="393"/>
                  </a:cubicBezTo>
                  <a:cubicBezTo>
                    <a:pt x="478" y="393"/>
                    <a:pt x="477" y="387"/>
                    <a:pt x="480" y="385"/>
                  </a:cubicBezTo>
                  <a:cubicBezTo>
                    <a:pt x="483" y="384"/>
                    <a:pt x="487" y="383"/>
                    <a:pt x="491" y="382"/>
                  </a:cubicBezTo>
                  <a:cubicBezTo>
                    <a:pt x="495" y="380"/>
                    <a:pt x="499" y="373"/>
                    <a:pt x="499" y="373"/>
                  </a:cubicBezTo>
                  <a:cubicBezTo>
                    <a:pt x="504" y="369"/>
                    <a:pt x="504" y="369"/>
                    <a:pt x="504" y="369"/>
                  </a:cubicBezTo>
                  <a:cubicBezTo>
                    <a:pt x="516" y="365"/>
                    <a:pt x="516" y="365"/>
                    <a:pt x="516" y="365"/>
                  </a:cubicBezTo>
                  <a:cubicBezTo>
                    <a:pt x="515" y="355"/>
                    <a:pt x="515" y="355"/>
                    <a:pt x="515" y="355"/>
                  </a:cubicBezTo>
                  <a:cubicBezTo>
                    <a:pt x="515" y="355"/>
                    <a:pt x="516" y="353"/>
                    <a:pt x="519" y="353"/>
                  </a:cubicBezTo>
                  <a:cubicBezTo>
                    <a:pt x="521" y="352"/>
                    <a:pt x="542" y="345"/>
                    <a:pt x="542" y="345"/>
                  </a:cubicBezTo>
                  <a:cubicBezTo>
                    <a:pt x="548" y="335"/>
                    <a:pt x="548" y="335"/>
                    <a:pt x="548" y="335"/>
                  </a:cubicBezTo>
                  <a:cubicBezTo>
                    <a:pt x="548" y="325"/>
                    <a:pt x="548" y="325"/>
                    <a:pt x="548" y="325"/>
                  </a:cubicBezTo>
                  <a:cubicBezTo>
                    <a:pt x="548" y="325"/>
                    <a:pt x="550" y="319"/>
                    <a:pt x="546" y="319"/>
                  </a:cubicBezTo>
                  <a:cubicBezTo>
                    <a:pt x="542" y="319"/>
                    <a:pt x="532" y="329"/>
                    <a:pt x="532" y="329"/>
                  </a:cubicBezTo>
                  <a:cubicBezTo>
                    <a:pt x="521" y="330"/>
                    <a:pt x="521" y="330"/>
                    <a:pt x="521" y="330"/>
                  </a:cubicBezTo>
                  <a:cubicBezTo>
                    <a:pt x="521" y="330"/>
                    <a:pt x="516" y="339"/>
                    <a:pt x="514" y="339"/>
                  </a:cubicBezTo>
                  <a:cubicBezTo>
                    <a:pt x="512" y="340"/>
                    <a:pt x="506" y="342"/>
                    <a:pt x="504" y="341"/>
                  </a:cubicBezTo>
                  <a:cubicBezTo>
                    <a:pt x="502" y="341"/>
                    <a:pt x="505" y="352"/>
                    <a:pt x="498" y="339"/>
                  </a:cubicBezTo>
                  <a:cubicBezTo>
                    <a:pt x="491" y="326"/>
                    <a:pt x="488" y="326"/>
                    <a:pt x="488" y="326"/>
                  </a:cubicBezTo>
                  <a:cubicBezTo>
                    <a:pt x="481" y="326"/>
                    <a:pt x="481" y="326"/>
                    <a:pt x="481" y="326"/>
                  </a:cubicBezTo>
                  <a:cubicBezTo>
                    <a:pt x="481" y="326"/>
                    <a:pt x="475" y="329"/>
                    <a:pt x="474" y="327"/>
                  </a:cubicBezTo>
                  <a:cubicBezTo>
                    <a:pt x="474" y="325"/>
                    <a:pt x="471" y="319"/>
                    <a:pt x="471" y="319"/>
                  </a:cubicBezTo>
                  <a:cubicBezTo>
                    <a:pt x="461" y="319"/>
                    <a:pt x="461" y="319"/>
                    <a:pt x="461" y="319"/>
                  </a:cubicBezTo>
                  <a:cubicBezTo>
                    <a:pt x="457" y="321"/>
                    <a:pt x="457" y="321"/>
                    <a:pt x="457" y="321"/>
                  </a:cubicBezTo>
                  <a:cubicBezTo>
                    <a:pt x="442" y="320"/>
                    <a:pt x="442" y="320"/>
                    <a:pt x="442" y="320"/>
                  </a:cubicBezTo>
                  <a:cubicBezTo>
                    <a:pt x="436" y="316"/>
                    <a:pt x="436" y="316"/>
                    <a:pt x="436" y="316"/>
                  </a:cubicBezTo>
                  <a:cubicBezTo>
                    <a:pt x="444" y="312"/>
                    <a:pt x="444" y="312"/>
                    <a:pt x="444" y="312"/>
                  </a:cubicBezTo>
                  <a:cubicBezTo>
                    <a:pt x="444" y="312"/>
                    <a:pt x="447" y="315"/>
                    <a:pt x="448" y="315"/>
                  </a:cubicBezTo>
                  <a:cubicBezTo>
                    <a:pt x="450" y="314"/>
                    <a:pt x="448" y="311"/>
                    <a:pt x="450" y="310"/>
                  </a:cubicBezTo>
                  <a:cubicBezTo>
                    <a:pt x="453" y="309"/>
                    <a:pt x="456" y="306"/>
                    <a:pt x="459" y="308"/>
                  </a:cubicBezTo>
                  <a:cubicBezTo>
                    <a:pt x="462" y="309"/>
                    <a:pt x="459" y="315"/>
                    <a:pt x="464" y="311"/>
                  </a:cubicBezTo>
                  <a:cubicBezTo>
                    <a:pt x="469" y="307"/>
                    <a:pt x="474" y="308"/>
                    <a:pt x="474" y="308"/>
                  </a:cubicBezTo>
                  <a:cubicBezTo>
                    <a:pt x="480" y="298"/>
                    <a:pt x="480" y="298"/>
                    <a:pt x="480" y="298"/>
                  </a:cubicBezTo>
                  <a:cubicBezTo>
                    <a:pt x="484" y="289"/>
                    <a:pt x="484" y="289"/>
                    <a:pt x="484" y="289"/>
                  </a:cubicBezTo>
                  <a:cubicBezTo>
                    <a:pt x="484" y="289"/>
                    <a:pt x="486" y="290"/>
                    <a:pt x="488" y="291"/>
                  </a:cubicBezTo>
                  <a:cubicBezTo>
                    <a:pt x="491" y="291"/>
                    <a:pt x="498" y="279"/>
                    <a:pt x="498" y="279"/>
                  </a:cubicBezTo>
                  <a:cubicBezTo>
                    <a:pt x="498" y="279"/>
                    <a:pt x="499" y="267"/>
                    <a:pt x="501" y="267"/>
                  </a:cubicBezTo>
                  <a:cubicBezTo>
                    <a:pt x="503" y="266"/>
                    <a:pt x="518" y="261"/>
                    <a:pt x="518" y="261"/>
                  </a:cubicBezTo>
                  <a:cubicBezTo>
                    <a:pt x="528" y="255"/>
                    <a:pt x="528" y="255"/>
                    <a:pt x="528" y="255"/>
                  </a:cubicBezTo>
                  <a:cubicBezTo>
                    <a:pt x="528" y="255"/>
                    <a:pt x="533" y="248"/>
                    <a:pt x="535" y="247"/>
                  </a:cubicBezTo>
                  <a:cubicBezTo>
                    <a:pt x="537" y="247"/>
                    <a:pt x="539" y="243"/>
                    <a:pt x="541" y="238"/>
                  </a:cubicBezTo>
                  <a:cubicBezTo>
                    <a:pt x="544" y="234"/>
                    <a:pt x="546" y="231"/>
                    <a:pt x="546" y="231"/>
                  </a:cubicBezTo>
                  <a:cubicBezTo>
                    <a:pt x="546" y="231"/>
                    <a:pt x="558" y="228"/>
                    <a:pt x="557" y="227"/>
                  </a:cubicBezTo>
                  <a:cubicBezTo>
                    <a:pt x="557" y="225"/>
                    <a:pt x="552" y="221"/>
                    <a:pt x="558" y="221"/>
                  </a:cubicBezTo>
                  <a:cubicBezTo>
                    <a:pt x="564" y="221"/>
                    <a:pt x="564" y="221"/>
                    <a:pt x="567" y="219"/>
                  </a:cubicBezTo>
                  <a:cubicBezTo>
                    <a:pt x="569" y="218"/>
                    <a:pt x="568" y="217"/>
                    <a:pt x="569" y="214"/>
                  </a:cubicBezTo>
                  <a:cubicBezTo>
                    <a:pt x="571" y="212"/>
                    <a:pt x="572" y="209"/>
                    <a:pt x="572" y="207"/>
                  </a:cubicBezTo>
                  <a:cubicBezTo>
                    <a:pt x="571" y="205"/>
                    <a:pt x="566" y="197"/>
                    <a:pt x="566" y="195"/>
                  </a:cubicBezTo>
                  <a:cubicBezTo>
                    <a:pt x="565" y="192"/>
                    <a:pt x="566" y="186"/>
                    <a:pt x="566" y="186"/>
                  </a:cubicBezTo>
                  <a:cubicBezTo>
                    <a:pt x="566" y="186"/>
                    <a:pt x="569" y="185"/>
                    <a:pt x="572" y="184"/>
                  </a:cubicBezTo>
                  <a:cubicBezTo>
                    <a:pt x="574" y="182"/>
                    <a:pt x="578" y="175"/>
                    <a:pt x="578" y="175"/>
                  </a:cubicBezTo>
                  <a:cubicBezTo>
                    <a:pt x="579" y="170"/>
                    <a:pt x="579" y="170"/>
                    <a:pt x="579" y="170"/>
                  </a:cubicBezTo>
                  <a:cubicBezTo>
                    <a:pt x="579" y="170"/>
                    <a:pt x="583" y="167"/>
                    <a:pt x="584" y="167"/>
                  </a:cubicBezTo>
                  <a:cubicBezTo>
                    <a:pt x="586" y="166"/>
                    <a:pt x="602" y="160"/>
                    <a:pt x="603" y="160"/>
                  </a:cubicBezTo>
                  <a:cubicBezTo>
                    <a:pt x="604" y="160"/>
                    <a:pt x="614" y="161"/>
                    <a:pt x="611" y="156"/>
                  </a:cubicBezTo>
                  <a:cubicBezTo>
                    <a:pt x="608" y="152"/>
                    <a:pt x="607" y="150"/>
                    <a:pt x="606" y="147"/>
                  </a:cubicBezTo>
                  <a:cubicBezTo>
                    <a:pt x="605" y="144"/>
                    <a:pt x="605" y="137"/>
                    <a:pt x="605" y="136"/>
                  </a:cubicBezTo>
                  <a:cubicBezTo>
                    <a:pt x="606" y="135"/>
                    <a:pt x="614" y="132"/>
                    <a:pt x="605" y="131"/>
                  </a:cubicBezTo>
                  <a:cubicBezTo>
                    <a:pt x="596" y="130"/>
                    <a:pt x="603" y="127"/>
                    <a:pt x="601" y="125"/>
                  </a:cubicBezTo>
                  <a:cubicBezTo>
                    <a:pt x="598" y="123"/>
                    <a:pt x="592" y="119"/>
                    <a:pt x="592" y="119"/>
                  </a:cubicBezTo>
                  <a:cubicBezTo>
                    <a:pt x="589" y="119"/>
                    <a:pt x="589" y="119"/>
                    <a:pt x="589" y="119"/>
                  </a:cubicBezTo>
                  <a:cubicBezTo>
                    <a:pt x="590" y="109"/>
                    <a:pt x="590" y="109"/>
                    <a:pt x="590" y="109"/>
                  </a:cubicBezTo>
                  <a:cubicBezTo>
                    <a:pt x="590" y="109"/>
                    <a:pt x="593" y="105"/>
                    <a:pt x="594" y="105"/>
                  </a:cubicBezTo>
                  <a:cubicBezTo>
                    <a:pt x="595" y="104"/>
                    <a:pt x="596" y="100"/>
                    <a:pt x="594" y="100"/>
                  </a:cubicBezTo>
                  <a:cubicBezTo>
                    <a:pt x="592" y="101"/>
                    <a:pt x="586" y="102"/>
                    <a:pt x="586" y="102"/>
                  </a:cubicBezTo>
                  <a:cubicBezTo>
                    <a:pt x="586" y="102"/>
                    <a:pt x="581" y="102"/>
                    <a:pt x="582" y="100"/>
                  </a:cubicBezTo>
                  <a:cubicBezTo>
                    <a:pt x="582" y="97"/>
                    <a:pt x="584" y="97"/>
                    <a:pt x="587" y="94"/>
                  </a:cubicBezTo>
                  <a:cubicBezTo>
                    <a:pt x="590" y="91"/>
                    <a:pt x="591" y="89"/>
                    <a:pt x="591" y="89"/>
                  </a:cubicBezTo>
                  <a:cubicBezTo>
                    <a:pt x="590" y="83"/>
                    <a:pt x="590" y="83"/>
                    <a:pt x="590" y="83"/>
                  </a:cubicBezTo>
                  <a:cubicBezTo>
                    <a:pt x="590" y="83"/>
                    <a:pt x="590" y="79"/>
                    <a:pt x="589" y="79"/>
                  </a:cubicBezTo>
                  <a:cubicBezTo>
                    <a:pt x="589" y="78"/>
                    <a:pt x="583" y="66"/>
                    <a:pt x="583" y="66"/>
                  </a:cubicBezTo>
                  <a:cubicBezTo>
                    <a:pt x="583" y="66"/>
                    <a:pt x="577" y="64"/>
                    <a:pt x="576" y="66"/>
                  </a:cubicBezTo>
                  <a:cubicBezTo>
                    <a:pt x="576" y="68"/>
                    <a:pt x="574" y="72"/>
                    <a:pt x="574" y="72"/>
                  </a:cubicBezTo>
                  <a:cubicBezTo>
                    <a:pt x="567" y="72"/>
                    <a:pt x="567" y="72"/>
                    <a:pt x="567" y="72"/>
                  </a:cubicBezTo>
                  <a:cubicBezTo>
                    <a:pt x="563" y="69"/>
                    <a:pt x="563" y="69"/>
                    <a:pt x="563" y="69"/>
                  </a:cubicBezTo>
                  <a:cubicBezTo>
                    <a:pt x="555" y="67"/>
                    <a:pt x="555" y="67"/>
                    <a:pt x="555" y="67"/>
                  </a:cubicBezTo>
                  <a:cubicBezTo>
                    <a:pt x="555" y="67"/>
                    <a:pt x="554" y="68"/>
                    <a:pt x="553" y="69"/>
                  </a:cubicBezTo>
                  <a:cubicBezTo>
                    <a:pt x="553" y="70"/>
                    <a:pt x="545" y="65"/>
                    <a:pt x="545" y="65"/>
                  </a:cubicBezTo>
                  <a:cubicBezTo>
                    <a:pt x="545" y="65"/>
                    <a:pt x="542" y="69"/>
                    <a:pt x="541" y="70"/>
                  </a:cubicBezTo>
                  <a:cubicBezTo>
                    <a:pt x="541" y="70"/>
                    <a:pt x="533" y="68"/>
                    <a:pt x="533" y="68"/>
                  </a:cubicBezTo>
                  <a:cubicBezTo>
                    <a:pt x="525" y="69"/>
                    <a:pt x="525" y="69"/>
                    <a:pt x="525" y="69"/>
                  </a:cubicBezTo>
                  <a:cubicBezTo>
                    <a:pt x="518" y="70"/>
                    <a:pt x="518" y="70"/>
                    <a:pt x="518" y="70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0" y="70"/>
                    <a:pt x="510" y="70"/>
                    <a:pt x="510" y="70"/>
                  </a:cubicBezTo>
                  <a:cubicBezTo>
                    <a:pt x="511" y="75"/>
                    <a:pt x="511" y="75"/>
                    <a:pt x="511" y="75"/>
                  </a:cubicBezTo>
                  <a:cubicBezTo>
                    <a:pt x="506" y="78"/>
                    <a:pt x="506" y="78"/>
                    <a:pt x="506" y="78"/>
                  </a:cubicBezTo>
                  <a:cubicBezTo>
                    <a:pt x="500" y="74"/>
                    <a:pt x="500" y="74"/>
                    <a:pt x="500" y="74"/>
                  </a:cubicBezTo>
                  <a:cubicBezTo>
                    <a:pt x="495" y="73"/>
                    <a:pt x="495" y="73"/>
                    <a:pt x="495" y="73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476" y="61"/>
                    <a:pt x="476" y="61"/>
                    <a:pt x="476" y="61"/>
                  </a:cubicBezTo>
                  <a:cubicBezTo>
                    <a:pt x="476" y="61"/>
                    <a:pt x="473" y="69"/>
                    <a:pt x="472" y="70"/>
                  </a:cubicBezTo>
                  <a:cubicBezTo>
                    <a:pt x="471" y="70"/>
                    <a:pt x="466" y="72"/>
                    <a:pt x="465" y="72"/>
                  </a:cubicBezTo>
                  <a:cubicBezTo>
                    <a:pt x="463" y="73"/>
                    <a:pt x="462" y="78"/>
                    <a:pt x="462" y="78"/>
                  </a:cubicBezTo>
                  <a:cubicBezTo>
                    <a:pt x="457" y="81"/>
                    <a:pt x="457" y="81"/>
                    <a:pt x="457" y="81"/>
                  </a:cubicBezTo>
                  <a:cubicBezTo>
                    <a:pt x="457" y="81"/>
                    <a:pt x="454" y="79"/>
                    <a:pt x="452" y="79"/>
                  </a:cubicBezTo>
                  <a:cubicBezTo>
                    <a:pt x="451" y="79"/>
                    <a:pt x="450" y="80"/>
                    <a:pt x="450" y="80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7" y="83"/>
                    <a:pt x="444" y="81"/>
                  </a:cubicBezTo>
                  <a:cubicBezTo>
                    <a:pt x="442" y="80"/>
                    <a:pt x="439" y="78"/>
                    <a:pt x="439" y="78"/>
                  </a:cubicBezTo>
                  <a:cubicBezTo>
                    <a:pt x="436" y="77"/>
                    <a:pt x="436" y="77"/>
                    <a:pt x="436" y="77"/>
                  </a:cubicBezTo>
                  <a:cubicBezTo>
                    <a:pt x="436" y="77"/>
                    <a:pt x="427" y="81"/>
                    <a:pt x="426" y="82"/>
                  </a:cubicBezTo>
                  <a:cubicBezTo>
                    <a:pt x="426" y="83"/>
                    <a:pt x="424" y="86"/>
                    <a:pt x="424" y="86"/>
                  </a:cubicBezTo>
                  <a:cubicBezTo>
                    <a:pt x="419" y="82"/>
                    <a:pt x="419" y="82"/>
                    <a:pt x="419" y="82"/>
                  </a:cubicBezTo>
                  <a:cubicBezTo>
                    <a:pt x="413" y="78"/>
                    <a:pt x="413" y="78"/>
                    <a:pt x="413" y="78"/>
                  </a:cubicBezTo>
                  <a:cubicBezTo>
                    <a:pt x="412" y="71"/>
                    <a:pt x="412" y="71"/>
                    <a:pt x="412" y="71"/>
                  </a:cubicBezTo>
                  <a:cubicBezTo>
                    <a:pt x="401" y="61"/>
                    <a:pt x="401" y="61"/>
                    <a:pt x="401" y="61"/>
                  </a:cubicBezTo>
                  <a:cubicBezTo>
                    <a:pt x="399" y="51"/>
                    <a:pt x="399" y="51"/>
                    <a:pt x="399" y="51"/>
                  </a:cubicBezTo>
                  <a:cubicBezTo>
                    <a:pt x="391" y="45"/>
                    <a:pt x="391" y="45"/>
                    <a:pt x="391" y="45"/>
                  </a:cubicBezTo>
                  <a:cubicBezTo>
                    <a:pt x="386" y="51"/>
                    <a:pt x="386" y="51"/>
                    <a:pt x="386" y="51"/>
                  </a:cubicBezTo>
                  <a:cubicBezTo>
                    <a:pt x="378" y="50"/>
                    <a:pt x="378" y="50"/>
                    <a:pt x="378" y="50"/>
                  </a:cubicBezTo>
                  <a:cubicBezTo>
                    <a:pt x="370" y="52"/>
                    <a:pt x="370" y="52"/>
                    <a:pt x="370" y="52"/>
                  </a:cubicBezTo>
                  <a:cubicBezTo>
                    <a:pt x="370" y="52"/>
                    <a:pt x="365" y="57"/>
                    <a:pt x="365" y="55"/>
                  </a:cubicBezTo>
                  <a:cubicBezTo>
                    <a:pt x="364" y="53"/>
                    <a:pt x="366" y="49"/>
                    <a:pt x="366" y="47"/>
                  </a:cubicBezTo>
                  <a:cubicBezTo>
                    <a:pt x="365" y="46"/>
                    <a:pt x="360" y="49"/>
                    <a:pt x="361" y="45"/>
                  </a:cubicBezTo>
                  <a:cubicBezTo>
                    <a:pt x="362" y="43"/>
                    <a:pt x="361" y="40"/>
                    <a:pt x="360" y="39"/>
                  </a:cubicBezTo>
                  <a:cubicBezTo>
                    <a:pt x="358" y="37"/>
                    <a:pt x="352" y="37"/>
                    <a:pt x="354" y="33"/>
                  </a:cubicBezTo>
                  <a:cubicBezTo>
                    <a:pt x="356" y="30"/>
                    <a:pt x="361" y="28"/>
                    <a:pt x="361" y="28"/>
                  </a:cubicBezTo>
                  <a:cubicBezTo>
                    <a:pt x="361" y="26"/>
                    <a:pt x="361" y="26"/>
                    <a:pt x="361" y="26"/>
                  </a:cubicBezTo>
                  <a:cubicBezTo>
                    <a:pt x="357" y="22"/>
                    <a:pt x="357" y="22"/>
                    <a:pt x="357" y="22"/>
                  </a:cubicBezTo>
                  <a:cubicBezTo>
                    <a:pt x="346" y="17"/>
                    <a:pt x="346" y="17"/>
                    <a:pt x="346" y="17"/>
                  </a:cubicBezTo>
                  <a:cubicBezTo>
                    <a:pt x="346" y="17"/>
                    <a:pt x="345" y="11"/>
                    <a:pt x="343" y="11"/>
                  </a:cubicBezTo>
                  <a:cubicBezTo>
                    <a:pt x="342" y="10"/>
                    <a:pt x="339" y="7"/>
                    <a:pt x="339" y="7"/>
                  </a:cubicBezTo>
                  <a:cubicBezTo>
                    <a:pt x="339" y="7"/>
                    <a:pt x="336" y="3"/>
                    <a:pt x="332" y="2"/>
                  </a:cubicBezTo>
                  <a:cubicBezTo>
                    <a:pt x="328" y="0"/>
                    <a:pt x="325" y="9"/>
                    <a:pt x="325" y="9"/>
                  </a:cubicBezTo>
                  <a:cubicBezTo>
                    <a:pt x="321" y="5"/>
                    <a:pt x="321" y="5"/>
                    <a:pt x="321" y="5"/>
                  </a:cubicBezTo>
                  <a:cubicBezTo>
                    <a:pt x="313" y="8"/>
                    <a:pt x="313" y="8"/>
                    <a:pt x="313" y="8"/>
                  </a:cubicBezTo>
                  <a:cubicBezTo>
                    <a:pt x="307" y="17"/>
                    <a:pt x="307" y="17"/>
                    <a:pt x="307" y="17"/>
                  </a:cubicBezTo>
                  <a:cubicBezTo>
                    <a:pt x="303" y="18"/>
                    <a:pt x="303" y="18"/>
                    <a:pt x="303" y="18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88" y="21"/>
                    <a:pt x="288" y="21"/>
                    <a:pt x="288" y="21"/>
                  </a:cubicBezTo>
                  <a:cubicBezTo>
                    <a:pt x="286" y="27"/>
                    <a:pt x="286" y="27"/>
                    <a:pt x="286" y="27"/>
                  </a:cubicBezTo>
                  <a:cubicBezTo>
                    <a:pt x="287" y="33"/>
                    <a:pt x="287" y="33"/>
                    <a:pt x="287" y="33"/>
                  </a:cubicBezTo>
                  <a:cubicBezTo>
                    <a:pt x="282" y="37"/>
                    <a:pt x="282" y="37"/>
                    <a:pt x="282" y="37"/>
                  </a:cubicBezTo>
                  <a:cubicBezTo>
                    <a:pt x="270" y="36"/>
                    <a:pt x="270" y="36"/>
                    <a:pt x="270" y="36"/>
                  </a:cubicBezTo>
                  <a:cubicBezTo>
                    <a:pt x="262" y="38"/>
                    <a:pt x="262" y="38"/>
                    <a:pt x="262" y="38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4" y="56"/>
                    <a:pt x="244" y="56"/>
                    <a:pt x="244" y="56"/>
                  </a:cubicBezTo>
                  <a:cubicBezTo>
                    <a:pt x="241" y="64"/>
                    <a:pt x="241" y="64"/>
                    <a:pt x="241" y="64"/>
                  </a:cubicBezTo>
                  <a:cubicBezTo>
                    <a:pt x="238" y="73"/>
                    <a:pt x="238" y="73"/>
                    <a:pt x="238" y="73"/>
                  </a:cubicBezTo>
                  <a:cubicBezTo>
                    <a:pt x="240" y="78"/>
                    <a:pt x="240" y="78"/>
                    <a:pt x="240" y="78"/>
                  </a:cubicBezTo>
                  <a:cubicBezTo>
                    <a:pt x="243" y="85"/>
                    <a:pt x="243" y="85"/>
                    <a:pt x="243" y="85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9" y="92"/>
                    <a:pt x="249" y="92"/>
                    <a:pt x="249" y="92"/>
                  </a:cubicBezTo>
                  <a:cubicBezTo>
                    <a:pt x="243" y="94"/>
                    <a:pt x="243" y="94"/>
                    <a:pt x="243" y="94"/>
                  </a:cubicBezTo>
                  <a:cubicBezTo>
                    <a:pt x="239" y="95"/>
                    <a:pt x="239" y="95"/>
                    <a:pt x="239" y="95"/>
                  </a:cubicBezTo>
                  <a:cubicBezTo>
                    <a:pt x="235" y="89"/>
                    <a:pt x="235" y="89"/>
                    <a:pt x="235" y="89"/>
                  </a:cubicBezTo>
                  <a:cubicBezTo>
                    <a:pt x="229" y="87"/>
                    <a:pt x="229" y="87"/>
                    <a:pt x="229" y="87"/>
                  </a:cubicBezTo>
                  <a:cubicBezTo>
                    <a:pt x="222" y="90"/>
                    <a:pt x="222" y="90"/>
                    <a:pt x="222" y="90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13" y="92"/>
                    <a:pt x="213" y="92"/>
                    <a:pt x="213" y="92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99"/>
                    <a:pt x="203" y="97"/>
                    <a:pt x="202" y="96"/>
                  </a:cubicBezTo>
                  <a:cubicBezTo>
                    <a:pt x="201" y="95"/>
                    <a:pt x="198" y="93"/>
                    <a:pt x="198" y="93"/>
                  </a:cubicBezTo>
                  <a:cubicBezTo>
                    <a:pt x="198" y="93"/>
                    <a:pt x="197" y="91"/>
                    <a:pt x="196" y="90"/>
                  </a:cubicBezTo>
                  <a:cubicBezTo>
                    <a:pt x="195" y="90"/>
                    <a:pt x="189" y="94"/>
                    <a:pt x="189" y="94"/>
                  </a:cubicBezTo>
                  <a:cubicBezTo>
                    <a:pt x="189" y="94"/>
                    <a:pt x="184" y="97"/>
                    <a:pt x="184" y="98"/>
                  </a:cubicBezTo>
                  <a:cubicBezTo>
                    <a:pt x="185" y="98"/>
                    <a:pt x="184" y="103"/>
                    <a:pt x="184" y="103"/>
                  </a:cubicBezTo>
                  <a:cubicBezTo>
                    <a:pt x="177" y="97"/>
                    <a:pt x="177" y="97"/>
                    <a:pt x="177" y="97"/>
                  </a:cubicBezTo>
                  <a:cubicBezTo>
                    <a:pt x="172" y="101"/>
                    <a:pt x="172" y="101"/>
                    <a:pt x="172" y="101"/>
                  </a:cubicBezTo>
                  <a:cubicBezTo>
                    <a:pt x="168" y="98"/>
                    <a:pt x="168" y="98"/>
                    <a:pt x="168" y="98"/>
                  </a:cubicBezTo>
                  <a:cubicBezTo>
                    <a:pt x="166" y="97"/>
                    <a:pt x="166" y="97"/>
                    <a:pt x="166" y="97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5"/>
                    <a:pt x="144" y="104"/>
                    <a:pt x="143" y="104"/>
                  </a:cubicBezTo>
                  <a:cubicBezTo>
                    <a:pt x="142" y="104"/>
                    <a:pt x="139" y="108"/>
                    <a:pt x="139" y="108"/>
                  </a:cubicBezTo>
                  <a:cubicBezTo>
                    <a:pt x="134" y="104"/>
                    <a:pt x="134" y="104"/>
                    <a:pt x="134" y="104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30" y="101"/>
                    <a:pt x="119" y="102"/>
                    <a:pt x="118" y="102"/>
                  </a:cubicBezTo>
                  <a:cubicBezTo>
                    <a:pt x="117" y="102"/>
                    <a:pt x="110" y="101"/>
                    <a:pt x="110" y="101"/>
                  </a:cubicBezTo>
                  <a:cubicBezTo>
                    <a:pt x="101" y="103"/>
                    <a:pt x="101" y="103"/>
                    <a:pt x="101" y="103"/>
                  </a:cubicBezTo>
                  <a:cubicBezTo>
                    <a:pt x="88" y="103"/>
                    <a:pt x="88" y="103"/>
                    <a:pt x="88" y="103"/>
                  </a:cubicBezTo>
                  <a:cubicBezTo>
                    <a:pt x="76" y="104"/>
                    <a:pt x="76" y="104"/>
                    <a:pt x="76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0" y="109"/>
                    <a:pt x="60" y="109"/>
                    <a:pt x="60" y="109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6" y="124"/>
                    <a:pt x="34" y="126"/>
                    <a:pt x="33" y="128"/>
                  </a:cubicBezTo>
                  <a:cubicBezTo>
                    <a:pt x="33" y="128"/>
                    <a:pt x="33" y="128"/>
                    <a:pt x="33" y="128"/>
                  </a:cubicBezTo>
                  <a:cubicBezTo>
                    <a:pt x="33" y="128"/>
                    <a:pt x="30" y="127"/>
                    <a:pt x="30" y="129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1"/>
                    <a:pt x="22" y="129"/>
                    <a:pt x="22" y="129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3"/>
                    <a:pt x="17" y="134"/>
                    <a:pt x="18" y="134"/>
                  </a:cubicBezTo>
                  <a:cubicBezTo>
                    <a:pt x="19" y="135"/>
                    <a:pt x="19" y="135"/>
                    <a:pt x="19" y="136"/>
                  </a:cubicBezTo>
                  <a:cubicBezTo>
                    <a:pt x="20" y="136"/>
                    <a:pt x="20" y="137"/>
                    <a:pt x="20" y="137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2" y="149"/>
                    <a:pt x="24" y="149"/>
                  </a:cubicBezTo>
                  <a:cubicBezTo>
                    <a:pt x="26" y="149"/>
                    <a:pt x="27" y="150"/>
                    <a:pt x="27" y="152"/>
                  </a:cubicBezTo>
                  <a:cubicBezTo>
                    <a:pt x="27" y="154"/>
                    <a:pt x="32" y="156"/>
                    <a:pt x="32" y="156"/>
                  </a:cubicBezTo>
                  <a:cubicBezTo>
                    <a:pt x="32" y="156"/>
                    <a:pt x="32" y="160"/>
                    <a:pt x="33" y="161"/>
                  </a:cubicBezTo>
                  <a:cubicBezTo>
                    <a:pt x="35" y="162"/>
                    <a:pt x="37" y="163"/>
                    <a:pt x="40" y="163"/>
                  </a:cubicBezTo>
                  <a:cubicBezTo>
                    <a:pt x="43" y="164"/>
                    <a:pt x="42" y="168"/>
                    <a:pt x="44" y="169"/>
                  </a:cubicBezTo>
                  <a:cubicBezTo>
                    <a:pt x="46" y="170"/>
                    <a:pt x="48" y="172"/>
                    <a:pt x="46" y="172"/>
                  </a:cubicBezTo>
                  <a:cubicBezTo>
                    <a:pt x="45" y="173"/>
                    <a:pt x="42" y="173"/>
                    <a:pt x="42" y="173"/>
                  </a:cubicBezTo>
                  <a:cubicBezTo>
                    <a:pt x="42" y="173"/>
                    <a:pt x="41" y="174"/>
                    <a:pt x="41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46" y="188"/>
                    <a:pt x="46" y="188"/>
                    <a:pt x="46" y="188"/>
                  </a:cubicBezTo>
                  <a:cubicBezTo>
                    <a:pt x="46" y="188"/>
                    <a:pt x="46" y="190"/>
                    <a:pt x="46" y="192"/>
                  </a:cubicBezTo>
                  <a:cubicBezTo>
                    <a:pt x="46" y="193"/>
                    <a:pt x="45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3" y="195"/>
                    <a:pt x="43" y="195"/>
                    <a:pt x="43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8"/>
                    <a:pt x="40" y="198"/>
                  </a:cubicBezTo>
                  <a:cubicBezTo>
                    <a:pt x="39" y="199"/>
                    <a:pt x="37" y="196"/>
                    <a:pt x="36" y="199"/>
                  </a:cubicBezTo>
                  <a:cubicBezTo>
                    <a:pt x="35" y="203"/>
                    <a:pt x="33" y="206"/>
                    <a:pt x="33" y="207"/>
                  </a:cubicBezTo>
                  <a:cubicBezTo>
                    <a:pt x="32" y="208"/>
                    <a:pt x="29" y="209"/>
                    <a:pt x="29" y="211"/>
                  </a:cubicBezTo>
                  <a:cubicBezTo>
                    <a:pt x="28" y="213"/>
                    <a:pt x="28" y="211"/>
                    <a:pt x="26" y="216"/>
                  </a:cubicBezTo>
                  <a:cubicBezTo>
                    <a:pt x="24" y="221"/>
                    <a:pt x="23" y="223"/>
                    <a:pt x="23" y="223"/>
                  </a:cubicBezTo>
                  <a:cubicBezTo>
                    <a:pt x="14" y="235"/>
                    <a:pt x="14" y="235"/>
                    <a:pt x="14" y="235"/>
                  </a:cubicBezTo>
                  <a:cubicBezTo>
                    <a:pt x="14" y="235"/>
                    <a:pt x="9" y="243"/>
                    <a:pt x="9" y="244"/>
                  </a:cubicBezTo>
                  <a:cubicBezTo>
                    <a:pt x="9" y="245"/>
                    <a:pt x="9" y="249"/>
                    <a:pt x="9" y="249"/>
                  </a:cubicBezTo>
                  <a:cubicBezTo>
                    <a:pt x="13" y="253"/>
                    <a:pt x="13" y="253"/>
                    <a:pt x="13" y="253"/>
                  </a:cubicBezTo>
                  <a:cubicBezTo>
                    <a:pt x="13" y="257"/>
                    <a:pt x="13" y="257"/>
                    <a:pt x="13" y="257"/>
                  </a:cubicBezTo>
                  <a:cubicBezTo>
                    <a:pt x="13" y="257"/>
                    <a:pt x="13" y="260"/>
                    <a:pt x="14" y="261"/>
                  </a:cubicBezTo>
                  <a:cubicBezTo>
                    <a:pt x="15" y="261"/>
                    <a:pt x="15" y="261"/>
                    <a:pt x="15" y="261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5" y="267"/>
                    <a:pt x="16" y="267"/>
                  </a:cubicBezTo>
                  <a:cubicBezTo>
                    <a:pt x="16" y="267"/>
                    <a:pt x="18" y="268"/>
                    <a:pt x="18" y="268"/>
                  </a:cubicBezTo>
                  <a:cubicBezTo>
                    <a:pt x="18" y="268"/>
                    <a:pt x="20" y="270"/>
                    <a:pt x="20" y="270"/>
                  </a:cubicBezTo>
                  <a:cubicBezTo>
                    <a:pt x="21" y="271"/>
                    <a:pt x="20" y="273"/>
                    <a:pt x="20" y="273"/>
                  </a:cubicBezTo>
                  <a:cubicBezTo>
                    <a:pt x="20" y="273"/>
                    <a:pt x="20" y="274"/>
                    <a:pt x="19" y="274"/>
                  </a:cubicBezTo>
                  <a:cubicBezTo>
                    <a:pt x="18" y="274"/>
                    <a:pt x="18" y="274"/>
                    <a:pt x="16" y="274"/>
                  </a:cubicBezTo>
                  <a:cubicBezTo>
                    <a:pt x="16" y="273"/>
                    <a:pt x="16" y="273"/>
                    <a:pt x="15" y="273"/>
                  </a:cubicBezTo>
                  <a:cubicBezTo>
                    <a:pt x="13" y="273"/>
                    <a:pt x="13" y="273"/>
                    <a:pt x="13" y="273"/>
                  </a:cubicBezTo>
                  <a:cubicBezTo>
                    <a:pt x="12" y="273"/>
                    <a:pt x="12" y="273"/>
                    <a:pt x="11" y="273"/>
                  </a:cubicBezTo>
                  <a:cubicBezTo>
                    <a:pt x="10" y="273"/>
                    <a:pt x="10" y="273"/>
                    <a:pt x="10" y="273"/>
                  </a:cubicBezTo>
                  <a:cubicBezTo>
                    <a:pt x="9" y="273"/>
                    <a:pt x="9" y="273"/>
                    <a:pt x="8" y="274"/>
                  </a:cubicBezTo>
                  <a:cubicBezTo>
                    <a:pt x="8" y="275"/>
                    <a:pt x="8" y="275"/>
                    <a:pt x="8" y="275"/>
                  </a:cubicBezTo>
                  <a:cubicBezTo>
                    <a:pt x="8" y="275"/>
                    <a:pt x="7" y="276"/>
                    <a:pt x="7" y="277"/>
                  </a:cubicBezTo>
                  <a:cubicBezTo>
                    <a:pt x="6" y="277"/>
                    <a:pt x="6" y="279"/>
                    <a:pt x="6" y="279"/>
                  </a:cubicBezTo>
                  <a:cubicBezTo>
                    <a:pt x="6" y="279"/>
                    <a:pt x="6" y="280"/>
                    <a:pt x="6" y="280"/>
                  </a:cubicBezTo>
                  <a:cubicBezTo>
                    <a:pt x="6" y="280"/>
                    <a:pt x="6" y="282"/>
                    <a:pt x="6" y="282"/>
                  </a:cubicBezTo>
                  <a:cubicBezTo>
                    <a:pt x="5" y="284"/>
                    <a:pt x="5" y="284"/>
                    <a:pt x="5" y="284"/>
                  </a:cubicBezTo>
                  <a:cubicBezTo>
                    <a:pt x="5" y="284"/>
                    <a:pt x="4" y="285"/>
                    <a:pt x="5" y="286"/>
                  </a:cubicBezTo>
                  <a:cubicBezTo>
                    <a:pt x="5" y="286"/>
                    <a:pt x="5" y="287"/>
                    <a:pt x="5" y="287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4" y="290"/>
                    <a:pt x="4" y="290"/>
                    <a:pt x="4" y="290"/>
                  </a:cubicBezTo>
                  <a:cubicBezTo>
                    <a:pt x="4" y="292"/>
                    <a:pt x="4" y="292"/>
                    <a:pt x="4" y="292"/>
                  </a:cubicBezTo>
                  <a:cubicBezTo>
                    <a:pt x="4" y="292"/>
                    <a:pt x="5" y="293"/>
                    <a:pt x="4" y="294"/>
                  </a:cubicBezTo>
                  <a:cubicBezTo>
                    <a:pt x="4" y="294"/>
                    <a:pt x="3" y="295"/>
                    <a:pt x="3" y="295"/>
                  </a:cubicBezTo>
                  <a:cubicBezTo>
                    <a:pt x="3" y="295"/>
                    <a:pt x="1" y="297"/>
                    <a:pt x="1" y="297"/>
                  </a:cubicBezTo>
                  <a:cubicBezTo>
                    <a:pt x="1" y="297"/>
                    <a:pt x="1" y="298"/>
                    <a:pt x="1" y="298"/>
                  </a:cubicBezTo>
                  <a:cubicBezTo>
                    <a:pt x="1" y="298"/>
                    <a:pt x="0" y="300"/>
                    <a:pt x="0" y="300"/>
                  </a:cubicBezTo>
                  <a:cubicBezTo>
                    <a:pt x="0" y="300"/>
                    <a:pt x="0" y="303"/>
                    <a:pt x="0" y="303"/>
                  </a:cubicBezTo>
                  <a:cubicBezTo>
                    <a:pt x="0" y="303"/>
                    <a:pt x="1" y="304"/>
                    <a:pt x="1" y="304"/>
                  </a:cubicBezTo>
                  <a:cubicBezTo>
                    <a:pt x="1" y="304"/>
                    <a:pt x="1" y="305"/>
                    <a:pt x="1" y="306"/>
                  </a:cubicBezTo>
                  <a:cubicBezTo>
                    <a:pt x="0" y="306"/>
                    <a:pt x="1" y="307"/>
                    <a:pt x="1" y="308"/>
                  </a:cubicBezTo>
                  <a:cubicBezTo>
                    <a:pt x="1" y="308"/>
                    <a:pt x="1" y="309"/>
                    <a:pt x="1" y="309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1"/>
                    <a:pt x="0" y="311"/>
                    <a:pt x="0" y="311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2" y="314"/>
                    <a:pt x="2" y="314"/>
                    <a:pt x="2" y="314"/>
                  </a:cubicBezTo>
                  <a:cubicBezTo>
                    <a:pt x="3" y="313"/>
                    <a:pt x="3" y="313"/>
                    <a:pt x="3" y="313"/>
                  </a:cubicBezTo>
                  <a:cubicBezTo>
                    <a:pt x="8" y="311"/>
                    <a:pt x="8" y="311"/>
                    <a:pt x="8" y="311"/>
                  </a:cubicBezTo>
                  <a:cubicBezTo>
                    <a:pt x="11" y="314"/>
                    <a:pt x="11" y="314"/>
                    <a:pt x="11" y="314"/>
                  </a:cubicBezTo>
                  <a:cubicBezTo>
                    <a:pt x="14" y="317"/>
                    <a:pt x="14" y="317"/>
                    <a:pt x="14" y="317"/>
                  </a:cubicBezTo>
                  <a:cubicBezTo>
                    <a:pt x="19" y="317"/>
                    <a:pt x="19" y="317"/>
                    <a:pt x="19" y="317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5" y="324"/>
                    <a:pt x="25" y="324"/>
                    <a:pt x="25" y="324"/>
                  </a:cubicBezTo>
                  <a:cubicBezTo>
                    <a:pt x="30" y="323"/>
                    <a:pt x="30" y="323"/>
                    <a:pt x="30" y="323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34" y="329"/>
                    <a:pt x="38" y="324"/>
                    <a:pt x="39" y="323"/>
                  </a:cubicBezTo>
                  <a:cubicBezTo>
                    <a:pt x="40" y="322"/>
                    <a:pt x="44" y="321"/>
                    <a:pt x="44" y="321"/>
                  </a:cubicBezTo>
                  <a:cubicBezTo>
                    <a:pt x="44" y="321"/>
                    <a:pt x="46" y="323"/>
                    <a:pt x="48" y="324"/>
                  </a:cubicBezTo>
                  <a:cubicBezTo>
                    <a:pt x="51" y="324"/>
                    <a:pt x="51" y="324"/>
                    <a:pt x="51" y="324"/>
                  </a:cubicBezTo>
                  <a:cubicBezTo>
                    <a:pt x="53" y="324"/>
                    <a:pt x="61" y="323"/>
                    <a:pt x="61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8" y="321"/>
                    <a:pt x="78" y="321"/>
                    <a:pt x="78" y="321"/>
                  </a:cubicBezTo>
                  <a:cubicBezTo>
                    <a:pt x="90" y="322"/>
                    <a:pt x="90" y="322"/>
                    <a:pt x="90" y="322"/>
                  </a:cubicBezTo>
                  <a:cubicBezTo>
                    <a:pt x="92" y="321"/>
                    <a:pt x="92" y="321"/>
                    <a:pt x="92" y="321"/>
                  </a:cubicBezTo>
                  <a:cubicBezTo>
                    <a:pt x="93" y="322"/>
                    <a:pt x="93" y="322"/>
                    <a:pt x="93" y="322"/>
                  </a:cubicBezTo>
                  <a:cubicBezTo>
                    <a:pt x="97" y="321"/>
                    <a:pt x="97" y="321"/>
                    <a:pt x="97" y="321"/>
                  </a:cubicBezTo>
                  <a:cubicBezTo>
                    <a:pt x="101" y="325"/>
                    <a:pt x="101" y="325"/>
                    <a:pt x="101" y="325"/>
                  </a:cubicBezTo>
                  <a:cubicBezTo>
                    <a:pt x="109" y="324"/>
                    <a:pt x="109" y="324"/>
                    <a:pt x="109" y="324"/>
                  </a:cubicBezTo>
                  <a:cubicBezTo>
                    <a:pt x="114" y="317"/>
                    <a:pt x="114" y="317"/>
                    <a:pt x="114" y="317"/>
                  </a:cubicBezTo>
                  <a:cubicBezTo>
                    <a:pt x="114" y="317"/>
                    <a:pt x="117" y="314"/>
                    <a:pt x="121" y="313"/>
                  </a:cubicBezTo>
                  <a:cubicBezTo>
                    <a:pt x="125" y="313"/>
                    <a:pt x="132" y="310"/>
                    <a:pt x="132" y="310"/>
                  </a:cubicBezTo>
                  <a:lnTo>
                    <a:pt x="141" y="30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8" name="Freeform 92"/>
            <p:cNvSpPr>
              <a:spLocks noEditPoints="1"/>
            </p:cNvSpPr>
            <p:nvPr/>
          </p:nvSpPr>
          <p:spPr bwMode="auto">
            <a:xfrm>
              <a:off x="4421493" y="2014051"/>
              <a:ext cx="670336" cy="1766036"/>
            </a:xfrm>
            <a:custGeom>
              <a:avLst/>
              <a:gdLst>
                <a:gd name="T0" fmla="*/ 246 w 282"/>
                <a:gd name="T1" fmla="*/ 59 h 766"/>
                <a:gd name="T2" fmla="*/ 210 w 282"/>
                <a:gd name="T3" fmla="*/ 30 h 766"/>
                <a:gd name="T4" fmla="*/ 183 w 282"/>
                <a:gd name="T5" fmla="*/ 8 h 766"/>
                <a:gd name="T6" fmla="*/ 167 w 282"/>
                <a:gd name="T7" fmla="*/ 32 h 766"/>
                <a:gd name="T8" fmla="*/ 123 w 282"/>
                <a:gd name="T9" fmla="*/ 69 h 766"/>
                <a:gd name="T10" fmla="*/ 100 w 282"/>
                <a:gd name="T11" fmla="*/ 111 h 766"/>
                <a:gd name="T12" fmla="*/ 65 w 282"/>
                <a:gd name="T13" fmla="*/ 180 h 766"/>
                <a:gd name="T14" fmla="*/ 52 w 282"/>
                <a:gd name="T15" fmla="*/ 265 h 766"/>
                <a:gd name="T16" fmla="*/ 15 w 282"/>
                <a:gd name="T17" fmla="*/ 333 h 766"/>
                <a:gd name="T18" fmla="*/ 25 w 282"/>
                <a:gd name="T19" fmla="*/ 418 h 766"/>
                <a:gd name="T20" fmla="*/ 27 w 282"/>
                <a:gd name="T21" fmla="*/ 466 h 766"/>
                <a:gd name="T22" fmla="*/ 29 w 282"/>
                <a:gd name="T23" fmla="*/ 515 h 766"/>
                <a:gd name="T24" fmla="*/ 13 w 282"/>
                <a:gd name="T25" fmla="*/ 535 h 766"/>
                <a:gd name="T26" fmla="*/ 8 w 282"/>
                <a:gd name="T27" fmla="*/ 567 h 766"/>
                <a:gd name="T28" fmla="*/ 10 w 282"/>
                <a:gd name="T29" fmla="*/ 603 h 766"/>
                <a:gd name="T30" fmla="*/ 12 w 282"/>
                <a:gd name="T31" fmla="*/ 616 h 766"/>
                <a:gd name="T32" fmla="*/ 19 w 282"/>
                <a:gd name="T33" fmla="*/ 636 h 766"/>
                <a:gd name="T34" fmla="*/ 25 w 282"/>
                <a:gd name="T35" fmla="*/ 655 h 766"/>
                <a:gd name="T36" fmla="*/ 46 w 282"/>
                <a:gd name="T37" fmla="*/ 685 h 766"/>
                <a:gd name="T38" fmla="*/ 50 w 282"/>
                <a:gd name="T39" fmla="*/ 705 h 766"/>
                <a:gd name="T40" fmla="*/ 60 w 282"/>
                <a:gd name="T41" fmla="*/ 739 h 766"/>
                <a:gd name="T42" fmla="*/ 64 w 282"/>
                <a:gd name="T43" fmla="*/ 764 h 766"/>
                <a:gd name="T44" fmla="*/ 93 w 282"/>
                <a:gd name="T45" fmla="*/ 758 h 766"/>
                <a:gd name="T46" fmla="*/ 107 w 282"/>
                <a:gd name="T47" fmla="*/ 752 h 766"/>
                <a:gd name="T48" fmla="*/ 114 w 282"/>
                <a:gd name="T49" fmla="*/ 729 h 766"/>
                <a:gd name="T50" fmla="*/ 122 w 282"/>
                <a:gd name="T51" fmla="*/ 717 h 766"/>
                <a:gd name="T52" fmla="*/ 158 w 282"/>
                <a:gd name="T53" fmla="*/ 688 h 766"/>
                <a:gd name="T54" fmla="*/ 165 w 282"/>
                <a:gd name="T55" fmla="*/ 629 h 766"/>
                <a:gd name="T56" fmla="*/ 163 w 282"/>
                <a:gd name="T57" fmla="*/ 590 h 766"/>
                <a:gd name="T58" fmla="*/ 182 w 282"/>
                <a:gd name="T59" fmla="*/ 559 h 766"/>
                <a:gd name="T60" fmla="*/ 191 w 282"/>
                <a:gd name="T61" fmla="*/ 558 h 766"/>
                <a:gd name="T62" fmla="*/ 205 w 282"/>
                <a:gd name="T63" fmla="*/ 541 h 766"/>
                <a:gd name="T64" fmla="*/ 207 w 282"/>
                <a:gd name="T65" fmla="*/ 514 h 766"/>
                <a:gd name="T66" fmla="*/ 199 w 282"/>
                <a:gd name="T67" fmla="*/ 493 h 766"/>
                <a:gd name="T68" fmla="*/ 180 w 282"/>
                <a:gd name="T69" fmla="*/ 467 h 766"/>
                <a:gd name="T70" fmla="*/ 161 w 282"/>
                <a:gd name="T71" fmla="*/ 459 h 766"/>
                <a:gd name="T72" fmla="*/ 151 w 282"/>
                <a:gd name="T73" fmla="*/ 424 h 766"/>
                <a:gd name="T74" fmla="*/ 157 w 282"/>
                <a:gd name="T75" fmla="*/ 407 h 766"/>
                <a:gd name="T76" fmla="*/ 154 w 282"/>
                <a:gd name="T77" fmla="*/ 369 h 766"/>
                <a:gd name="T78" fmla="*/ 168 w 282"/>
                <a:gd name="T79" fmla="*/ 350 h 766"/>
                <a:gd name="T80" fmla="*/ 182 w 282"/>
                <a:gd name="T81" fmla="*/ 325 h 766"/>
                <a:gd name="T82" fmla="*/ 196 w 282"/>
                <a:gd name="T83" fmla="*/ 307 h 766"/>
                <a:gd name="T84" fmla="*/ 210 w 282"/>
                <a:gd name="T85" fmla="*/ 295 h 766"/>
                <a:gd name="T86" fmla="*/ 225 w 282"/>
                <a:gd name="T87" fmla="*/ 266 h 766"/>
                <a:gd name="T88" fmla="*/ 229 w 282"/>
                <a:gd name="T89" fmla="*/ 238 h 766"/>
                <a:gd name="T90" fmla="*/ 225 w 282"/>
                <a:gd name="T91" fmla="*/ 219 h 766"/>
                <a:gd name="T92" fmla="*/ 229 w 282"/>
                <a:gd name="T93" fmla="*/ 198 h 766"/>
                <a:gd name="T94" fmla="*/ 242 w 282"/>
                <a:gd name="T95" fmla="*/ 187 h 766"/>
                <a:gd name="T96" fmla="*/ 258 w 282"/>
                <a:gd name="T97" fmla="*/ 170 h 766"/>
                <a:gd name="T98" fmla="*/ 269 w 282"/>
                <a:gd name="T99" fmla="*/ 173 h 766"/>
                <a:gd name="T100" fmla="*/ 275 w 282"/>
                <a:gd name="T101" fmla="*/ 169 h 766"/>
                <a:gd name="T102" fmla="*/ 279 w 282"/>
                <a:gd name="T103" fmla="*/ 165 h 766"/>
                <a:gd name="T104" fmla="*/ 266 w 282"/>
                <a:gd name="T105" fmla="*/ 119 h 766"/>
                <a:gd name="T106" fmla="*/ 164 w 282"/>
                <a:gd name="T107" fmla="*/ 699 h 766"/>
                <a:gd name="T108" fmla="*/ 174 w 282"/>
                <a:gd name="T109" fmla="*/ 650 h 766"/>
                <a:gd name="T110" fmla="*/ 175 w 282"/>
                <a:gd name="T111" fmla="*/ 673 h 766"/>
                <a:gd name="T112" fmla="*/ 165 w 282"/>
                <a:gd name="T113" fmla="*/ 710 h 766"/>
                <a:gd name="T114" fmla="*/ 210 w 282"/>
                <a:gd name="T115" fmla="*/ 625 h 766"/>
                <a:gd name="T116" fmla="*/ 229 w 282"/>
                <a:gd name="T117" fmla="*/ 607 h 766"/>
                <a:gd name="T118" fmla="*/ 224 w 282"/>
                <a:gd name="T119" fmla="*/ 631 h 766"/>
                <a:gd name="T120" fmla="*/ 216 w 282"/>
                <a:gd name="T121" fmla="*/ 66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2" h="766">
                  <a:moveTo>
                    <a:pt x="255" y="88"/>
                  </a:moveTo>
                  <a:cubicBezTo>
                    <a:pt x="255" y="87"/>
                    <a:pt x="255" y="87"/>
                    <a:pt x="255" y="87"/>
                  </a:cubicBezTo>
                  <a:cubicBezTo>
                    <a:pt x="255" y="87"/>
                    <a:pt x="253" y="83"/>
                    <a:pt x="254" y="81"/>
                  </a:cubicBezTo>
                  <a:cubicBezTo>
                    <a:pt x="254" y="81"/>
                    <a:pt x="254" y="81"/>
                    <a:pt x="254" y="80"/>
                  </a:cubicBezTo>
                  <a:cubicBezTo>
                    <a:pt x="254" y="79"/>
                    <a:pt x="254" y="79"/>
                    <a:pt x="254" y="79"/>
                  </a:cubicBezTo>
                  <a:cubicBezTo>
                    <a:pt x="250" y="80"/>
                    <a:pt x="250" y="80"/>
                    <a:pt x="250" y="80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8" y="71"/>
                    <a:pt x="248" y="71"/>
                    <a:pt x="248" y="71"/>
                  </a:cubicBezTo>
                  <a:cubicBezTo>
                    <a:pt x="246" y="59"/>
                    <a:pt x="246" y="59"/>
                    <a:pt x="246" y="59"/>
                  </a:cubicBezTo>
                  <a:cubicBezTo>
                    <a:pt x="248" y="53"/>
                    <a:pt x="248" y="53"/>
                    <a:pt x="248" y="53"/>
                  </a:cubicBezTo>
                  <a:cubicBezTo>
                    <a:pt x="242" y="50"/>
                    <a:pt x="242" y="50"/>
                    <a:pt x="242" y="50"/>
                  </a:cubicBezTo>
                  <a:cubicBezTo>
                    <a:pt x="238" y="44"/>
                    <a:pt x="238" y="44"/>
                    <a:pt x="238" y="44"/>
                  </a:cubicBezTo>
                  <a:cubicBezTo>
                    <a:pt x="238" y="44"/>
                    <a:pt x="237" y="46"/>
                    <a:pt x="236" y="45"/>
                  </a:cubicBezTo>
                  <a:cubicBezTo>
                    <a:pt x="235" y="44"/>
                    <a:pt x="230" y="36"/>
                    <a:pt x="230" y="36"/>
                  </a:cubicBezTo>
                  <a:cubicBezTo>
                    <a:pt x="221" y="33"/>
                    <a:pt x="221" y="33"/>
                    <a:pt x="221" y="33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12" y="30"/>
                    <a:pt x="212" y="30"/>
                    <a:pt x="212" y="30"/>
                  </a:cubicBezTo>
                  <a:cubicBezTo>
                    <a:pt x="212" y="30"/>
                    <a:pt x="211" y="32"/>
                    <a:pt x="210" y="30"/>
                  </a:cubicBezTo>
                  <a:cubicBezTo>
                    <a:pt x="209" y="28"/>
                    <a:pt x="207" y="26"/>
                    <a:pt x="207" y="26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0" y="23"/>
                    <a:pt x="200" y="23"/>
                    <a:pt x="200" y="23"/>
                  </a:cubicBezTo>
                  <a:cubicBezTo>
                    <a:pt x="200" y="23"/>
                    <a:pt x="199" y="23"/>
                    <a:pt x="198" y="23"/>
                  </a:cubicBezTo>
                  <a:cubicBezTo>
                    <a:pt x="197" y="22"/>
                    <a:pt x="195" y="21"/>
                    <a:pt x="195" y="21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88" y="14"/>
                    <a:pt x="188" y="14"/>
                    <a:pt x="188" y="14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76" y="4"/>
                    <a:pt x="176" y="4"/>
                    <a:pt x="176" y="4"/>
                  </a:cubicBezTo>
                  <a:cubicBezTo>
                    <a:pt x="176" y="4"/>
                    <a:pt x="175" y="2"/>
                    <a:pt x="176" y="2"/>
                  </a:cubicBezTo>
                  <a:cubicBezTo>
                    <a:pt x="177" y="1"/>
                    <a:pt x="180" y="1"/>
                    <a:pt x="182" y="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6" y="6"/>
                    <a:pt x="166" y="7"/>
                  </a:cubicBezTo>
                  <a:cubicBezTo>
                    <a:pt x="167" y="8"/>
                    <a:pt x="169" y="17"/>
                    <a:pt x="170" y="19"/>
                  </a:cubicBezTo>
                  <a:cubicBezTo>
                    <a:pt x="171" y="20"/>
                    <a:pt x="171" y="27"/>
                    <a:pt x="167" y="32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55" y="41"/>
                    <a:pt x="154" y="40"/>
                  </a:cubicBezTo>
                  <a:cubicBezTo>
                    <a:pt x="153" y="39"/>
                    <a:pt x="148" y="37"/>
                    <a:pt x="147" y="37"/>
                  </a:cubicBezTo>
                  <a:cubicBezTo>
                    <a:pt x="145" y="38"/>
                    <a:pt x="131" y="37"/>
                    <a:pt x="131" y="37"/>
                  </a:cubicBezTo>
                  <a:cubicBezTo>
                    <a:pt x="128" y="41"/>
                    <a:pt x="129" y="62"/>
                    <a:pt x="130" y="65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13" y="64"/>
                    <a:pt x="113" y="64"/>
                    <a:pt x="113" y="64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9" y="72"/>
                    <a:pt x="105" y="76"/>
                    <a:pt x="105" y="78"/>
                  </a:cubicBezTo>
                  <a:cubicBezTo>
                    <a:pt x="105" y="79"/>
                    <a:pt x="103" y="83"/>
                    <a:pt x="103" y="83"/>
                  </a:cubicBezTo>
                  <a:cubicBezTo>
                    <a:pt x="103" y="84"/>
                    <a:pt x="103" y="91"/>
                    <a:pt x="103" y="91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5" y="104"/>
                    <a:pt x="95" y="104"/>
                    <a:pt x="95" y="104"/>
                  </a:cubicBezTo>
                  <a:cubicBezTo>
                    <a:pt x="95" y="104"/>
                    <a:pt x="98" y="110"/>
                    <a:pt x="100" y="111"/>
                  </a:cubicBezTo>
                  <a:cubicBezTo>
                    <a:pt x="101" y="113"/>
                    <a:pt x="103" y="121"/>
                    <a:pt x="103" y="121"/>
                  </a:cubicBezTo>
                  <a:cubicBezTo>
                    <a:pt x="103" y="121"/>
                    <a:pt x="100" y="128"/>
                    <a:pt x="99" y="130"/>
                  </a:cubicBezTo>
                  <a:cubicBezTo>
                    <a:pt x="98" y="132"/>
                    <a:pt x="90" y="142"/>
                    <a:pt x="90" y="142"/>
                  </a:cubicBezTo>
                  <a:cubicBezTo>
                    <a:pt x="85" y="155"/>
                    <a:pt x="85" y="155"/>
                    <a:pt x="85" y="155"/>
                  </a:cubicBezTo>
                  <a:cubicBezTo>
                    <a:pt x="85" y="164"/>
                    <a:pt x="85" y="164"/>
                    <a:pt x="85" y="164"/>
                  </a:cubicBezTo>
                  <a:cubicBezTo>
                    <a:pt x="84" y="169"/>
                    <a:pt x="84" y="169"/>
                    <a:pt x="84" y="169"/>
                  </a:cubicBezTo>
                  <a:cubicBezTo>
                    <a:pt x="77" y="176"/>
                    <a:pt x="77" y="176"/>
                    <a:pt x="77" y="176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5" y="180"/>
                    <a:pt x="65" y="180"/>
                    <a:pt x="65" y="180"/>
                  </a:cubicBezTo>
                  <a:cubicBezTo>
                    <a:pt x="70" y="197"/>
                    <a:pt x="70" y="197"/>
                    <a:pt x="70" y="197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7" y="212"/>
                    <a:pt x="67" y="212"/>
                    <a:pt x="67" y="212"/>
                  </a:cubicBezTo>
                  <a:cubicBezTo>
                    <a:pt x="67" y="212"/>
                    <a:pt x="65" y="218"/>
                    <a:pt x="66" y="219"/>
                  </a:cubicBezTo>
                  <a:cubicBezTo>
                    <a:pt x="67" y="221"/>
                    <a:pt x="68" y="225"/>
                    <a:pt x="68" y="225"/>
                  </a:cubicBezTo>
                  <a:cubicBezTo>
                    <a:pt x="64" y="228"/>
                    <a:pt x="64" y="228"/>
                    <a:pt x="64" y="228"/>
                  </a:cubicBezTo>
                  <a:cubicBezTo>
                    <a:pt x="65" y="234"/>
                    <a:pt x="65" y="234"/>
                    <a:pt x="65" y="234"/>
                  </a:cubicBezTo>
                  <a:cubicBezTo>
                    <a:pt x="50" y="260"/>
                    <a:pt x="50" y="260"/>
                    <a:pt x="50" y="260"/>
                  </a:cubicBezTo>
                  <a:cubicBezTo>
                    <a:pt x="52" y="265"/>
                    <a:pt x="52" y="265"/>
                    <a:pt x="52" y="265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62" y="283"/>
                    <a:pt x="62" y="283"/>
                    <a:pt x="62" y="283"/>
                  </a:cubicBezTo>
                  <a:cubicBezTo>
                    <a:pt x="59" y="290"/>
                    <a:pt x="59" y="290"/>
                    <a:pt x="59" y="290"/>
                  </a:cubicBezTo>
                  <a:cubicBezTo>
                    <a:pt x="58" y="292"/>
                    <a:pt x="58" y="292"/>
                    <a:pt x="58" y="292"/>
                  </a:cubicBezTo>
                  <a:cubicBezTo>
                    <a:pt x="34" y="293"/>
                    <a:pt x="34" y="293"/>
                    <a:pt x="34" y="293"/>
                  </a:cubicBezTo>
                  <a:cubicBezTo>
                    <a:pt x="21" y="310"/>
                    <a:pt x="21" y="310"/>
                    <a:pt x="21" y="310"/>
                  </a:cubicBezTo>
                  <a:cubicBezTo>
                    <a:pt x="19" y="320"/>
                    <a:pt x="19" y="320"/>
                    <a:pt x="19" y="320"/>
                  </a:cubicBezTo>
                  <a:cubicBezTo>
                    <a:pt x="18" y="327"/>
                    <a:pt x="18" y="327"/>
                    <a:pt x="18" y="327"/>
                  </a:cubicBezTo>
                  <a:cubicBezTo>
                    <a:pt x="18" y="327"/>
                    <a:pt x="15" y="331"/>
                    <a:pt x="15" y="333"/>
                  </a:cubicBezTo>
                  <a:cubicBezTo>
                    <a:pt x="15" y="334"/>
                    <a:pt x="15" y="340"/>
                    <a:pt x="15" y="340"/>
                  </a:cubicBezTo>
                  <a:cubicBezTo>
                    <a:pt x="19" y="348"/>
                    <a:pt x="19" y="348"/>
                    <a:pt x="19" y="348"/>
                  </a:cubicBezTo>
                  <a:cubicBezTo>
                    <a:pt x="19" y="354"/>
                    <a:pt x="19" y="354"/>
                    <a:pt x="19" y="354"/>
                  </a:cubicBezTo>
                  <a:cubicBezTo>
                    <a:pt x="17" y="357"/>
                    <a:pt x="17" y="357"/>
                    <a:pt x="17" y="357"/>
                  </a:cubicBezTo>
                  <a:cubicBezTo>
                    <a:pt x="18" y="364"/>
                    <a:pt x="18" y="364"/>
                    <a:pt x="18" y="364"/>
                  </a:cubicBezTo>
                  <a:cubicBezTo>
                    <a:pt x="18" y="364"/>
                    <a:pt x="19" y="366"/>
                    <a:pt x="18" y="367"/>
                  </a:cubicBezTo>
                  <a:cubicBezTo>
                    <a:pt x="16" y="369"/>
                    <a:pt x="16" y="371"/>
                    <a:pt x="17" y="373"/>
                  </a:cubicBezTo>
                  <a:cubicBezTo>
                    <a:pt x="17" y="374"/>
                    <a:pt x="24" y="387"/>
                    <a:pt x="24" y="387"/>
                  </a:cubicBezTo>
                  <a:cubicBezTo>
                    <a:pt x="25" y="418"/>
                    <a:pt x="25" y="418"/>
                    <a:pt x="25" y="418"/>
                  </a:cubicBezTo>
                  <a:cubicBezTo>
                    <a:pt x="28" y="426"/>
                    <a:pt x="28" y="426"/>
                    <a:pt x="28" y="426"/>
                  </a:cubicBezTo>
                  <a:cubicBezTo>
                    <a:pt x="35" y="431"/>
                    <a:pt x="35" y="431"/>
                    <a:pt x="35" y="431"/>
                  </a:cubicBezTo>
                  <a:cubicBezTo>
                    <a:pt x="41" y="436"/>
                    <a:pt x="41" y="436"/>
                    <a:pt x="41" y="436"/>
                  </a:cubicBezTo>
                  <a:cubicBezTo>
                    <a:pt x="42" y="445"/>
                    <a:pt x="42" y="445"/>
                    <a:pt x="42" y="445"/>
                  </a:cubicBezTo>
                  <a:cubicBezTo>
                    <a:pt x="42" y="445"/>
                    <a:pt x="40" y="452"/>
                    <a:pt x="40" y="453"/>
                  </a:cubicBezTo>
                  <a:cubicBezTo>
                    <a:pt x="41" y="454"/>
                    <a:pt x="35" y="454"/>
                    <a:pt x="35" y="454"/>
                  </a:cubicBezTo>
                  <a:cubicBezTo>
                    <a:pt x="30" y="455"/>
                    <a:pt x="30" y="455"/>
                    <a:pt x="30" y="455"/>
                  </a:cubicBezTo>
                  <a:cubicBezTo>
                    <a:pt x="25" y="460"/>
                    <a:pt x="25" y="460"/>
                    <a:pt x="25" y="460"/>
                  </a:cubicBezTo>
                  <a:cubicBezTo>
                    <a:pt x="27" y="466"/>
                    <a:pt x="27" y="466"/>
                    <a:pt x="27" y="466"/>
                  </a:cubicBezTo>
                  <a:cubicBezTo>
                    <a:pt x="30" y="475"/>
                    <a:pt x="30" y="475"/>
                    <a:pt x="30" y="475"/>
                  </a:cubicBezTo>
                  <a:cubicBezTo>
                    <a:pt x="36" y="482"/>
                    <a:pt x="36" y="482"/>
                    <a:pt x="36" y="482"/>
                  </a:cubicBezTo>
                  <a:cubicBezTo>
                    <a:pt x="38" y="488"/>
                    <a:pt x="38" y="488"/>
                    <a:pt x="38" y="488"/>
                  </a:cubicBezTo>
                  <a:cubicBezTo>
                    <a:pt x="35" y="494"/>
                    <a:pt x="35" y="494"/>
                    <a:pt x="35" y="494"/>
                  </a:cubicBezTo>
                  <a:cubicBezTo>
                    <a:pt x="33" y="497"/>
                    <a:pt x="33" y="497"/>
                    <a:pt x="33" y="497"/>
                  </a:cubicBezTo>
                  <a:cubicBezTo>
                    <a:pt x="35" y="502"/>
                    <a:pt x="35" y="502"/>
                    <a:pt x="35" y="502"/>
                  </a:cubicBezTo>
                  <a:cubicBezTo>
                    <a:pt x="35" y="507"/>
                    <a:pt x="35" y="507"/>
                    <a:pt x="35" y="507"/>
                  </a:cubicBezTo>
                  <a:cubicBezTo>
                    <a:pt x="35" y="507"/>
                    <a:pt x="33" y="510"/>
                    <a:pt x="33" y="511"/>
                  </a:cubicBezTo>
                  <a:cubicBezTo>
                    <a:pt x="33" y="512"/>
                    <a:pt x="29" y="515"/>
                    <a:pt x="29" y="515"/>
                  </a:cubicBezTo>
                  <a:cubicBezTo>
                    <a:pt x="26" y="518"/>
                    <a:pt x="26" y="518"/>
                    <a:pt x="26" y="518"/>
                  </a:cubicBezTo>
                  <a:cubicBezTo>
                    <a:pt x="23" y="519"/>
                    <a:pt x="23" y="519"/>
                    <a:pt x="23" y="519"/>
                  </a:cubicBezTo>
                  <a:cubicBezTo>
                    <a:pt x="23" y="519"/>
                    <a:pt x="21" y="518"/>
                    <a:pt x="20" y="519"/>
                  </a:cubicBezTo>
                  <a:cubicBezTo>
                    <a:pt x="20" y="519"/>
                    <a:pt x="18" y="521"/>
                    <a:pt x="18" y="521"/>
                  </a:cubicBezTo>
                  <a:cubicBezTo>
                    <a:pt x="18" y="524"/>
                    <a:pt x="18" y="524"/>
                    <a:pt x="18" y="524"/>
                  </a:cubicBezTo>
                  <a:cubicBezTo>
                    <a:pt x="20" y="526"/>
                    <a:pt x="20" y="526"/>
                    <a:pt x="20" y="526"/>
                  </a:cubicBezTo>
                  <a:cubicBezTo>
                    <a:pt x="19" y="531"/>
                    <a:pt x="19" y="531"/>
                    <a:pt x="19" y="531"/>
                  </a:cubicBezTo>
                  <a:cubicBezTo>
                    <a:pt x="16" y="534"/>
                    <a:pt x="16" y="534"/>
                    <a:pt x="16" y="534"/>
                  </a:cubicBezTo>
                  <a:cubicBezTo>
                    <a:pt x="13" y="535"/>
                    <a:pt x="13" y="535"/>
                    <a:pt x="13" y="535"/>
                  </a:cubicBezTo>
                  <a:cubicBezTo>
                    <a:pt x="15" y="541"/>
                    <a:pt x="15" y="541"/>
                    <a:pt x="15" y="541"/>
                  </a:cubicBezTo>
                  <a:cubicBezTo>
                    <a:pt x="19" y="548"/>
                    <a:pt x="19" y="548"/>
                    <a:pt x="19" y="548"/>
                  </a:cubicBezTo>
                  <a:cubicBezTo>
                    <a:pt x="19" y="554"/>
                    <a:pt x="19" y="554"/>
                    <a:pt x="19" y="554"/>
                  </a:cubicBezTo>
                  <a:cubicBezTo>
                    <a:pt x="16" y="560"/>
                    <a:pt x="16" y="560"/>
                    <a:pt x="16" y="560"/>
                  </a:cubicBezTo>
                  <a:cubicBezTo>
                    <a:pt x="15" y="567"/>
                    <a:pt x="15" y="567"/>
                    <a:pt x="15" y="567"/>
                  </a:cubicBezTo>
                  <a:cubicBezTo>
                    <a:pt x="14" y="573"/>
                    <a:pt x="14" y="573"/>
                    <a:pt x="14" y="573"/>
                  </a:cubicBezTo>
                  <a:cubicBezTo>
                    <a:pt x="12" y="574"/>
                    <a:pt x="12" y="574"/>
                    <a:pt x="12" y="574"/>
                  </a:cubicBezTo>
                  <a:cubicBezTo>
                    <a:pt x="9" y="574"/>
                    <a:pt x="9" y="574"/>
                    <a:pt x="9" y="574"/>
                  </a:cubicBezTo>
                  <a:cubicBezTo>
                    <a:pt x="9" y="574"/>
                    <a:pt x="9" y="568"/>
                    <a:pt x="8" y="567"/>
                  </a:cubicBezTo>
                  <a:cubicBezTo>
                    <a:pt x="8" y="567"/>
                    <a:pt x="1" y="561"/>
                    <a:pt x="1" y="561"/>
                  </a:cubicBezTo>
                  <a:cubicBezTo>
                    <a:pt x="1" y="567"/>
                    <a:pt x="1" y="567"/>
                    <a:pt x="1" y="567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0" y="574"/>
                    <a:pt x="1" y="578"/>
                    <a:pt x="2" y="579"/>
                  </a:cubicBezTo>
                  <a:cubicBezTo>
                    <a:pt x="3" y="580"/>
                    <a:pt x="4" y="587"/>
                    <a:pt x="4" y="587"/>
                  </a:cubicBezTo>
                  <a:cubicBezTo>
                    <a:pt x="3" y="594"/>
                    <a:pt x="3" y="594"/>
                    <a:pt x="3" y="594"/>
                  </a:cubicBezTo>
                  <a:cubicBezTo>
                    <a:pt x="3" y="594"/>
                    <a:pt x="5" y="599"/>
                    <a:pt x="5" y="599"/>
                  </a:cubicBezTo>
                  <a:cubicBezTo>
                    <a:pt x="5" y="600"/>
                    <a:pt x="6" y="604"/>
                    <a:pt x="6" y="604"/>
                  </a:cubicBezTo>
                  <a:cubicBezTo>
                    <a:pt x="10" y="603"/>
                    <a:pt x="10" y="603"/>
                    <a:pt x="10" y="603"/>
                  </a:cubicBezTo>
                  <a:cubicBezTo>
                    <a:pt x="9" y="600"/>
                    <a:pt x="9" y="600"/>
                    <a:pt x="9" y="600"/>
                  </a:cubicBezTo>
                  <a:cubicBezTo>
                    <a:pt x="12" y="604"/>
                    <a:pt x="12" y="604"/>
                    <a:pt x="12" y="604"/>
                  </a:cubicBezTo>
                  <a:cubicBezTo>
                    <a:pt x="12" y="604"/>
                    <a:pt x="10" y="605"/>
                    <a:pt x="12" y="604"/>
                  </a:cubicBezTo>
                  <a:cubicBezTo>
                    <a:pt x="13" y="604"/>
                    <a:pt x="15" y="602"/>
                    <a:pt x="15" y="602"/>
                  </a:cubicBezTo>
                  <a:cubicBezTo>
                    <a:pt x="14" y="605"/>
                    <a:pt x="14" y="605"/>
                    <a:pt x="14" y="605"/>
                  </a:cubicBezTo>
                  <a:cubicBezTo>
                    <a:pt x="12" y="609"/>
                    <a:pt x="12" y="609"/>
                    <a:pt x="12" y="609"/>
                  </a:cubicBezTo>
                  <a:cubicBezTo>
                    <a:pt x="13" y="610"/>
                    <a:pt x="13" y="610"/>
                    <a:pt x="13" y="610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2" y="616"/>
                    <a:pt x="12" y="616"/>
                    <a:pt x="12" y="616"/>
                  </a:cubicBezTo>
                  <a:cubicBezTo>
                    <a:pt x="12" y="616"/>
                    <a:pt x="14" y="619"/>
                    <a:pt x="15" y="620"/>
                  </a:cubicBezTo>
                  <a:cubicBezTo>
                    <a:pt x="15" y="620"/>
                    <a:pt x="19" y="617"/>
                    <a:pt x="19" y="617"/>
                  </a:cubicBezTo>
                  <a:cubicBezTo>
                    <a:pt x="19" y="617"/>
                    <a:pt x="19" y="618"/>
                    <a:pt x="19" y="619"/>
                  </a:cubicBezTo>
                  <a:cubicBezTo>
                    <a:pt x="19" y="619"/>
                    <a:pt x="16" y="622"/>
                    <a:pt x="16" y="624"/>
                  </a:cubicBezTo>
                  <a:cubicBezTo>
                    <a:pt x="17" y="625"/>
                    <a:pt x="22" y="623"/>
                    <a:pt x="21" y="624"/>
                  </a:cubicBezTo>
                  <a:cubicBezTo>
                    <a:pt x="20" y="625"/>
                    <a:pt x="20" y="627"/>
                    <a:pt x="20" y="627"/>
                  </a:cubicBezTo>
                  <a:cubicBezTo>
                    <a:pt x="20" y="627"/>
                    <a:pt x="17" y="630"/>
                    <a:pt x="19" y="631"/>
                  </a:cubicBezTo>
                  <a:cubicBezTo>
                    <a:pt x="20" y="632"/>
                    <a:pt x="23" y="633"/>
                    <a:pt x="22" y="633"/>
                  </a:cubicBezTo>
                  <a:cubicBezTo>
                    <a:pt x="22" y="634"/>
                    <a:pt x="19" y="636"/>
                    <a:pt x="19" y="636"/>
                  </a:cubicBezTo>
                  <a:cubicBezTo>
                    <a:pt x="19" y="636"/>
                    <a:pt x="18" y="638"/>
                    <a:pt x="19" y="639"/>
                  </a:cubicBezTo>
                  <a:cubicBezTo>
                    <a:pt x="20" y="640"/>
                    <a:pt x="23" y="640"/>
                    <a:pt x="23" y="640"/>
                  </a:cubicBezTo>
                  <a:cubicBezTo>
                    <a:pt x="23" y="640"/>
                    <a:pt x="23" y="638"/>
                    <a:pt x="23" y="639"/>
                  </a:cubicBezTo>
                  <a:cubicBezTo>
                    <a:pt x="23" y="640"/>
                    <a:pt x="22" y="642"/>
                    <a:pt x="22" y="642"/>
                  </a:cubicBezTo>
                  <a:cubicBezTo>
                    <a:pt x="22" y="642"/>
                    <a:pt x="21" y="644"/>
                    <a:pt x="22" y="645"/>
                  </a:cubicBezTo>
                  <a:cubicBezTo>
                    <a:pt x="23" y="645"/>
                    <a:pt x="25" y="645"/>
                    <a:pt x="25" y="645"/>
                  </a:cubicBezTo>
                  <a:cubicBezTo>
                    <a:pt x="25" y="645"/>
                    <a:pt x="25" y="646"/>
                    <a:pt x="25" y="648"/>
                  </a:cubicBezTo>
                  <a:cubicBezTo>
                    <a:pt x="25" y="649"/>
                    <a:pt x="25" y="652"/>
                    <a:pt x="25" y="652"/>
                  </a:cubicBezTo>
                  <a:cubicBezTo>
                    <a:pt x="25" y="653"/>
                    <a:pt x="25" y="655"/>
                    <a:pt x="25" y="655"/>
                  </a:cubicBezTo>
                  <a:cubicBezTo>
                    <a:pt x="25" y="655"/>
                    <a:pt x="24" y="656"/>
                    <a:pt x="27" y="656"/>
                  </a:cubicBezTo>
                  <a:cubicBezTo>
                    <a:pt x="29" y="656"/>
                    <a:pt x="29" y="655"/>
                    <a:pt x="30" y="655"/>
                  </a:cubicBezTo>
                  <a:cubicBezTo>
                    <a:pt x="31" y="655"/>
                    <a:pt x="31" y="656"/>
                    <a:pt x="32" y="657"/>
                  </a:cubicBezTo>
                  <a:cubicBezTo>
                    <a:pt x="32" y="659"/>
                    <a:pt x="32" y="660"/>
                    <a:pt x="32" y="661"/>
                  </a:cubicBezTo>
                  <a:cubicBezTo>
                    <a:pt x="33" y="662"/>
                    <a:pt x="37" y="672"/>
                    <a:pt x="37" y="672"/>
                  </a:cubicBezTo>
                  <a:cubicBezTo>
                    <a:pt x="37" y="672"/>
                    <a:pt x="38" y="676"/>
                    <a:pt x="39" y="677"/>
                  </a:cubicBezTo>
                  <a:cubicBezTo>
                    <a:pt x="39" y="678"/>
                    <a:pt x="40" y="679"/>
                    <a:pt x="41" y="680"/>
                  </a:cubicBezTo>
                  <a:cubicBezTo>
                    <a:pt x="41" y="680"/>
                    <a:pt x="43" y="683"/>
                    <a:pt x="43" y="683"/>
                  </a:cubicBezTo>
                  <a:cubicBezTo>
                    <a:pt x="46" y="685"/>
                    <a:pt x="46" y="685"/>
                    <a:pt x="46" y="685"/>
                  </a:cubicBezTo>
                  <a:cubicBezTo>
                    <a:pt x="50" y="692"/>
                    <a:pt x="50" y="692"/>
                    <a:pt x="50" y="692"/>
                  </a:cubicBezTo>
                  <a:cubicBezTo>
                    <a:pt x="50" y="692"/>
                    <a:pt x="53" y="695"/>
                    <a:pt x="53" y="695"/>
                  </a:cubicBezTo>
                  <a:cubicBezTo>
                    <a:pt x="54" y="695"/>
                    <a:pt x="56" y="693"/>
                    <a:pt x="56" y="693"/>
                  </a:cubicBezTo>
                  <a:cubicBezTo>
                    <a:pt x="56" y="693"/>
                    <a:pt x="59" y="694"/>
                    <a:pt x="59" y="695"/>
                  </a:cubicBezTo>
                  <a:cubicBezTo>
                    <a:pt x="58" y="695"/>
                    <a:pt x="57" y="699"/>
                    <a:pt x="57" y="700"/>
                  </a:cubicBezTo>
                  <a:cubicBezTo>
                    <a:pt x="58" y="701"/>
                    <a:pt x="58" y="703"/>
                    <a:pt x="58" y="703"/>
                  </a:cubicBezTo>
                  <a:cubicBezTo>
                    <a:pt x="56" y="704"/>
                    <a:pt x="56" y="704"/>
                    <a:pt x="56" y="704"/>
                  </a:cubicBezTo>
                  <a:cubicBezTo>
                    <a:pt x="54" y="705"/>
                    <a:pt x="54" y="705"/>
                    <a:pt x="54" y="705"/>
                  </a:cubicBezTo>
                  <a:cubicBezTo>
                    <a:pt x="50" y="705"/>
                    <a:pt x="50" y="705"/>
                    <a:pt x="50" y="705"/>
                  </a:cubicBezTo>
                  <a:cubicBezTo>
                    <a:pt x="49" y="709"/>
                    <a:pt x="49" y="709"/>
                    <a:pt x="49" y="709"/>
                  </a:cubicBezTo>
                  <a:cubicBezTo>
                    <a:pt x="53" y="711"/>
                    <a:pt x="53" y="711"/>
                    <a:pt x="53" y="711"/>
                  </a:cubicBezTo>
                  <a:cubicBezTo>
                    <a:pt x="53" y="711"/>
                    <a:pt x="55" y="713"/>
                    <a:pt x="56" y="713"/>
                  </a:cubicBezTo>
                  <a:cubicBezTo>
                    <a:pt x="56" y="714"/>
                    <a:pt x="56" y="718"/>
                    <a:pt x="56" y="718"/>
                  </a:cubicBezTo>
                  <a:cubicBezTo>
                    <a:pt x="55" y="718"/>
                    <a:pt x="51" y="718"/>
                    <a:pt x="51" y="718"/>
                  </a:cubicBezTo>
                  <a:cubicBezTo>
                    <a:pt x="51" y="718"/>
                    <a:pt x="49" y="721"/>
                    <a:pt x="49" y="721"/>
                  </a:cubicBezTo>
                  <a:cubicBezTo>
                    <a:pt x="49" y="722"/>
                    <a:pt x="48" y="722"/>
                    <a:pt x="50" y="725"/>
                  </a:cubicBezTo>
                  <a:cubicBezTo>
                    <a:pt x="51" y="727"/>
                    <a:pt x="56" y="733"/>
                    <a:pt x="56" y="733"/>
                  </a:cubicBezTo>
                  <a:cubicBezTo>
                    <a:pt x="56" y="733"/>
                    <a:pt x="60" y="739"/>
                    <a:pt x="60" y="739"/>
                  </a:cubicBezTo>
                  <a:cubicBezTo>
                    <a:pt x="60" y="740"/>
                    <a:pt x="63" y="744"/>
                    <a:pt x="63" y="744"/>
                  </a:cubicBezTo>
                  <a:cubicBezTo>
                    <a:pt x="64" y="744"/>
                    <a:pt x="64" y="748"/>
                    <a:pt x="64" y="748"/>
                  </a:cubicBezTo>
                  <a:cubicBezTo>
                    <a:pt x="63" y="750"/>
                    <a:pt x="63" y="750"/>
                    <a:pt x="63" y="750"/>
                  </a:cubicBezTo>
                  <a:cubicBezTo>
                    <a:pt x="62" y="753"/>
                    <a:pt x="62" y="753"/>
                    <a:pt x="62" y="753"/>
                  </a:cubicBezTo>
                  <a:cubicBezTo>
                    <a:pt x="61" y="756"/>
                    <a:pt x="61" y="756"/>
                    <a:pt x="61" y="756"/>
                  </a:cubicBezTo>
                  <a:cubicBezTo>
                    <a:pt x="62" y="758"/>
                    <a:pt x="62" y="758"/>
                    <a:pt x="62" y="758"/>
                  </a:cubicBezTo>
                  <a:cubicBezTo>
                    <a:pt x="61" y="760"/>
                    <a:pt x="61" y="760"/>
                    <a:pt x="61" y="760"/>
                  </a:cubicBezTo>
                  <a:cubicBezTo>
                    <a:pt x="59" y="763"/>
                    <a:pt x="59" y="763"/>
                    <a:pt x="59" y="763"/>
                  </a:cubicBezTo>
                  <a:cubicBezTo>
                    <a:pt x="64" y="764"/>
                    <a:pt x="64" y="764"/>
                    <a:pt x="64" y="764"/>
                  </a:cubicBezTo>
                  <a:cubicBezTo>
                    <a:pt x="70" y="763"/>
                    <a:pt x="70" y="763"/>
                    <a:pt x="70" y="763"/>
                  </a:cubicBezTo>
                  <a:cubicBezTo>
                    <a:pt x="70" y="763"/>
                    <a:pt x="71" y="765"/>
                    <a:pt x="71" y="765"/>
                  </a:cubicBezTo>
                  <a:cubicBezTo>
                    <a:pt x="72" y="766"/>
                    <a:pt x="77" y="765"/>
                    <a:pt x="77" y="765"/>
                  </a:cubicBezTo>
                  <a:cubicBezTo>
                    <a:pt x="81" y="763"/>
                    <a:pt x="81" y="763"/>
                    <a:pt x="81" y="763"/>
                  </a:cubicBezTo>
                  <a:cubicBezTo>
                    <a:pt x="84" y="761"/>
                    <a:pt x="84" y="761"/>
                    <a:pt x="84" y="761"/>
                  </a:cubicBezTo>
                  <a:cubicBezTo>
                    <a:pt x="84" y="759"/>
                    <a:pt x="84" y="759"/>
                    <a:pt x="84" y="759"/>
                  </a:cubicBezTo>
                  <a:cubicBezTo>
                    <a:pt x="84" y="759"/>
                    <a:pt x="86" y="756"/>
                    <a:pt x="86" y="756"/>
                  </a:cubicBezTo>
                  <a:cubicBezTo>
                    <a:pt x="87" y="756"/>
                    <a:pt x="90" y="757"/>
                    <a:pt x="90" y="757"/>
                  </a:cubicBezTo>
                  <a:cubicBezTo>
                    <a:pt x="90" y="757"/>
                    <a:pt x="93" y="757"/>
                    <a:pt x="93" y="758"/>
                  </a:cubicBezTo>
                  <a:cubicBezTo>
                    <a:pt x="93" y="759"/>
                    <a:pt x="95" y="760"/>
                    <a:pt x="95" y="760"/>
                  </a:cubicBezTo>
                  <a:cubicBezTo>
                    <a:pt x="98" y="760"/>
                    <a:pt x="98" y="760"/>
                    <a:pt x="98" y="760"/>
                  </a:cubicBezTo>
                  <a:cubicBezTo>
                    <a:pt x="101" y="759"/>
                    <a:pt x="101" y="759"/>
                    <a:pt x="101" y="759"/>
                  </a:cubicBezTo>
                  <a:cubicBezTo>
                    <a:pt x="105" y="758"/>
                    <a:pt x="105" y="758"/>
                    <a:pt x="105" y="758"/>
                  </a:cubicBezTo>
                  <a:cubicBezTo>
                    <a:pt x="105" y="758"/>
                    <a:pt x="104" y="756"/>
                    <a:pt x="105" y="756"/>
                  </a:cubicBezTo>
                  <a:cubicBezTo>
                    <a:pt x="106" y="756"/>
                    <a:pt x="109" y="756"/>
                    <a:pt x="109" y="756"/>
                  </a:cubicBezTo>
                  <a:cubicBezTo>
                    <a:pt x="109" y="756"/>
                    <a:pt x="110" y="758"/>
                    <a:pt x="111" y="758"/>
                  </a:cubicBezTo>
                  <a:cubicBezTo>
                    <a:pt x="111" y="758"/>
                    <a:pt x="113" y="756"/>
                    <a:pt x="112" y="755"/>
                  </a:cubicBezTo>
                  <a:cubicBezTo>
                    <a:pt x="111" y="754"/>
                    <a:pt x="107" y="752"/>
                    <a:pt x="107" y="752"/>
                  </a:cubicBezTo>
                  <a:cubicBezTo>
                    <a:pt x="107" y="752"/>
                    <a:pt x="105" y="749"/>
                    <a:pt x="105" y="748"/>
                  </a:cubicBezTo>
                  <a:cubicBezTo>
                    <a:pt x="104" y="747"/>
                    <a:pt x="104" y="744"/>
                    <a:pt x="103" y="743"/>
                  </a:cubicBezTo>
                  <a:cubicBezTo>
                    <a:pt x="102" y="743"/>
                    <a:pt x="101" y="742"/>
                    <a:pt x="101" y="740"/>
                  </a:cubicBezTo>
                  <a:cubicBezTo>
                    <a:pt x="102" y="737"/>
                    <a:pt x="102" y="736"/>
                    <a:pt x="102" y="736"/>
                  </a:cubicBezTo>
                  <a:cubicBezTo>
                    <a:pt x="102" y="735"/>
                    <a:pt x="102" y="731"/>
                    <a:pt x="102" y="731"/>
                  </a:cubicBezTo>
                  <a:cubicBezTo>
                    <a:pt x="102" y="731"/>
                    <a:pt x="101" y="729"/>
                    <a:pt x="104" y="727"/>
                  </a:cubicBezTo>
                  <a:cubicBezTo>
                    <a:pt x="107" y="725"/>
                    <a:pt x="107" y="723"/>
                    <a:pt x="108" y="724"/>
                  </a:cubicBezTo>
                  <a:cubicBezTo>
                    <a:pt x="109" y="725"/>
                    <a:pt x="111" y="727"/>
                    <a:pt x="112" y="727"/>
                  </a:cubicBezTo>
                  <a:cubicBezTo>
                    <a:pt x="112" y="728"/>
                    <a:pt x="113" y="728"/>
                    <a:pt x="114" y="729"/>
                  </a:cubicBezTo>
                  <a:cubicBezTo>
                    <a:pt x="114" y="730"/>
                    <a:pt x="113" y="731"/>
                    <a:pt x="115" y="731"/>
                  </a:cubicBezTo>
                  <a:cubicBezTo>
                    <a:pt x="116" y="731"/>
                    <a:pt x="118" y="731"/>
                    <a:pt x="118" y="731"/>
                  </a:cubicBezTo>
                  <a:cubicBezTo>
                    <a:pt x="118" y="731"/>
                    <a:pt x="119" y="731"/>
                    <a:pt x="119" y="730"/>
                  </a:cubicBezTo>
                  <a:cubicBezTo>
                    <a:pt x="119" y="729"/>
                    <a:pt x="119" y="726"/>
                    <a:pt x="118" y="726"/>
                  </a:cubicBezTo>
                  <a:cubicBezTo>
                    <a:pt x="117" y="725"/>
                    <a:pt x="116" y="724"/>
                    <a:pt x="116" y="724"/>
                  </a:cubicBezTo>
                  <a:cubicBezTo>
                    <a:pt x="116" y="724"/>
                    <a:pt x="118" y="723"/>
                    <a:pt x="115" y="722"/>
                  </a:cubicBezTo>
                  <a:cubicBezTo>
                    <a:pt x="112" y="720"/>
                    <a:pt x="112" y="719"/>
                    <a:pt x="113" y="718"/>
                  </a:cubicBezTo>
                  <a:cubicBezTo>
                    <a:pt x="115" y="717"/>
                    <a:pt x="119" y="718"/>
                    <a:pt x="119" y="718"/>
                  </a:cubicBezTo>
                  <a:cubicBezTo>
                    <a:pt x="122" y="717"/>
                    <a:pt x="122" y="717"/>
                    <a:pt x="122" y="717"/>
                  </a:cubicBezTo>
                  <a:cubicBezTo>
                    <a:pt x="122" y="717"/>
                    <a:pt x="124" y="715"/>
                    <a:pt x="126" y="716"/>
                  </a:cubicBezTo>
                  <a:cubicBezTo>
                    <a:pt x="127" y="717"/>
                    <a:pt x="131" y="716"/>
                    <a:pt x="131" y="716"/>
                  </a:cubicBezTo>
                  <a:cubicBezTo>
                    <a:pt x="136" y="717"/>
                    <a:pt x="136" y="717"/>
                    <a:pt x="136" y="717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3" y="717"/>
                    <a:pt x="143" y="717"/>
                    <a:pt x="143" y="717"/>
                  </a:cubicBezTo>
                  <a:cubicBezTo>
                    <a:pt x="143" y="717"/>
                    <a:pt x="142" y="717"/>
                    <a:pt x="145" y="718"/>
                  </a:cubicBezTo>
                  <a:cubicBezTo>
                    <a:pt x="147" y="718"/>
                    <a:pt x="150" y="716"/>
                    <a:pt x="150" y="715"/>
                  </a:cubicBezTo>
                  <a:cubicBezTo>
                    <a:pt x="151" y="715"/>
                    <a:pt x="155" y="708"/>
                    <a:pt x="155" y="708"/>
                  </a:cubicBezTo>
                  <a:cubicBezTo>
                    <a:pt x="158" y="688"/>
                    <a:pt x="158" y="688"/>
                    <a:pt x="158" y="688"/>
                  </a:cubicBezTo>
                  <a:cubicBezTo>
                    <a:pt x="158" y="688"/>
                    <a:pt x="162" y="685"/>
                    <a:pt x="161" y="685"/>
                  </a:cubicBezTo>
                  <a:cubicBezTo>
                    <a:pt x="161" y="684"/>
                    <a:pt x="161" y="677"/>
                    <a:pt x="161" y="676"/>
                  </a:cubicBezTo>
                  <a:cubicBezTo>
                    <a:pt x="161" y="675"/>
                    <a:pt x="163" y="668"/>
                    <a:pt x="163" y="668"/>
                  </a:cubicBezTo>
                  <a:cubicBezTo>
                    <a:pt x="163" y="668"/>
                    <a:pt x="167" y="665"/>
                    <a:pt x="165" y="662"/>
                  </a:cubicBezTo>
                  <a:cubicBezTo>
                    <a:pt x="164" y="659"/>
                    <a:pt x="163" y="654"/>
                    <a:pt x="163" y="654"/>
                  </a:cubicBezTo>
                  <a:cubicBezTo>
                    <a:pt x="163" y="654"/>
                    <a:pt x="162" y="649"/>
                    <a:pt x="162" y="648"/>
                  </a:cubicBezTo>
                  <a:cubicBezTo>
                    <a:pt x="162" y="647"/>
                    <a:pt x="166" y="642"/>
                    <a:pt x="166" y="642"/>
                  </a:cubicBezTo>
                  <a:cubicBezTo>
                    <a:pt x="163" y="633"/>
                    <a:pt x="163" y="633"/>
                    <a:pt x="163" y="633"/>
                  </a:cubicBezTo>
                  <a:cubicBezTo>
                    <a:pt x="163" y="633"/>
                    <a:pt x="165" y="630"/>
                    <a:pt x="165" y="629"/>
                  </a:cubicBezTo>
                  <a:cubicBezTo>
                    <a:pt x="165" y="628"/>
                    <a:pt x="163" y="619"/>
                    <a:pt x="163" y="619"/>
                  </a:cubicBezTo>
                  <a:cubicBezTo>
                    <a:pt x="163" y="617"/>
                    <a:pt x="163" y="617"/>
                    <a:pt x="163" y="617"/>
                  </a:cubicBezTo>
                  <a:cubicBezTo>
                    <a:pt x="163" y="617"/>
                    <a:pt x="166" y="612"/>
                    <a:pt x="165" y="611"/>
                  </a:cubicBezTo>
                  <a:cubicBezTo>
                    <a:pt x="165" y="610"/>
                    <a:pt x="165" y="605"/>
                    <a:pt x="165" y="605"/>
                  </a:cubicBezTo>
                  <a:cubicBezTo>
                    <a:pt x="163" y="599"/>
                    <a:pt x="163" y="599"/>
                    <a:pt x="163" y="599"/>
                  </a:cubicBezTo>
                  <a:cubicBezTo>
                    <a:pt x="163" y="599"/>
                    <a:pt x="165" y="598"/>
                    <a:pt x="164" y="597"/>
                  </a:cubicBezTo>
                  <a:cubicBezTo>
                    <a:pt x="163" y="595"/>
                    <a:pt x="162" y="594"/>
                    <a:pt x="162" y="594"/>
                  </a:cubicBezTo>
                  <a:cubicBezTo>
                    <a:pt x="162" y="592"/>
                    <a:pt x="162" y="592"/>
                    <a:pt x="162" y="592"/>
                  </a:cubicBezTo>
                  <a:cubicBezTo>
                    <a:pt x="163" y="590"/>
                    <a:pt x="163" y="590"/>
                    <a:pt x="163" y="590"/>
                  </a:cubicBezTo>
                  <a:cubicBezTo>
                    <a:pt x="165" y="588"/>
                    <a:pt x="165" y="588"/>
                    <a:pt x="165" y="588"/>
                  </a:cubicBezTo>
                  <a:cubicBezTo>
                    <a:pt x="164" y="582"/>
                    <a:pt x="164" y="582"/>
                    <a:pt x="164" y="582"/>
                  </a:cubicBezTo>
                  <a:cubicBezTo>
                    <a:pt x="160" y="581"/>
                    <a:pt x="160" y="581"/>
                    <a:pt x="160" y="581"/>
                  </a:cubicBezTo>
                  <a:cubicBezTo>
                    <a:pt x="160" y="581"/>
                    <a:pt x="160" y="579"/>
                    <a:pt x="161" y="579"/>
                  </a:cubicBezTo>
                  <a:cubicBezTo>
                    <a:pt x="163" y="578"/>
                    <a:pt x="170" y="575"/>
                    <a:pt x="170" y="575"/>
                  </a:cubicBezTo>
                  <a:cubicBezTo>
                    <a:pt x="170" y="575"/>
                    <a:pt x="172" y="572"/>
                    <a:pt x="173" y="572"/>
                  </a:cubicBezTo>
                  <a:cubicBezTo>
                    <a:pt x="173" y="571"/>
                    <a:pt x="181" y="566"/>
                    <a:pt x="181" y="566"/>
                  </a:cubicBezTo>
                  <a:cubicBezTo>
                    <a:pt x="181" y="566"/>
                    <a:pt x="181" y="563"/>
                    <a:pt x="181" y="562"/>
                  </a:cubicBezTo>
                  <a:cubicBezTo>
                    <a:pt x="182" y="562"/>
                    <a:pt x="182" y="561"/>
                    <a:pt x="182" y="559"/>
                  </a:cubicBezTo>
                  <a:cubicBezTo>
                    <a:pt x="183" y="559"/>
                    <a:pt x="181" y="550"/>
                    <a:pt x="181" y="547"/>
                  </a:cubicBezTo>
                  <a:cubicBezTo>
                    <a:pt x="182" y="545"/>
                    <a:pt x="184" y="549"/>
                    <a:pt x="184" y="549"/>
                  </a:cubicBezTo>
                  <a:cubicBezTo>
                    <a:pt x="185" y="552"/>
                    <a:pt x="185" y="552"/>
                    <a:pt x="185" y="552"/>
                  </a:cubicBezTo>
                  <a:cubicBezTo>
                    <a:pt x="185" y="558"/>
                    <a:pt x="185" y="558"/>
                    <a:pt x="185" y="558"/>
                  </a:cubicBezTo>
                  <a:cubicBezTo>
                    <a:pt x="188" y="559"/>
                    <a:pt x="188" y="559"/>
                    <a:pt x="188" y="559"/>
                  </a:cubicBezTo>
                  <a:cubicBezTo>
                    <a:pt x="189" y="562"/>
                    <a:pt x="189" y="562"/>
                    <a:pt x="189" y="562"/>
                  </a:cubicBezTo>
                  <a:cubicBezTo>
                    <a:pt x="189" y="562"/>
                    <a:pt x="188" y="565"/>
                    <a:pt x="189" y="565"/>
                  </a:cubicBezTo>
                  <a:cubicBezTo>
                    <a:pt x="190" y="564"/>
                    <a:pt x="190" y="564"/>
                    <a:pt x="190" y="564"/>
                  </a:cubicBezTo>
                  <a:cubicBezTo>
                    <a:pt x="191" y="558"/>
                    <a:pt x="191" y="558"/>
                    <a:pt x="191" y="558"/>
                  </a:cubicBezTo>
                  <a:cubicBezTo>
                    <a:pt x="191" y="558"/>
                    <a:pt x="195" y="558"/>
                    <a:pt x="194" y="556"/>
                  </a:cubicBezTo>
                  <a:cubicBezTo>
                    <a:pt x="194" y="555"/>
                    <a:pt x="193" y="553"/>
                    <a:pt x="194" y="553"/>
                  </a:cubicBezTo>
                  <a:cubicBezTo>
                    <a:pt x="200" y="552"/>
                    <a:pt x="198" y="552"/>
                    <a:pt x="201" y="550"/>
                  </a:cubicBezTo>
                  <a:cubicBezTo>
                    <a:pt x="201" y="550"/>
                    <a:pt x="203" y="546"/>
                    <a:pt x="203" y="546"/>
                  </a:cubicBezTo>
                  <a:cubicBezTo>
                    <a:pt x="203" y="545"/>
                    <a:pt x="204" y="543"/>
                    <a:pt x="204" y="543"/>
                  </a:cubicBezTo>
                  <a:cubicBezTo>
                    <a:pt x="202" y="542"/>
                    <a:pt x="202" y="542"/>
                    <a:pt x="202" y="542"/>
                  </a:cubicBezTo>
                  <a:cubicBezTo>
                    <a:pt x="201" y="539"/>
                    <a:pt x="201" y="539"/>
                    <a:pt x="201" y="539"/>
                  </a:cubicBezTo>
                  <a:cubicBezTo>
                    <a:pt x="201" y="539"/>
                    <a:pt x="202" y="537"/>
                    <a:pt x="203" y="538"/>
                  </a:cubicBezTo>
                  <a:cubicBezTo>
                    <a:pt x="203" y="539"/>
                    <a:pt x="204" y="541"/>
                    <a:pt x="205" y="541"/>
                  </a:cubicBezTo>
                  <a:cubicBezTo>
                    <a:pt x="206" y="541"/>
                    <a:pt x="209" y="538"/>
                    <a:pt x="209" y="538"/>
                  </a:cubicBezTo>
                  <a:cubicBezTo>
                    <a:pt x="209" y="535"/>
                    <a:pt x="202" y="531"/>
                    <a:pt x="200" y="530"/>
                  </a:cubicBezTo>
                  <a:cubicBezTo>
                    <a:pt x="200" y="526"/>
                    <a:pt x="210" y="521"/>
                    <a:pt x="210" y="520"/>
                  </a:cubicBezTo>
                  <a:cubicBezTo>
                    <a:pt x="211" y="519"/>
                    <a:pt x="211" y="519"/>
                    <a:pt x="211" y="518"/>
                  </a:cubicBezTo>
                  <a:cubicBezTo>
                    <a:pt x="211" y="517"/>
                    <a:pt x="210" y="516"/>
                    <a:pt x="209" y="517"/>
                  </a:cubicBezTo>
                  <a:cubicBezTo>
                    <a:pt x="209" y="517"/>
                    <a:pt x="208" y="519"/>
                    <a:pt x="207" y="519"/>
                  </a:cubicBezTo>
                  <a:cubicBezTo>
                    <a:pt x="207" y="519"/>
                    <a:pt x="205" y="519"/>
                    <a:pt x="205" y="519"/>
                  </a:cubicBezTo>
                  <a:cubicBezTo>
                    <a:pt x="205" y="519"/>
                    <a:pt x="204" y="517"/>
                    <a:pt x="205" y="516"/>
                  </a:cubicBezTo>
                  <a:cubicBezTo>
                    <a:pt x="206" y="515"/>
                    <a:pt x="205" y="515"/>
                    <a:pt x="207" y="514"/>
                  </a:cubicBezTo>
                  <a:cubicBezTo>
                    <a:pt x="208" y="513"/>
                    <a:pt x="209" y="513"/>
                    <a:pt x="210" y="513"/>
                  </a:cubicBezTo>
                  <a:cubicBezTo>
                    <a:pt x="210" y="512"/>
                    <a:pt x="211" y="511"/>
                    <a:pt x="212" y="511"/>
                  </a:cubicBezTo>
                  <a:cubicBezTo>
                    <a:pt x="213" y="511"/>
                    <a:pt x="218" y="508"/>
                    <a:pt x="218" y="508"/>
                  </a:cubicBezTo>
                  <a:cubicBezTo>
                    <a:pt x="219" y="506"/>
                    <a:pt x="219" y="506"/>
                    <a:pt x="219" y="506"/>
                  </a:cubicBezTo>
                  <a:cubicBezTo>
                    <a:pt x="219" y="506"/>
                    <a:pt x="216" y="503"/>
                    <a:pt x="216" y="503"/>
                  </a:cubicBezTo>
                  <a:cubicBezTo>
                    <a:pt x="216" y="503"/>
                    <a:pt x="211" y="499"/>
                    <a:pt x="211" y="499"/>
                  </a:cubicBezTo>
                  <a:cubicBezTo>
                    <a:pt x="211" y="499"/>
                    <a:pt x="209" y="499"/>
                    <a:pt x="209" y="498"/>
                  </a:cubicBezTo>
                  <a:cubicBezTo>
                    <a:pt x="209" y="498"/>
                    <a:pt x="207" y="496"/>
                    <a:pt x="207" y="496"/>
                  </a:cubicBezTo>
                  <a:cubicBezTo>
                    <a:pt x="205" y="491"/>
                    <a:pt x="203" y="495"/>
                    <a:pt x="199" y="493"/>
                  </a:cubicBezTo>
                  <a:cubicBezTo>
                    <a:pt x="199" y="493"/>
                    <a:pt x="197" y="489"/>
                    <a:pt x="197" y="489"/>
                  </a:cubicBezTo>
                  <a:cubicBezTo>
                    <a:pt x="197" y="489"/>
                    <a:pt x="199" y="489"/>
                    <a:pt x="199" y="488"/>
                  </a:cubicBezTo>
                  <a:cubicBezTo>
                    <a:pt x="199" y="486"/>
                    <a:pt x="197" y="484"/>
                    <a:pt x="197" y="484"/>
                  </a:cubicBezTo>
                  <a:cubicBezTo>
                    <a:pt x="195" y="482"/>
                    <a:pt x="195" y="482"/>
                    <a:pt x="195" y="482"/>
                  </a:cubicBezTo>
                  <a:cubicBezTo>
                    <a:pt x="191" y="478"/>
                    <a:pt x="192" y="487"/>
                    <a:pt x="189" y="479"/>
                  </a:cubicBezTo>
                  <a:cubicBezTo>
                    <a:pt x="189" y="479"/>
                    <a:pt x="188" y="479"/>
                    <a:pt x="187" y="477"/>
                  </a:cubicBezTo>
                  <a:cubicBezTo>
                    <a:pt x="186" y="476"/>
                    <a:pt x="183" y="473"/>
                    <a:pt x="183" y="473"/>
                  </a:cubicBezTo>
                  <a:cubicBezTo>
                    <a:pt x="183" y="473"/>
                    <a:pt x="182" y="470"/>
                    <a:pt x="182" y="470"/>
                  </a:cubicBezTo>
                  <a:cubicBezTo>
                    <a:pt x="181" y="470"/>
                    <a:pt x="180" y="467"/>
                    <a:pt x="180" y="467"/>
                  </a:cubicBezTo>
                  <a:cubicBezTo>
                    <a:pt x="175" y="470"/>
                    <a:pt x="175" y="470"/>
                    <a:pt x="175" y="470"/>
                  </a:cubicBezTo>
                  <a:cubicBezTo>
                    <a:pt x="172" y="473"/>
                    <a:pt x="172" y="473"/>
                    <a:pt x="172" y="473"/>
                  </a:cubicBezTo>
                  <a:cubicBezTo>
                    <a:pt x="172" y="473"/>
                    <a:pt x="171" y="471"/>
                    <a:pt x="171" y="471"/>
                  </a:cubicBezTo>
                  <a:cubicBezTo>
                    <a:pt x="171" y="471"/>
                    <a:pt x="171" y="467"/>
                    <a:pt x="171" y="467"/>
                  </a:cubicBezTo>
                  <a:cubicBezTo>
                    <a:pt x="171" y="467"/>
                    <a:pt x="168" y="466"/>
                    <a:pt x="167" y="466"/>
                  </a:cubicBezTo>
                  <a:cubicBezTo>
                    <a:pt x="167" y="466"/>
                    <a:pt x="164" y="466"/>
                    <a:pt x="164" y="466"/>
                  </a:cubicBezTo>
                  <a:cubicBezTo>
                    <a:pt x="160" y="465"/>
                    <a:pt x="160" y="465"/>
                    <a:pt x="160" y="465"/>
                  </a:cubicBezTo>
                  <a:cubicBezTo>
                    <a:pt x="160" y="462"/>
                    <a:pt x="160" y="462"/>
                    <a:pt x="160" y="462"/>
                  </a:cubicBezTo>
                  <a:cubicBezTo>
                    <a:pt x="160" y="462"/>
                    <a:pt x="162" y="460"/>
                    <a:pt x="161" y="459"/>
                  </a:cubicBezTo>
                  <a:cubicBezTo>
                    <a:pt x="161" y="458"/>
                    <a:pt x="158" y="456"/>
                    <a:pt x="158" y="456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5" y="450"/>
                    <a:pt x="155" y="450"/>
                    <a:pt x="155" y="450"/>
                  </a:cubicBezTo>
                  <a:cubicBezTo>
                    <a:pt x="155" y="450"/>
                    <a:pt x="157" y="447"/>
                    <a:pt x="157" y="447"/>
                  </a:cubicBezTo>
                  <a:cubicBezTo>
                    <a:pt x="157" y="446"/>
                    <a:pt x="153" y="437"/>
                    <a:pt x="153" y="437"/>
                  </a:cubicBezTo>
                  <a:cubicBezTo>
                    <a:pt x="153" y="437"/>
                    <a:pt x="155" y="433"/>
                    <a:pt x="155" y="432"/>
                  </a:cubicBezTo>
                  <a:cubicBezTo>
                    <a:pt x="155" y="432"/>
                    <a:pt x="153" y="428"/>
                    <a:pt x="153" y="428"/>
                  </a:cubicBezTo>
                  <a:cubicBezTo>
                    <a:pt x="151" y="428"/>
                    <a:pt x="151" y="428"/>
                    <a:pt x="151" y="428"/>
                  </a:cubicBezTo>
                  <a:cubicBezTo>
                    <a:pt x="151" y="424"/>
                    <a:pt x="151" y="424"/>
                    <a:pt x="151" y="424"/>
                  </a:cubicBezTo>
                  <a:cubicBezTo>
                    <a:pt x="152" y="421"/>
                    <a:pt x="152" y="421"/>
                    <a:pt x="152" y="421"/>
                  </a:cubicBezTo>
                  <a:cubicBezTo>
                    <a:pt x="150" y="419"/>
                    <a:pt x="150" y="419"/>
                    <a:pt x="150" y="419"/>
                  </a:cubicBezTo>
                  <a:cubicBezTo>
                    <a:pt x="150" y="419"/>
                    <a:pt x="151" y="417"/>
                    <a:pt x="152" y="417"/>
                  </a:cubicBezTo>
                  <a:cubicBezTo>
                    <a:pt x="152" y="417"/>
                    <a:pt x="152" y="413"/>
                    <a:pt x="152" y="413"/>
                  </a:cubicBezTo>
                  <a:cubicBezTo>
                    <a:pt x="152" y="413"/>
                    <a:pt x="153" y="411"/>
                    <a:pt x="154" y="411"/>
                  </a:cubicBezTo>
                  <a:cubicBezTo>
                    <a:pt x="154" y="411"/>
                    <a:pt x="157" y="413"/>
                    <a:pt x="157" y="413"/>
                  </a:cubicBezTo>
                  <a:cubicBezTo>
                    <a:pt x="157" y="413"/>
                    <a:pt x="160" y="414"/>
                    <a:pt x="160" y="413"/>
                  </a:cubicBezTo>
                  <a:cubicBezTo>
                    <a:pt x="160" y="413"/>
                    <a:pt x="159" y="410"/>
                    <a:pt x="159" y="410"/>
                  </a:cubicBezTo>
                  <a:cubicBezTo>
                    <a:pt x="159" y="409"/>
                    <a:pt x="157" y="407"/>
                    <a:pt x="157" y="407"/>
                  </a:cubicBezTo>
                  <a:cubicBezTo>
                    <a:pt x="156" y="406"/>
                    <a:pt x="156" y="401"/>
                    <a:pt x="156" y="401"/>
                  </a:cubicBezTo>
                  <a:cubicBezTo>
                    <a:pt x="156" y="401"/>
                    <a:pt x="154" y="397"/>
                    <a:pt x="155" y="397"/>
                  </a:cubicBezTo>
                  <a:cubicBezTo>
                    <a:pt x="155" y="397"/>
                    <a:pt x="156" y="395"/>
                    <a:pt x="156" y="395"/>
                  </a:cubicBezTo>
                  <a:cubicBezTo>
                    <a:pt x="157" y="388"/>
                    <a:pt x="157" y="388"/>
                    <a:pt x="157" y="388"/>
                  </a:cubicBezTo>
                  <a:cubicBezTo>
                    <a:pt x="158" y="382"/>
                    <a:pt x="158" y="382"/>
                    <a:pt x="158" y="382"/>
                  </a:cubicBezTo>
                  <a:cubicBezTo>
                    <a:pt x="155" y="379"/>
                    <a:pt x="155" y="379"/>
                    <a:pt x="155" y="379"/>
                  </a:cubicBezTo>
                  <a:cubicBezTo>
                    <a:pt x="154" y="377"/>
                    <a:pt x="154" y="377"/>
                    <a:pt x="154" y="377"/>
                  </a:cubicBezTo>
                  <a:cubicBezTo>
                    <a:pt x="152" y="375"/>
                    <a:pt x="152" y="375"/>
                    <a:pt x="152" y="375"/>
                  </a:cubicBezTo>
                  <a:cubicBezTo>
                    <a:pt x="154" y="369"/>
                    <a:pt x="154" y="369"/>
                    <a:pt x="154" y="369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60" y="366"/>
                    <a:pt x="160" y="366"/>
                    <a:pt x="160" y="366"/>
                  </a:cubicBezTo>
                  <a:cubicBezTo>
                    <a:pt x="160" y="366"/>
                    <a:pt x="163" y="364"/>
                    <a:pt x="163" y="363"/>
                  </a:cubicBezTo>
                  <a:cubicBezTo>
                    <a:pt x="163" y="363"/>
                    <a:pt x="164" y="359"/>
                    <a:pt x="164" y="359"/>
                  </a:cubicBezTo>
                  <a:cubicBezTo>
                    <a:pt x="163" y="356"/>
                    <a:pt x="163" y="356"/>
                    <a:pt x="163" y="356"/>
                  </a:cubicBezTo>
                  <a:cubicBezTo>
                    <a:pt x="165" y="357"/>
                    <a:pt x="165" y="357"/>
                    <a:pt x="165" y="357"/>
                  </a:cubicBezTo>
                  <a:cubicBezTo>
                    <a:pt x="165" y="354"/>
                    <a:pt x="165" y="354"/>
                    <a:pt x="165" y="354"/>
                  </a:cubicBezTo>
                  <a:cubicBezTo>
                    <a:pt x="165" y="354"/>
                    <a:pt x="166" y="351"/>
                    <a:pt x="166" y="351"/>
                  </a:cubicBezTo>
                  <a:cubicBezTo>
                    <a:pt x="167" y="351"/>
                    <a:pt x="168" y="350"/>
                    <a:pt x="168" y="350"/>
                  </a:cubicBezTo>
                  <a:cubicBezTo>
                    <a:pt x="168" y="350"/>
                    <a:pt x="170" y="346"/>
                    <a:pt x="170" y="346"/>
                  </a:cubicBezTo>
                  <a:cubicBezTo>
                    <a:pt x="170" y="346"/>
                    <a:pt x="171" y="347"/>
                    <a:pt x="172" y="346"/>
                  </a:cubicBezTo>
                  <a:cubicBezTo>
                    <a:pt x="173" y="345"/>
                    <a:pt x="173" y="345"/>
                    <a:pt x="173" y="344"/>
                  </a:cubicBezTo>
                  <a:cubicBezTo>
                    <a:pt x="174" y="342"/>
                    <a:pt x="176" y="338"/>
                    <a:pt x="176" y="338"/>
                  </a:cubicBezTo>
                  <a:cubicBezTo>
                    <a:pt x="176" y="338"/>
                    <a:pt x="176" y="337"/>
                    <a:pt x="176" y="336"/>
                  </a:cubicBezTo>
                  <a:cubicBezTo>
                    <a:pt x="177" y="336"/>
                    <a:pt x="179" y="336"/>
                    <a:pt x="179" y="335"/>
                  </a:cubicBezTo>
                  <a:cubicBezTo>
                    <a:pt x="178" y="334"/>
                    <a:pt x="176" y="331"/>
                    <a:pt x="176" y="331"/>
                  </a:cubicBezTo>
                  <a:cubicBezTo>
                    <a:pt x="179" y="328"/>
                    <a:pt x="179" y="328"/>
                    <a:pt x="179" y="328"/>
                  </a:cubicBezTo>
                  <a:cubicBezTo>
                    <a:pt x="179" y="328"/>
                    <a:pt x="182" y="325"/>
                    <a:pt x="182" y="325"/>
                  </a:cubicBezTo>
                  <a:cubicBezTo>
                    <a:pt x="182" y="326"/>
                    <a:pt x="183" y="326"/>
                    <a:pt x="184" y="325"/>
                  </a:cubicBezTo>
                  <a:cubicBezTo>
                    <a:pt x="184" y="325"/>
                    <a:pt x="185" y="324"/>
                    <a:pt x="186" y="323"/>
                  </a:cubicBezTo>
                  <a:cubicBezTo>
                    <a:pt x="186" y="323"/>
                    <a:pt x="187" y="322"/>
                    <a:pt x="188" y="322"/>
                  </a:cubicBezTo>
                  <a:cubicBezTo>
                    <a:pt x="188" y="321"/>
                    <a:pt x="189" y="319"/>
                    <a:pt x="189" y="318"/>
                  </a:cubicBezTo>
                  <a:cubicBezTo>
                    <a:pt x="189" y="318"/>
                    <a:pt x="191" y="313"/>
                    <a:pt x="191" y="313"/>
                  </a:cubicBezTo>
                  <a:cubicBezTo>
                    <a:pt x="191" y="310"/>
                    <a:pt x="191" y="310"/>
                    <a:pt x="191" y="310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4" y="307"/>
                    <a:pt x="194" y="307"/>
                    <a:pt x="194" y="307"/>
                  </a:cubicBezTo>
                  <a:cubicBezTo>
                    <a:pt x="194" y="307"/>
                    <a:pt x="196" y="306"/>
                    <a:pt x="196" y="307"/>
                  </a:cubicBezTo>
                  <a:cubicBezTo>
                    <a:pt x="196" y="307"/>
                    <a:pt x="195" y="309"/>
                    <a:pt x="195" y="309"/>
                  </a:cubicBezTo>
                  <a:cubicBezTo>
                    <a:pt x="198" y="309"/>
                    <a:pt x="198" y="309"/>
                    <a:pt x="198" y="309"/>
                  </a:cubicBezTo>
                  <a:cubicBezTo>
                    <a:pt x="198" y="309"/>
                    <a:pt x="198" y="307"/>
                    <a:pt x="198" y="308"/>
                  </a:cubicBezTo>
                  <a:cubicBezTo>
                    <a:pt x="199" y="308"/>
                    <a:pt x="200" y="309"/>
                    <a:pt x="200" y="309"/>
                  </a:cubicBezTo>
                  <a:cubicBezTo>
                    <a:pt x="200" y="308"/>
                    <a:pt x="201" y="306"/>
                    <a:pt x="201" y="306"/>
                  </a:cubicBezTo>
                  <a:cubicBezTo>
                    <a:pt x="201" y="303"/>
                    <a:pt x="201" y="303"/>
                    <a:pt x="201" y="303"/>
                  </a:cubicBezTo>
                  <a:cubicBezTo>
                    <a:pt x="201" y="303"/>
                    <a:pt x="203" y="301"/>
                    <a:pt x="204" y="300"/>
                  </a:cubicBezTo>
                  <a:cubicBezTo>
                    <a:pt x="204" y="299"/>
                    <a:pt x="207" y="296"/>
                    <a:pt x="207" y="296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5"/>
                    <a:pt x="211" y="294"/>
                    <a:pt x="212" y="294"/>
                  </a:cubicBezTo>
                  <a:cubicBezTo>
                    <a:pt x="212" y="294"/>
                    <a:pt x="215" y="290"/>
                    <a:pt x="215" y="290"/>
                  </a:cubicBezTo>
                  <a:cubicBezTo>
                    <a:pt x="215" y="290"/>
                    <a:pt x="215" y="289"/>
                    <a:pt x="216" y="288"/>
                  </a:cubicBezTo>
                  <a:cubicBezTo>
                    <a:pt x="216" y="287"/>
                    <a:pt x="218" y="287"/>
                    <a:pt x="218" y="286"/>
                  </a:cubicBezTo>
                  <a:cubicBezTo>
                    <a:pt x="219" y="286"/>
                    <a:pt x="221" y="281"/>
                    <a:pt x="221" y="281"/>
                  </a:cubicBezTo>
                  <a:cubicBezTo>
                    <a:pt x="221" y="281"/>
                    <a:pt x="222" y="281"/>
                    <a:pt x="222" y="280"/>
                  </a:cubicBezTo>
                  <a:cubicBezTo>
                    <a:pt x="222" y="278"/>
                    <a:pt x="223" y="276"/>
                    <a:pt x="223" y="276"/>
                  </a:cubicBezTo>
                  <a:cubicBezTo>
                    <a:pt x="225" y="272"/>
                    <a:pt x="225" y="272"/>
                    <a:pt x="225" y="272"/>
                  </a:cubicBezTo>
                  <a:cubicBezTo>
                    <a:pt x="225" y="266"/>
                    <a:pt x="225" y="266"/>
                    <a:pt x="225" y="266"/>
                  </a:cubicBezTo>
                  <a:cubicBezTo>
                    <a:pt x="227" y="261"/>
                    <a:pt x="227" y="261"/>
                    <a:pt x="227" y="261"/>
                  </a:cubicBezTo>
                  <a:cubicBezTo>
                    <a:pt x="227" y="261"/>
                    <a:pt x="228" y="260"/>
                    <a:pt x="228" y="259"/>
                  </a:cubicBezTo>
                  <a:cubicBezTo>
                    <a:pt x="229" y="259"/>
                    <a:pt x="230" y="256"/>
                    <a:pt x="230" y="256"/>
                  </a:cubicBezTo>
                  <a:cubicBezTo>
                    <a:pt x="230" y="256"/>
                    <a:pt x="233" y="252"/>
                    <a:pt x="233" y="252"/>
                  </a:cubicBezTo>
                  <a:cubicBezTo>
                    <a:pt x="233" y="252"/>
                    <a:pt x="234" y="249"/>
                    <a:pt x="234" y="248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5" y="245"/>
                    <a:pt x="235" y="245"/>
                    <a:pt x="235" y="245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29" y="238"/>
                    <a:pt x="229" y="238"/>
                    <a:pt x="229" y="238"/>
                  </a:cubicBezTo>
                  <a:cubicBezTo>
                    <a:pt x="226" y="238"/>
                    <a:pt x="226" y="238"/>
                    <a:pt x="226" y="238"/>
                  </a:cubicBezTo>
                  <a:cubicBezTo>
                    <a:pt x="224" y="236"/>
                    <a:pt x="224" y="236"/>
                    <a:pt x="224" y="236"/>
                  </a:cubicBezTo>
                  <a:cubicBezTo>
                    <a:pt x="225" y="234"/>
                    <a:pt x="225" y="234"/>
                    <a:pt x="225" y="234"/>
                  </a:cubicBezTo>
                  <a:cubicBezTo>
                    <a:pt x="223" y="231"/>
                    <a:pt x="223" y="231"/>
                    <a:pt x="223" y="231"/>
                  </a:cubicBezTo>
                  <a:cubicBezTo>
                    <a:pt x="222" y="229"/>
                    <a:pt x="222" y="229"/>
                    <a:pt x="222" y="229"/>
                  </a:cubicBezTo>
                  <a:cubicBezTo>
                    <a:pt x="220" y="227"/>
                    <a:pt x="220" y="227"/>
                    <a:pt x="220" y="227"/>
                  </a:cubicBezTo>
                  <a:cubicBezTo>
                    <a:pt x="220" y="227"/>
                    <a:pt x="222" y="224"/>
                    <a:pt x="222" y="224"/>
                  </a:cubicBezTo>
                  <a:cubicBezTo>
                    <a:pt x="222" y="224"/>
                    <a:pt x="223" y="223"/>
                    <a:pt x="223" y="222"/>
                  </a:cubicBezTo>
                  <a:cubicBezTo>
                    <a:pt x="223" y="222"/>
                    <a:pt x="225" y="219"/>
                    <a:pt x="225" y="219"/>
                  </a:cubicBezTo>
                  <a:cubicBezTo>
                    <a:pt x="225" y="219"/>
                    <a:pt x="227" y="216"/>
                    <a:pt x="227" y="216"/>
                  </a:cubicBezTo>
                  <a:cubicBezTo>
                    <a:pt x="227" y="216"/>
                    <a:pt x="228" y="215"/>
                    <a:pt x="228" y="214"/>
                  </a:cubicBezTo>
                  <a:cubicBezTo>
                    <a:pt x="228" y="213"/>
                    <a:pt x="227" y="209"/>
                    <a:pt x="227" y="209"/>
                  </a:cubicBezTo>
                  <a:cubicBezTo>
                    <a:pt x="227" y="209"/>
                    <a:pt x="227" y="206"/>
                    <a:pt x="228" y="206"/>
                  </a:cubicBezTo>
                  <a:cubicBezTo>
                    <a:pt x="228" y="205"/>
                    <a:pt x="229" y="204"/>
                    <a:pt x="229" y="204"/>
                  </a:cubicBezTo>
                  <a:cubicBezTo>
                    <a:pt x="229" y="204"/>
                    <a:pt x="230" y="204"/>
                    <a:pt x="231" y="205"/>
                  </a:cubicBezTo>
                  <a:cubicBezTo>
                    <a:pt x="232" y="205"/>
                    <a:pt x="232" y="203"/>
                    <a:pt x="232" y="203"/>
                  </a:cubicBezTo>
                  <a:cubicBezTo>
                    <a:pt x="232" y="203"/>
                    <a:pt x="232" y="200"/>
                    <a:pt x="231" y="200"/>
                  </a:cubicBezTo>
                  <a:cubicBezTo>
                    <a:pt x="230" y="200"/>
                    <a:pt x="229" y="198"/>
                    <a:pt x="229" y="198"/>
                  </a:cubicBezTo>
                  <a:cubicBezTo>
                    <a:pt x="229" y="198"/>
                    <a:pt x="230" y="197"/>
                    <a:pt x="230" y="197"/>
                  </a:cubicBezTo>
                  <a:cubicBezTo>
                    <a:pt x="230" y="196"/>
                    <a:pt x="232" y="195"/>
                    <a:pt x="232" y="195"/>
                  </a:cubicBezTo>
                  <a:cubicBezTo>
                    <a:pt x="235" y="194"/>
                    <a:pt x="235" y="194"/>
                    <a:pt x="235" y="194"/>
                  </a:cubicBezTo>
                  <a:cubicBezTo>
                    <a:pt x="234" y="191"/>
                    <a:pt x="234" y="191"/>
                    <a:pt x="234" y="191"/>
                  </a:cubicBezTo>
                  <a:cubicBezTo>
                    <a:pt x="234" y="188"/>
                    <a:pt x="234" y="188"/>
                    <a:pt x="234" y="188"/>
                  </a:cubicBezTo>
                  <a:cubicBezTo>
                    <a:pt x="234" y="188"/>
                    <a:pt x="238" y="189"/>
                    <a:pt x="238" y="189"/>
                  </a:cubicBezTo>
                  <a:cubicBezTo>
                    <a:pt x="238" y="190"/>
                    <a:pt x="239" y="192"/>
                    <a:pt x="240" y="192"/>
                  </a:cubicBezTo>
                  <a:cubicBezTo>
                    <a:pt x="240" y="191"/>
                    <a:pt x="240" y="189"/>
                    <a:pt x="240" y="189"/>
                  </a:cubicBezTo>
                  <a:cubicBezTo>
                    <a:pt x="240" y="189"/>
                    <a:pt x="241" y="186"/>
                    <a:pt x="242" y="187"/>
                  </a:cubicBezTo>
                  <a:cubicBezTo>
                    <a:pt x="244" y="188"/>
                    <a:pt x="245" y="186"/>
                    <a:pt x="246" y="186"/>
                  </a:cubicBezTo>
                  <a:cubicBezTo>
                    <a:pt x="246" y="185"/>
                    <a:pt x="247" y="183"/>
                    <a:pt x="247" y="183"/>
                  </a:cubicBezTo>
                  <a:cubicBezTo>
                    <a:pt x="247" y="183"/>
                    <a:pt x="248" y="180"/>
                    <a:pt x="247" y="179"/>
                  </a:cubicBezTo>
                  <a:cubicBezTo>
                    <a:pt x="246" y="179"/>
                    <a:pt x="245" y="179"/>
                    <a:pt x="245" y="178"/>
                  </a:cubicBezTo>
                  <a:cubicBezTo>
                    <a:pt x="245" y="178"/>
                    <a:pt x="246" y="176"/>
                    <a:pt x="247" y="176"/>
                  </a:cubicBezTo>
                  <a:cubicBezTo>
                    <a:pt x="248" y="176"/>
                    <a:pt x="248" y="176"/>
                    <a:pt x="250" y="175"/>
                  </a:cubicBezTo>
                  <a:cubicBezTo>
                    <a:pt x="251" y="174"/>
                    <a:pt x="251" y="173"/>
                    <a:pt x="251" y="173"/>
                  </a:cubicBezTo>
                  <a:cubicBezTo>
                    <a:pt x="251" y="173"/>
                    <a:pt x="254" y="172"/>
                    <a:pt x="254" y="172"/>
                  </a:cubicBezTo>
                  <a:cubicBezTo>
                    <a:pt x="258" y="170"/>
                    <a:pt x="258" y="170"/>
                    <a:pt x="258" y="170"/>
                  </a:cubicBezTo>
                  <a:cubicBezTo>
                    <a:pt x="258" y="168"/>
                    <a:pt x="258" y="168"/>
                    <a:pt x="258" y="168"/>
                  </a:cubicBezTo>
                  <a:cubicBezTo>
                    <a:pt x="258" y="168"/>
                    <a:pt x="260" y="168"/>
                    <a:pt x="260" y="168"/>
                  </a:cubicBezTo>
                  <a:cubicBezTo>
                    <a:pt x="261" y="168"/>
                    <a:pt x="262" y="169"/>
                    <a:pt x="262" y="169"/>
                  </a:cubicBezTo>
                  <a:cubicBezTo>
                    <a:pt x="262" y="169"/>
                    <a:pt x="264" y="169"/>
                    <a:pt x="264" y="169"/>
                  </a:cubicBezTo>
                  <a:cubicBezTo>
                    <a:pt x="264" y="168"/>
                    <a:pt x="263" y="167"/>
                    <a:pt x="264" y="167"/>
                  </a:cubicBezTo>
                  <a:cubicBezTo>
                    <a:pt x="265" y="168"/>
                    <a:pt x="265" y="168"/>
                    <a:pt x="265" y="169"/>
                  </a:cubicBezTo>
                  <a:cubicBezTo>
                    <a:pt x="266" y="169"/>
                    <a:pt x="266" y="169"/>
                    <a:pt x="266" y="169"/>
                  </a:cubicBezTo>
                  <a:cubicBezTo>
                    <a:pt x="267" y="169"/>
                    <a:pt x="268" y="170"/>
                    <a:pt x="269" y="171"/>
                  </a:cubicBezTo>
                  <a:cubicBezTo>
                    <a:pt x="269" y="171"/>
                    <a:pt x="269" y="172"/>
                    <a:pt x="269" y="173"/>
                  </a:cubicBezTo>
                  <a:cubicBezTo>
                    <a:pt x="269" y="174"/>
                    <a:pt x="269" y="174"/>
                    <a:pt x="269" y="175"/>
                  </a:cubicBezTo>
                  <a:cubicBezTo>
                    <a:pt x="269" y="176"/>
                    <a:pt x="269" y="176"/>
                    <a:pt x="269" y="176"/>
                  </a:cubicBezTo>
                  <a:cubicBezTo>
                    <a:pt x="269" y="176"/>
                    <a:pt x="272" y="178"/>
                    <a:pt x="272" y="177"/>
                  </a:cubicBezTo>
                  <a:cubicBezTo>
                    <a:pt x="272" y="176"/>
                    <a:pt x="272" y="177"/>
                    <a:pt x="272" y="175"/>
                  </a:cubicBezTo>
                  <a:cubicBezTo>
                    <a:pt x="271" y="174"/>
                    <a:pt x="272" y="173"/>
                    <a:pt x="272" y="172"/>
                  </a:cubicBezTo>
                  <a:cubicBezTo>
                    <a:pt x="271" y="171"/>
                    <a:pt x="270" y="169"/>
                    <a:pt x="270" y="168"/>
                  </a:cubicBezTo>
                  <a:cubicBezTo>
                    <a:pt x="270" y="168"/>
                    <a:pt x="271" y="167"/>
                    <a:pt x="272" y="167"/>
                  </a:cubicBezTo>
                  <a:cubicBezTo>
                    <a:pt x="273" y="167"/>
                    <a:pt x="272" y="166"/>
                    <a:pt x="273" y="167"/>
                  </a:cubicBezTo>
                  <a:cubicBezTo>
                    <a:pt x="274" y="168"/>
                    <a:pt x="274" y="169"/>
                    <a:pt x="275" y="169"/>
                  </a:cubicBezTo>
                  <a:cubicBezTo>
                    <a:pt x="276" y="169"/>
                    <a:pt x="276" y="169"/>
                    <a:pt x="276" y="169"/>
                  </a:cubicBezTo>
                  <a:cubicBezTo>
                    <a:pt x="276" y="170"/>
                    <a:pt x="277" y="171"/>
                    <a:pt x="277" y="172"/>
                  </a:cubicBezTo>
                  <a:cubicBezTo>
                    <a:pt x="277" y="173"/>
                    <a:pt x="277" y="173"/>
                    <a:pt x="277" y="174"/>
                  </a:cubicBezTo>
                  <a:cubicBezTo>
                    <a:pt x="277" y="174"/>
                    <a:pt x="279" y="177"/>
                    <a:pt x="279" y="177"/>
                  </a:cubicBezTo>
                  <a:cubicBezTo>
                    <a:pt x="279" y="177"/>
                    <a:pt x="281" y="175"/>
                    <a:pt x="281" y="175"/>
                  </a:cubicBezTo>
                  <a:cubicBezTo>
                    <a:pt x="281" y="174"/>
                    <a:pt x="281" y="173"/>
                    <a:pt x="281" y="173"/>
                  </a:cubicBezTo>
                  <a:cubicBezTo>
                    <a:pt x="281" y="172"/>
                    <a:pt x="281" y="171"/>
                    <a:pt x="281" y="171"/>
                  </a:cubicBezTo>
                  <a:cubicBezTo>
                    <a:pt x="281" y="170"/>
                    <a:pt x="278" y="167"/>
                    <a:pt x="278" y="167"/>
                  </a:cubicBezTo>
                  <a:cubicBezTo>
                    <a:pt x="278" y="167"/>
                    <a:pt x="278" y="166"/>
                    <a:pt x="279" y="165"/>
                  </a:cubicBezTo>
                  <a:cubicBezTo>
                    <a:pt x="279" y="165"/>
                    <a:pt x="280" y="164"/>
                    <a:pt x="282" y="163"/>
                  </a:cubicBezTo>
                  <a:cubicBezTo>
                    <a:pt x="276" y="150"/>
                    <a:pt x="276" y="150"/>
                    <a:pt x="276" y="150"/>
                  </a:cubicBezTo>
                  <a:cubicBezTo>
                    <a:pt x="270" y="147"/>
                    <a:pt x="270" y="147"/>
                    <a:pt x="270" y="147"/>
                  </a:cubicBezTo>
                  <a:cubicBezTo>
                    <a:pt x="266" y="143"/>
                    <a:pt x="266" y="143"/>
                    <a:pt x="266" y="143"/>
                  </a:cubicBezTo>
                  <a:cubicBezTo>
                    <a:pt x="266" y="138"/>
                    <a:pt x="266" y="138"/>
                    <a:pt x="266" y="138"/>
                  </a:cubicBezTo>
                  <a:cubicBezTo>
                    <a:pt x="263" y="134"/>
                    <a:pt x="263" y="134"/>
                    <a:pt x="263" y="134"/>
                  </a:cubicBezTo>
                  <a:cubicBezTo>
                    <a:pt x="263" y="134"/>
                    <a:pt x="264" y="131"/>
                    <a:pt x="264" y="130"/>
                  </a:cubicBezTo>
                  <a:cubicBezTo>
                    <a:pt x="265" y="129"/>
                    <a:pt x="267" y="124"/>
                    <a:pt x="267" y="124"/>
                  </a:cubicBezTo>
                  <a:cubicBezTo>
                    <a:pt x="267" y="124"/>
                    <a:pt x="266" y="120"/>
                    <a:pt x="266" y="119"/>
                  </a:cubicBezTo>
                  <a:cubicBezTo>
                    <a:pt x="266" y="118"/>
                    <a:pt x="267" y="113"/>
                    <a:pt x="267" y="113"/>
                  </a:cubicBezTo>
                  <a:cubicBezTo>
                    <a:pt x="266" y="108"/>
                    <a:pt x="266" y="108"/>
                    <a:pt x="266" y="108"/>
                  </a:cubicBezTo>
                  <a:cubicBezTo>
                    <a:pt x="254" y="94"/>
                    <a:pt x="254" y="94"/>
                    <a:pt x="254" y="94"/>
                  </a:cubicBezTo>
                  <a:cubicBezTo>
                    <a:pt x="255" y="88"/>
                    <a:pt x="255" y="88"/>
                    <a:pt x="255" y="88"/>
                  </a:cubicBezTo>
                  <a:cubicBezTo>
                    <a:pt x="255" y="88"/>
                    <a:pt x="255" y="88"/>
                    <a:pt x="255" y="88"/>
                  </a:cubicBezTo>
                  <a:close/>
                  <a:moveTo>
                    <a:pt x="165" y="710"/>
                  </a:moveTo>
                  <a:cubicBezTo>
                    <a:pt x="165" y="710"/>
                    <a:pt x="165" y="710"/>
                    <a:pt x="165" y="710"/>
                  </a:cubicBezTo>
                  <a:cubicBezTo>
                    <a:pt x="166" y="702"/>
                    <a:pt x="166" y="702"/>
                    <a:pt x="166" y="702"/>
                  </a:cubicBezTo>
                  <a:cubicBezTo>
                    <a:pt x="166" y="702"/>
                    <a:pt x="164" y="699"/>
                    <a:pt x="164" y="699"/>
                  </a:cubicBezTo>
                  <a:cubicBezTo>
                    <a:pt x="164" y="698"/>
                    <a:pt x="163" y="696"/>
                    <a:pt x="163" y="693"/>
                  </a:cubicBezTo>
                  <a:cubicBezTo>
                    <a:pt x="164" y="690"/>
                    <a:pt x="164" y="689"/>
                    <a:pt x="165" y="687"/>
                  </a:cubicBezTo>
                  <a:cubicBezTo>
                    <a:pt x="165" y="685"/>
                    <a:pt x="167" y="684"/>
                    <a:pt x="167" y="682"/>
                  </a:cubicBezTo>
                  <a:cubicBezTo>
                    <a:pt x="167" y="679"/>
                    <a:pt x="167" y="678"/>
                    <a:pt x="168" y="676"/>
                  </a:cubicBezTo>
                  <a:cubicBezTo>
                    <a:pt x="168" y="674"/>
                    <a:pt x="169" y="672"/>
                    <a:pt x="170" y="672"/>
                  </a:cubicBezTo>
                  <a:cubicBezTo>
                    <a:pt x="170" y="671"/>
                    <a:pt x="172" y="667"/>
                    <a:pt x="172" y="667"/>
                  </a:cubicBezTo>
                  <a:cubicBezTo>
                    <a:pt x="173" y="662"/>
                    <a:pt x="173" y="662"/>
                    <a:pt x="173" y="662"/>
                  </a:cubicBezTo>
                  <a:cubicBezTo>
                    <a:pt x="173" y="662"/>
                    <a:pt x="175" y="657"/>
                    <a:pt x="175" y="656"/>
                  </a:cubicBezTo>
                  <a:cubicBezTo>
                    <a:pt x="175" y="655"/>
                    <a:pt x="174" y="651"/>
                    <a:pt x="174" y="650"/>
                  </a:cubicBezTo>
                  <a:cubicBezTo>
                    <a:pt x="175" y="649"/>
                    <a:pt x="177" y="647"/>
                    <a:pt x="177" y="647"/>
                  </a:cubicBezTo>
                  <a:cubicBezTo>
                    <a:pt x="180" y="647"/>
                    <a:pt x="180" y="647"/>
                    <a:pt x="180" y="647"/>
                  </a:cubicBezTo>
                  <a:cubicBezTo>
                    <a:pt x="180" y="647"/>
                    <a:pt x="180" y="650"/>
                    <a:pt x="179" y="651"/>
                  </a:cubicBezTo>
                  <a:cubicBezTo>
                    <a:pt x="178" y="651"/>
                    <a:pt x="177" y="652"/>
                    <a:pt x="177" y="652"/>
                  </a:cubicBezTo>
                  <a:cubicBezTo>
                    <a:pt x="177" y="653"/>
                    <a:pt x="179" y="655"/>
                    <a:pt x="179" y="655"/>
                  </a:cubicBezTo>
                  <a:cubicBezTo>
                    <a:pt x="179" y="659"/>
                    <a:pt x="179" y="659"/>
                    <a:pt x="179" y="659"/>
                  </a:cubicBezTo>
                  <a:cubicBezTo>
                    <a:pt x="177" y="663"/>
                    <a:pt x="177" y="663"/>
                    <a:pt x="177" y="663"/>
                  </a:cubicBezTo>
                  <a:cubicBezTo>
                    <a:pt x="175" y="668"/>
                    <a:pt x="175" y="668"/>
                    <a:pt x="175" y="668"/>
                  </a:cubicBezTo>
                  <a:cubicBezTo>
                    <a:pt x="175" y="673"/>
                    <a:pt x="175" y="673"/>
                    <a:pt x="175" y="673"/>
                  </a:cubicBezTo>
                  <a:cubicBezTo>
                    <a:pt x="174" y="676"/>
                    <a:pt x="174" y="676"/>
                    <a:pt x="174" y="676"/>
                  </a:cubicBezTo>
                  <a:cubicBezTo>
                    <a:pt x="173" y="679"/>
                    <a:pt x="173" y="679"/>
                    <a:pt x="173" y="679"/>
                  </a:cubicBezTo>
                  <a:cubicBezTo>
                    <a:pt x="171" y="685"/>
                    <a:pt x="171" y="685"/>
                    <a:pt x="171" y="685"/>
                  </a:cubicBezTo>
                  <a:cubicBezTo>
                    <a:pt x="172" y="690"/>
                    <a:pt x="172" y="690"/>
                    <a:pt x="172" y="690"/>
                  </a:cubicBezTo>
                  <a:cubicBezTo>
                    <a:pt x="169" y="696"/>
                    <a:pt x="169" y="696"/>
                    <a:pt x="169" y="696"/>
                  </a:cubicBezTo>
                  <a:cubicBezTo>
                    <a:pt x="169" y="696"/>
                    <a:pt x="169" y="699"/>
                    <a:pt x="169" y="700"/>
                  </a:cubicBezTo>
                  <a:cubicBezTo>
                    <a:pt x="169" y="701"/>
                    <a:pt x="169" y="707"/>
                    <a:pt x="169" y="707"/>
                  </a:cubicBezTo>
                  <a:cubicBezTo>
                    <a:pt x="169" y="707"/>
                    <a:pt x="169" y="710"/>
                    <a:pt x="168" y="710"/>
                  </a:cubicBezTo>
                  <a:cubicBezTo>
                    <a:pt x="167" y="710"/>
                    <a:pt x="165" y="710"/>
                    <a:pt x="165" y="710"/>
                  </a:cubicBezTo>
                  <a:close/>
                  <a:moveTo>
                    <a:pt x="206" y="649"/>
                  </a:moveTo>
                  <a:cubicBezTo>
                    <a:pt x="206" y="649"/>
                    <a:pt x="206" y="649"/>
                    <a:pt x="206" y="649"/>
                  </a:cubicBezTo>
                  <a:cubicBezTo>
                    <a:pt x="205" y="647"/>
                    <a:pt x="205" y="647"/>
                    <a:pt x="205" y="647"/>
                  </a:cubicBezTo>
                  <a:cubicBezTo>
                    <a:pt x="208" y="646"/>
                    <a:pt x="208" y="646"/>
                    <a:pt x="208" y="646"/>
                  </a:cubicBezTo>
                  <a:cubicBezTo>
                    <a:pt x="208" y="646"/>
                    <a:pt x="207" y="642"/>
                    <a:pt x="207" y="641"/>
                  </a:cubicBezTo>
                  <a:cubicBezTo>
                    <a:pt x="207" y="640"/>
                    <a:pt x="206" y="641"/>
                    <a:pt x="205" y="639"/>
                  </a:cubicBezTo>
                  <a:cubicBezTo>
                    <a:pt x="204" y="638"/>
                    <a:pt x="204" y="635"/>
                    <a:pt x="204" y="635"/>
                  </a:cubicBezTo>
                  <a:cubicBezTo>
                    <a:pt x="204" y="634"/>
                    <a:pt x="205" y="631"/>
                    <a:pt x="205" y="631"/>
                  </a:cubicBezTo>
                  <a:cubicBezTo>
                    <a:pt x="205" y="631"/>
                    <a:pt x="208" y="627"/>
                    <a:pt x="210" y="625"/>
                  </a:cubicBezTo>
                  <a:cubicBezTo>
                    <a:pt x="213" y="622"/>
                    <a:pt x="212" y="622"/>
                    <a:pt x="212" y="620"/>
                  </a:cubicBezTo>
                  <a:cubicBezTo>
                    <a:pt x="211" y="619"/>
                    <a:pt x="213" y="618"/>
                    <a:pt x="213" y="618"/>
                  </a:cubicBezTo>
                  <a:cubicBezTo>
                    <a:pt x="216" y="615"/>
                    <a:pt x="216" y="615"/>
                    <a:pt x="216" y="615"/>
                  </a:cubicBezTo>
                  <a:cubicBezTo>
                    <a:pt x="218" y="610"/>
                    <a:pt x="218" y="610"/>
                    <a:pt x="218" y="610"/>
                  </a:cubicBezTo>
                  <a:cubicBezTo>
                    <a:pt x="218" y="610"/>
                    <a:pt x="221" y="613"/>
                    <a:pt x="221" y="613"/>
                  </a:cubicBezTo>
                  <a:cubicBezTo>
                    <a:pt x="222" y="613"/>
                    <a:pt x="222" y="612"/>
                    <a:pt x="222" y="611"/>
                  </a:cubicBezTo>
                  <a:cubicBezTo>
                    <a:pt x="222" y="610"/>
                    <a:pt x="224" y="610"/>
                    <a:pt x="224" y="610"/>
                  </a:cubicBezTo>
                  <a:cubicBezTo>
                    <a:pt x="225" y="610"/>
                    <a:pt x="228" y="609"/>
                    <a:pt x="228" y="609"/>
                  </a:cubicBezTo>
                  <a:cubicBezTo>
                    <a:pt x="229" y="607"/>
                    <a:pt x="229" y="607"/>
                    <a:pt x="229" y="607"/>
                  </a:cubicBezTo>
                  <a:cubicBezTo>
                    <a:pt x="229" y="607"/>
                    <a:pt x="233" y="606"/>
                    <a:pt x="235" y="607"/>
                  </a:cubicBezTo>
                  <a:cubicBezTo>
                    <a:pt x="236" y="608"/>
                    <a:pt x="234" y="608"/>
                    <a:pt x="234" y="609"/>
                  </a:cubicBezTo>
                  <a:cubicBezTo>
                    <a:pt x="234" y="610"/>
                    <a:pt x="234" y="610"/>
                    <a:pt x="234" y="611"/>
                  </a:cubicBezTo>
                  <a:cubicBezTo>
                    <a:pt x="234" y="612"/>
                    <a:pt x="233" y="613"/>
                    <a:pt x="230" y="613"/>
                  </a:cubicBezTo>
                  <a:cubicBezTo>
                    <a:pt x="227" y="614"/>
                    <a:pt x="229" y="616"/>
                    <a:pt x="229" y="616"/>
                  </a:cubicBezTo>
                  <a:cubicBezTo>
                    <a:pt x="229" y="616"/>
                    <a:pt x="229" y="620"/>
                    <a:pt x="229" y="620"/>
                  </a:cubicBezTo>
                  <a:cubicBezTo>
                    <a:pt x="228" y="621"/>
                    <a:pt x="226" y="623"/>
                    <a:pt x="224" y="623"/>
                  </a:cubicBezTo>
                  <a:cubicBezTo>
                    <a:pt x="223" y="624"/>
                    <a:pt x="223" y="626"/>
                    <a:pt x="223" y="626"/>
                  </a:cubicBezTo>
                  <a:cubicBezTo>
                    <a:pt x="223" y="627"/>
                    <a:pt x="224" y="629"/>
                    <a:pt x="224" y="631"/>
                  </a:cubicBezTo>
                  <a:cubicBezTo>
                    <a:pt x="224" y="632"/>
                    <a:pt x="224" y="632"/>
                    <a:pt x="225" y="634"/>
                  </a:cubicBezTo>
                  <a:cubicBezTo>
                    <a:pt x="225" y="635"/>
                    <a:pt x="227" y="635"/>
                    <a:pt x="228" y="635"/>
                  </a:cubicBezTo>
                  <a:cubicBezTo>
                    <a:pt x="228" y="636"/>
                    <a:pt x="230" y="638"/>
                    <a:pt x="229" y="639"/>
                  </a:cubicBezTo>
                  <a:cubicBezTo>
                    <a:pt x="228" y="640"/>
                    <a:pt x="227" y="641"/>
                    <a:pt x="226" y="641"/>
                  </a:cubicBezTo>
                  <a:cubicBezTo>
                    <a:pt x="226" y="642"/>
                    <a:pt x="224" y="645"/>
                    <a:pt x="224" y="645"/>
                  </a:cubicBezTo>
                  <a:cubicBezTo>
                    <a:pt x="224" y="645"/>
                    <a:pt x="225" y="647"/>
                    <a:pt x="224" y="649"/>
                  </a:cubicBezTo>
                  <a:cubicBezTo>
                    <a:pt x="224" y="651"/>
                    <a:pt x="222" y="650"/>
                    <a:pt x="221" y="651"/>
                  </a:cubicBezTo>
                  <a:cubicBezTo>
                    <a:pt x="221" y="651"/>
                    <a:pt x="218" y="654"/>
                    <a:pt x="218" y="654"/>
                  </a:cubicBezTo>
                  <a:cubicBezTo>
                    <a:pt x="217" y="654"/>
                    <a:pt x="216" y="658"/>
                    <a:pt x="216" y="660"/>
                  </a:cubicBezTo>
                  <a:cubicBezTo>
                    <a:pt x="216" y="661"/>
                    <a:pt x="216" y="663"/>
                    <a:pt x="216" y="664"/>
                  </a:cubicBezTo>
                  <a:cubicBezTo>
                    <a:pt x="216" y="665"/>
                    <a:pt x="216" y="664"/>
                    <a:pt x="214" y="667"/>
                  </a:cubicBezTo>
                  <a:cubicBezTo>
                    <a:pt x="211" y="670"/>
                    <a:pt x="212" y="668"/>
                    <a:pt x="209" y="667"/>
                  </a:cubicBezTo>
                  <a:cubicBezTo>
                    <a:pt x="205" y="667"/>
                    <a:pt x="209" y="666"/>
                    <a:pt x="210" y="664"/>
                  </a:cubicBezTo>
                  <a:cubicBezTo>
                    <a:pt x="211" y="662"/>
                    <a:pt x="212" y="660"/>
                    <a:pt x="212" y="660"/>
                  </a:cubicBezTo>
                  <a:cubicBezTo>
                    <a:pt x="211" y="656"/>
                    <a:pt x="211" y="656"/>
                    <a:pt x="211" y="656"/>
                  </a:cubicBezTo>
                  <a:cubicBezTo>
                    <a:pt x="209" y="653"/>
                    <a:pt x="209" y="653"/>
                    <a:pt x="209" y="653"/>
                  </a:cubicBezTo>
                  <a:lnTo>
                    <a:pt x="206" y="6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69" name="Freeform 96"/>
            <p:cNvSpPr>
              <a:spLocks noEditPoints="1"/>
            </p:cNvSpPr>
            <p:nvPr/>
          </p:nvSpPr>
          <p:spPr bwMode="auto">
            <a:xfrm>
              <a:off x="4012416" y="1698608"/>
              <a:ext cx="1278795" cy="1751597"/>
            </a:xfrm>
            <a:custGeom>
              <a:avLst/>
              <a:gdLst>
                <a:gd name="T0" fmla="*/ 383 w 538"/>
                <a:gd name="T1" fmla="*/ 61 h 760"/>
                <a:gd name="T2" fmla="*/ 367 w 538"/>
                <a:gd name="T3" fmla="*/ 127 h 760"/>
                <a:gd name="T4" fmla="*/ 435 w 538"/>
                <a:gd name="T5" fmla="*/ 150 h 760"/>
                <a:gd name="T6" fmla="*/ 438 w 538"/>
                <a:gd name="T7" fmla="*/ 149 h 760"/>
                <a:gd name="T8" fmla="*/ 438 w 538"/>
                <a:gd name="T9" fmla="*/ 148 h 760"/>
                <a:gd name="T10" fmla="*/ 443 w 538"/>
                <a:gd name="T11" fmla="*/ 86 h 760"/>
                <a:gd name="T12" fmla="*/ 500 w 538"/>
                <a:gd name="T13" fmla="*/ 70 h 760"/>
                <a:gd name="T14" fmla="*/ 509 w 538"/>
                <a:gd name="T15" fmla="*/ 106 h 760"/>
                <a:gd name="T16" fmla="*/ 499 w 538"/>
                <a:gd name="T17" fmla="*/ 50 h 760"/>
                <a:gd name="T18" fmla="*/ 468 w 538"/>
                <a:gd name="T19" fmla="*/ 9 h 760"/>
                <a:gd name="T20" fmla="*/ 444 w 538"/>
                <a:gd name="T21" fmla="*/ 21 h 760"/>
                <a:gd name="T22" fmla="*/ 425 w 538"/>
                <a:gd name="T23" fmla="*/ 23 h 760"/>
                <a:gd name="T24" fmla="*/ 400 w 538"/>
                <a:gd name="T25" fmla="*/ 33 h 760"/>
                <a:gd name="T26" fmla="*/ 377 w 538"/>
                <a:gd name="T27" fmla="*/ 69 h 760"/>
                <a:gd name="T28" fmla="*/ 361 w 538"/>
                <a:gd name="T29" fmla="*/ 85 h 760"/>
                <a:gd name="T30" fmla="*/ 328 w 538"/>
                <a:gd name="T31" fmla="*/ 96 h 760"/>
                <a:gd name="T32" fmla="*/ 298 w 538"/>
                <a:gd name="T33" fmla="*/ 115 h 760"/>
                <a:gd name="T34" fmla="*/ 281 w 538"/>
                <a:gd name="T35" fmla="*/ 161 h 760"/>
                <a:gd name="T36" fmla="*/ 241 w 538"/>
                <a:gd name="T37" fmla="*/ 187 h 760"/>
                <a:gd name="T38" fmla="*/ 235 w 538"/>
                <a:gd name="T39" fmla="*/ 201 h 760"/>
                <a:gd name="T40" fmla="*/ 241 w 538"/>
                <a:gd name="T41" fmla="*/ 223 h 760"/>
                <a:gd name="T42" fmla="*/ 235 w 538"/>
                <a:gd name="T43" fmla="*/ 256 h 760"/>
                <a:gd name="T44" fmla="*/ 219 w 538"/>
                <a:gd name="T45" fmla="*/ 306 h 760"/>
                <a:gd name="T46" fmla="*/ 193 w 538"/>
                <a:gd name="T47" fmla="*/ 362 h 760"/>
                <a:gd name="T48" fmla="*/ 174 w 538"/>
                <a:gd name="T49" fmla="*/ 390 h 760"/>
                <a:gd name="T50" fmla="*/ 145 w 538"/>
                <a:gd name="T51" fmla="*/ 436 h 760"/>
                <a:gd name="T52" fmla="*/ 139 w 538"/>
                <a:gd name="T53" fmla="*/ 456 h 760"/>
                <a:gd name="T54" fmla="*/ 97 w 538"/>
                <a:gd name="T55" fmla="*/ 474 h 760"/>
                <a:gd name="T56" fmla="*/ 59 w 538"/>
                <a:gd name="T57" fmla="*/ 500 h 760"/>
                <a:gd name="T58" fmla="*/ 24 w 538"/>
                <a:gd name="T59" fmla="*/ 527 h 760"/>
                <a:gd name="T60" fmla="*/ 14 w 538"/>
                <a:gd name="T61" fmla="*/ 551 h 760"/>
                <a:gd name="T62" fmla="*/ 4 w 538"/>
                <a:gd name="T63" fmla="*/ 599 h 760"/>
                <a:gd name="T64" fmla="*/ 13 w 538"/>
                <a:gd name="T65" fmla="*/ 650 h 760"/>
                <a:gd name="T66" fmla="*/ 22 w 538"/>
                <a:gd name="T67" fmla="*/ 686 h 760"/>
                <a:gd name="T68" fmla="*/ 33 w 538"/>
                <a:gd name="T69" fmla="*/ 742 h 760"/>
                <a:gd name="T70" fmla="*/ 96 w 538"/>
                <a:gd name="T71" fmla="*/ 747 h 760"/>
                <a:gd name="T72" fmla="*/ 173 w 538"/>
                <a:gd name="T73" fmla="*/ 704 h 760"/>
                <a:gd name="T74" fmla="*/ 188 w 538"/>
                <a:gd name="T75" fmla="*/ 671 h 760"/>
                <a:gd name="T76" fmla="*/ 193 w 538"/>
                <a:gd name="T77" fmla="*/ 655 h 760"/>
                <a:gd name="T78" fmla="*/ 193 w 538"/>
                <a:gd name="T79" fmla="*/ 655 h 760"/>
                <a:gd name="T80" fmla="*/ 207 w 538"/>
                <a:gd name="T81" fmla="*/ 644 h 760"/>
                <a:gd name="T82" fmla="*/ 212 w 538"/>
                <a:gd name="T83" fmla="*/ 590 h 760"/>
                <a:gd name="T84" fmla="*/ 213 w 538"/>
                <a:gd name="T85" fmla="*/ 589 h 760"/>
                <a:gd name="T86" fmla="*/ 213 w 538"/>
                <a:gd name="T87" fmla="*/ 586 h 760"/>
                <a:gd name="T88" fmla="*/ 213 w 538"/>
                <a:gd name="T89" fmla="*/ 584 h 760"/>
                <a:gd name="T90" fmla="*/ 214 w 538"/>
                <a:gd name="T91" fmla="*/ 582 h 760"/>
                <a:gd name="T92" fmla="*/ 189 w 538"/>
                <a:gd name="T93" fmla="*/ 510 h 760"/>
                <a:gd name="T94" fmla="*/ 231 w 538"/>
                <a:gd name="T95" fmla="*/ 427 h 760"/>
                <a:gd name="T96" fmla="*/ 240 w 538"/>
                <a:gd name="T97" fmla="*/ 314 h 760"/>
                <a:gd name="T98" fmla="*/ 275 w 538"/>
                <a:gd name="T99" fmla="*/ 228 h 760"/>
                <a:gd name="T100" fmla="*/ 275 w 538"/>
                <a:gd name="T101" fmla="*/ 220 h 760"/>
                <a:gd name="T102" fmla="*/ 275 w 538"/>
                <a:gd name="T103" fmla="*/ 218 h 760"/>
                <a:gd name="T104" fmla="*/ 276 w 538"/>
                <a:gd name="T105" fmla="*/ 217 h 760"/>
                <a:gd name="T106" fmla="*/ 277 w 538"/>
                <a:gd name="T107" fmla="*/ 215 h 760"/>
                <a:gd name="T108" fmla="*/ 302 w 538"/>
                <a:gd name="T109" fmla="*/ 202 h 760"/>
                <a:gd name="T110" fmla="*/ 342 w 538"/>
                <a:gd name="T111" fmla="*/ 142 h 760"/>
                <a:gd name="T112" fmla="*/ 360 w 538"/>
                <a:gd name="T113" fmla="*/ 125 h 760"/>
                <a:gd name="T114" fmla="*/ 361 w 538"/>
                <a:gd name="T115" fmla="*/ 125 h 760"/>
                <a:gd name="T116" fmla="*/ 363 w 538"/>
                <a:gd name="T117" fmla="*/ 125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8" h="760">
                  <a:moveTo>
                    <a:pt x="370" y="57"/>
                  </a:moveTo>
                  <a:cubicBezTo>
                    <a:pt x="368" y="57"/>
                    <a:pt x="365" y="58"/>
                    <a:pt x="365" y="56"/>
                  </a:cubicBezTo>
                  <a:cubicBezTo>
                    <a:pt x="365" y="55"/>
                    <a:pt x="362" y="52"/>
                    <a:pt x="362" y="52"/>
                  </a:cubicBezTo>
                  <a:cubicBezTo>
                    <a:pt x="362" y="51"/>
                    <a:pt x="360" y="49"/>
                    <a:pt x="363" y="48"/>
                  </a:cubicBezTo>
                  <a:cubicBezTo>
                    <a:pt x="365" y="46"/>
                    <a:pt x="372" y="43"/>
                    <a:pt x="373" y="43"/>
                  </a:cubicBezTo>
                  <a:cubicBezTo>
                    <a:pt x="373" y="43"/>
                    <a:pt x="376" y="38"/>
                    <a:pt x="377" y="37"/>
                  </a:cubicBezTo>
                  <a:cubicBezTo>
                    <a:pt x="378" y="37"/>
                    <a:pt x="384" y="37"/>
                    <a:pt x="384" y="37"/>
                  </a:cubicBezTo>
                  <a:cubicBezTo>
                    <a:pt x="384" y="37"/>
                    <a:pt x="385" y="38"/>
                    <a:pt x="387" y="38"/>
                  </a:cubicBezTo>
                  <a:cubicBezTo>
                    <a:pt x="389" y="39"/>
                    <a:pt x="393" y="36"/>
                    <a:pt x="391" y="39"/>
                  </a:cubicBezTo>
                  <a:cubicBezTo>
                    <a:pt x="388" y="41"/>
                    <a:pt x="387" y="42"/>
                    <a:pt x="386" y="42"/>
                  </a:cubicBezTo>
                  <a:cubicBezTo>
                    <a:pt x="385" y="43"/>
                    <a:pt x="380" y="47"/>
                    <a:pt x="380" y="49"/>
                  </a:cubicBezTo>
                  <a:cubicBezTo>
                    <a:pt x="379" y="51"/>
                    <a:pt x="380" y="51"/>
                    <a:pt x="379" y="52"/>
                  </a:cubicBezTo>
                  <a:cubicBezTo>
                    <a:pt x="377" y="53"/>
                    <a:pt x="371" y="56"/>
                    <a:pt x="370" y="57"/>
                  </a:cubicBezTo>
                  <a:close/>
                  <a:moveTo>
                    <a:pt x="383" y="61"/>
                  </a:moveTo>
                  <a:cubicBezTo>
                    <a:pt x="383" y="61"/>
                    <a:pt x="383" y="61"/>
                    <a:pt x="383" y="61"/>
                  </a:cubicBezTo>
                  <a:cubicBezTo>
                    <a:pt x="383" y="61"/>
                    <a:pt x="386" y="62"/>
                    <a:pt x="386" y="61"/>
                  </a:cubicBezTo>
                  <a:cubicBezTo>
                    <a:pt x="386" y="61"/>
                    <a:pt x="387" y="59"/>
                    <a:pt x="387" y="56"/>
                  </a:cubicBezTo>
                  <a:cubicBezTo>
                    <a:pt x="388" y="53"/>
                    <a:pt x="390" y="53"/>
                    <a:pt x="391" y="52"/>
                  </a:cubicBezTo>
                  <a:cubicBezTo>
                    <a:pt x="392" y="51"/>
                    <a:pt x="391" y="51"/>
                    <a:pt x="392" y="49"/>
                  </a:cubicBezTo>
                  <a:cubicBezTo>
                    <a:pt x="392" y="47"/>
                    <a:pt x="391" y="47"/>
                    <a:pt x="389" y="46"/>
                  </a:cubicBezTo>
                  <a:cubicBezTo>
                    <a:pt x="386" y="46"/>
                    <a:pt x="386" y="48"/>
                    <a:pt x="384" y="48"/>
                  </a:cubicBezTo>
                  <a:cubicBezTo>
                    <a:pt x="383" y="49"/>
                    <a:pt x="383" y="51"/>
                    <a:pt x="384" y="52"/>
                  </a:cubicBezTo>
                  <a:cubicBezTo>
                    <a:pt x="384" y="53"/>
                    <a:pt x="382" y="54"/>
                    <a:pt x="380" y="55"/>
                  </a:cubicBezTo>
                  <a:cubicBezTo>
                    <a:pt x="378" y="57"/>
                    <a:pt x="378" y="59"/>
                    <a:pt x="378" y="59"/>
                  </a:cubicBezTo>
                  <a:cubicBezTo>
                    <a:pt x="383" y="61"/>
                    <a:pt x="383" y="61"/>
                    <a:pt x="383" y="61"/>
                  </a:cubicBezTo>
                  <a:close/>
                  <a:moveTo>
                    <a:pt x="363" y="126"/>
                  </a:moveTo>
                  <a:cubicBezTo>
                    <a:pt x="363" y="126"/>
                    <a:pt x="363" y="126"/>
                    <a:pt x="363" y="126"/>
                  </a:cubicBezTo>
                  <a:cubicBezTo>
                    <a:pt x="367" y="127"/>
                    <a:pt x="367" y="127"/>
                    <a:pt x="367" y="127"/>
                  </a:cubicBezTo>
                  <a:cubicBezTo>
                    <a:pt x="374" y="135"/>
                    <a:pt x="374" y="135"/>
                    <a:pt x="374" y="135"/>
                  </a:cubicBezTo>
                  <a:cubicBezTo>
                    <a:pt x="380" y="142"/>
                    <a:pt x="380" y="142"/>
                    <a:pt x="380" y="142"/>
                  </a:cubicBezTo>
                  <a:cubicBezTo>
                    <a:pt x="380" y="142"/>
                    <a:pt x="389" y="149"/>
                    <a:pt x="391" y="150"/>
                  </a:cubicBezTo>
                  <a:cubicBezTo>
                    <a:pt x="393" y="151"/>
                    <a:pt x="404" y="153"/>
                    <a:pt x="405" y="154"/>
                  </a:cubicBezTo>
                  <a:cubicBezTo>
                    <a:pt x="408" y="150"/>
                    <a:pt x="408" y="150"/>
                    <a:pt x="408" y="150"/>
                  </a:cubicBezTo>
                  <a:cubicBezTo>
                    <a:pt x="412" y="147"/>
                    <a:pt x="412" y="147"/>
                    <a:pt x="412" y="147"/>
                  </a:cubicBezTo>
                  <a:cubicBezTo>
                    <a:pt x="411" y="145"/>
                    <a:pt x="411" y="145"/>
                    <a:pt x="411" y="145"/>
                  </a:cubicBezTo>
                  <a:cubicBezTo>
                    <a:pt x="416" y="142"/>
                    <a:pt x="416" y="142"/>
                    <a:pt x="416" y="142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30" y="147"/>
                    <a:pt x="430" y="147"/>
                    <a:pt x="430" y="147"/>
                  </a:cubicBezTo>
                  <a:cubicBezTo>
                    <a:pt x="434" y="150"/>
                    <a:pt x="434" y="150"/>
                    <a:pt x="434" y="150"/>
                  </a:cubicBezTo>
                  <a:cubicBezTo>
                    <a:pt x="434" y="150"/>
                    <a:pt x="434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5" y="150"/>
                    <a:pt x="435" y="150"/>
                    <a:pt x="435" y="150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6" y="149"/>
                    <a:pt x="436" y="149"/>
                  </a:cubicBezTo>
                  <a:cubicBezTo>
                    <a:pt x="436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7" y="149"/>
                    <a:pt x="437" y="149"/>
                    <a:pt x="437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9"/>
                    <a:pt x="438" y="149"/>
                    <a:pt x="438" y="149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8"/>
                    <a:pt x="438" y="148"/>
                    <a:pt x="438" y="148"/>
                  </a:cubicBezTo>
                  <a:cubicBezTo>
                    <a:pt x="438" y="147"/>
                    <a:pt x="438" y="147"/>
                    <a:pt x="438" y="147"/>
                  </a:cubicBezTo>
                  <a:cubicBezTo>
                    <a:pt x="438" y="146"/>
                    <a:pt x="438" y="140"/>
                    <a:pt x="438" y="140"/>
                  </a:cubicBezTo>
                  <a:cubicBezTo>
                    <a:pt x="438" y="140"/>
                    <a:pt x="435" y="138"/>
                    <a:pt x="438" y="136"/>
                  </a:cubicBezTo>
                  <a:cubicBezTo>
                    <a:pt x="441" y="133"/>
                    <a:pt x="445" y="130"/>
                    <a:pt x="445" y="130"/>
                  </a:cubicBezTo>
                  <a:cubicBezTo>
                    <a:pt x="445" y="130"/>
                    <a:pt x="447" y="129"/>
                    <a:pt x="447" y="126"/>
                  </a:cubicBezTo>
                  <a:cubicBezTo>
                    <a:pt x="447" y="123"/>
                    <a:pt x="445" y="115"/>
                    <a:pt x="445" y="115"/>
                  </a:cubicBezTo>
                  <a:cubicBezTo>
                    <a:pt x="445" y="115"/>
                    <a:pt x="443" y="110"/>
                    <a:pt x="443" y="108"/>
                  </a:cubicBezTo>
                  <a:cubicBezTo>
                    <a:pt x="445" y="96"/>
                    <a:pt x="440" y="88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3" y="86"/>
                    <a:pt x="443" y="86"/>
                    <a:pt x="443" y="86"/>
                  </a:cubicBezTo>
                  <a:cubicBezTo>
                    <a:pt x="445" y="85"/>
                    <a:pt x="445" y="85"/>
                    <a:pt x="445" y="85"/>
                  </a:cubicBezTo>
                  <a:cubicBezTo>
                    <a:pt x="448" y="83"/>
                    <a:pt x="448" y="83"/>
                    <a:pt x="448" y="83"/>
                  </a:cubicBezTo>
                  <a:cubicBezTo>
                    <a:pt x="448" y="83"/>
                    <a:pt x="448" y="82"/>
                    <a:pt x="448" y="82"/>
                  </a:cubicBezTo>
                  <a:cubicBezTo>
                    <a:pt x="448" y="77"/>
                    <a:pt x="442" y="72"/>
                    <a:pt x="449" y="71"/>
                  </a:cubicBezTo>
                  <a:cubicBezTo>
                    <a:pt x="452" y="69"/>
                    <a:pt x="452" y="69"/>
                    <a:pt x="452" y="69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3" y="63"/>
                    <a:pt x="463" y="63"/>
                    <a:pt x="463" y="63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70" y="59"/>
                    <a:pt x="474" y="58"/>
                    <a:pt x="476" y="59"/>
                  </a:cubicBezTo>
                  <a:cubicBezTo>
                    <a:pt x="478" y="62"/>
                    <a:pt x="478" y="64"/>
                    <a:pt x="482" y="65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0" y="70"/>
                    <a:pt x="500" y="70"/>
                    <a:pt x="500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1" y="70"/>
                    <a:pt x="501" y="70"/>
                    <a:pt x="501" y="70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2"/>
                    <a:pt x="503" y="72"/>
                    <a:pt x="503" y="72"/>
                  </a:cubicBezTo>
                  <a:cubicBezTo>
                    <a:pt x="503" y="74"/>
                    <a:pt x="503" y="76"/>
                    <a:pt x="504" y="77"/>
                  </a:cubicBezTo>
                  <a:cubicBezTo>
                    <a:pt x="504" y="79"/>
                    <a:pt x="505" y="82"/>
                    <a:pt x="505" y="82"/>
                  </a:cubicBezTo>
                  <a:cubicBezTo>
                    <a:pt x="505" y="82"/>
                    <a:pt x="504" y="85"/>
                    <a:pt x="504" y="87"/>
                  </a:cubicBezTo>
                  <a:cubicBezTo>
                    <a:pt x="503" y="88"/>
                    <a:pt x="503" y="91"/>
                    <a:pt x="503" y="92"/>
                  </a:cubicBezTo>
                  <a:cubicBezTo>
                    <a:pt x="503" y="93"/>
                    <a:pt x="503" y="94"/>
                    <a:pt x="503" y="95"/>
                  </a:cubicBezTo>
                  <a:cubicBezTo>
                    <a:pt x="503" y="97"/>
                    <a:pt x="504" y="100"/>
                    <a:pt x="505" y="101"/>
                  </a:cubicBezTo>
                  <a:cubicBezTo>
                    <a:pt x="505" y="102"/>
                    <a:pt x="510" y="105"/>
                    <a:pt x="510" y="105"/>
                  </a:cubicBezTo>
                  <a:cubicBezTo>
                    <a:pt x="510" y="105"/>
                    <a:pt x="510" y="105"/>
                    <a:pt x="509" y="106"/>
                  </a:cubicBezTo>
                  <a:cubicBezTo>
                    <a:pt x="509" y="106"/>
                    <a:pt x="509" y="107"/>
                    <a:pt x="510" y="107"/>
                  </a:cubicBezTo>
                  <a:cubicBezTo>
                    <a:pt x="512" y="107"/>
                    <a:pt x="515" y="106"/>
                    <a:pt x="515" y="106"/>
                  </a:cubicBezTo>
                  <a:cubicBezTo>
                    <a:pt x="515" y="106"/>
                    <a:pt x="515" y="97"/>
                    <a:pt x="514" y="94"/>
                  </a:cubicBezTo>
                  <a:cubicBezTo>
                    <a:pt x="513" y="90"/>
                    <a:pt x="518" y="86"/>
                    <a:pt x="518" y="86"/>
                  </a:cubicBezTo>
                  <a:cubicBezTo>
                    <a:pt x="525" y="79"/>
                    <a:pt x="525" y="79"/>
                    <a:pt x="525" y="79"/>
                  </a:cubicBezTo>
                  <a:cubicBezTo>
                    <a:pt x="524" y="71"/>
                    <a:pt x="524" y="71"/>
                    <a:pt x="524" y="71"/>
                  </a:cubicBezTo>
                  <a:cubicBezTo>
                    <a:pt x="532" y="72"/>
                    <a:pt x="532" y="72"/>
                    <a:pt x="532" y="72"/>
                  </a:cubicBezTo>
                  <a:cubicBezTo>
                    <a:pt x="532" y="72"/>
                    <a:pt x="538" y="69"/>
                    <a:pt x="536" y="65"/>
                  </a:cubicBezTo>
                  <a:cubicBezTo>
                    <a:pt x="534" y="60"/>
                    <a:pt x="532" y="52"/>
                    <a:pt x="530" y="54"/>
                  </a:cubicBezTo>
                  <a:cubicBezTo>
                    <a:pt x="527" y="56"/>
                    <a:pt x="522" y="62"/>
                    <a:pt x="522" y="62"/>
                  </a:cubicBezTo>
                  <a:cubicBezTo>
                    <a:pt x="521" y="52"/>
                    <a:pt x="521" y="52"/>
                    <a:pt x="521" y="52"/>
                  </a:cubicBezTo>
                  <a:cubicBezTo>
                    <a:pt x="513" y="55"/>
                    <a:pt x="513" y="55"/>
                    <a:pt x="513" y="55"/>
                  </a:cubicBezTo>
                  <a:cubicBezTo>
                    <a:pt x="505" y="53"/>
                    <a:pt x="505" y="53"/>
                    <a:pt x="505" y="53"/>
                  </a:cubicBezTo>
                  <a:cubicBezTo>
                    <a:pt x="505" y="53"/>
                    <a:pt x="502" y="49"/>
                    <a:pt x="499" y="50"/>
                  </a:cubicBezTo>
                  <a:cubicBezTo>
                    <a:pt x="496" y="50"/>
                    <a:pt x="491" y="50"/>
                    <a:pt x="491" y="50"/>
                  </a:cubicBezTo>
                  <a:cubicBezTo>
                    <a:pt x="491" y="50"/>
                    <a:pt x="487" y="47"/>
                    <a:pt x="489" y="46"/>
                  </a:cubicBezTo>
                  <a:cubicBezTo>
                    <a:pt x="492" y="46"/>
                    <a:pt x="498" y="47"/>
                    <a:pt x="501" y="46"/>
                  </a:cubicBezTo>
                  <a:cubicBezTo>
                    <a:pt x="503" y="46"/>
                    <a:pt x="519" y="42"/>
                    <a:pt x="519" y="42"/>
                  </a:cubicBezTo>
                  <a:cubicBezTo>
                    <a:pt x="520" y="35"/>
                    <a:pt x="520" y="35"/>
                    <a:pt x="520" y="35"/>
                  </a:cubicBezTo>
                  <a:cubicBezTo>
                    <a:pt x="527" y="29"/>
                    <a:pt x="527" y="29"/>
                    <a:pt x="527" y="29"/>
                  </a:cubicBezTo>
                  <a:cubicBezTo>
                    <a:pt x="515" y="20"/>
                    <a:pt x="515" y="20"/>
                    <a:pt x="515" y="20"/>
                  </a:cubicBezTo>
                  <a:cubicBezTo>
                    <a:pt x="510" y="12"/>
                    <a:pt x="510" y="12"/>
                    <a:pt x="510" y="12"/>
                  </a:cubicBezTo>
                  <a:cubicBezTo>
                    <a:pt x="510" y="12"/>
                    <a:pt x="509" y="9"/>
                    <a:pt x="507" y="9"/>
                  </a:cubicBezTo>
                  <a:cubicBezTo>
                    <a:pt x="504" y="9"/>
                    <a:pt x="496" y="13"/>
                    <a:pt x="496" y="13"/>
                  </a:cubicBezTo>
                  <a:cubicBezTo>
                    <a:pt x="490" y="9"/>
                    <a:pt x="490" y="9"/>
                    <a:pt x="490" y="9"/>
                  </a:cubicBezTo>
                  <a:cubicBezTo>
                    <a:pt x="481" y="10"/>
                    <a:pt x="481" y="10"/>
                    <a:pt x="481" y="10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68" y="9"/>
                    <a:pt x="468" y="9"/>
                    <a:pt x="468" y="9"/>
                  </a:cubicBezTo>
                  <a:cubicBezTo>
                    <a:pt x="468" y="9"/>
                    <a:pt x="464" y="8"/>
                    <a:pt x="463" y="6"/>
                  </a:cubicBezTo>
                  <a:cubicBezTo>
                    <a:pt x="463" y="4"/>
                    <a:pt x="463" y="2"/>
                    <a:pt x="463" y="2"/>
                  </a:cubicBezTo>
                  <a:cubicBezTo>
                    <a:pt x="458" y="3"/>
                    <a:pt x="458" y="3"/>
                    <a:pt x="458" y="3"/>
                  </a:cubicBezTo>
                  <a:cubicBezTo>
                    <a:pt x="456" y="3"/>
                    <a:pt x="456" y="3"/>
                    <a:pt x="456" y="3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47" y="6"/>
                    <a:pt x="447" y="6"/>
                    <a:pt x="447" y="6"/>
                  </a:cubicBezTo>
                  <a:cubicBezTo>
                    <a:pt x="451" y="13"/>
                    <a:pt x="451" y="13"/>
                    <a:pt x="451" y="13"/>
                  </a:cubicBezTo>
                  <a:cubicBezTo>
                    <a:pt x="447" y="21"/>
                    <a:pt x="447" y="21"/>
                    <a:pt x="447" y="21"/>
                  </a:cubicBezTo>
                  <a:cubicBezTo>
                    <a:pt x="450" y="26"/>
                    <a:pt x="450" y="26"/>
                    <a:pt x="450" y="26"/>
                  </a:cubicBezTo>
                  <a:cubicBezTo>
                    <a:pt x="450" y="33"/>
                    <a:pt x="450" y="33"/>
                    <a:pt x="450" y="33"/>
                  </a:cubicBezTo>
                  <a:cubicBezTo>
                    <a:pt x="446" y="41"/>
                    <a:pt x="446" y="41"/>
                    <a:pt x="446" y="41"/>
                  </a:cubicBezTo>
                  <a:cubicBezTo>
                    <a:pt x="440" y="36"/>
                    <a:pt x="440" y="36"/>
                    <a:pt x="440" y="36"/>
                  </a:cubicBezTo>
                  <a:cubicBezTo>
                    <a:pt x="441" y="29"/>
                    <a:pt x="441" y="29"/>
                    <a:pt x="441" y="29"/>
                  </a:cubicBezTo>
                  <a:cubicBezTo>
                    <a:pt x="444" y="21"/>
                    <a:pt x="444" y="21"/>
                    <a:pt x="444" y="21"/>
                  </a:cubicBezTo>
                  <a:cubicBezTo>
                    <a:pt x="440" y="13"/>
                    <a:pt x="440" y="13"/>
                    <a:pt x="440" y="13"/>
                  </a:cubicBezTo>
                  <a:cubicBezTo>
                    <a:pt x="432" y="20"/>
                    <a:pt x="432" y="20"/>
                    <a:pt x="432" y="20"/>
                  </a:cubicBezTo>
                  <a:cubicBezTo>
                    <a:pt x="432" y="30"/>
                    <a:pt x="432" y="30"/>
                    <a:pt x="432" y="30"/>
                  </a:cubicBezTo>
                  <a:cubicBezTo>
                    <a:pt x="428" y="37"/>
                    <a:pt x="428" y="37"/>
                    <a:pt x="428" y="37"/>
                  </a:cubicBezTo>
                  <a:cubicBezTo>
                    <a:pt x="428" y="46"/>
                    <a:pt x="428" y="46"/>
                    <a:pt x="428" y="46"/>
                  </a:cubicBezTo>
                  <a:cubicBezTo>
                    <a:pt x="426" y="53"/>
                    <a:pt x="426" y="53"/>
                    <a:pt x="426" y="53"/>
                  </a:cubicBezTo>
                  <a:cubicBezTo>
                    <a:pt x="425" y="62"/>
                    <a:pt x="425" y="62"/>
                    <a:pt x="425" y="62"/>
                  </a:cubicBezTo>
                  <a:cubicBezTo>
                    <a:pt x="425" y="62"/>
                    <a:pt x="425" y="64"/>
                    <a:pt x="423" y="64"/>
                  </a:cubicBezTo>
                  <a:cubicBezTo>
                    <a:pt x="421" y="65"/>
                    <a:pt x="417" y="63"/>
                    <a:pt x="417" y="63"/>
                  </a:cubicBezTo>
                  <a:cubicBezTo>
                    <a:pt x="417" y="50"/>
                    <a:pt x="417" y="50"/>
                    <a:pt x="417" y="50"/>
                  </a:cubicBezTo>
                  <a:cubicBezTo>
                    <a:pt x="419" y="43"/>
                    <a:pt x="419" y="43"/>
                    <a:pt x="419" y="43"/>
                  </a:cubicBezTo>
                  <a:cubicBezTo>
                    <a:pt x="422" y="37"/>
                    <a:pt x="422" y="37"/>
                    <a:pt x="422" y="37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26" y="29"/>
                    <a:pt x="426" y="24"/>
                    <a:pt x="425" y="23"/>
                  </a:cubicBezTo>
                  <a:cubicBezTo>
                    <a:pt x="425" y="23"/>
                    <a:pt x="423" y="22"/>
                    <a:pt x="424" y="22"/>
                  </a:cubicBezTo>
                  <a:cubicBezTo>
                    <a:pt x="424" y="21"/>
                    <a:pt x="428" y="17"/>
                    <a:pt x="428" y="17"/>
                  </a:cubicBezTo>
                  <a:cubicBezTo>
                    <a:pt x="428" y="17"/>
                    <a:pt x="428" y="14"/>
                    <a:pt x="425" y="12"/>
                  </a:cubicBezTo>
                  <a:cubicBezTo>
                    <a:pt x="423" y="11"/>
                    <a:pt x="421" y="9"/>
                    <a:pt x="419" y="10"/>
                  </a:cubicBezTo>
                  <a:cubicBezTo>
                    <a:pt x="418" y="11"/>
                    <a:pt x="413" y="13"/>
                    <a:pt x="413" y="14"/>
                  </a:cubicBezTo>
                  <a:cubicBezTo>
                    <a:pt x="412" y="15"/>
                    <a:pt x="413" y="17"/>
                    <a:pt x="414" y="18"/>
                  </a:cubicBezTo>
                  <a:cubicBezTo>
                    <a:pt x="415" y="18"/>
                    <a:pt x="416" y="19"/>
                    <a:pt x="417" y="19"/>
                  </a:cubicBezTo>
                  <a:cubicBezTo>
                    <a:pt x="417" y="20"/>
                    <a:pt x="418" y="23"/>
                    <a:pt x="417" y="24"/>
                  </a:cubicBezTo>
                  <a:cubicBezTo>
                    <a:pt x="416" y="25"/>
                    <a:pt x="417" y="28"/>
                    <a:pt x="414" y="27"/>
                  </a:cubicBezTo>
                  <a:cubicBezTo>
                    <a:pt x="412" y="26"/>
                    <a:pt x="406" y="22"/>
                    <a:pt x="406" y="22"/>
                  </a:cubicBezTo>
                  <a:cubicBezTo>
                    <a:pt x="405" y="22"/>
                    <a:pt x="406" y="18"/>
                    <a:pt x="404" y="22"/>
                  </a:cubicBezTo>
                  <a:cubicBezTo>
                    <a:pt x="402" y="25"/>
                    <a:pt x="401" y="26"/>
                    <a:pt x="402" y="28"/>
                  </a:cubicBezTo>
                  <a:cubicBezTo>
                    <a:pt x="403" y="30"/>
                    <a:pt x="404" y="30"/>
                    <a:pt x="404" y="31"/>
                  </a:cubicBezTo>
                  <a:cubicBezTo>
                    <a:pt x="404" y="32"/>
                    <a:pt x="400" y="32"/>
                    <a:pt x="400" y="33"/>
                  </a:cubicBezTo>
                  <a:cubicBezTo>
                    <a:pt x="400" y="34"/>
                    <a:pt x="399" y="35"/>
                    <a:pt x="401" y="37"/>
                  </a:cubicBezTo>
                  <a:cubicBezTo>
                    <a:pt x="403" y="38"/>
                    <a:pt x="405" y="39"/>
                    <a:pt x="405" y="39"/>
                  </a:cubicBezTo>
                  <a:cubicBezTo>
                    <a:pt x="405" y="39"/>
                    <a:pt x="407" y="42"/>
                    <a:pt x="406" y="42"/>
                  </a:cubicBezTo>
                  <a:cubicBezTo>
                    <a:pt x="406" y="43"/>
                    <a:pt x="400" y="42"/>
                    <a:pt x="400" y="43"/>
                  </a:cubicBezTo>
                  <a:cubicBezTo>
                    <a:pt x="400" y="44"/>
                    <a:pt x="400" y="46"/>
                    <a:pt x="400" y="47"/>
                  </a:cubicBezTo>
                  <a:cubicBezTo>
                    <a:pt x="400" y="48"/>
                    <a:pt x="400" y="50"/>
                    <a:pt x="400" y="50"/>
                  </a:cubicBezTo>
                  <a:cubicBezTo>
                    <a:pt x="400" y="51"/>
                    <a:pt x="396" y="51"/>
                    <a:pt x="395" y="52"/>
                  </a:cubicBezTo>
                  <a:cubicBezTo>
                    <a:pt x="393" y="53"/>
                    <a:pt x="392" y="56"/>
                    <a:pt x="392" y="58"/>
                  </a:cubicBezTo>
                  <a:cubicBezTo>
                    <a:pt x="391" y="60"/>
                    <a:pt x="391" y="62"/>
                    <a:pt x="391" y="63"/>
                  </a:cubicBezTo>
                  <a:cubicBezTo>
                    <a:pt x="391" y="64"/>
                    <a:pt x="389" y="66"/>
                    <a:pt x="389" y="66"/>
                  </a:cubicBezTo>
                  <a:cubicBezTo>
                    <a:pt x="389" y="66"/>
                    <a:pt x="389" y="67"/>
                    <a:pt x="387" y="66"/>
                  </a:cubicBezTo>
                  <a:cubicBezTo>
                    <a:pt x="385" y="66"/>
                    <a:pt x="378" y="62"/>
                    <a:pt x="377" y="62"/>
                  </a:cubicBezTo>
                  <a:cubicBezTo>
                    <a:pt x="375" y="62"/>
                    <a:pt x="373" y="63"/>
                    <a:pt x="373" y="65"/>
                  </a:cubicBezTo>
                  <a:cubicBezTo>
                    <a:pt x="373" y="66"/>
                    <a:pt x="376" y="69"/>
                    <a:pt x="377" y="69"/>
                  </a:cubicBezTo>
                  <a:cubicBezTo>
                    <a:pt x="377" y="69"/>
                    <a:pt x="382" y="70"/>
                    <a:pt x="383" y="71"/>
                  </a:cubicBezTo>
                  <a:cubicBezTo>
                    <a:pt x="383" y="72"/>
                    <a:pt x="383" y="79"/>
                    <a:pt x="383" y="79"/>
                  </a:cubicBezTo>
                  <a:cubicBezTo>
                    <a:pt x="383" y="79"/>
                    <a:pt x="387" y="87"/>
                    <a:pt x="380" y="80"/>
                  </a:cubicBezTo>
                  <a:cubicBezTo>
                    <a:pt x="372" y="73"/>
                    <a:pt x="372" y="72"/>
                    <a:pt x="371" y="71"/>
                  </a:cubicBezTo>
                  <a:cubicBezTo>
                    <a:pt x="370" y="71"/>
                    <a:pt x="363" y="69"/>
                    <a:pt x="363" y="69"/>
                  </a:cubicBezTo>
                  <a:cubicBezTo>
                    <a:pt x="363" y="69"/>
                    <a:pt x="362" y="66"/>
                    <a:pt x="361" y="69"/>
                  </a:cubicBezTo>
                  <a:cubicBezTo>
                    <a:pt x="360" y="71"/>
                    <a:pt x="363" y="76"/>
                    <a:pt x="363" y="76"/>
                  </a:cubicBezTo>
                  <a:cubicBezTo>
                    <a:pt x="362" y="75"/>
                    <a:pt x="362" y="75"/>
                    <a:pt x="362" y="75"/>
                  </a:cubicBezTo>
                  <a:cubicBezTo>
                    <a:pt x="362" y="75"/>
                    <a:pt x="359" y="73"/>
                    <a:pt x="357" y="72"/>
                  </a:cubicBezTo>
                  <a:cubicBezTo>
                    <a:pt x="356" y="70"/>
                    <a:pt x="353" y="72"/>
                    <a:pt x="353" y="72"/>
                  </a:cubicBezTo>
                  <a:cubicBezTo>
                    <a:pt x="353" y="72"/>
                    <a:pt x="352" y="73"/>
                    <a:pt x="350" y="75"/>
                  </a:cubicBezTo>
                  <a:cubicBezTo>
                    <a:pt x="349" y="76"/>
                    <a:pt x="345" y="72"/>
                    <a:pt x="349" y="77"/>
                  </a:cubicBezTo>
                  <a:cubicBezTo>
                    <a:pt x="352" y="81"/>
                    <a:pt x="355" y="82"/>
                    <a:pt x="356" y="83"/>
                  </a:cubicBezTo>
                  <a:cubicBezTo>
                    <a:pt x="356" y="83"/>
                    <a:pt x="360" y="84"/>
                    <a:pt x="361" y="85"/>
                  </a:cubicBezTo>
                  <a:cubicBezTo>
                    <a:pt x="362" y="86"/>
                    <a:pt x="362" y="89"/>
                    <a:pt x="362" y="90"/>
                  </a:cubicBezTo>
                  <a:cubicBezTo>
                    <a:pt x="362" y="90"/>
                    <a:pt x="365" y="94"/>
                    <a:pt x="360" y="91"/>
                  </a:cubicBezTo>
                  <a:cubicBezTo>
                    <a:pt x="355" y="87"/>
                    <a:pt x="355" y="86"/>
                    <a:pt x="353" y="86"/>
                  </a:cubicBezTo>
                  <a:cubicBezTo>
                    <a:pt x="352" y="86"/>
                    <a:pt x="350" y="88"/>
                    <a:pt x="350" y="88"/>
                  </a:cubicBezTo>
                  <a:cubicBezTo>
                    <a:pt x="350" y="88"/>
                    <a:pt x="344" y="87"/>
                    <a:pt x="344" y="84"/>
                  </a:cubicBezTo>
                  <a:cubicBezTo>
                    <a:pt x="343" y="81"/>
                    <a:pt x="345" y="76"/>
                    <a:pt x="341" y="77"/>
                  </a:cubicBezTo>
                  <a:cubicBezTo>
                    <a:pt x="336" y="77"/>
                    <a:pt x="335" y="79"/>
                    <a:pt x="335" y="80"/>
                  </a:cubicBezTo>
                  <a:cubicBezTo>
                    <a:pt x="335" y="81"/>
                    <a:pt x="332" y="82"/>
                    <a:pt x="335" y="85"/>
                  </a:cubicBezTo>
                  <a:cubicBezTo>
                    <a:pt x="338" y="88"/>
                    <a:pt x="340" y="90"/>
                    <a:pt x="341" y="90"/>
                  </a:cubicBezTo>
                  <a:cubicBezTo>
                    <a:pt x="341" y="90"/>
                    <a:pt x="347" y="90"/>
                    <a:pt x="344" y="91"/>
                  </a:cubicBezTo>
                  <a:cubicBezTo>
                    <a:pt x="342" y="93"/>
                    <a:pt x="338" y="93"/>
                    <a:pt x="337" y="93"/>
                  </a:cubicBezTo>
                  <a:cubicBezTo>
                    <a:pt x="336" y="93"/>
                    <a:pt x="337" y="92"/>
                    <a:pt x="336" y="93"/>
                  </a:cubicBezTo>
                  <a:cubicBezTo>
                    <a:pt x="334" y="94"/>
                    <a:pt x="329" y="99"/>
                    <a:pt x="329" y="99"/>
                  </a:cubicBezTo>
                  <a:cubicBezTo>
                    <a:pt x="329" y="99"/>
                    <a:pt x="328" y="97"/>
                    <a:pt x="328" y="96"/>
                  </a:cubicBezTo>
                  <a:cubicBezTo>
                    <a:pt x="328" y="95"/>
                    <a:pt x="332" y="93"/>
                    <a:pt x="332" y="91"/>
                  </a:cubicBezTo>
                  <a:cubicBezTo>
                    <a:pt x="332" y="89"/>
                    <a:pt x="330" y="82"/>
                    <a:pt x="330" y="82"/>
                  </a:cubicBezTo>
                  <a:cubicBezTo>
                    <a:pt x="330" y="82"/>
                    <a:pt x="326" y="80"/>
                    <a:pt x="326" y="80"/>
                  </a:cubicBezTo>
                  <a:cubicBezTo>
                    <a:pt x="325" y="79"/>
                    <a:pt x="322" y="77"/>
                    <a:pt x="321" y="78"/>
                  </a:cubicBezTo>
                  <a:cubicBezTo>
                    <a:pt x="320" y="79"/>
                    <a:pt x="318" y="82"/>
                    <a:pt x="320" y="84"/>
                  </a:cubicBezTo>
                  <a:cubicBezTo>
                    <a:pt x="322" y="87"/>
                    <a:pt x="324" y="89"/>
                    <a:pt x="323" y="89"/>
                  </a:cubicBezTo>
                  <a:cubicBezTo>
                    <a:pt x="321" y="90"/>
                    <a:pt x="320" y="91"/>
                    <a:pt x="319" y="90"/>
                  </a:cubicBezTo>
                  <a:cubicBezTo>
                    <a:pt x="318" y="90"/>
                    <a:pt x="316" y="88"/>
                    <a:pt x="313" y="89"/>
                  </a:cubicBezTo>
                  <a:cubicBezTo>
                    <a:pt x="310" y="90"/>
                    <a:pt x="307" y="96"/>
                    <a:pt x="307" y="96"/>
                  </a:cubicBezTo>
                  <a:cubicBezTo>
                    <a:pt x="307" y="96"/>
                    <a:pt x="310" y="102"/>
                    <a:pt x="311" y="103"/>
                  </a:cubicBezTo>
                  <a:cubicBezTo>
                    <a:pt x="312" y="103"/>
                    <a:pt x="313" y="105"/>
                    <a:pt x="313" y="107"/>
                  </a:cubicBezTo>
                  <a:cubicBezTo>
                    <a:pt x="312" y="109"/>
                    <a:pt x="313" y="106"/>
                    <a:pt x="311" y="107"/>
                  </a:cubicBezTo>
                  <a:cubicBezTo>
                    <a:pt x="308" y="108"/>
                    <a:pt x="307" y="109"/>
                    <a:pt x="305" y="109"/>
                  </a:cubicBezTo>
                  <a:cubicBezTo>
                    <a:pt x="303" y="109"/>
                    <a:pt x="298" y="115"/>
                    <a:pt x="298" y="115"/>
                  </a:cubicBezTo>
                  <a:cubicBezTo>
                    <a:pt x="301" y="119"/>
                    <a:pt x="301" y="119"/>
                    <a:pt x="301" y="119"/>
                  </a:cubicBezTo>
                  <a:cubicBezTo>
                    <a:pt x="301" y="119"/>
                    <a:pt x="293" y="122"/>
                    <a:pt x="291" y="123"/>
                  </a:cubicBezTo>
                  <a:cubicBezTo>
                    <a:pt x="290" y="123"/>
                    <a:pt x="294" y="122"/>
                    <a:pt x="289" y="123"/>
                  </a:cubicBezTo>
                  <a:cubicBezTo>
                    <a:pt x="285" y="125"/>
                    <a:pt x="282" y="129"/>
                    <a:pt x="281" y="131"/>
                  </a:cubicBezTo>
                  <a:cubicBezTo>
                    <a:pt x="281" y="132"/>
                    <a:pt x="277" y="132"/>
                    <a:pt x="277" y="135"/>
                  </a:cubicBezTo>
                  <a:cubicBezTo>
                    <a:pt x="277" y="137"/>
                    <a:pt x="278" y="141"/>
                    <a:pt x="277" y="142"/>
                  </a:cubicBezTo>
                  <a:cubicBezTo>
                    <a:pt x="277" y="143"/>
                    <a:pt x="277" y="143"/>
                    <a:pt x="277" y="145"/>
                  </a:cubicBezTo>
                  <a:cubicBezTo>
                    <a:pt x="277" y="147"/>
                    <a:pt x="276" y="149"/>
                    <a:pt x="279" y="149"/>
                  </a:cubicBezTo>
                  <a:cubicBezTo>
                    <a:pt x="282" y="149"/>
                    <a:pt x="286" y="147"/>
                    <a:pt x="287" y="146"/>
                  </a:cubicBezTo>
                  <a:cubicBezTo>
                    <a:pt x="287" y="145"/>
                    <a:pt x="288" y="141"/>
                    <a:pt x="289" y="143"/>
                  </a:cubicBezTo>
                  <a:cubicBezTo>
                    <a:pt x="291" y="144"/>
                    <a:pt x="291" y="148"/>
                    <a:pt x="291" y="148"/>
                  </a:cubicBezTo>
                  <a:cubicBezTo>
                    <a:pt x="291" y="148"/>
                    <a:pt x="291" y="152"/>
                    <a:pt x="291" y="153"/>
                  </a:cubicBezTo>
                  <a:cubicBezTo>
                    <a:pt x="290" y="155"/>
                    <a:pt x="297" y="153"/>
                    <a:pt x="290" y="156"/>
                  </a:cubicBezTo>
                  <a:cubicBezTo>
                    <a:pt x="283" y="160"/>
                    <a:pt x="281" y="160"/>
                    <a:pt x="281" y="161"/>
                  </a:cubicBezTo>
                  <a:cubicBezTo>
                    <a:pt x="281" y="163"/>
                    <a:pt x="285" y="168"/>
                    <a:pt x="280" y="166"/>
                  </a:cubicBezTo>
                  <a:cubicBezTo>
                    <a:pt x="275" y="165"/>
                    <a:pt x="275" y="166"/>
                    <a:pt x="275" y="165"/>
                  </a:cubicBezTo>
                  <a:cubicBezTo>
                    <a:pt x="274" y="164"/>
                    <a:pt x="276" y="170"/>
                    <a:pt x="270" y="161"/>
                  </a:cubicBezTo>
                  <a:cubicBezTo>
                    <a:pt x="264" y="152"/>
                    <a:pt x="264" y="153"/>
                    <a:pt x="264" y="151"/>
                  </a:cubicBezTo>
                  <a:cubicBezTo>
                    <a:pt x="264" y="149"/>
                    <a:pt x="263" y="142"/>
                    <a:pt x="263" y="142"/>
                  </a:cubicBezTo>
                  <a:cubicBezTo>
                    <a:pt x="263" y="142"/>
                    <a:pt x="262" y="135"/>
                    <a:pt x="259" y="138"/>
                  </a:cubicBezTo>
                  <a:cubicBezTo>
                    <a:pt x="255" y="141"/>
                    <a:pt x="255" y="146"/>
                    <a:pt x="255" y="146"/>
                  </a:cubicBezTo>
                  <a:cubicBezTo>
                    <a:pt x="255" y="146"/>
                    <a:pt x="250" y="151"/>
                    <a:pt x="249" y="152"/>
                  </a:cubicBezTo>
                  <a:cubicBezTo>
                    <a:pt x="248" y="152"/>
                    <a:pt x="246" y="152"/>
                    <a:pt x="243" y="154"/>
                  </a:cubicBezTo>
                  <a:cubicBezTo>
                    <a:pt x="241" y="157"/>
                    <a:pt x="234" y="167"/>
                    <a:pt x="234" y="167"/>
                  </a:cubicBezTo>
                  <a:cubicBezTo>
                    <a:pt x="234" y="167"/>
                    <a:pt x="230" y="174"/>
                    <a:pt x="231" y="176"/>
                  </a:cubicBezTo>
                  <a:cubicBezTo>
                    <a:pt x="232" y="178"/>
                    <a:pt x="235" y="181"/>
                    <a:pt x="235" y="181"/>
                  </a:cubicBezTo>
                  <a:cubicBezTo>
                    <a:pt x="235" y="181"/>
                    <a:pt x="236" y="180"/>
                    <a:pt x="236" y="183"/>
                  </a:cubicBezTo>
                  <a:cubicBezTo>
                    <a:pt x="236" y="186"/>
                    <a:pt x="241" y="187"/>
                    <a:pt x="241" y="187"/>
                  </a:cubicBezTo>
                  <a:cubicBezTo>
                    <a:pt x="241" y="187"/>
                    <a:pt x="243" y="188"/>
                    <a:pt x="241" y="190"/>
                  </a:cubicBezTo>
                  <a:cubicBezTo>
                    <a:pt x="238" y="192"/>
                    <a:pt x="230" y="193"/>
                    <a:pt x="230" y="193"/>
                  </a:cubicBezTo>
                  <a:cubicBezTo>
                    <a:pt x="222" y="193"/>
                    <a:pt x="222" y="193"/>
                    <a:pt x="222" y="193"/>
                  </a:cubicBezTo>
                  <a:cubicBezTo>
                    <a:pt x="222" y="193"/>
                    <a:pt x="218" y="198"/>
                    <a:pt x="217" y="198"/>
                  </a:cubicBezTo>
                  <a:cubicBezTo>
                    <a:pt x="215" y="199"/>
                    <a:pt x="212" y="201"/>
                    <a:pt x="211" y="204"/>
                  </a:cubicBezTo>
                  <a:cubicBezTo>
                    <a:pt x="211" y="206"/>
                    <a:pt x="202" y="214"/>
                    <a:pt x="202" y="214"/>
                  </a:cubicBezTo>
                  <a:cubicBezTo>
                    <a:pt x="202" y="214"/>
                    <a:pt x="202" y="217"/>
                    <a:pt x="202" y="218"/>
                  </a:cubicBezTo>
                  <a:cubicBezTo>
                    <a:pt x="202" y="219"/>
                    <a:pt x="198" y="221"/>
                    <a:pt x="200" y="222"/>
                  </a:cubicBezTo>
                  <a:cubicBezTo>
                    <a:pt x="202" y="223"/>
                    <a:pt x="205" y="224"/>
                    <a:pt x="207" y="220"/>
                  </a:cubicBezTo>
                  <a:cubicBezTo>
                    <a:pt x="209" y="217"/>
                    <a:pt x="209" y="212"/>
                    <a:pt x="209" y="212"/>
                  </a:cubicBezTo>
                  <a:cubicBezTo>
                    <a:pt x="209" y="212"/>
                    <a:pt x="211" y="210"/>
                    <a:pt x="213" y="210"/>
                  </a:cubicBezTo>
                  <a:cubicBezTo>
                    <a:pt x="216" y="210"/>
                    <a:pt x="219" y="207"/>
                    <a:pt x="222" y="206"/>
                  </a:cubicBezTo>
                  <a:cubicBezTo>
                    <a:pt x="225" y="206"/>
                    <a:pt x="229" y="201"/>
                    <a:pt x="230" y="201"/>
                  </a:cubicBezTo>
                  <a:cubicBezTo>
                    <a:pt x="232" y="201"/>
                    <a:pt x="231" y="202"/>
                    <a:pt x="235" y="201"/>
                  </a:cubicBezTo>
                  <a:cubicBezTo>
                    <a:pt x="239" y="201"/>
                    <a:pt x="243" y="201"/>
                    <a:pt x="244" y="200"/>
                  </a:cubicBezTo>
                  <a:cubicBezTo>
                    <a:pt x="246" y="199"/>
                    <a:pt x="254" y="204"/>
                    <a:pt x="255" y="205"/>
                  </a:cubicBezTo>
                  <a:cubicBezTo>
                    <a:pt x="255" y="206"/>
                    <a:pt x="248" y="207"/>
                    <a:pt x="251" y="209"/>
                  </a:cubicBezTo>
                  <a:cubicBezTo>
                    <a:pt x="255" y="211"/>
                    <a:pt x="255" y="212"/>
                    <a:pt x="256" y="212"/>
                  </a:cubicBezTo>
                  <a:cubicBezTo>
                    <a:pt x="257" y="212"/>
                    <a:pt x="259" y="211"/>
                    <a:pt x="262" y="210"/>
                  </a:cubicBezTo>
                  <a:cubicBezTo>
                    <a:pt x="264" y="208"/>
                    <a:pt x="260" y="205"/>
                    <a:pt x="266" y="207"/>
                  </a:cubicBezTo>
                  <a:cubicBezTo>
                    <a:pt x="271" y="209"/>
                    <a:pt x="271" y="211"/>
                    <a:pt x="271" y="211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6" y="214"/>
                    <a:pt x="266" y="214"/>
                    <a:pt x="266" y="214"/>
                  </a:cubicBezTo>
                  <a:cubicBezTo>
                    <a:pt x="260" y="213"/>
                    <a:pt x="260" y="213"/>
                    <a:pt x="260" y="213"/>
                  </a:cubicBezTo>
                  <a:cubicBezTo>
                    <a:pt x="256" y="215"/>
                    <a:pt x="256" y="215"/>
                    <a:pt x="256" y="215"/>
                  </a:cubicBezTo>
                  <a:cubicBezTo>
                    <a:pt x="256" y="215"/>
                    <a:pt x="255" y="216"/>
                    <a:pt x="254" y="216"/>
                  </a:cubicBezTo>
                  <a:cubicBezTo>
                    <a:pt x="254" y="216"/>
                    <a:pt x="245" y="217"/>
                    <a:pt x="245" y="217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1" y="223"/>
                    <a:pt x="244" y="227"/>
                    <a:pt x="244" y="227"/>
                  </a:cubicBezTo>
                  <a:cubicBezTo>
                    <a:pt x="245" y="227"/>
                    <a:pt x="251" y="225"/>
                    <a:pt x="251" y="226"/>
                  </a:cubicBezTo>
                  <a:cubicBezTo>
                    <a:pt x="252" y="226"/>
                    <a:pt x="253" y="228"/>
                    <a:pt x="252" y="229"/>
                  </a:cubicBezTo>
                  <a:cubicBezTo>
                    <a:pt x="252" y="230"/>
                    <a:pt x="248" y="233"/>
                    <a:pt x="248" y="233"/>
                  </a:cubicBezTo>
                  <a:cubicBezTo>
                    <a:pt x="246" y="237"/>
                    <a:pt x="246" y="237"/>
                    <a:pt x="246" y="237"/>
                  </a:cubicBezTo>
                  <a:cubicBezTo>
                    <a:pt x="246" y="237"/>
                    <a:pt x="250" y="238"/>
                    <a:pt x="251" y="238"/>
                  </a:cubicBezTo>
                  <a:cubicBezTo>
                    <a:pt x="251" y="238"/>
                    <a:pt x="257" y="238"/>
                    <a:pt x="256" y="239"/>
                  </a:cubicBezTo>
                  <a:cubicBezTo>
                    <a:pt x="256" y="239"/>
                    <a:pt x="247" y="240"/>
                    <a:pt x="247" y="240"/>
                  </a:cubicBezTo>
                  <a:cubicBezTo>
                    <a:pt x="247" y="240"/>
                    <a:pt x="239" y="239"/>
                    <a:pt x="240" y="239"/>
                  </a:cubicBezTo>
                  <a:cubicBezTo>
                    <a:pt x="240" y="240"/>
                    <a:pt x="239" y="242"/>
                    <a:pt x="239" y="243"/>
                  </a:cubicBezTo>
                  <a:cubicBezTo>
                    <a:pt x="239" y="243"/>
                    <a:pt x="237" y="246"/>
                    <a:pt x="237" y="246"/>
                  </a:cubicBezTo>
                  <a:cubicBezTo>
                    <a:pt x="236" y="246"/>
                    <a:pt x="234" y="246"/>
                    <a:pt x="233" y="247"/>
                  </a:cubicBezTo>
                  <a:cubicBezTo>
                    <a:pt x="233" y="248"/>
                    <a:pt x="232" y="250"/>
                    <a:pt x="232" y="252"/>
                  </a:cubicBezTo>
                  <a:cubicBezTo>
                    <a:pt x="232" y="253"/>
                    <a:pt x="235" y="256"/>
                    <a:pt x="235" y="256"/>
                  </a:cubicBezTo>
                  <a:cubicBezTo>
                    <a:pt x="234" y="258"/>
                    <a:pt x="234" y="258"/>
                    <a:pt x="234" y="258"/>
                  </a:cubicBezTo>
                  <a:cubicBezTo>
                    <a:pt x="230" y="262"/>
                    <a:pt x="230" y="262"/>
                    <a:pt x="230" y="262"/>
                  </a:cubicBezTo>
                  <a:cubicBezTo>
                    <a:pt x="230" y="262"/>
                    <a:pt x="228" y="263"/>
                    <a:pt x="228" y="264"/>
                  </a:cubicBezTo>
                  <a:cubicBezTo>
                    <a:pt x="229" y="264"/>
                    <a:pt x="225" y="266"/>
                    <a:pt x="225" y="266"/>
                  </a:cubicBezTo>
                  <a:cubicBezTo>
                    <a:pt x="218" y="270"/>
                    <a:pt x="218" y="270"/>
                    <a:pt x="218" y="270"/>
                  </a:cubicBezTo>
                  <a:cubicBezTo>
                    <a:pt x="218" y="270"/>
                    <a:pt x="219" y="273"/>
                    <a:pt x="219" y="274"/>
                  </a:cubicBezTo>
                  <a:cubicBezTo>
                    <a:pt x="219" y="274"/>
                    <a:pt x="222" y="276"/>
                    <a:pt x="220" y="278"/>
                  </a:cubicBezTo>
                  <a:cubicBezTo>
                    <a:pt x="218" y="279"/>
                    <a:pt x="216" y="280"/>
                    <a:pt x="215" y="281"/>
                  </a:cubicBezTo>
                  <a:cubicBezTo>
                    <a:pt x="215" y="281"/>
                    <a:pt x="213" y="282"/>
                    <a:pt x="213" y="285"/>
                  </a:cubicBezTo>
                  <a:cubicBezTo>
                    <a:pt x="214" y="287"/>
                    <a:pt x="212" y="290"/>
                    <a:pt x="211" y="290"/>
                  </a:cubicBezTo>
                  <a:cubicBezTo>
                    <a:pt x="211" y="290"/>
                    <a:pt x="209" y="291"/>
                    <a:pt x="209" y="294"/>
                  </a:cubicBezTo>
                  <a:cubicBezTo>
                    <a:pt x="210" y="296"/>
                    <a:pt x="209" y="303"/>
                    <a:pt x="209" y="303"/>
                  </a:cubicBezTo>
                  <a:cubicBezTo>
                    <a:pt x="209" y="303"/>
                    <a:pt x="212" y="307"/>
                    <a:pt x="213" y="307"/>
                  </a:cubicBezTo>
                  <a:cubicBezTo>
                    <a:pt x="213" y="307"/>
                    <a:pt x="218" y="305"/>
                    <a:pt x="219" y="306"/>
                  </a:cubicBezTo>
                  <a:cubicBezTo>
                    <a:pt x="221" y="306"/>
                    <a:pt x="224" y="308"/>
                    <a:pt x="224" y="308"/>
                  </a:cubicBezTo>
                  <a:cubicBezTo>
                    <a:pt x="224" y="308"/>
                    <a:pt x="223" y="313"/>
                    <a:pt x="222" y="314"/>
                  </a:cubicBezTo>
                  <a:cubicBezTo>
                    <a:pt x="221" y="314"/>
                    <a:pt x="215" y="315"/>
                    <a:pt x="215" y="315"/>
                  </a:cubicBezTo>
                  <a:cubicBezTo>
                    <a:pt x="215" y="315"/>
                    <a:pt x="212" y="313"/>
                    <a:pt x="211" y="313"/>
                  </a:cubicBezTo>
                  <a:cubicBezTo>
                    <a:pt x="210" y="314"/>
                    <a:pt x="205" y="319"/>
                    <a:pt x="205" y="319"/>
                  </a:cubicBezTo>
                  <a:cubicBezTo>
                    <a:pt x="205" y="319"/>
                    <a:pt x="205" y="322"/>
                    <a:pt x="204" y="322"/>
                  </a:cubicBezTo>
                  <a:cubicBezTo>
                    <a:pt x="202" y="323"/>
                    <a:pt x="201" y="321"/>
                    <a:pt x="201" y="323"/>
                  </a:cubicBezTo>
                  <a:cubicBezTo>
                    <a:pt x="201" y="324"/>
                    <a:pt x="201" y="327"/>
                    <a:pt x="201" y="328"/>
                  </a:cubicBezTo>
                  <a:cubicBezTo>
                    <a:pt x="201" y="330"/>
                    <a:pt x="201" y="333"/>
                    <a:pt x="201" y="333"/>
                  </a:cubicBezTo>
                  <a:cubicBezTo>
                    <a:pt x="201" y="333"/>
                    <a:pt x="199" y="337"/>
                    <a:pt x="198" y="339"/>
                  </a:cubicBezTo>
                  <a:cubicBezTo>
                    <a:pt x="197" y="341"/>
                    <a:pt x="195" y="346"/>
                    <a:pt x="195" y="347"/>
                  </a:cubicBezTo>
                  <a:cubicBezTo>
                    <a:pt x="196" y="348"/>
                    <a:pt x="198" y="353"/>
                    <a:pt x="198" y="353"/>
                  </a:cubicBezTo>
                  <a:cubicBezTo>
                    <a:pt x="191" y="357"/>
                    <a:pt x="191" y="357"/>
                    <a:pt x="191" y="357"/>
                  </a:cubicBezTo>
                  <a:cubicBezTo>
                    <a:pt x="193" y="362"/>
                    <a:pt x="193" y="362"/>
                    <a:pt x="193" y="362"/>
                  </a:cubicBezTo>
                  <a:cubicBezTo>
                    <a:pt x="193" y="362"/>
                    <a:pt x="194" y="362"/>
                    <a:pt x="194" y="363"/>
                  </a:cubicBezTo>
                  <a:cubicBezTo>
                    <a:pt x="194" y="365"/>
                    <a:pt x="189" y="368"/>
                    <a:pt x="189" y="368"/>
                  </a:cubicBezTo>
                  <a:cubicBezTo>
                    <a:pt x="189" y="368"/>
                    <a:pt x="189" y="373"/>
                    <a:pt x="189" y="374"/>
                  </a:cubicBezTo>
                  <a:cubicBezTo>
                    <a:pt x="189" y="375"/>
                    <a:pt x="184" y="371"/>
                    <a:pt x="184" y="371"/>
                  </a:cubicBezTo>
                  <a:cubicBezTo>
                    <a:pt x="180" y="372"/>
                    <a:pt x="180" y="372"/>
                    <a:pt x="180" y="372"/>
                  </a:cubicBezTo>
                  <a:cubicBezTo>
                    <a:pt x="180" y="376"/>
                    <a:pt x="180" y="376"/>
                    <a:pt x="180" y="376"/>
                  </a:cubicBezTo>
                  <a:cubicBezTo>
                    <a:pt x="178" y="380"/>
                    <a:pt x="178" y="380"/>
                    <a:pt x="178" y="380"/>
                  </a:cubicBezTo>
                  <a:cubicBezTo>
                    <a:pt x="171" y="380"/>
                    <a:pt x="171" y="380"/>
                    <a:pt x="171" y="380"/>
                  </a:cubicBezTo>
                  <a:cubicBezTo>
                    <a:pt x="171" y="380"/>
                    <a:pt x="165" y="384"/>
                    <a:pt x="165" y="384"/>
                  </a:cubicBezTo>
                  <a:cubicBezTo>
                    <a:pt x="166" y="385"/>
                    <a:pt x="163" y="388"/>
                    <a:pt x="166" y="388"/>
                  </a:cubicBezTo>
                  <a:cubicBezTo>
                    <a:pt x="168" y="388"/>
                    <a:pt x="169" y="388"/>
                    <a:pt x="170" y="388"/>
                  </a:cubicBezTo>
                  <a:cubicBezTo>
                    <a:pt x="172" y="387"/>
                    <a:pt x="176" y="385"/>
                    <a:pt x="177" y="385"/>
                  </a:cubicBezTo>
                  <a:cubicBezTo>
                    <a:pt x="178" y="385"/>
                    <a:pt x="181" y="385"/>
                    <a:pt x="179" y="387"/>
                  </a:cubicBezTo>
                  <a:cubicBezTo>
                    <a:pt x="177" y="389"/>
                    <a:pt x="175" y="389"/>
                    <a:pt x="174" y="390"/>
                  </a:cubicBezTo>
                  <a:cubicBezTo>
                    <a:pt x="172" y="391"/>
                    <a:pt x="169" y="391"/>
                    <a:pt x="169" y="394"/>
                  </a:cubicBezTo>
                  <a:cubicBezTo>
                    <a:pt x="169" y="397"/>
                    <a:pt x="168" y="400"/>
                    <a:pt x="168" y="400"/>
                  </a:cubicBezTo>
                  <a:cubicBezTo>
                    <a:pt x="175" y="398"/>
                    <a:pt x="175" y="398"/>
                    <a:pt x="175" y="398"/>
                  </a:cubicBezTo>
                  <a:cubicBezTo>
                    <a:pt x="175" y="398"/>
                    <a:pt x="177" y="397"/>
                    <a:pt x="177" y="400"/>
                  </a:cubicBezTo>
                  <a:cubicBezTo>
                    <a:pt x="178" y="404"/>
                    <a:pt x="175" y="405"/>
                    <a:pt x="173" y="405"/>
                  </a:cubicBezTo>
                  <a:cubicBezTo>
                    <a:pt x="172" y="405"/>
                    <a:pt x="167" y="401"/>
                    <a:pt x="167" y="401"/>
                  </a:cubicBezTo>
                  <a:cubicBezTo>
                    <a:pt x="163" y="404"/>
                    <a:pt x="163" y="404"/>
                    <a:pt x="163" y="404"/>
                  </a:cubicBezTo>
                  <a:cubicBezTo>
                    <a:pt x="163" y="404"/>
                    <a:pt x="162" y="403"/>
                    <a:pt x="158" y="406"/>
                  </a:cubicBezTo>
                  <a:cubicBezTo>
                    <a:pt x="154" y="410"/>
                    <a:pt x="152" y="415"/>
                    <a:pt x="152" y="416"/>
                  </a:cubicBezTo>
                  <a:cubicBezTo>
                    <a:pt x="152" y="417"/>
                    <a:pt x="152" y="419"/>
                    <a:pt x="149" y="421"/>
                  </a:cubicBezTo>
                  <a:cubicBezTo>
                    <a:pt x="147" y="422"/>
                    <a:pt x="144" y="425"/>
                    <a:pt x="144" y="425"/>
                  </a:cubicBezTo>
                  <a:cubicBezTo>
                    <a:pt x="144" y="425"/>
                    <a:pt x="143" y="428"/>
                    <a:pt x="142" y="430"/>
                  </a:cubicBezTo>
                  <a:cubicBezTo>
                    <a:pt x="141" y="432"/>
                    <a:pt x="141" y="432"/>
                    <a:pt x="141" y="432"/>
                  </a:cubicBezTo>
                  <a:cubicBezTo>
                    <a:pt x="145" y="436"/>
                    <a:pt x="145" y="436"/>
                    <a:pt x="145" y="436"/>
                  </a:cubicBezTo>
                  <a:cubicBezTo>
                    <a:pt x="138" y="440"/>
                    <a:pt x="138" y="440"/>
                    <a:pt x="138" y="440"/>
                  </a:cubicBezTo>
                  <a:cubicBezTo>
                    <a:pt x="135" y="442"/>
                    <a:pt x="135" y="442"/>
                    <a:pt x="135" y="442"/>
                  </a:cubicBezTo>
                  <a:cubicBezTo>
                    <a:pt x="135" y="442"/>
                    <a:pt x="129" y="448"/>
                    <a:pt x="133" y="449"/>
                  </a:cubicBezTo>
                  <a:cubicBezTo>
                    <a:pt x="138" y="450"/>
                    <a:pt x="141" y="450"/>
                    <a:pt x="141" y="450"/>
                  </a:cubicBezTo>
                  <a:cubicBezTo>
                    <a:pt x="141" y="450"/>
                    <a:pt x="140" y="456"/>
                    <a:pt x="141" y="456"/>
                  </a:cubicBezTo>
                  <a:cubicBezTo>
                    <a:pt x="142" y="456"/>
                    <a:pt x="151" y="456"/>
                    <a:pt x="151" y="456"/>
                  </a:cubicBezTo>
                  <a:cubicBezTo>
                    <a:pt x="156" y="452"/>
                    <a:pt x="156" y="452"/>
                    <a:pt x="156" y="452"/>
                  </a:cubicBezTo>
                  <a:cubicBezTo>
                    <a:pt x="159" y="450"/>
                    <a:pt x="159" y="450"/>
                    <a:pt x="159" y="450"/>
                  </a:cubicBezTo>
                  <a:cubicBezTo>
                    <a:pt x="161" y="454"/>
                    <a:pt x="161" y="454"/>
                    <a:pt x="161" y="454"/>
                  </a:cubicBezTo>
                  <a:cubicBezTo>
                    <a:pt x="161" y="454"/>
                    <a:pt x="159" y="457"/>
                    <a:pt x="157" y="457"/>
                  </a:cubicBezTo>
                  <a:cubicBezTo>
                    <a:pt x="154" y="457"/>
                    <a:pt x="155" y="457"/>
                    <a:pt x="153" y="459"/>
                  </a:cubicBezTo>
                  <a:cubicBezTo>
                    <a:pt x="150" y="462"/>
                    <a:pt x="149" y="463"/>
                    <a:pt x="147" y="463"/>
                  </a:cubicBezTo>
                  <a:cubicBezTo>
                    <a:pt x="146" y="463"/>
                    <a:pt x="144" y="466"/>
                    <a:pt x="142" y="462"/>
                  </a:cubicBezTo>
                  <a:cubicBezTo>
                    <a:pt x="141" y="459"/>
                    <a:pt x="139" y="456"/>
                    <a:pt x="139" y="456"/>
                  </a:cubicBezTo>
                  <a:cubicBezTo>
                    <a:pt x="130" y="452"/>
                    <a:pt x="130" y="452"/>
                    <a:pt x="130" y="452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8" y="453"/>
                    <a:pt x="127" y="457"/>
                    <a:pt x="126" y="457"/>
                  </a:cubicBezTo>
                  <a:cubicBezTo>
                    <a:pt x="125" y="457"/>
                    <a:pt x="119" y="457"/>
                    <a:pt x="117" y="457"/>
                  </a:cubicBezTo>
                  <a:cubicBezTo>
                    <a:pt x="116" y="457"/>
                    <a:pt x="114" y="457"/>
                    <a:pt x="114" y="456"/>
                  </a:cubicBezTo>
                  <a:cubicBezTo>
                    <a:pt x="113" y="454"/>
                    <a:pt x="114" y="454"/>
                    <a:pt x="113" y="453"/>
                  </a:cubicBezTo>
                  <a:cubicBezTo>
                    <a:pt x="112" y="452"/>
                    <a:pt x="110" y="448"/>
                    <a:pt x="108" y="449"/>
                  </a:cubicBezTo>
                  <a:cubicBezTo>
                    <a:pt x="107" y="449"/>
                    <a:pt x="102" y="451"/>
                    <a:pt x="102" y="451"/>
                  </a:cubicBezTo>
                  <a:cubicBezTo>
                    <a:pt x="101" y="459"/>
                    <a:pt x="101" y="459"/>
                    <a:pt x="101" y="459"/>
                  </a:cubicBezTo>
                  <a:cubicBezTo>
                    <a:pt x="101" y="459"/>
                    <a:pt x="98" y="459"/>
                    <a:pt x="99" y="461"/>
                  </a:cubicBezTo>
                  <a:cubicBezTo>
                    <a:pt x="99" y="463"/>
                    <a:pt x="103" y="465"/>
                    <a:pt x="103" y="465"/>
                  </a:cubicBezTo>
                  <a:cubicBezTo>
                    <a:pt x="103" y="465"/>
                    <a:pt x="105" y="467"/>
                    <a:pt x="105" y="468"/>
                  </a:cubicBezTo>
                  <a:cubicBezTo>
                    <a:pt x="106" y="470"/>
                    <a:pt x="103" y="472"/>
                    <a:pt x="103" y="472"/>
                  </a:cubicBezTo>
                  <a:cubicBezTo>
                    <a:pt x="103" y="472"/>
                    <a:pt x="98" y="472"/>
                    <a:pt x="97" y="474"/>
                  </a:cubicBezTo>
                  <a:cubicBezTo>
                    <a:pt x="97" y="475"/>
                    <a:pt x="98" y="478"/>
                    <a:pt x="97" y="478"/>
                  </a:cubicBezTo>
                  <a:cubicBezTo>
                    <a:pt x="96" y="479"/>
                    <a:pt x="95" y="481"/>
                    <a:pt x="95" y="482"/>
                  </a:cubicBezTo>
                  <a:cubicBezTo>
                    <a:pt x="95" y="482"/>
                    <a:pt x="97" y="487"/>
                    <a:pt x="97" y="487"/>
                  </a:cubicBezTo>
                  <a:cubicBezTo>
                    <a:pt x="97" y="487"/>
                    <a:pt x="97" y="491"/>
                    <a:pt x="95" y="489"/>
                  </a:cubicBezTo>
                  <a:cubicBezTo>
                    <a:pt x="93" y="487"/>
                    <a:pt x="87" y="484"/>
                    <a:pt x="87" y="484"/>
                  </a:cubicBezTo>
                  <a:cubicBezTo>
                    <a:pt x="83" y="481"/>
                    <a:pt x="83" y="481"/>
                    <a:pt x="83" y="481"/>
                  </a:cubicBezTo>
                  <a:cubicBezTo>
                    <a:pt x="83" y="481"/>
                    <a:pt x="79" y="484"/>
                    <a:pt x="78" y="484"/>
                  </a:cubicBezTo>
                  <a:cubicBezTo>
                    <a:pt x="78" y="485"/>
                    <a:pt x="71" y="484"/>
                    <a:pt x="69" y="485"/>
                  </a:cubicBezTo>
                  <a:cubicBezTo>
                    <a:pt x="68" y="486"/>
                    <a:pt x="68" y="487"/>
                    <a:pt x="67" y="489"/>
                  </a:cubicBezTo>
                  <a:cubicBezTo>
                    <a:pt x="65" y="491"/>
                    <a:pt x="62" y="491"/>
                    <a:pt x="65" y="494"/>
                  </a:cubicBezTo>
                  <a:cubicBezTo>
                    <a:pt x="67" y="497"/>
                    <a:pt x="72" y="498"/>
                    <a:pt x="72" y="498"/>
                  </a:cubicBezTo>
                  <a:cubicBezTo>
                    <a:pt x="72" y="498"/>
                    <a:pt x="74" y="499"/>
                    <a:pt x="72" y="502"/>
                  </a:cubicBezTo>
                  <a:cubicBezTo>
                    <a:pt x="70" y="506"/>
                    <a:pt x="66" y="503"/>
                    <a:pt x="65" y="503"/>
                  </a:cubicBezTo>
                  <a:cubicBezTo>
                    <a:pt x="64" y="502"/>
                    <a:pt x="60" y="499"/>
                    <a:pt x="59" y="500"/>
                  </a:cubicBezTo>
                  <a:cubicBezTo>
                    <a:pt x="58" y="501"/>
                    <a:pt x="55" y="506"/>
                    <a:pt x="55" y="506"/>
                  </a:cubicBezTo>
                  <a:cubicBezTo>
                    <a:pt x="55" y="506"/>
                    <a:pt x="52" y="507"/>
                    <a:pt x="51" y="506"/>
                  </a:cubicBezTo>
                  <a:cubicBezTo>
                    <a:pt x="50" y="506"/>
                    <a:pt x="47" y="501"/>
                    <a:pt x="46" y="502"/>
                  </a:cubicBezTo>
                  <a:cubicBezTo>
                    <a:pt x="45" y="503"/>
                    <a:pt x="44" y="505"/>
                    <a:pt x="44" y="506"/>
                  </a:cubicBezTo>
                  <a:cubicBezTo>
                    <a:pt x="44" y="507"/>
                    <a:pt x="46" y="509"/>
                    <a:pt x="45" y="510"/>
                  </a:cubicBezTo>
                  <a:cubicBezTo>
                    <a:pt x="45" y="511"/>
                    <a:pt x="40" y="512"/>
                    <a:pt x="39" y="513"/>
                  </a:cubicBezTo>
                  <a:cubicBezTo>
                    <a:pt x="39" y="514"/>
                    <a:pt x="39" y="512"/>
                    <a:pt x="37" y="516"/>
                  </a:cubicBezTo>
                  <a:cubicBezTo>
                    <a:pt x="36" y="520"/>
                    <a:pt x="37" y="520"/>
                    <a:pt x="36" y="520"/>
                  </a:cubicBezTo>
                  <a:cubicBezTo>
                    <a:pt x="34" y="521"/>
                    <a:pt x="30" y="518"/>
                    <a:pt x="30" y="518"/>
                  </a:cubicBezTo>
                  <a:cubicBezTo>
                    <a:pt x="30" y="518"/>
                    <a:pt x="27" y="515"/>
                    <a:pt x="27" y="518"/>
                  </a:cubicBezTo>
                  <a:cubicBezTo>
                    <a:pt x="27" y="522"/>
                    <a:pt x="26" y="526"/>
                    <a:pt x="26" y="526"/>
                  </a:cubicBezTo>
                  <a:cubicBezTo>
                    <a:pt x="29" y="528"/>
                    <a:pt x="29" y="528"/>
                    <a:pt x="29" y="528"/>
                  </a:cubicBezTo>
                  <a:cubicBezTo>
                    <a:pt x="29" y="528"/>
                    <a:pt x="28" y="530"/>
                    <a:pt x="27" y="530"/>
                  </a:cubicBezTo>
                  <a:cubicBezTo>
                    <a:pt x="27" y="530"/>
                    <a:pt x="25" y="529"/>
                    <a:pt x="24" y="527"/>
                  </a:cubicBezTo>
                  <a:cubicBezTo>
                    <a:pt x="23" y="526"/>
                    <a:pt x="24" y="526"/>
                    <a:pt x="21" y="525"/>
                  </a:cubicBezTo>
                  <a:cubicBezTo>
                    <a:pt x="18" y="524"/>
                    <a:pt x="16" y="522"/>
                    <a:pt x="16" y="524"/>
                  </a:cubicBezTo>
                  <a:cubicBezTo>
                    <a:pt x="16" y="525"/>
                    <a:pt x="15" y="527"/>
                    <a:pt x="16" y="528"/>
                  </a:cubicBezTo>
                  <a:cubicBezTo>
                    <a:pt x="17" y="530"/>
                    <a:pt x="19" y="532"/>
                    <a:pt x="19" y="532"/>
                  </a:cubicBezTo>
                  <a:cubicBezTo>
                    <a:pt x="20" y="532"/>
                    <a:pt x="20" y="532"/>
                    <a:pt x="20" y="532"/>
                  </a:cubicBezTo>
                  <a:cubicBezTo>
                    <a:pt x="20" y="532"/>
                    <a:pt x="19" y="535"/>
                    <a:pt x="18" y="535"/>
                  </a:cubicBezTo>
                  <a:cubicBezTo>
                    <a:pt x="17" y="536"/>
                    <a:pt x="16" y="534"/>
                    <a:pt x="15" y="534"/>
                  </a:cubicBezTo>
                  <a:cubicBezTo>
                    <a:pt x="15" y="534"/>
                    <a:pt x="12" y="536"/>
                    <a:pt x="12" y="536"/>
                  </a:cubicBezTo>
                  <a:cubicBezTo>
                    <a:pt x="12" y="536"/>
                    <a:pt x="13" y="538"/>
                    <a:pt x="13" y="539"/>
                  </a:cubicBezTo>
                  <a:cubicBezTo>
                    <a:pt x="13" y="540"/>
                    <a:pt x="10" y="541"/>
                    <a:pt x="10" y="542"/>
                  </a:cubicBezTo>
                  <a:cubicBezTo>
                    <a:pt x="9" y="542"/>
                    <a:pt x="8" y="543"/>
                    <a:pt x="8" y="544"/>
                  </a:cubicBezTo>
                  <a:cubicBezTo>
                    <a:pt x="8" y="545"/>
                    <a:pt x="9" y="548"/>
                    <a:pt x="10" y="547"/>
                  </a:cubicBezTo>
                  <a:cubicBezTo>
                    <a:pt x="11" y="547"/>
                    <a:pt x="16" y="548"/>
                    <a:pt x="16" y="548"/>
                  </a:cubicBezTo>
                  <a:cubicBezTo>
                    <a:pt x="16" y="548"/>
                    <a:pt x="15" y="550"/>
                    <a:pt x="14" y="551"/>
                  </a:cubicBezTo>
                  <a:cubicBezTo>
                    <a:pt x="13" y="551"/>
                    <a:pt x="12" y="553"/>
                    <a:pt x="11" y="554"/>
                  </a:cubicBezTo>
                  <a:cubicBezTo>
                    <a:pt x="10" y="556"/>
                    <a:pt x="12" y="560"/>
                    <a:pt x="14" y="561"/>
                  </a:cubicBezTo>
                  <a:cubicBezTo>
                    <a:pt x="17" y="562"/>
                    <a:pt x="20" y="562"/>
                    <a:pt x="20" y="564"/>
                  </a:cubicBezTo>
                  <a:cubicBezTo>
                    <a:pt x="19" y="565"/>
                    <a:pt x="14" y="569"/>
                    <a:pt x="13" y="570"/>
                  </a:cubicBezTo>
                  <a:cubicBezTo>
                    <a:pt x="12" y="570"/>
                    <a:pt x="10" y="571"/>
                    <a:pt x="10" y="573"/>
                  </a:cubicBezTo>
                  <a:cubicBezTo>
                    <a:pt x="10" y="575"/>
                    <a:pt x="10" y="576"/>
                    <a:pt x="8" y="577"/>
                  </a:cubicBezTo>
                  <a:cubicBezTo>
                    <a:pt x="6" y="578"/>
                    <a:pt x="5" y="577"/>
                    <a:pt x="5" y="580"/>
                  </a:cubicBezTo>
                  <a:cubicBezTo>
                    <a:pt x="5" y="582"/>
                    <a:pt x="6" y="583"/>
                    <a:pt x="7" y="583"/>
                  </a:cubicBezTo>
                  <a:cubicBezTo>
                    <a:pt x="8" y="583"/>
                    <a:pt x="8" y="583"/>
                    <a:pt x="8" y="583"/>
                  </a:cubicBezTo>
                  <a:cubicBezTo>
                    <a:pt x="16" y="582"/>
                    <a:pt x="16" y="582"/>
                    <a:pt x="16" y="582"/>
                  </a:cubicBezTo>
                  <a:cubicBezTo>
                    <a:pt x="16" y="582"/>
                    <a:pt x="15" y="585"/>
                    <a:pt x="15" y="586"/>
                  </a:cubicBezTo>
                  <a:cubicBezTo>
                    <a:pt x="15" y="587"/>
                    <a:pt x="9" y="593"/>
                    <a:pt x="9" y="593"/>
                  </a:cubicBezTo>
                  <a:cubicBezTo>
                    <a:pt x="9" y="593"/>
                    <a:pt x="10" y="596"/>
                    <a:pt x="9" y="596"/>
                  </a:cubicBezTo>
                  <a:cubicBezTo>
                    <a:pt x="7" y="597"/>
                    <a:pt x="5" y="598"/>
                    <a:pt x="4" y="599"/>
                  </a:cubicBezTo>
                  <a:cubicBezTo>
                    <a:pt x="4" y="600"/>
                    <a:pt x="4" y="602"/>
                    <a:pt x="4" y="603"/>
                  </a:cubicBezTo>
                  <a:cubicBezTo>
                    <a:pt x="5" y="605"/>
                    <a:pt x="7" y="608"/>
                    <a:pt x="7" y="609"/>
                  </a:cubicBezTo>
                  <a:cubicBezTo>
                    <a:pt x="8" y="610"/>
                    <a:pt x="6" y="612"/>
                    <a:pt x="6" y="612"/>
                  </a:cubicBezTo>
                  <a:cubicBezTo>
                    <a:pt x="4" y="620"/>
                    <a:pt x="4" y="620"/>
                    <a:pt x="4" y="620"/>
                  </a:cubicBezTo>
                  <a:cubicBezTo>
                    <a:pt x="4" y="620"/>
                    <a:pt x="4" y="624"/>
                    <a:pt x="4" y="625"/>
                  </a:cubicBezTo>
                  <a:cubicBezTo>
                    <a:pt x="4" y="626"/>
                    <a:pt x="0" y="627"/>
                    <a:pt x="2" y="630"/>
                  </a:cubicBezTo>
                  <a:cubicBezTo>
                    <a:pt x="4" y="632"/>
                    <a:pt x="5" y="633"/>
                    <a:pt x="6" y="634"/>
                  </a:cubicBezTo>
                  <a:cubicBezTo>
                    <a:pt x="8" y="634"/>
                    <a:pt x="13" y="634"/>
                    <a:pt x="13" y="635"/>
                  </a:cubicBezTo>
                  <a:cubicBezTo>
                    <a:pt x="13" y="635"/>
                    <a:pt x="13" y="636"/>
                    <a:pt x="10" y="637"/>
                  </a:cubicBezTo>
                  <a:cubicBezTo>
                    <a:pt x="8" y="637"/>
                    <a:pt x="6" y="636"/>
                    <a:pt x="6" y="638"/>
                  </a:cubicBezTo>
                  <a:cubicBezTo>
                    <a:pt x="5" y="639"/>
                    <a:pt x="1" y="645"/>
                    <a:pt x="1" y="645"/>
                  </a:cubicBezTo>
                  <a:cubicBezTo>
                    <a:pt x="6" y="651"/>
                    <a:pt x="6" y="651"/>
                    <a:pt x="6" y="651"/>
                  </a:cubicBezTo>
                  <a:cubicBezTo>
                    <a:pt x="6" y="651"/>
                    <a:pt x="8" y="649"/>
                    <a:pt x="9" y="649"/>
                  </a:cubicBezTo>
                  <a:cubicBezTo>
                    <a:pt x="10" y="648"/>
                    <a:pt x="13" y="649"/>
                    <a:pt x="13" y="650"/>
                  </a:cubicBezTo>
                  <a:cubicBezTo>
                    <a:pt x="13" y="650"/>
                    <a:pt x="11" y="653"/>
                    <a:pt x="10" y="653"/>
                  </a:cubicBezTo>
                  <a:cubicBezTo>
                    <a:pt x="10" y="654"/>
                    <a:pt x="7" y="655"/>
                    <a:pt x="7" y="656"/>
                  </a:cubicBezTo>
                  <a:cubicBezTo>
                    <a:pt x="7" y="656"/>
                    <a:pt x="10" y="660"/>
                    <a:pt x="10" y="660"/>
                  </a:cubicBezTo>
                  <a:cubicBezTo>
                    <a:pt x="10" y="660"/>
                    <a:pt x="12" y="660"/>
                    <a:pt x="12" y="662"/>
                  </a:cubicBezTo>
                  <a:cubicBezTo>
                    <a:pt x="12" y="663"/>
                    <a:pt x="8" y="665"/>
                    <a:pt x="8" y="665"/>
                  </a:cubicBezTo>
                  <a:cubicBezTo>
                    <a:pt x="9" y="668"/>
                    <a:pt x="9" y="668"/>
                    <a:pt x="9" y="668"/>
                  </a:cubicBezTo>
                  <a:cubicBezTo>
                    <a:pt x="6" y="674"/>
                    <a:pt x="6" y="674"/>
                    <a:pt x="6" y="674"/>
                  </a:cubicBezTo>
                  <a:cubicBezTo>
                    <a:pt x="11" y="677"/>
                    <a:pt x="11" y="677"/>
                    <a:pt x="11" y="677"/>
                  </a:cubicBezTo>
                  <a:cubicBezTo>
                    <a:pt x="11" y="677"/>
                    <a:pt x="15" y="677"/>
                    <a:pt x="14" y="680"/>
                  </a:cubicBezTo>
                  <a:cubicBezTo>
                    <a:pt x="12" y="682"/>
                    <a:pt x="9" y="684"/>
                    <a:pt x="9" y="685"/>
                  </a:cubicBezTo>
                  <a:cubicBezTo>
                    <a:pt x="9" y="687"/>
                    <a:pt x="8" y="689"/>
                    <a:pt x="10" y="690"/>
                  </a:cubicBezTo>
                  <a:cubicBezTo>
                    <a:pt x="12" y="690"/>
                    <a:pt x="12" y="691"/>
                    <a:pt x="13" y="690"/>
                  </a:cubicBezTo>
                  <a:cubicBezTo>
                    <a:pt x="15" y="689"/>
                    <a:pt x="17" y="688"/>
                    <a:pt x="17" y="688"/>
                  </a:cubicBezTo>
                  <a:cubicBezTo>
                    <a:pt x="17" y="688"/>
                    <a:pt x="20" y="686"/>
                    <a:pt x="22" y="686"/>
                  </a:cubicBezTo>
                  <a:cubicBezTo>
                    <a:pt x="23" y="686"/>
                    <a:pt x="25" y="687"/>
                    <a:pt x="26" y="688"/>
                  </a:cubicBezTo>
                  <a:cubicBezTo>
                    <a:pt x="26" y="689"/>
                    <a:pt x="26" y="690"/>
                    <a:pt x="27" y="691"/>
                  </a:cubicBezTo>
                  <a:cubicBezTo>
                    <a:pt x="28" y="691"/>
                    <a:pt x="26" y="696"/>
                    <a:pt x="26" y="696"/>
                  </a:cubicBezTo>
                  <a:cubicBezTo>
                    <a:pt x="23" y="700"/>
                    <a:pt x="23" y="700"/>
                    <a:pt x="23" y="700"/>
                  </a:cubicBezTo>
                  <a:cubicBezTo>
                    <a:pt x="23" y="700"/>
                    <a:pt x="26" y="704"/>
                    <a:pt x="25" y="704"/>
                  </a:cubicBezTo>
                  <a:cubicBezTo>
                    <a:pt x="25" y="704"/>
                    <a:pt x="20" y="705"/>
                    <a:pt x="19" y="705"/>
                  </a:cubicBezTo>
                  <a:cubicBezTo>
                    <a:pt x="18" y="705"/>
                    <a:pt x="17" y="704"/>
                    <a:pt x="17" y="706"/>
                  </a:cubicBezTo>
                  <a:cubicBezTo>
                    <a:pt x="16" y="708"/>
                    <a:pt x="13" y="713"/>
                    <a:pt x="13" y="713"/>
                  </a:cubicBezTo>
                  <a:cubicBezTo>
                    <a:pt x="13" y="713"/>
                    <a:pt x="12" y="715"/>
                    <a:pt x="13" y="717"/>
                  </a:cubicBezTo>
                  <a:cubicBezTo>
                    <a:pt x="14" y="719"/>
                    <a:pt x="18" y="726"/>
                    <a:pt x="18" y="726"/>
                  </a:cubicBezTo>
                  <a:cubicBezTo>
                    <a:pt x="18" y="727"/>
                    <a:pt x="20" y="730"/>
                    <a:pt x="23" y="732"/>
                  </a:cubicBezTo>
                  <a:cubicBezTo>
                    <a:pt x="26" y="734"/>
                    <a:pt x="28" y="734"/>
                    <a:pt x="28" y="736"/>
                  </a:cubicBezTo>
                  <a:cubicBezTo>
                    <a:pt x="29" y="738"/>
                    <a:pt x="29" y="738"/>
                    <a:pt x="29" y="738"/>
                  </a:cubicBezTo>
                  <a:cubicBezTo>
                    <a:pt x="33" y="742"/>
                    <a:pt x="33" y="742"/>
                    <a:pt x="33" y="742"/>
                  </a:cubicBezTo>
                  <a:cubicBezTo>
                    <a:pt x="33" y="742"/>
                    <a:pt x="35" y="743"/>
                    <a:pt x="38" y="743"/>
                  </a:cubicBezTo>
                  <a:cubicBezTo>
                    <a:pt x="41" y="744"/>
                    <a:pt x="45" y="744"/>
                    <a:pt x="45" y="745"/>
                  </a:cubicBezTo>
                  <a:cubicBezTo>
                    <a:pt x="46" y="745"/>
                    <a:pt x="42" y="748"/>
                    <a:pt x="42" y="748"/>
                  </a:cubicBezTo>
                  <a:cubicBezTo>
                    <a:pt x="42" y="748"/>
                    <a:pt x="37" y="752"/>
                    <a:pt x="39" y="753"/>
                  </a:cubicBezTo>
                  <a:cubicBezTo>
                    <a:pt x="41" y="754"/>
                    <a:pt x="55" y="757"/>
                    <a:pt x="55" y="757"/>
                  </a:cubicBezTo>
                  <a:cubicBezTo>
                    <a:pt x="55" y="757"/>
                    <a:pt x="57" y="758"/>
                    <a:pt x="57" y="759"/>
                  </a:cubicBezTo>
                  <a:cubicBezTo>
                    <a:pt x="57" y="760"/>
                    <a:pt x="60" y="758"/>
                    <a:pt x="60" y="758"/>
                  </a:cubicBezTo>
                  <a:cubicBezTo>
                    <a:pt x="61" y="757"/>
                    <a:pt x="65" y="759"/>
                    <a:pt x="66" y="759"/>
                  </a:cubicBezTo>
                  <a:cubicBezTo>
                    <a:pt x="66" y="759"/>
                    <a:pt x="72" y="758"/>
                    <a:pt x="72" y="758"/>
                  </a:cubicBezTo>
                  <a:cubicBezTo>
                    <a:pt x="77" y="756"/>
                    <a:pt x="77" y="756"/>
                    <a:pt x="77" y="756"/>
                  </a:cubicBezTo>
                  <a:cubicBezTo>
                    <a:pt x="77" y="756"/>
                    <a:pt x="80" y="751"/>
                    <a:pt x="82" y="752"/>
                  </a:cubicBezTo>
                  <a:cubicBezTo>
                    <a:pt x="85" y="753"/>
                    <a:pt x="84" y="755"/>
                    <a:pt x="86" y="755"/>
                  </a:cubicBezTo>
                  <a:cubicBezTo>
                    <a:pt x="87" y="755"/>
                    <a:pt x="89" y="755"/>
                    <a:pt x="91" y="752"/>
                  </a:cubicBezTo>
                  <a:cubicBezTo>
                    <a:pt x="93" y="750"/>
                    <a:pt x="95" y="748"/>
                    <a:pt x="96" y="747"/>
                  </a:cubicBezTo>
                  <a:cubicBezTo>
                    <a:pt x="97" y="747"/>
                    <a:pt x="109" y="740"/>
                    <a:pt x="109" y="740"/>
                  </a:cubicBezTo>
                  <a:cubicBezTo>
                    <a:pt x="117" y="726"/>
                    <a:pt x="117" y="726"/>
                    <a:pt x="117" y="726"/>
                  </a:cubicBezTo>
                  <a:cubicBezTo>
                    <a:pt x="120" y="716"/>
                    <a:pt x="120" y="716"/>
                    <a:pt x="120" y="716"/>
                  </a:cubicBezTo>
                  <a:cubicBezTo>
                    <a:pt x="120" y="716"/>
                    <a:pt x="124" y="711"/>
                    <a:pt x="127" y="711"/>
                  </a:cubicBezTo>
                  <a:cubicBezTo>
                    <a:pt x="129" y="711"/>
                    <a:pt x="136" y="708"/>
                    <a:pt x="135" y="706"/>
                  </a:cubicBezTo>
                  <a:cubicBezTo>
                    <a:pt x="135" y="703"/>
                    <a:pt x="138" y="702"/>
                    <a:pt x="138" y="706"/>
                  </a:cubicBezTo>
                  <a:cubicBezTo>
                    <a:pt x="139" y="710"/>
                    <a:pt x="138" y="714"/>
                    <a:pt x="140" y="712"/>
                  </a:cubicBezTo>
                  <a:cubicBezTo>
                    <a:pt x="143" y="710"/>
                    <a:pt x="148" y="704"/>
                    <a:pt x="148" y="704"/>
                  </a:cubicBezTo>
                  <a:cubicBezTo>
                    <a:pt x="148" y="704"/>
                    <a:pt x="151" y="701"/>
                    <a:pt x="153" y="700"/>
                  </a:cubicBezTo>
                  <a:cubicBezTo>
                    <a:pt x="155" y="700"/>
                    <a:pt x="158" y="693"/>
                    <a:pt x="158" y="693"/>
                  </a:cubicBezTo>
                  <a:cubicBezTo>
                    <a:pt x="158" y="693"/>
                    <a:pt x="162" y="690"/>
                    <a:pt x="164" y="693"/>
                  </a:cubicBezTo>
                  <a:cubicBezTo>
                    <a:pt x="165" y="697"/>
                    <a:pt x="169" y="702"/>
                    <a:pt x="169" y="704"/>
                  </a:cubicBezTo>
                  <a:cubicBezTo>
                    <a:pt x="169" y="704"/>
                    <a:pt x="171" y="705"/>
                    <a:pt x="173" y="706"/>
                  </a:cubicBezTo>
                  <a:cubicBezTo>
                    <a:pt x="173" y="704"/>
                    <a:pt x="173" y="704"/>
                    <a:pt x="173" y="704"/>
                  </a:cubicBezTo>
                  <a:cubicBezTo>
                    <a:pt x="173" y="698"/>
                    <a:pt x="173" y="698"/>
                    <a:pt x="173" y="698"/>
                  </a:cubicBezTo>
                  <a:cubicBezTo>
                    <a:pt x="173" y="698"/>
                    <a:pt x="180" y="704"/>
                    <a:pt x="180" y="704"/>
                  </a:cubicBezTo>
                  <a:cubicBezTo>
                    <a:pt x="181" y="705"/>
                    <a:pt x="181" y="711"/>
                    <a:pt x="181" y="711"/>
                  </a:cubicBezTo>
                  <a:cubicBezTo>
                    <a:pt x="183" y="711"/>
                    <a:pt x="183" y="711"/>
                    <a:pt x="183" y="711"/>
                  </a:cubicBezTo>
                  <a:cubicBezTo>
                    <a:pt x="183" y="710"/>
                    <a:pt x="183" y="710"/>
                    <a:pt x="183" y="710"/>
                  </a:cubicBezTo>
                  <a:cubicBezTo>
                    <a:pt x="185" y="711"/>
                    <a:pt x="185" y="711"/>
                    <a:pt x="185" y="711"/>
                  </a:cubicBezTo>
                  <a:cubicBezTo>
                    <a:pt x="186" y="710"/>
                    <a:pt x="186" y="710"/>
                    <a:pt x="186" y="710"/>
                  </a:cubicBezTo>
                  <a:cubicBezTo>
                    <a:pt x="187" y="704"/>
                    <a:pt x="187" y="704"/>
                    <a:pt x="187" y="704"/>
                  </a:cubicBezTo>
                  <a:cubicBezTo>
                    <a:pt x="188" y="697"/>
                    <a:pt x="188" y="697"/>
                    <a:pt x="188" y="697"/>
                  </a:cubicBezTo>
                  <a:cubicBezTo>
                    <a:pt x="191" y="691"/>
                    <a:pt x="191" y="691"/>
                    <a:pt x="191" y="691"/>
                  </a:cubicBezTo>
                  <a:cubicBezTo>
                    <a:pt x="191" y="685"/>
                    <a:pt x="191" y="685"/>
                    <a:pt x="191" y="685"/>
                  </a:cubicBezTo>
                  <a:cubicBezTo>
                    <a:pt x="187" y="678"/>
                    <a:pt x="187" y="678"/>
                    <a:pt x="187" y="678"/>
                  </a:cubicBezTo>
                  <a:cubicBezTo>
                    <a:pt x="185" y="672"/>
                    <a:pt x="185" y="672"/>
                    <a:pt x="185" y="672"/>
                  </a:cubicBezTo>
                  <a:cubicBezTo>
                    <a:pt x="188" y="671"/>
                    <a:pt x="188" y="671"/>
                    <a:pt x="188" y="671"/>
                  </a:cubicBezTo>
                  <a:cubicBezTo>
                    <a:pt x="188" y="670"/>
                    <a:pt x="188" y="670"/>
                    <a:pt x="188" y="670"/>
                  </a:cubicBezTo>
                  <a:cubicBezTo>
                    <a:pt x="189" y="670"/>
                    <a:pt x="189" y="670"/>
                    <a:pt x="189" y="670"/>
                  </a:cubicBezTo>
                  <a:cubicBezTo>
                    <a:pt x="191" y="668"/>
                    <a:pt x="191" y="668"/>
                    <a:pt x="191" y="668"/>
                  </a:cubicBezTo>
                  <a:cubicBezTo>
                    <a:pt x="192" y="663"/>
                    <a:pt x="192" y="663"/>
                    <a:pt x="192" y="663"/>
                  </a:cubicBezTo>
                  <a:cubicBezTo>
                    <a:pt x="190" y="661"/>
                    <a:pt x="190" y="661"/>
                    <a:pt x="190" y="661"/>
                  </a:cubicBezTo>
                  <a:cubicBezTo>
                    <a:pt x="190" y="658"/>
                    <a:pt x="190" y="658"/>
                    <a:pt x="190" y="658"/>
                  </a:cubicBezTo>
                  <a:cubicBezTo>
                    <a:pt x="190" y="658"/>
                    <a:pt x="192" y="656"/>
                    <a:pt x="192" y="656"/>
                  </a:cubicBezTo>
                  <a:cubicBezTo>
                    <a:pt x="192" y="656"/>
                    <a:pt x="192" y="656"/>
                    <a:pt x="192" y="656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3" y="655"/>
                    <a:pt x="193" y="655"/>
                    <a:pt x="193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4" y="655"/>
                    <a:pt x="194" y="655"/>
                  </a:cubicBezTo>
                  <a:cubicBezTo>
                    <a:pt x="194" y="655"/>
                    <a:pt x="195" y="654"/>
                    <a:pt x="195" y="654"/>
                  </a:cubicBezTo>
                  <a:cubicBezTo>
                    <a:pt x="196" y="654"/>
                    <a:pt x="198" y="654"/>
                    <a:pt x="198" y="654"/>
                  </a:cubicBezTo>
                  <a:cubicBezTo>
                    <a:pt x="199" y="654"/>
                    <a:pt x="199" y="654"/>
                    <a:pt x="199" y="654"/>
                  </a:cubicBezTo>
                  <a:cubicBezTo>
                    <a:pt x="201" y="652"/>
                    <a:pt x="201" y="652"/>
                    <a:pt x="201" y="652"/>
                  </a:cubicBezTo>
                  <a:cubicBezTo>
                    <a:pt x="201" y="652"/>
                    <a:pt x="205" y="649"/>
                    <a:pt x="205" y="648"/>
                  </a:cubicBezTo>
                  <a:cubicBezTo>
                    <a:pt x="205" y="647"/>
                    <a:pt x="207" y="644"/>
                    <a:pt x="207" y="644"/>
                  </a:cubicBezTo>
                  <a:cubicBezTo>
                    <a:pt x="207" y="639"/>
                    <a:pt x="207" y="639"/>
                    <a:pt x="207" y="639"/>
                  </a:cubicBezTo>
                  <a:cubicBezTo>
                    <a:pt x="205" y="634"/>
                    <a:pt x="205" y="634"/>
                    <a:pt x="205" y="634"/>
                  </a:cubicBezTo>
                  <a:cubicBezTo>
                    <a:pt x="207" y="631"/>
                    <a:pt x="207" y="631"/>
                    <a:pt x="207" y="631"/>
                  </a:cubicBezTo>
                  <a:cubicBezTo>
                    <a:pt x="210" y="625"/>
                    <a:pt x="210" y="625"/>
                    <a:pt x="210" y="625"/>
                  </a:cubicBezTo>
                  <a:cubicBezTo>
                    <a:pt x="208" y="619"/>
                    <a:pt x="208" y="619"/>
                    <a:pt x="208" y="619"/>
                  </a:cubicBezTo>
                  <a:cubicBezTo>
                    <a:pt x="202" y="612"/>
                    <a:pt x="202" y="612"/>
                    <a:pt x="202" y="612"/>
                  </a:cubicBezTo>
                  <a:cubicBezTo>
                    <a:pt x="199" y="603"/>
                    <a:pt x="199" y="603"/>
                    <a:pt x="199" y="603"/>
                  </a:cubicBezTo>
                  <a:cubicBezTo>
                    <a:pt x="197" y="597"/>
                    <a:pt x="197" y="597"/>
                    <a:pt x="197" y="597"/>
                  </a:cubicBezTo>
                  <a:cubicBezTo>
                    <a:pt x="202" y="592"/>
                    <a:pt x="202" y="592"/>
                    <a:pt x="202" y="592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3" y="591"/>
                    <a:pt x="203" y="591"/>
                    <a:pt x="203" y="591"/>
                  </a:cubicBezTo>
                  <a:cubicBezTo>
                    <a:pt x="204" y="591"/>
                    <a:pt x="204" y="591"/>
                    <a:pt x="204" y="591"/>
                  </a:cubicBezTo>
                  <a:cubicBezTo>
                    <a:pt x="207" y="591"/>
                    <a:pt x="207" y="591"/>
                    <a:pt x="207" y="591"/>
                  </a:cubicBezTo>
                  <a:cubicBezTo>
                    <a:pt x="207" y="591"/>
                    <a:pt x="212" y="591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90"/>
                    <a:pt x="212" y="590"/>
                    <a:pt x="212" y="590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2" y="589"/>
                    <a:pt x="212" y="589"/>
                    <a:pt x="212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9"/>
                    <a:pt x="213" y="589"/>
                    <a:pt x="213" y="589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8"/>
                    <a:pt x="213" y="588"/>
                    <a:pt x="213" y="588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7"/>
                    <a:pt x="213" y="587"/>
                    <a:pt x="213" y="587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6"/>
                    <a:pt x="213" y="586"/>
                    <a:pt x="213" y="586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5"/>
                    <a:pt x="213" y="585"/>
                    <a:pt x="213" y="585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4"/>
                    <a:pt x="213" y="584"/>
                    <a:pt x="213" y="584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3" y="583"/>
                    <a:pt x="213" y="583"/>
                    <a:pt x="213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4" y="582"/>
                    <a:pt x="214" y="582"/>
                    <a:pt x="214" y="582"/>
                  </a:cubicBezTo>
                  <a:cubicBezTo>
                    <a:pt x="213" y="573"/>
                    <a:pt x="213" y="573"/>
                    <a:pt x="213" y="573"/>
                  </a:cubicBezTo>
                  <a:cubicBezTo>
                    <a:pt x="207" y="568"/>
                    <a:pt x="207" y="568"/>
                    <a:pt x="207" y="568"/>
                  </a:cubicBezTo>
                  <a:cubicBezTo>
                    <a:pt x="200" y="563"/>
                    <a:pt x="200" y="563"/>
                    <a:pt x="200" y="563"/>
                  </a:cubicBezTo>
                  <a:cubicBezTo>
                    <a:pt x="197" y="555"/>
                    <a:pt x="197" y="555"/>
                    <a:pt x="197" y="555"/>
                  </a:cubicBezTo>
                  <a:cubicBezTo>
                    <a:pt x="196" y="524"/>
                    <a:pt x="196" y="524"/>
                    <a:pt x="196" y="524"/>
                  </a:cubicBezTo>
                  <a:cubicBezTo>
                    <a:pt x="196" y="524"/>
                    <a:pt x="189" y="511"/>
                    <a:pt x="189" y="510"/>
                  </a:cubicBezTo>
                  <a:cubicBezTo>
                    <a:pt x="188" y="508"/>
                    <a:pt x="188" y="506"/>
                    <a:pt x="190" y="504"/>
                  </a:cubicBezTo>
                  <a:cubicBezTo>
                    <a:pt x="191" y="503"/>
                    <a:pt x="190" y="501"/>
                    <a:pt x="190" y="501"/>
                  </a:cubicBezTo>
                  <a:cubicBezTo>
                    <a:pt x="189" y="494"/>
                    <a:pt x="189" y="494"/>
                    <a:pt x="189" y="494"/>
                  </a:cubicBezTo>
                  <a:cubicBezTo>
                    <a:pt x="191" y="491"/>
                    <a:pt x="191" y="491"/>
                    <a:pt x="191" y="491"/>
                  </a:cubicBezTo>
                  <a:cubicBezTo>
                    <a:pt x="191" y="485"/>
                    <a:pt x="191" y="485"/>
                    <a:pt x="191" y="485"/>
                  </a:cubicBezTo>
                  <a:cubicBezTo>
                    <a:pt x="187" y="477"/>
                    <a:pt x="187" y="477"/>
                    <a:pt x="187" y="477"/>
                  </a:cubicBezTo>
                  <a:cubicBezTo>
                    <a:pt x="187" y="477"/>
                    <a:pt x="187" y="471"/>
                    <a:pt x="187" y="470"/>
                  </a:cubicBezTo>
                  <a:cubicBezTo>
                    <a:pt x="187" y="468"/>
                    <a:pt x="190" y="464"/>
                    <a:pt x="190" y="464"/>
                  </a:cubicBezTo>
                  <a:cubicBezTo>
                    <a:pt x="191" y="457"/>
                    <a:pt x="191" y="457"/>
                    <a:pt x="191" y="457"/>
                  </a:cubicBezTo>
                  <a:cubicBezTo>
                    <a:pt x="193" y="447"/>
                    <a:pt x="193" y="447"/>
                    <a:pt x="193" y="447"/>
                  </a:cubicBezTo>
                  <a:cubicBezTo>
                    <a:pt x="206" y="430"/>
                    <a:pt x="206" y="430"/>
                    <a:pt x="206" y="430"/>
                  </a:cubicBezTo>
                  <a:cubicBezTo>
                    <a:pt x="209" y="430"/>
                    <a:pt x="209" y="430"/>
                    <a:pt x="209" y="430"/>
                  </a:cubicBezTo>
                  <a:cubicBezTo>
                    <a:pt x="230" y="429"/>
                    <a:pt x="230" y="429"/>
                    <a:pt x="230" y="429"/>
                  </a:cubicBezTo>
                  <a:cubicBezTo>
                    <a:pt x="231" y="427"/>
                    <a:pt x="231" y="427"/>
                    <a:pt x="231" y="427"/>
                  </a:cubicBezTo>
                  <a:cubicBezTo>
                    <a:pt x="232" y="426"/>
                    <a:pt x="232" y="426"/>
                    <a:pt x="232" y="426"/>
                  </a:cubicBezTo>
                  <a:cubicBezTo>
                    <a:pt x="234" y="420"/>
                    <a:pt x="234" y="420"/>
                    <a:pt x="234" y="420"/>
                  </a:cubicBezTo>
                  <a:cubicBezTo>
                    <a:pt x="233" y="404"/>
                    <a:pt x="233" y="404"/>
                    <a:pt x="233" y="404"/>
                  </a:cubicBezTo>
                  <a:cubicBezTo>
                    <a:pt x="224" y="402"/>
                    <a:pt x="224" y="402"/>
                    <a:pt x="224" y="402"/>
                  </a:cubicBezTo>
                  <a:cubicBezTo>
                    <a:pt x="222" y="397"/>
                    <a:pt x="222" y="397"/>
                    <a:pt x="222" y="397"/>
                  </a:cubicBezTo>
                  <a:cubicBezTo>
                    <a:pt x="237" y="371"/>
                    <a:pt x="237" y="371"/>
                    <a:pt x="237" y="371"/>
                  </a:cubicBezTo>
                  <a:cubicBezTo>
                    <a:pt x="236" y="365"/>
                    <a:pt x="236" y="365"/>
                    <a:pt x="236" y="365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0" y="362"/>
                    <a:pt x="239" y="358"/>
                    <a:pt x="238" y="356"/>
                  </a:cubicBezTo>
                  <a:cubicBezTo>
                    <a:pt x="237" y="355"/>
                    <a:pt x="239" y="349"/>
                    <a:pt x="239" y="349"/>
                  </a:cubicBezTo>
                  <a:cubicBezTo>
                    <a:pt x="240" y="342"/>
                    <a:pt x="240" y="342"/>
                    <a:pt x="240" y="342"/>
                  </a:cubicBezTo>
                  <a:cubicBezTo>
                    <a:pt x="242" y="334"/>
                    <a:pt x="242" y="334"/>
                    <a:pt x="242" y="334"/>
                  </a:cubicBezTo>
                  <a:cubicBezTo>
                    <a:pt x="237" y="317"/>
                    <a:pt x="237" y="317"/>
                    <a:pt x="237" y="317"/>
                  </a:cubicBezTo>
                  <a:cubicBezTo>
                    <a:pt x="240" y="314"/>
                    <a:pt x="240" y="314"/>
                    <a:pt x="240" y="314"/>
                  </a:cubicBezTo>
                  <a:cubicBezTo>
                    <a:pt x="244" y="314"/>
                    <a:pt x="244" y="314"/>
                    <a:pt x="244" y="314"/>
                  </a:cubicBezTo>
                  <a:cubicBezTo>
                    <a:pt x="245" y="314"/>
                    <a:pt x="247" y="313"/>
                    <a:pt x="249" y="313"/>
                  </a:cubicBezTo>
                  <a:cubicBezTo>
                    <a:pt x="251" y="312"/>
                    <a:pt x="252" y="311"/>
                    <a:pt x="255" y="308"/>
                  </a:cubicBezTo>
                  <a:cubicBezTo>
                    <a:pt x="256" y="306"/>
                    <a:pt x="256" y="306"/>
                    <a:pt x="256" y="306"/>
                  </a:cubicBezTo>
                  <a:cubicBezTo>
                    <a:pt x="257" y="301"/>
                    <a:pt x="257" y="301"/>
                    <a:pt x="257" y="30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62" y="279"/>
                    <a:pt x="262" y="279"/>
                    <a:pt x="262" y="279"/>
                  </a:cubicBezTo>
                  <a:cubicBezTo>
                    <a:pt x="262" y="279"/>
                    <a:pt x="270" y="269"/>
                    <a:pt x="271" y="267"/>
                  </a:cubicBezTo>
                  <a:cubicBezTo>
                    <a:pt x="272" y="265"/>
                    <a:pt x="275" y="258"/>
                    <a:pt x="275" y="258"/>
                  </a:cubicBezTo>
                  <a:cubicBezTo>
                    <a:pt x="275" y="258"/>
                    <a:pt x="273" y="250"/>
                    <a:pt x="272" y="248"/>
                  </a:cubicBezTo>
                  <a:cubicBezTo>
                    <a:pt x="270" y="247"/>
                    <a:pt x="267" y="241"/>
                    <a:pt x="267" y="241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73" y="232"/>
                    <a:pt x="273" y="232"/>
                    <a:pt x="273" y="232"/>
                  </a:cubicBezTo>
                  <a:cubicBezTo>
                    <a:pt x="275" y="228"/>
                    <a:pt x="275" y="228"/>
                    <a:pt x="275" y="228"/>
                  </a:cubicBezTo>
                  <a:cubicBezTo>
                    <a:pt x="275" y="228"/>
                    <a:pt x="275" y="221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9"/>
                    <a:pt x="275" y="219"/>
                    <a:pt x="275" y="219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5" y="218"/>
                    <a:pt x="275" y="218"/>
                    <a:pt x="275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8"/>
                    <a:pt x="276" y="218"/>
                    <a:pt x="276" y="218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7"/>
                    <a:pt x="276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6"/>
                    <a:pt x="277" y="216"/>
                    <a:pt x="277" y="216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5"/>
                    <a:pt x="277" y="215"/>
                    <a:pt x="277" y="215"/>
                  </a:cubicBezTo>
                  <a:cubicBezTo>
                    <a:pt x="277" y="213"/>
                    <a:pt x="281" y="209"/>
                    <a:pt x="281" y="209"/>
                  </a:cubicBezTo>
                  <a:cubicBezTo>
                    <a:pt x="285" y="201"/>
                    <a:pt x="285" y="201"/>
                    <a:pt x="285" y="201"/>
                  </a:cubicBezTo>
                  <a:cubicBezTo>
                    <a:pt x="295" y="206"/>
                    <a:pt x="295" y="206"/>
                    <a:pt x="295" y="206"/>
                  </a:cubicBezTo>
                  <a:cubicBezTo>
                    <a:pt x="300" y="206"/>
                    <a:pt x="300" y="206"/>
                    <a:pt x="300" y="206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01" y="199"/>
                    <a:pt x="300" y="178"/>
                    <a:pt x="303" y="174"/>
                  </a:cubicBezTo>
                  <a:cubicBezTo>
                    <a:pt x="303" y="174"/>
                    <a:pt x="317" y="175"/>
                    <a:pt x="319" y="174"/>
                  </a:cubicBezTo>
                  <a:cubicBezTo>
                    <a:pt x="320" y="174"/>
                    <a:pt x="325" y="176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6" y="177"/>
                    <a:pt x="326" y="177"/>
                    <a:pt x="326" y="177"/>
                  </a:cubicBezTo>
                  <a:cubicBezTo>
                    <a:pt x="327" y="178"/>
                    <a:pt x="328" y="178"/>
                    <a:pt x="329" y="178"/>
                  </a:cubicBezTo>
                  <a:cubicBezTo>
                    <a:pt x="331" y="179"/>
                    <a:pt x="333" y="179"/>
                    <a:pt x="333" y="179"/>
                  </a:cubicBezTo>
                  <a:cubicBezTo>
                    <a:pt x="339" y="178"/>
                    <a:pt x="339" y="178"/>
                    <a:pt x="339" y="178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9" y="169"/>
                    <a:pt x="339" y="169"/>
                    <a:pt x="339" y="169"/>
                  </a:cubicBezTo>
                  <a:cubicBezTo>
                    <a:pt x="343" y="164"/>
                    <a:pt x="343" y="157"/>
                    <a:pt x="342" y="156"/>
                  </a:cubicBezTo>
                  <a:cubicBezTo>
                    <a:pt x="341" y="154"/>
                    <a:pt x="339" y="145"/>
                    <a:pt x="338" y="144"/>
                  </a:cubicBezTo>
                  <a:cubicBezTo>
                    <a:pt x="338" y="143"/>
                    <a:pt x="340" y="142"/>
                    <a:pt x="340" y="142"/>
                  </a:cubicBezTo>
                  <a:cubicBezTo>
                    <a:pt x="342" y="142"/>
                    <a:pt x="342" y="142"/>
                    <a:pt x="342" y="142"/>
                  </a:cubicBezTo>
                  <a:cubicBezTo>
                    <a:pt x="342" y="142"/>
                    <a:pt x="343" y="141"/>
                    <a:pt x="344" y="141"/>
                  </a:cubicBezTo>
                  <a:cubicBezTo>
                    <a:pt x="349" y="137"/>
                    <a:pt x="349" y="137"/>
                    <a:pt x="349" y="137"/>
                  </a:cubicBezTo>
                  <a:cubicBezTo>
                    <a:pt x="354" y="138"/>
                    <a:pt x="354" y="138"/>
                    <a:pt x="354" y="138"/>
                  </a:cubicBezTo>
                  <a:cubicBezTo>
                    <a:pt x="354" y="138"/>
                    <a:pt x="354" y="137"/>
                    <a:pt x="355" y="137"/>
                  </a:cubicBezTo>
                  <a:cubicBezTo>
                    <a:pt x="356" y="137"/>
                    <a:pt x="356" y="136"/>
                    <a:pt x="356" y="136"/>
                  </a:cubicBezTo>
                  <a:cubicBezTo>
                    <a:pt x="356" y="136"/>
                    <a:pt x="353" y="130"/>
                    <a:pt x="355" y="127"/>
                  </a:cubicBezTo>
                  <a:cubicBezTo>
                    <a:pt x="356" y="125"/>
                    <a:pt x="357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59" y="125"/>
                    <a:pt x="359" y="125"/>
                    <a:pt x="359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0" y="125"/>
                    <a:pt x="360" y="125"/>
                    <a:pt x="360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1" y="125"/>
                    <a:pt x="361" y="125"/>
                    <a:pt x="361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2" y="125"/>
                    <a:pt x="362" y="125"/>
                    <a:pt x="362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5"/>
                    <a:pt x="363" y="125"/>
                    <a:pt x="363" y="125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ubicBezTo>
                    <a:pt x="363" y="126"/>
                    <a:pt x="363" y="126"/>
                    <a:pt x="363" y="12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0" name="Freeform 102"/>
            <p:cNvSpPr>
              <a:spLocks noEditPoints="1"/>
            </p:cNvSpPr>
            <p:nvPr/>
          </p:nvSpPr>
          <p:spPr bwMode="auto">
            <a:xfrm>
              <a:off x="5202979" y="1417597"/>
              <a:ext cx="3515541" cy="3440993"/>
            </a:xfrm>
            <a:custGeom>
              <a:avLst/>
              <a:gdLst>
                <a:gd name="T0" fmla="*/ 395 w 1479"/>
                <a:gd name="T1" fmla="*/ 1054 h 1493"/>
                <a:gd name="T2" fmla="*/ 339 w 1479"/>
                <a:gd name="T3" fmla="*/ 1061 h 1493"/>
                <a:gd name="T4" fmla="*/ 359 w 1479"/>
                <a:gd name="T5" fmla="*/ 1012 h 1493"/>
                <a:gd name="T6" fmla="*/ 298 w 1479"/>
                <a:gd name="T7" fmla="*/ 970 h 1493"/>
                <a:gd name="T8" fmla="*/ 266 w 1479"/>
                <a:gd name="T9" fmla="*/ 914 h 1493"/>
                <a:gd name="T10" fmla="*/ 197 w 1479"/>
                <a:gd name="T11" fmla="*/ 908 h 1493"/>
                <a:gd name="T12" fmla="*/ 159 w 1479"/>
                <a:gd name="T13" fmla="*/ 875 h 1493"/>
                <a:gd name="T14" fmla="*/ 149 w 1479"/>
                <a:gd name="T15" fmla="*/ 820 h 1493"/>
                <a:gd name="T16" fmla="*/ 130 w 1479"/>
                <a:gd name="T17" fmla="*/ 737 h 1493"/>
                <a:gd name="T18" fmla="*/ 185 w 1479"/>
                <a:gd name="T19" fmla="*/ 696 h 1493"/>
                <a:gd name="T20" fmla="*/ 122 w 1479"/>
                <a:gd name="T21" fmla="*/ 671 h 1493"/>
                <a:gd name="T22" fmla="*/ 160 w 1479"/>
                <a:gd name="T23" fmla="*/ 558 h 1493"/>
                <a:gd name="T24" fmla="*/ 101 w 1479"/>
                <a:gd name="T25" fmla="*/ 459 h 1493"/>
                <a:gd name="T26" fmla="*/ 76 w 1479"/>
                <a:gd name="T27" fmla="*/ 383 h 1493"/>
                <a:gd name="T28" fmla="*/ 12 w 1479"/>
                <a:gd name="T29" fmla="*/ 272 h 1493"/>
                <a:gd name="T30" fmla="*/ 0 w 1479"/>
                <a:gd name="T31" fmla="*/ 237 h 1493"/>
                <a:gd name="T32" fmla="*/ 0 w 1479"/>
                <a:gd name="T33" fmla="*/ 237 h 1493"/>
                <a:gd name="T34" fmla="*/ 1 w 1479"/>
                <a:gd name="T35" fmla="*/ 236 h 1493"/>
                <a:gd name="T36" fmla="*/ 3 w 1479"/>
                <a:gd name="T37" fmla="*/ 234 h 1493"/>
                <a:gd name="T38" fmla="*/ 8 w 1479"/>
                <a:gd name="T39" fmla="*/ 229 h 1493"/>
                <a:gd name="T40" fmla="*/ 47 w 1479"/>
                <a:gd name="T41" fmla="*/ 167 h 1493"/>
                <a:gd name="T42" fmla="*/ 56 w 1479"/>
                <a:gd name="T43" fmla="*/ 176 h 1493"/>
                <a:gd name="T44" fmla="*/ 92 w 1479"/>
                <a:gd name="T45" fmla="*/ 183 h 1493"/>
                <a:gd name="T46" fmla="*/ 196 w 1479"/>
                <a:gd name="T47" fmla="*/ 194 h 1493"/>
                <a:gd name="T48" fmla="*/ 258 w 1479"/>
                <a:gd name="T49" fmla="*/ 207 h 1493"/>
                <a:gd name="T50" fmla="*/ 281 w 1479"/>
                <a:gd name="T51" fmla="*/ 280 h 1493"/>
                <a:gd name="T52" fmla="*/ 161 w 1479"/>
                <a:gd name="T53" fmla="*/ 320 h 1493"/>
                <a:gd name="T54" fmla="*/ 109 w 1479"/>
                <a:gd name="T55" fmla="*/ 310 h 1493"/>
                <a:gd name="T56" fmla="*/ 150 w 1479"/>
                <a:gd name="T57" fmla="*/ 340 h 1493"/>
                <a:gd name="T58" fmla="*/ 189 w 1479"/>
                <a:gd name="T59" fmla="*/ 388 h 1493"/>
                <a:gd name="T60" fmla="*/ 232 w 1479"/>
                <a:gd name="T61" fmla="*/ 422 h 1493"/>
                <a:gd name="T62" fmla="*/ 288 w 1479"/>
                <a:gd name="T63" fmla="*/ 416 h 1493"/>
                <a:gd name="T64" fmla="*/ 239 w 1479"/>
                <a:gd name="T65" fmla="*/ 380 h 1493"/>
                <a:gd name="T66" fmla="*/ 322 w 1479"/>
                <a:gd name="T67" fmla="*/ 369 h 1493"/>
                <a:gd name="T68" fmla="*/ 315 w 1479"/>
                <a:gd name="T69" fmla="*/ 253 h 1493"/>
                <a:gd name="T70" fmla="*/ 350 w 1479"/>
                <a:gd name="T71" fmla="*/ 213 h 1493"/>
                <a:gd name="T72" fmla="*/ 283 w 1479"/>
                <a:gd name="T73" fmla="*/ 136 h 1493"/>
                <a:gd name="T74" fmla="*/ 351 w 1479"/>
                <a:gd name="T75" fmla="*/ 157 h 1493"/>
                <a:gd name="T76" fmla="*/ 407 w 1479"/>
                <a:gd name="T77" fmla="*/ 178 h 1493"/>
                <a:gd name="T78" fmla="*/ 420 w 1479"/>
                <a:gd name="T79" fmla="*/ 84 h 1493"/>
                <a:gd name="T80" fmla="*/ 447 w 1479"/>
                <a:gd name="T81" fmla="*/ 17 h 1493"/>
                <a:gd name="T82" fmla="*/ 1446 w 1479"/>
                <a:gd name="T83" fmla="*/ 837 h 1493"/>
                <a:gd name="T84" fmla="*/ 1247 w 1479"/>
                <a:gd name="T85" fmla="*/ 947 h 1493"/>
                <a:gd name="T86" fmla="*/ 1027 w 1479"/>
                <a:gd name="T87" fmla="*/ 1015 h 1493"/>
                <a:gd name="T88" fmla="*/ 1113 w 1479"/>
                <a:gd name="T89" fmla="*/ 1192 h 1493"/>
                <a:gd name="T90" fmla="*/ 1187 w 1479"/>
                <a:gd name="T91" fmla="*/ 1460 h 1493"/>
                <a:gd name="T92" fmla="*/ 1119 w 1479"/>
                <a:gd name="T93" fmla="*/ 1449 h 1493"/>
                <a:gd name="T94" fmla="*/ 1105 w 1479"/>
                <a:gd name="T95" fmla="*/ 1486 h 1493"/>
                <a:gd name="T96" fmla="*/ 1061 w 1479"/>
                <a:gd name="T97" fmla="*/ 1452 h 1493"/>
                <a:gd name="T98" fmla="*/ 988 w 1479"/>
                <a:gd name="T99" fmla="*/ 1445 h 1493"/>
                <a:gd name="T100" fmla="*/ 919 w 1479"/>
                <a:gd name="T101" fmla="*/ 1435 h 1493"/>
                <a:gd name="T102" fmla="*/ 899 w 1479"/>
                <a:gd name="T103" fmla="*/ 1437 h 1493"/>
                <a:gd name="T104" fmla="*/ 898 w 1479"/>
                <a:gd name="T105" fmla="*/ 1438 h 1493"/>
                <a:gd name="T106" fmla="*/ 883 w 1479"/>
                <a:gd name="T107" fmla="*/ 1439 h 1493"/>
                <a:gd name="T108" fmla="*/ 693 w 1479"/>
                <a:gd name="T109" fmla="*/ 1413 h 1493"/>
                <a:gd name="T110" fmla="*/ 650 w 1479"/>
                <a:gd name="T111" fmla="*/ 1303 h 1493"/>
                <a:gd name="T112" fmla="*/ 648 w 1479"/>
                <a:gd name="T113" fmla="*/ 1232 h 1493"/>
                <a:gd name="T114" fmla="*/ 664 w 1479"/>
                <a:gd name="T115" fmla="*/ 1146 h 1493"/>
                <a:gd name="T116" fmla="*/ 594 w 1479"/>
                <a:gd name="T117" fmla="*/ 1113 h 1493"/>
                <a:gd name="T118" fmla="*/ 521 w 1479"/>
                <a:gd name="T119" fmla="*/ 1124 h 1493"/>
                <a:gd name="T120" fmla="*/ 382 w 1479"/>
                <a:gd name="T121" fmla="*/ 71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9" h="1493">
                  <a:moveTo>
                    <a:pt x="460" y="1096"/>
                  </a:moveTo>
                  <a:cubicBezTo>
                    <a:pt x="452" y="1098"/>
                    <a:pt x="452" y="1098"/>
                    <a:pt x="452" y="1098"/>
                  </a:cubicBezTo>
                  <a:cubicBezTo>
                    <a:pt x="452" y="1098"/>
                    <a:pt x="447" y="1103"/>
                    <a:pt x="447" y="1101"/>
                  </a:cubicBezTo>
                  <a:cubicBezTo>
                    <a:pt x="446" y="1099"/>
                    <a:pt x="448" y="1095"/>
                    <a:pt x="448" y="1093"/>
                  </a:cubicBezTo>
                  <a:cubicBezTo>
                    <a:pt x="447" y="1092"/>
                    <a:pt x="442" y="1095"/>
                    <a:pt x="443" y="1091"/>
                  </a:cubicBezTo>
                  <a:cubicBezTo>
                    <a:pt x="444" y="1089"/>
                    <a:pt x="443" y="1086"/>
                    <a:pt x="442" y="1085"/>
                  </a:cubicBezTo>
                  <a:cubicBezTo>
                    <a:pt x="440" y="1083"/>
                    <a:pt x="434" y="1083"/>
                    <a:pt x="436" y="1079"/>
                  </a:cubicBezTo>
                  <a:cubicBezTo>
                    <a:pt x="438" y="1076"/>
                    <a:pt x="443" y="1074"/>
                    <a:pt x="443" y="1074"/>
                  </a:cubicBezTo>
                  <a:cubicBezTo>
                    <a:pt x="443" y="1072"/>
                    <a:pt x="443" y="1072"/>
                    <a:pt x="443" y="1072"/>
                  </a:cubicBezTo>
                  <a:cubicBezTo>
                    <a:pt x="439" y="1068"/>
                    <a:pt x="439" y="1068"/>
                    <a:pt x="439" y="1068"/>
                  </a:cubicBezTo>
                  <a:cubicBezTo>
                    <a:pt x="428" y="1063"/>
                    <a:pt x="428" y="1063"/>
                    <a:pt x="428" y="1063"/>
                  </a:cubicBezTo>
                  <a:cubicBezTo>
                    <a:pt x="428" y="1063"/>
                    <a:pt x="427" y="1057"/>
                    <a:pt x="425" y="1057"/>
                  </a:cubicBezTo>
                  <a:cubicBezTo>
                    <a:pt x="424" y="1056"/>
                    <a:pt x="421" y="1053"/>
                    <a:pt x="421" y="1053"/>
                  </a:cubicBezTo>
                  <a:cubicBezTo>
                    <a:pt x="421" y="1053"/>
                    <a:pt x="418" y="1049"/>
                    <a:pt x="414" y="1048"/>
                  </a:cubicBezTo>
                  <a:cubicBezTo>
                    <a:pt x="410" y="1046"/>
                    <a:pt x="407" y="1055"/>
                    <a:pt x="407" y="1055"/>
                  </a:cubicBezTo>
                  <a:cubicBezTo>
                    <a:pt x="403" y="1051"/>
                    <a:pt x="403" y="1051"/>
                    <a:pt x="403" y="1051"/>
                  </a:cubicBezTo>
                  <a:cubicBezTo>
                    <a:pt x="395" y="1054"/>
                    <a:pt x="395" y="1054"/>
                    <a:pt x="395" y="1054"/>
                  </a:cubicBezTo>
                  <a:cubicBezTo>
                    <a:pt x="389" y="1063"/>
                    <a:pt x="389" y="1063"/>
                    <a:pt x="389" y="1063"/>
                  </a:cubicBezTo>
                  <a:cubicBezTo>
                    <a:pt x="385" y="1064"/>
                    <a:pt x="385" y="1064"/>
                    <a:pt x="385" y="1064"/>
                  </a:cubicBezTo>
                  <a:cubicBezTo>
                    <a:pt x="379" y="1065"/>
                    <a:pt x="379" y="1065"/>
                    <a:pt x="379" y="1065"/>
                  </a:cubicBezTo>
                  <a:cubicBezTo>
                    <a:pt x="370" y="1067"/>
                    <a:pt x="370" y="1067"/>
                    <a:pt x="370" y="1067"/>
                  </a:cubicBezTo>
                  <a:cubicBezTo>
                    <a:pt x="368" y="1073"/>
                    <a:pt x="368" y="1073"/>
                    <a:pt x="368" y="1073"/>
                  </a:cubicBezTo>
                  <a:cubicBezTo>
                    <a:pt x="369" y="1079"/>
                    <a:pt x="369" y="1079"/>
                    <a:pt x="369" y="1079"/>
                  </a:cubicBezTo>
                  <a:cubicBezTo>
                    <a:pt x="364" y="1083"/>
                    <a:pt x="364" y="1083"/>
                    <a:pt x="364" y="1083"/>
                  </a:cubicBezTo>
                  <a:cubicBezTo>
                    <a:pt x="352" y="1082"/>
                    <a:pt x="352" y="1082"/>
                    <a:pt x="352" y="1082"/>
                  </a:cubicBezTo>
                  <a:cubicBezTo>
                    <a:pt x="354" y="1082"/>
                    <a:pt x="354" y="1082"/>
                    <a:pt x="354" y="1082"/>
                  </a:cubicBezTo>
                  <a:cubicBezTo>
                    <a:pt x="347" y="1078"/>
                    <a:pt x="347" y="1078"/>
                    <a:pt x="347" y="1078"/>
                  </a:cubicBezTo>
                  <a:cubicBezTo>
                    <a:pt x="347" y="1075"/>
                    <a:pt x="347" y="1075"/>
                    <a:pt x="347" y="1075"/>
                  </a:cubicBezTo>
                  <a:cubicBezTo>
                    <a:pt x="343" y="1075"/>
                    <a:pt x="343" y="1075"/>
                    <a:pt x="343" y="1075"/>
                  </a:cubicBezTo>
                  <a:cubicBezTo>
                    <a:pt x="340" y="1074"/>
                    <a:pt x="340" y="1074"/>
                    <a:pt x="340" y="1074"/>
                  </a:cubicBezTo>
                  <a:cubicBezTo>
                    <a:pt x="342" y="1072"/>
                    <a:pt x="342" y="1072"/>
                    <a:pt x="342" y="1072"/>
                  </a:cubicBezTo>
                  <a:cubicBezTo>
                    <a:pt x="340" y="1069"/>
                    <a:pt x="340" y="1069"/>
                    <a:pt x="340" y="1069"/>
                  </a:cubicBezTo>
                  <a:cubicBezTo>
                    <a:pt x="337" y="1063"/>
                    <a:pt x="337" y="1063"/>
                    <a:pt x="337" y="1063"/>
                  </a:cubicBezTo>
                  <a:cubicBezTo>
                    <a:pt x="339" y="1061"/>
                    <a:pt x="339" y="1061"/>
                    <a:pt x="339" y="1061"/>
                  </a:cubicBezTo>
                  <a:cubicBezTo>
                    <a:pt x="335" y="1059"/>
                    <a:pt x="335" y="1059"/>
                    <a:pt x="335" y="1059"/>
                  </a:cubicBezTo>
                  <a:cubicBezTo>
                    <a:pt x="333" y="1057"/>
                    <a:pt x="333" y="1057"/>
                    <a:pt x="333" y="1057"/>
                  </a:cubicBezTo>
                  <a:cubicBezTo>
                    <a:pt x="335" y="1053"/>
                    <a:pt x="335" y="1053"/>
                    <a:pt x="335" y="1053"/>
                  </a:cubicBezTo>
                  <a:cubicBezTo>
                    <a:pt x="333" y="1050"/>
                    <a:pt x="333" y="1050"/>
                    <a:pt x="333" y="1050"/>
                  </a:cubicBezTo>
                  <a:cubicBezTo>
                    <a:pt x="330" y="1046"/>
                    <a:pt x="330" y="1046"/>
                    <a:pt x="330" y="1046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1" y="1042"/>
                    <a:pt x="321" y="1042"/>
                    <a:pt x="321" y="1042"/>
                  </a:cubicBezTo>
                  <a:cubicBezTo>
                    <a:pt x="321" y="1039"/>
                    <a:pt x="321" y="1039"/>
                    <a:pt x="321" y="1039"/>
                  </a:cubicBezTo>
                  <a:cubicBezTo>
                    <a:pt x="323" y="1032"/>
                    <a:pt x="323" y="1032"/>
                    <a:pt x="323" y="1032"/>
                  </a:cubicBezTo>
                  <a:cubicBezTo>
                    <a:pt x="323" y="1032"/>
                    <a:pt x="323" y="1031"/>
                    <a:pt x="327" y="1029"/>
                  </a:cubicBezTo>
                  <a:cubicBezTo>
                    <a:pt x="331" y="1028"/>
                    <a:pt x="332" y="1029"/>
                    <a:pt x="332" y="1029"/>
                  </a:cubicBezTo>
                  <a:cubicBezTo>
                    <a:pt x="338" y="1031"/>
                    <a:pt x="338" y="1031"/>
                    <a:pt x="338" y="1031"/>
                  </a:cubicBezTo>
                  <a:cubicBezTo>
                    <a:pt x="345" y="1029"/>
                    <a:pt x="345" y="1029"/>
                    <a:pt x="345" y="1029"/>
                  </a:cubicBezTo>
                  <a:cubicBezTo>
                    <a:pt x="345" y="1029"/>
                    <a:pt x="352" y="1023"/>
                    <a:pt x="353" y="1022"/>
                  </a:cubicBezTo>
                  <a:cubicBezTo>
                    <a:pt x="355" y="1021"/>
                    <a:pt x="353" y="1016"/>
                    <a:pt x="353" y="1016"/>
                  </a:cubicBezTo>
                  <a:cubicBezTo>
                    <a:pt x="357" y="1015"/>
                    <a:pt x="357" y="1015"/>
                    <a:pt x="357" y="1015"/>
                  </a:cubicBezTo>
                  <a:cubicBezTo>
                    <a:pt x="359" y="1012"/>
                    <a:pt x="359" y="1012"/>
                    <a:pt x="359" y="1012"/>
                  </a:cubicBezTo>
                  <a:cubicBezTo>
                    <a:pt x="359" y="1006"/>
                    <a:pt x="359" y="1006"/>
                    <a:pt x="359" y="1006"/>
                  </a:cubicBezTo>
                  <a:cubicBezTo>
                    <a:pt x="354" y="1004"/>
                    <a:pt x="354" y="1004"/>
                    <a:pt x="354" y="1004"/>
                  </a:cubicBezTo>
                  <a:cubicBezTo>
                    <a:pt x="350" y="1003"/>
                    <a:pt x="350" y="1003"/>
                    <a:pt x="350" y="1003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8" y="995"/>
                    <a:pt x="348" y="995"/>
                    <a:pt x="348" y="995"/>
                  </a:cubicBezTo>
                  <a:cubicBezTo>
                    <a:pt x="343" y="995"/>
                    <a:pt x="343" y="995"/>
                    <a:pt x="343" y="995"/>
                  </a:cubicBezTo>
                  <a:cubicBezTo>
                    <a:pt x="338" y="994"/>
                    <a:pt x="338" y="994"/>
                    <a:pt x="338" y="994"/>
                  </a:cubicBezTo>
                  <a:cubicBezTo>
                    <a:pt x="334" y="993"/>
                    <a:pt x="334" y="993"/>
                    <a:pt x="334" y="993"/>
                  </a:cubicBezTo>
                  <a:cubicBezTo>
                    <a:pt x="331" y="994"/>
                    <a:pt x="331" y="994"/>
                    <a:pt x="331" y="994"/>
                  </a:cubicBezTo>
                  <a:cubicBezTo>
                    <a:pt x="328" y="997"/>
                    <a:pt x="328" y="997"/>
                    <a:pt x="328" y="997"/>
                  </a:cubicBezTo>
                  <a:cubicBezTo>
                    <a:pt x="323" y="997"/>
                    <a:pt x="323" y="997"/>
                    <a:pt x="323" y="997"/>
                  </a:cubicBezTo>
                  <a:cubicBezTo>
                    <a:pt x="322" y="988"/>
                    <a:pt x="322" y="988"/>
                    <a:pt x="322" y="988"/>
                  </a:cubicBezTo>
                  <a:cubicBezTo>
                    <a:pt x="320" y="984"/>
                    <a:pt x="320" y="984"/>
                    <a:pt x="320" y="984"/>
                  </a:cubicBezTo>
                  <a:cubicBezTo>
                    <a:pt x="315" y="982"/>
                    <a:pt x="315" y="982"/>
                    <a:pt x="315" y="982"/>
                  </a:cubicBezTo>
                  <a:cubicBezTo>
                    <a:pt x="304" y="980"/>
                    <a:pt x="304" y="980"/>
                    <a:pt x="304" y="980"/>
                  </a:cubicBezTo>
                  <a:cubicBezTo>
                    <a:pt x="299" y="973"/>
                    <a:pt x="299" y="973"/>
                    <a:pt x="299" y="973"/>
                  </a:cubicBezTo>
                  <a:cubicBezTo>
                    <a:pt x="298" y="970"/>
                    <a:pt x="298" y="970"/>
                    <a:pt x="298" y="970"/>
                  </a:cubicBezTo>
                  <a:cubicBezTo>
                    <a:pt x="298" y="970"/>
                    <a:pt x="297" y="970"/>
                    <a:pt x="294" y="969"/>
                  </a:cubicBezTo>
                  <a:cubicBezTo>
                    <a:pt x="291" y="969"/>
                    <a:pt x="293" y="966"/>
                    <a:pt x="293" y="966"/>
                  </a:cubicBezTo>
                  <a:cubicBezTo>
                    <a:pt x="293" y="961"/>
                    <a:pt x="293" y="961"/>
                    <a:pt x="293" y="961"/>
                  </a:cubicBezTo>
                  <a:cubicBezTo>
                    <a:pt x="289" y="961"/>
                    <a:pt x="289" y="961"/>
                    <a:pt x="289" y="961"/>
                  </a:cubicBezTo>
                  <a:cubicBezTo>
                    <a:pt x="285" y="957"/>
                    <a:pt x="285" y="957"/>
                    <a:pt x="285" y="957"/>
                  </a:cubicBezTo>
                  <a:cubicBezTo>
                    <a:pt x="278" y="955"/>
                    <a:pt x="278" y="955"/>
                    <a:pt x="278" y="955"/>
                  </a:cubicBezTo>
                  <a:cubicBezTo>
                    <a:pt x="281" y="947"/>
                    <a:pt x="281" y="947"/>
                    <a:pt x="281" y="947"/>
                  </a:cubicBezTo>
                  <a:cubicBezTo>
                    <a:pt x="281" y="944"/>
                    <a:pt x="281" y="944"/>
                    <a:pt x="281" y="944"/>
                  </a:cubicBezTo>
                  <a:cubicBezTo>
                    <a:pt x="282" y="939"/>
                    <a:pt x="282" y="939"/>
                    <a:pt x="282" y="939"/>
                  </a:cubicBezTo>
                  <a:cubicBezTo>
                    <a:pt x="279" y="936"/>
                    <a:pt x="279" y="936"/>
                    <a:pt x="279" y="936"/>
                  </a:cubicBezTo>
                  <a:cubicBezTo>
                    <a:pt x="273" y="932"/>
                    <a:pt x="273" y="932"/>
                    <a:pt x="273" y="932"/>
                  </a:cubicBezTo>
                  <a:cubicBezTo>
                    <a:pt x="273" y="929"/>
                    <a:pt x="273" y="929"/>
                    <a:pt x="273" y="929"/>
                  </a:cubicBezTo>
                  <a:cubicBezTo>
                    <a:pt x="273" y="926"/>
                    <a:pt x="273" y="926"/>
                    <a:pt x="273" y="926"/>
                  </a:cubicBezTo>
                  <a:cubicBezTo>
                    <a:pt x="273" y="918"/>
                    <a:pt x="273" y="918"/>
                    <a:pt x="273" y="918"/>
                  </a:cubicBezTo>
                  <a:cubicBezTo>
                    <a:pt x="271" y="914"/>
                    <a:pt x="271" y="914"/>
                    <a:pt x="271" y="914"/>
                  </a:cubicBezTo>
                  <a:cubicBezTo>
                    <a:pt x="267" y="916"/>
                    <a:pt x="267" y="916"/>
                    <a:pt x="267" y="916"/>
                  </a:cubicBezTo>
                  <a:cubicBezTo>
                    <a:pt x="266" y="914"/>
                    <a:pt x="266" y="914"/>
                    <a:pt x="266" y="914"/>
                  </a:cubicBezTo>
                  <a:cubicBezTo>
                    <a:pt x="263" y="915"/>
                    <a:pt x="263" y="915"/>
                    <a:pt x="263" y="915"/>
                  </a:cubicBezTo>
                  <a:cubicBezTo>
                    <a:pt x="260" y="913"/>
                    <a:pt x="260" y="913"/>
                    <a:pt x="260" y="913"/>
                  </a:cubicBezTo>
                  <a:cubicBezTo>
                    <a:pt x="257" y="910"/>
                    <a:pt x="257" y="910"/>
                    <a:pt x="257" y="910"/>
                  </a:cubicBezTo>
                  <a:cubicBezTo>
                    <a:pt x="248" y="908"/>
                    <a:pt x="248" y="908"/>
                    <a:pt x="248" y="908"/>
                  </a:cubicBezTo>
                  <a:cubicBezTo>
                    <a:pt x="248" y="908"/>
                    <a:pt x="245" y="909"/>
                    <a:pt x="241" y="910"/>
                  </a:cubicBezTo>
                  <a:cubicBezTo>
                    <a:pt x="238" y="911"/>
                    <a:pt x="239" y="912"/>
                    <a:pt x="237" y="912"/>
                  </a:cubicBezTo>
                  <a:cubicBezTo>
                    <a:pt x="235" y="913"/>
                    <a:pt x="234" y="915"/>
                    <a:pt x="234" y="917"/>
                  </a:cubicBezTo>
                  <a:cubicBezTo>
                    <a:pt x="233" y="919"/>
                    <a:pt x="229" y="920"/>
                    <a:pt x="228" y="920"/>
                  </a:cubicBezTo>
                  <a:cubicBezTo>
                    <a:pt x="226" y="921"/>
                    <a:pt x="224" y="918"/>
                    <a:pt x="224" y="918"/>
                  </a:cubicBezTo>
                  <a:cubicBezTo>
                    <a:pt x="224" y="915"/>
                    <a:pt x="224" y="915"/>
                    <a:pt x="224" y="915"/>
                  </a:cubicBezTo>
                  <a:cubicBezTo>
                    <a:pt x="223" y="909"/>
                    <a:pt x="223" y="909"/>
                    <a:pt x="223" y="909"/>
                  </a:cubicBezTo>
                  <a:cubicBezTo>
                    <a:pt x="215" y="909"/>
                    <a:pt x="215" y="909"/>
                    <a:pt x="215" y="909"/>
                  </a:cubicBezTo>
                  <a:cubicBezTo>
                    <a:pt x="208" y="911"/>
                    <a:pt x="208" y="911"/>
                    <a:pt x="208" y="911"/>
                  </a:cubicBezTo>
                  <a:cubicBezTo>
                    <a:pt x="207" y="913"/>
                    <a:pt x="207" y="913"/>
                    <a:pt x="207" y="913"/>
                  </a:cubicBezTo>
                  <a:cubicBezTo>
                    <a:pt x="202" y="913"/>
                    <a:pt x="202" y="913"/>
                    <a:pt x="202" y="913"/>
                  </a:cubicBezTo>
                  <a:cubicBezTo>
                    <a:pt x="200" y="909"/>
                    <a:pt x="200" y="909"/>
                    <a:pt x="200" y="909"/>
                  </a:cubicBezTo>
                  <a:cubicBezTo>
                    <a:pt x="197" y="908"/>
                    <a:pt x="197" y="908"/>
                    <a:pt x="197" y="908"/>
                  </a:cubicBezTo>
                  <a:cubicBezTo>
                    <a:pt x="192" y="910"/>
                    <a:pt x="192" y="910"/>
                    <a:pt x="192" y="910"/>
                  </a:cubicBezTo>
                  <a:cubicBezTo>
                    <a:pt x="192" y="910"/>
                    <a:pt x="191" y="912"/>
                    <a:pt x="190" y="912"/>
                  </a:cubicBezTo>
                  <a:cubicBezTo>
                    <a:pt x="189" y="913"/>
                    <a:pt x="188" y="912"/>
                    <a:pt x="187" y="912"/>
                  </a:cubicBezTo>
                  <a:cubicBezTo>
                    <a:pt x="186" y="912"/>
                    <a:pt x="184" y="911"/>
                    <a:pt x="183" y="910"/>
                  </a:cubicBezTo>
                  <a:cubicBezTo>
                    <a:pt x="183" y="909"/>
                    <a:pt x="183" y="908"/>
                    <a:pt x="183" y="907"/>
                  </a:cubicBezTo>
                  <a:cubicBezTo>
                    <a:pt x="183" y="906"/>
                    <a:pt x="183" y="904"/>
                    <a:pt x="183" y="904"/>
                  </a:cubicBezTo>
                  <a:cubicBezTo>
                    <a:pt x="184" y="899"/>
                    <a:pt x="184" y="899"/>
                    <a:pt x="184" y="899"/>
                  </a:cubicBezTo>
                  <a:cubicBezTo>
                    <a:pt x="184" y="899"/>
                    <a:pt x="180" y="896"/>
                    <a:pt x="179" y="895"/>
                  </a:cubicBezTo>
                  <a:cubicBezTo>
                    <a:pt x="179" y="893"/>
                    <a:pt x="178" y="890"/>
                    <a:pt x="178" y="890"/>
                  </a:cubicBezTo>
                  <a:cubicBezTo>
                    <a:pt x="178" y="890"/>
                    <a:pt x="176" y="889"/>
                    <a:pt x="175" y="888"/>
                  </a:cubicBezTo>
                  <a:cubicBezTo>
                    <a:pt x="174" y="888"/>
                    <a:pt x="173" y="887"/>
                    <a:pt x="173" y="887"/>
                  </a:cubicBezTo>
                  <a:cubicBezTo>
                    <a:pt x="174" y="884"/>
                    <a:pt x="174" y="884"/>
                    <a:pt x="174" y="884"/>
                  </a:cubicBezTo>
                  <a:cubicBezTo>
                    <a:pt x="170" y="882"/>
                    <a:pt x="170" y="882"/>
                    <a:pt x="170" y="882"/>
                  </a:cubicBezTo>
                  <a:cubicBezTo>
                    <a:pt x="165" y="878"/>
                    <a:pt x="165" y="878"/>
                    <a:pt x="165" y="878"/>
                  </a:cubicBezTo>
                  <a:cubicBezTo>
                    <a:pt x="167" y="875"/>
                    <a:pt x="167" y="875"/>
                    <a:pt x="167" y="875"/>
                  </a:cubicBezTo>
                  <a:cubicBezTo>
                    <a:pt x="163" y="872"/>
                    <a:pt x="163" y="872"/>
                    <a:pt x="163" y="872"/>
                  </a:cubicBezTo>
                  <a:cubicBezTo>
                    <a:pt x="159" y="875"/>
                    <a:pt x="159" y="875"/>
                    <a:pt x="159" y="875"/>
                  </a:cubicBezTo>
                  <a:cubicBezTo>
                    <a:pt x="159" y="871"/>
                    <a:pt x="159" y="871"/>
                    <a:pt x="159" y="871"/>
                  </a:cubicBezTo>
                  <a:cubicBezTo>
                    <a:pt x="157" y="863"/>
                    <a:pt x="157" y="863"/>
                    <a:pt x="157" y="863"/>
                  </a:cubicBezTo>
                  <a:cubicBezTo>
                    <a:pt x="159" y="860"/>
                    <a:pt x="159" y="860"/>
                    <a:pt x="159" y="860"/>
                  </a:cubicBezTo>
                  <a:cubicBezTo>
                    <a:pt x="158" y="850"/>
                    <a:pt x="158" y="850"/>
                    <a:pt x="158" y="850"/>
                  </a:cubicBezTo>
                  <a:cubicBezTo>
                    <a:pt x="158" y="850"/>
                    <a:pt x="156" y="849"/>
                    <a:pt x="155" y="849"/>
                  </a:cubicBezTo>
                  <a:cubicBezTo>
                    <a:pt x="154" y="849"/>
                    <a:pt x="151" y="847"/>
                    <a:pt x="151" y="847"/>
                  </a:cubicBezTo>
                  <a:cubicBezTo>
                    <a:pt x="147" y="846"/>
                    <a:pt x="147" y="846"/>
                    <a:pt x="147" y="846"/>
                  </a:cubicBezTo>
                  <a:cubicBezTo>
                    <a:pt x="147" y="843"/>
                    <a:pt x="147" y="843"/>
                    <a:pt x="147" y="843"/>
                  </a:cubicBezTo>
                  <a:cubicBezTo>
                    <a:pt x="144" y="840"/>
                    <a:pt x="144" y="840"/>
                    <a:pt x="144" y="840"/>
                  </a:cubicBezTo>
                  <a:cubicBezTo>
                    <a:pt x="141" y="841"/>
                    <a:pt x="141" y="841"/>
                    <a:pt x="141" y="841"/>
                  </a:cubicBezTo>
                  <a:cubicBezTo>
                    <a:pt x="141" y="841"/>
                    <a:pt x="140" y="841"/>
                    <a:pt x="140" y="840"/>
                  </a:cubicBezTo>
                  <a:cubicBezTo>
                    <a:pt x="140" y="839"/>
                    <a:pt x="138" y="835"/>
                    <a:pt x="138" y="835"/>
                  </a:cubicBezTo>
                  <a:cubicBezTo>
                    <a:pt x="141" y="832"/>
                    <a:pt x="141" y="832"/>
                    <a:pt x="141" y="832"/>
                  </a:cubicBezTo>
                  <a:cubicBezTo>
                    <a:pt x="141" y="832"/>
                    <a:pt x="141" y="828"/>
                    <a:pt x="141" y="827"/>
                  </a:cubicBezTo>
                  <a:cubicBezTo>
                    <a:pt x="141" y="825"/>
                    <a:pt x="146" y="825"/>
                    <a:pt x="146" y="825"/>
                  </a:cubicBezTo>
                  <a:cubicBezTo>
                    <a:pt x="148" y="824"/>
                    <a:pt x="148" y="824"/>
                    <a:pt x="148" y="824"/>
                  </a:cubicBezTo>
                  <a:cubicBezTo>
                    <a:pt x="149" y="820"/>
                    <a:pt x="149" y="820"/>
                    <a:pt x="149" y="820"/>
                  </a:cubicBezTo>
                  <a:cubicBezTo>
                    <a:pt x="149" y="820"/>
                    <a:pt x="146" y="820"/>
                    <a:pt x="144" y="818"/>
                  </a:cubicBezTo>
                  <a:cubicBezTo>
                    <a:pt x="143" y="816"/>
                    <a:pt x="144" y="818"/>
                    <a:pt x="144" y="817"/>
                  </a:cubicBezTo>
                  <a:cubicBezTo>
                    <a:pt x="144" y="816"/>
                    <a:pt x="143" y="817"/>
                    <a:pt x="143" y="817"/>
                  </a:cubicBezTo>
                  <a:cubicBezTo>
                    <a:pt x="143" y="817"/>
                    <a:pt x="142" y="816"/>
                    <a:pt x="142" y="815"/>
                  </a:cubicBezTo>
                  <a:cubicBezTo>
                    <a:pt x="142" y="814"/>
                    <a:pt x="142" y="812"/>
                    <a:pt x="141" y="811"/>
                  </a:cubicBezTo>
                  <a:cubicBezTo>
                    <a:pt x="140" y="810"/>
                    <a:pt x="138" y="809"/>
                    <a:pt x="138" y="809"/>
                  </a:cubicBezTo>
                  <a:cubicBezTo>
                    <a:pt x="137" y="808"/>
                    <a:pt x="137" y="809"/>
                    <a:pt x="135" y="807"/>
                  </a:cubicBezTo>
                  <a:cubicBezTo>
                    <a:pt x="134" y="805"/>
                    <a:pt x="134" y="804"/>
                    <a:pt x="134" y="804"/>
                  </a:cubicBezTo>
                  <a:cubicBezTo>
                    <a:pt x="131" y="802"/>
                    <a:pt x="133" y="797"/>
                    <a:pt x="131" y="795"/>
                  </a:cubicBezTo>
                  <a:cubicBezTo>
                    <a:pt x="127" y="791"/>
                    <a:pt x="127" y="784"/>
                    <a:pt x="125" y="782"/>
                  </a:cubicBezTo>
                  <a:cubicBezTo>
                    <a:pt x="122" y="777"/>
                    <a:pt x="124" y="776"/>
                    <a:pt x="125" y="773"/>
                  </a:cubicBezTo>
                  <a:cubicBezTo>
                    <a:pt x="126" y="767"/>
                    <a:pt x="129" y="762"/>
                    <a:pt x="130" y="752"/>
                  </a:cubicBezTo>
                  <a:cubicBezTo>
                    <a:pt x="130" y="745"/>
                    <a:pt x="130" y="745"/>
                    <a:pt x="130" y="745"/>
                  </a:cubicBezTo>
                  <a:cubicBezTo>
                    <a:pt x="135" y="741"/>
                    <a:pt x="135" y="741"/>
                    <a:pt x="135" y="741"/>
                  </a:cubicBezTo>
                  <a:cubicBezTo>
                    <a:pt x="135" y="739"/>
                    <a:pt x="135" y="739"/>
                    <a:pt x="135" y="739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7"/>
                    <a:pt x="130" y="737"/>
                    <a:pt x="130" y="737"/>
                  </a:cubicBezTo>
                  <a:cubicBezTo>
                    <a:pt x="130" y="735"/>
                    <a:pt x="130" y="735"/>
                    <a:pt x="130" y="735"/>
                  </a:cubicBezTo>
                  <a:cubicBezTo>
                    <a:pt x="127" y="724"/>
                    <a:pt x="127" y="724"/>
                    <a:pt x="127" y="724"/>
                  </a:cubicBezTo>
                  <a:cubicBezTo>
                    <a:pt x="128" y="719"/>
                    <a:pt x="128" y="719"/>
                    <a:pt x="128" y="719"/>
                  </a:cubicBezTo>
                  <a:cubicBezTo>
                    <a:pt x="131" y="722"/>
                    <a:pt x="131" y="722"/>
                    <a:pt x="131" y="722"/>
                  </a:cubicBezTo>
                  <a:cubicBezTo>
                    <a:pt x="134" y="723"/>
                    <a:pt x="134" y="723"/>
                    <a:pt x="134" y="723"/>
                  </a:cubicBezTo>
                  <a:cubicBezTo>
                    <a:pt x="137" y="720"/>
                    <a:pt x="137" y="720"/>
                    <a:pt x="137" y="720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36" y="715"/>
                    <a:pt x="137" y="712"/>
                    <a:pt x="138" y="712"/>
                  </a:cubicBezTo>
                  <a:cubicBezTo>
                    <a:pt x="139" y="713"/>
                    <a:pt x="145" y="713"/>
                    <a:pt x="145" y="713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8" y="704"/>
                    <a:pt x="148" y="704"/>
                    <a:pt x="148" y="704"/>
                  </a:cubicBezTo>
                  <a:cubicBezTo>
                    <a:pt x="151" y="700"/>
                    <a:pt x="151" y="700"/>
                    <a:pt x="151" y="700"/>
                  </a:cubicBezTo>
                  <a:cubicBezTo>
                    <a:pt x="157" y="699"/>
                    <a:pt x="157" y="699"/>
                    <a:pt x="157" y="699"/>
                  </a:cubicBezTo>
                  <a:cubicBezTo>
                    <a:pt x="157" y="699"/>
                    <a:pt x="168" y="699"/>
                    <a:pt x="169" y="700"/>
                  </a:cubicBezTo>
                  <a:cubicBezTo>
                    <a:pt x="170" y="700"/>
                    <a:pt x="175" y="700"/>
                    <a:pt x="176" y="700"/>
                  </a:cubicBezTo>
                  <a:cubicBezTo>
                    <a:pt x="177" y="700"/>
                    <a:pt x="183" y="700"/>
                    <a:pt x="183" y="700"/>
                  </a:cubicBezTo>
                  <a:cubicBezTo>
                    <a:pt x="185" y="696"/>
                    <a:pt x="185" y="696"/>
                    <a:pt x="185" y="696"/>
                  </a:cubicBezTo>
                  <a:cubicBezTo>
                    <a:pt x="177" y="694"/>
                    <a:pt x="177" y="694"/>
                    <a:pt x="177" y="694"/>
                  </a:cubicBezTo>
                  <a:cubicBezTo>
                    <a:pt x="171" y="693"/>
                    <a:pt x="171" y="693"/>
                    <a:pt x="171" y="693"/>
                  </a:cubicBezTo>
                  <a:cubicBezTo>
                    <a:pt x="168" y="688"/>
                    <a:pt x="168" y="688"/>
                    <a:pt x="168" y="688"/>
                  </a:cubicBezTo>
                  <a:cubicBezTo>
                    <a:pt x="162" y="688"/>
                    <a:pt x="162" y="688"/>
                    <a:pt x="162" y="688"/>
                  </a:cubicBezTo>
                  <a:cubicBezTo>
                    <a:pt x="154" y="690"/>
                    <a:pt x="154" y="690"/>
                    <a:pt x="154" y="690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2" y="690"/>
                    <a:pt x="142" y="690"/>
                    <a:pt x="142" y="690"/>
                  </a:cubicBezTo>
                  <a:cubicBezTo>
                    <a:pt x="140" y="687"/>
                    <a:pt x="140" y="687"/>
                    <a:pt x="140" y="687"/>
                  </a:cubicBezTo>
                  <a:cubicBezTo>
                    <a:pt x="140" y="687"/>
                    <a:pt x="135" y="686"/>
                    <a:pt x="134" y="686"/>
                  </a:cubicBezTo>
                  <a:cubicBezTo>
                    <a:pt x="133" y="686"/>
                    <a:pt x="132" y="686"/>
                    <a:pt x="131" y="685"/>
                  </a:cubicBezTo>
                  <a:cubicBezTo>
                    <a:pt x="129" y="685"/>
                    <a:pt x="126" y="678"/>
                    <a:pt x="126" y="678"/>
                  </a:cubicBezTo>
                  <a:cubicBezTo>
                    <a:pt x="126" y="674"/>
                    <a:pt x="126" y="674"/>
                    <a:pt x="126" y="674"/>
                  </a:cubicBezTo>
                  <a:cubicBezTo>
                    <a:pt x="129" y="678"/>
                    <a:pt x="129" y="678"/>
                    <a:pt x="129" y="678"/>
                  </a:cubicBezTo>
                  <a:cubicBezTo>
                    <a:pt x="129" y="678"/>
                    <a:pt x="131" y="679"/>
                    <a:pt x="131" y="678"/>
                  </a:cubicBezTo>
                  <a:cubicBezTo>
                    <a:pt x="131" y="677"/>
                    <a:pt x="130" y="671"/>
                    <a:pt x="130" y="671"/>
                  </a:cubicBezTo>
                  <a:cubicBezTo>
                    <a:pt x="130" y="671"/>
                    <a:pt x="131" y="665"/>
                    <a:pt x="128" y="666"/>
                  </a:cubicBezTo>
                  <a:cubicBezTo>
                    <a:pt x="125" y="667"/>
                    <a:pt x="122" y="669"/>
                    <a:pt x="122" y="671"/>
                  </a:cubicBezTo>
                  <a:cubicBezTo>
                    <a:pt x="122" y="672"/>
                    <a:pt x="120" y="675"/>
                    <a:pt x="120" y="677"/>
                  </a:cubicBezTo>
                  <a:cubicBezTo>
                    <a:pt x="119" y="678"/>
                    <a:pt x="118" y="679"/>
                    <a:pt x="117" y="680"/>
                  </a:cubicBezTo>
                  <a:cubicBezTo>
                    <a:pt x="116" y="681"/>
                    <a:pt x="111" y="682"/>
                    <a:pt x="111" y="68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0" y="678"/>
                    <a:pt x="110" y="678"/>
                    <a:pt x="110" y="678"/>
                  </a:cubicBezTo>
                  <a:cubicBezTo>
                    <a:pt x="112" y="673"/>
                    <a:pt x="112" y="673"/>
                    <a:pt x="112" y="673"/>
                  </a:cubicBezTo>
                  <a:cubicBezTo>
                    <a:pt x="112" y="673"/>
                    <a:pt x="117" y="664"/>
                    <a:pt x="117" y="662"/>
                  </a:cubicBezTo>
                  <a:cubicBezTo>
                    <a:pt x="118" y="659"/>
                    <a:pt x="119" y="657"/>
                    <a:pt x="120" y="654"/>
                  </a:cubicBezTo>
                  <a:cubicBezTo>
                    <a:pt x="121" y="652"/>
                    <a:pt x="124" y="651"/>
                    <a:pt x="124" y="651"/>
                  </a:cubicBezTo>
                  <a:cubicBezTo>
                    <a:pt x="127" y="641"/>
                    <a:pt x="127" y="641"/>
                    <a:pt x="127" y="641"/>
                  </a:cubicBezTo>
                  <a:cubicBezTo>
                    <a:pt x="140" y="615"/>
                    <a:pt x="140" y="615"/>
                    <a:pt x="140" y="615"/>
                  </a:cubicBezTo>
                  <a:cubicBezTo>
                    <a:pt x="140" y="615"/>
                    <a:pt x="142" y="607"/>
                    <a:pt x="143" y="606"/>
                  </a:cubicBezTo>
                  <a:cubicBezTo>
                    <a:pt x="143" y="604"/>
                    <a:pt x="146" y="598"/>
                    <a:pt x="146" y="596"/>
                  </a:cubicBezTo>
                  <a:cubicBezTo>
                    <a:pt x="146" y="594"/>
                    <a:pt x="149" y="587"/>
                    <a:pt x="149" y="587"/>
                  </a:cubicBezTo>
                  <a:cubicBezTo>
                    <a:pt x="149" y="587"/>
                    <a:pt x="152" y="576"/>
                    <a:pt x="152" y="574"/>
                  </a:cubicBezTo>
                  <a:cubicBezTo>
                    <a:pt x="152" y="572"/>
                    <a:pt x="154" y="571"/>
                    <a:pt x="156" y="570"/>
                  </a:cubicBezTo>
                  <a:cubicBezTo>
                    <a:pt x="157" y="569"/>
                    <a:pt x="160" y="560"/>
                    <a:pt x="160" y="558"/>
                  </a:cubicBezTo>
                  <a:cubicBezTo>
                    <a:pt x="161" y="556"/>
                    <a:pt x="163" y="538"/>
                    <a:pt x="163" y="538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55" y="521"/>
                    <a:pt x="155" y="521"/>
                    <a:pt x="155" y="521"/>
                  </a:cubicBezTo>
                  <a:cubicBezTo>
                    <a:pt x="149" y="518"/>
                    <a:pt x="149" y="518"/>
                    <a:pt x="149" y="518"/>
                  </a:cubicBezTo>
                  <a:cubicBezTo>
                    <a:pt x="149" y="518"/>
                    <a:pt x="142" y="514"/>
                    <a:pt x="141" y="513"/>
                  </a:cubicBezTo>
                  <a:cubicBezTo>
                    <a:pt x="140" y="512"/>
                    <a:pt x="136" y="510"/>
                    <a:pt x="135" y="510"/>
                  </a:cubicBezTo>
                  <a:cubicBezTo>
                    <a:pt x="133" y="509"/>
                    <a:pt x="128" y="508"/>
                    <a:pt x="127" y="508"/>
                  </a:cubicBezTo>
                  <a:cubicBezTo>
                    <a:pt x="126" y="508"/>
                    <a:pt x="122" y="505"/>
                    <a:pt x="119" y="503"/>
                  </a:cubicBezTo>
                  <a:cubicBezTo>
                    <a:pt x="116" y="501"/>
                    <a:pt x="112" y="496"/>
                    <a:pt x="112" y="496"/>
                  </a:cubicBezTo>
                  <a:cubicBezTo>
                    <a:pt x="117" y="488"/>
                    <a:pt x="117" y="488"/>
                    <a:pt x="117" y="488"/>
                  </a:cubicBezTo>
                  <a:cubicBezTo>
                    <a:pt x="117" y="488"/>
                    <a:pt x="118" y="482"/>
                    <a:pt x="118" y="480"/>
                  </a:cubicBezTo>
                  <a:cubicBezTo>
                    <a:pt x="118" y="479"/>
                    <a:pt x="118" y="476"/>
                    <a:pt x="118" y="476"/>
                  </a:cubicBezTo>
                  <a:cubicBezTo>
                    <a:pt x="116" y="472"/>
                    <a:pt x="116" y="472"/>
                    <a:pt x="116" y="472"/>
                  </a:cubicBezTo>
                  <a:cubicBezTo>
                    <a:pt x="113" y="467"/>
                    <a:pt x="113" y="467"/>
                    <a:pt x="113" y="467"/>
                  </a:cubicBezTo>
                  <a:cubicBezTo>
                    <a:pt x="113" y="467"/>
                    <a:pt x="109" y="466"/>
                    <a:pt x="107" y="466"/>
                  </a:cubicBezTo>
                  <a:cubicBezTo>
                    <a:pt x="106" y="467"/>
                    <a:pt x="106" y="464"/>
                    <a:pt x="105" y="462"/>
                  </a:cubicBezTo>
                  <a:cubicBezTo>
                    <a:pt x="105" y="460"/>
                    <a:pt x="103" y="460"/>
                    <a:pt x="101" y="459"/>
                  </a:cubicBezTo>
                  <a:cubicBezTo>
                    <a:pt x="98" y="457"/>
                    <a:pt x="97" y="454"/>
                    <a:pt x="97" y="454"/>
                  </a:cubicBezTo>
                  <a:cubicBezTo>
                    <a:pt x="100" y="448"/>
                    <a:pt x="100" y="448"/>
                    <a:pt x="100" y="448"/>
                  </a:cubicBezTo>
                  <a:cubicBezTo>
                    <a:pt x="100" y="448"/>
                    <a:pt x="99" y="445"/>
                    <a:pt x="98" y="444"/>
                  </a:cubicBezTo>
                  <a:cubicBezTo>
                    <a:pt x="98" y="443"/>
                    <a:pt x="94" y="443"/>
                    <a:pt x="94" y="443"/>
                  </a:cubicBezTo>
                  <a:cubicBezTo>
                    <a:pt x="87" y="442"/>
                    <a:pt x="87" y="442"/>
                    <a:pt x="87" y="442"/>
                  </a:cubicBezTo>
                  <a:cubicBezTo>
                    <a:pt x="82" y="434"/>
                    <a:pt x="82" y="434"/>
                    <a:pt x="82" y="434"/>
                  </a:cubicBezTo>
                  <a:cubicBezTo>
                    <a:pt x="82" y="434"/>
                    <a:pt x="83" y="427"/>
                    <a:pt x="84" y="426"/>
                  </a:cubicBezTo>
                  <a:cubicBezTo>
                    <a:pt x="85" y="424"/>
                    <a:pt x="84" y="423"/>
                    <a:pt x="84" y="423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1" y="417"/>
                    <a:pt x="81" y="417"/>
                    <a:pt x="81" y="417"/>
                  </a:cubicBezTo>
                  <a:cubicBezTo>
                    <a:pt x="78" y="411"/>
                    <a:pt x="78" y="411"/>
                    <a:pt x="78" y="411"/>
                  </a:cubicBezTo>
                  <a:cubicBezTo>
                    <a:pt x="79" y="407"/>
                    <a:pt x="79" y="407"/>
                    <a:pt x="79" y="407"/>
                  </a:cubicBezTo>
                  <a:cubicBezTo>
                    <a:pt x="76" y="403"/>
                    <a:pt x="76" y="403"/>
                    <a:pt x="76" y="403"/>
                  </a:cubicBezTo>
                  <a:cubicBezTo>
                    <a:pt x="76" y="400"/>
                    <a:pt x="76" y="400"/>
                    <a:pt x="76" y="400"/>
                  </a:cubicBezTo>
                  <a:cubicBezTo>
                    <a:pt x="79" y="395"/>
                    <a:pt x="79" y="395"/>
                    <a:pt x="79" y="395"/>
                  </a:cubicBezTo>
                  <a:cubicBezTo>
                    <a:pt x="80" y="390"/>
                    <a:pt x="80" y="390"/>
                    <a:pt x="80" y="390"/>
                  </a:cubicBezTo>
                  <a:cubicBezTo>
                    <a:pt x="76" y="383"/>
                    <a:pt x="76" y="383"/>
                    <a:pt x="76" y="383"/>
                  </a:cubicBezTo>
                  <a:cubicBezTo>
                    <a:pt x="76" y="383"/>
                    <a:pt x="73" y="378"/>
                    <a:pt x="73" y="377"/>
                  </a:cubicBezTo>
                  <a:cubicBezTo>
                    <a:pt x="73" y="376"/>
                    <a:pt x="65" y="371"/>
                    <a:pt x="65" y="371"/>
                  </a:cubicBezTo>
                  <a:cubicBezTo>
                    <a:pt x="62" y="364"/>
                    <a:pt x="62" y="364"/>
                    <a:pt x="62" y="364"/>
                  </a:cubicBezTo>
                  <a:cubicBezTo>
                    <a:pt x="54" y="355"/>
                    <a:pt x="54" y="355"/>
                    <a:pt x="54" y="355"/>
                  </a:cubicBezTo>
                  <a:cubicBezTo>
                    <a:pt x="48" y="348"/>
                    <a:pt x="48" y="348"/>
                    <a:pt x="48" y="348"/>
                  </a:cubicBezTo>
                  <a:cubicBezTo>
                    <a:pt x="44" y="344"/>
                    <a:pt x="44" y="344"/>
                    <a:pt x="44" y="344"/>
                  </a:cubicBezTo>
                  <a:cubicBezTo>
                    <a:pt x="41" y="337"/>
                    <a:pt x="41" y="337"/>
                    <a:pt x="41" y="337"/>
                  </a:cubicBezTo>
                  <a:cubicBezTo>
                    <a:pt x="41" y="337"/>
                    <a:pt x="43" y="329"/>
                    <a:pt x="43" y="328"/>
                  </a:cubicBezTo>
                  <a:cubicBezTo>
                    <a:pt x="43" y="326"/>
                    <a:pt x="46" y="319"/>
                    <a:pt x="46" y="314"/>
                  </a:cubicBezTo>
                  <a:cubicBezTo>
                    <a:pt x="45" y="310"/>
                    <a:pt x="48" y="305"/>
                    <a:pt x="48" y="305"/>
                  </a:cubicBezTo>
                  <a:cubicBezTo>
                    <a:pt x="49" y="296"/>
                    <a:pt x="49" y="296"/>
                    <a:pt x="49" y="296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0" y="289"/>
                    <a:pt x="40" y="289"/>
                    <a:pt x="40" y="289"/>
                  </a:cubicBezTo>
                  <a:cubicBezTo>
                    <a:pt x="36" y="284"/>
                    <a:pt x="36" y="284"/>
                    <a:pt x="36" y="284"/>
                  </a:cubicBezTo>
                  <a:cubicBezTo>
                    <a:pt x="36" y="284"/>
                    <a:pt x="34" y="278"/>
                    <a:pt x="27" y="276"/>
                  </a:cubicBezTo>
                  <a:cubicBezTo>
                    <a:pt x="20" y="275"/>
                    <a:pt x="19" y="276"/>
                    <a:pt x="19" y="276"/>
                  </a:cubicBezTo>
                  <a:cubicBezTo>
                    <a:pt x="12" y="272"/>
                    <a:pt x="12" y="272"/>
                    <a:pt x="12" y="272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3" y="258"/>
                    <a:pt x="3" y="258"/>
                    <a:pt x="3" y="258"/>
                  </a:cubicBezTo>
                  <a:cubicBezTo>
                    <a:pt x="6" y="254"/>
                    <a:pt x="6" y="254"/>
                    <a:pt x="6" y="254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7" y="244"/>
                    <a:pt x="7" y="244"/>
                    <a:pt x="7" y="244"/>
                  </a:cubicBezTo>
                  <a:cubicBezTo>
                    <a:pt x="7" y="239"/>
                    <a:pt x="7" y="239"/>
                    <a:pt x="7" y="239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1" y="235"/>
                    <a:pt x="1" y="235"/>
                    <a:pt x="1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5"/>
                    <a:pt x="2" y="235"/>
                    <a:pt x="2" y="235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2" y="234"/>
                    <a:pt x="2" y="234"/>
                    <a:pt x="2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4"/>
                    <a:pt x="3" y="234"/>
                    <a:pt x="3" y="234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4" y="232"/>
                    <a:pt x="4" y="232"/>
                    <a:pt x="4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5" y="232"/>
                    <a:pt x="5" y="232"/>
                    <a:pt x="5" y="232"/>
                  </a:cubicBezTo>
                  <a:cubicBezTo>
                    <a:pt x="6" y="230"/>
                    <a:pt x="7" y="229"/>
                    <a:pt x="8" y="229"/>
                  </a:cubicBezTo>
                  <a:cubicBezTo>
                    <a:pt x="8" y="229"/>
                    <a:pt x="8" y="228"/>
                    <a:pt x="8" y="228"/>
                  </a:cubicBezTo>
                  <a:cubicBezTo>
                    <a:pt x="9" y="228"/>
                    <a:pt x="10" y="228"/>
                    <a:pt x="12" y="228"/>
                  </a:cubicBezTo>
                  <a:cubicBezTo>
                    <a:pt x="12" y="228"/>
                    <a:pt x="14" y="219"/>
                    <a:pt x="13" y="216"/>
                  </a:cubicBezTo>
                  <a:cubicBezTo>
                    <a:pt x="12" y="212"/>
                    <a:pt x="17" y="208"/>
                    <a:pt x="17" y="208"/>
                  </a:cubicBezTo>
                  <a:cubicBezTo>
                    <a:pt x="24" y="201"/>
                    <a:pt x="24" y="201"/>
                    <a:pt x="24" y="201"/>
                  </a:cubicBezTo>
                  <a:cubicBezTo>
                    <a:pt x="23" y="193"/>
                    <a:pt x="23" y="193"/>
                    <a:pt x="23" y="193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1" y="194"/>
                    <a:pt x="37" y="191"/>
                    <a:pt x="35" y="187"/>
                  </a:cubicBezTo>
                  <a:cubicBezTo>
                    <a:pt x="34" y="185"/>
                    <a:pt x="33" y="182"/>
                    <a:pt x="32" y="180"/>
                  </a:cubicBezTo>
                  <a:cubicBezTo>
                    <a:pt x="33" y="179"/>
                    <a:pt x="33" y="179"/>
                    <a:pt x="33" y="178"/>
                  </a:cubicBezTo>
                  <a:cubicBezTo>
                    <a:pt x="33" y="178"/>
                    <a:pt x="35" y="175"/>
                    <a:pt x="35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41" y="176"/>
                    <a:pt x="41" y="176"/>
                    <a:pt x="41" y="176"/>
                  </a:cubicBezTo>
                  <a:cubicBezTo>
                    <a:pt x="41" y="176"/>
                    <a:pt x="43" y="177"/>
                    <a:pt x="44" y="177"/>
                  </a:cubicBezTo>
                  <a:cubicBezTo>
                    <a:pt x="46" y="177"/>
                    <a:pt x="49" y="175"/>
                    <a:pt x="49" y="175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7" y="167"/>
                    <a:pt x="47" y="167"/>
                    <a:pt x="47" y="167"/>
                  </a:cubicBezTo>
                  <a:cubicBezTo>
                    <a:pt x="51" y="167"/>
                    <a:pt x="51" y="167"/>
                    <a:pt x="51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9" y="161"/>
                    <a:pt x="49" y="161"/>
                    <a:pt x="49" y="161"/>
                  </a:cubicBezTo>
                  <a:cubicBezTo>
                    <a:pt x="49" y="161"/>
                    <a:pt x="50" y="158"/>
                    <a:pt x="52" y="159"/>
                  </a:cubicBezTo>
                  <a:cubicBezTo>
                    <a:pt x="53" y="159"/>
                    <a:pt x="54" y="161"/>
                    <a:pt x="55" y="161"/>
                  </a:cubicBezTo>
                  <a:cubicBezTo>
                    <a:pt x="56" y="161"/>
                    <a:pt x="59" y="162"/>
                    <a:pt x="59" y="16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7" y="163"/>
                    <a:pt x="67" y="163"/>
                    <a:pt x="6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4" y="166"/>
                    <a:pt x="74" y="166"/>
                    <a:pt x="74" y="166"/>
                  </a:cubicBezTo>
                  <a:cubicBezTo>
                    <a:pt x="74" y="166"/>
                    <a:pt x="75" y="168"/>
                    <a:pt x="74" y="169"/>
                  </a:cubicBezTo>
                  <a:cubicBezTo>
                    <a:pt x="74" y="170"/>
                    <a:pt x="73" y="173"/>
                    <a:pt x="73" y="173"/>
                  </a:cubicBezTo>
                  <a:cubicBezTo>
                    <a:pt x="72" y="173"/>
                    <a:pt x="71" y="173"/>
                    <a:pt x="70" y="174"/>
                  </a:cubicBezTo>
                  <a:cubicBezTo>
                    <a:pt x="69" y="174"/>
                    <a:pt x="64" y="174"/>
                    <a:pt x="64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9" y="177"/>
                    <a:pt x="60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3" y="179"/>
                    <a:pt x="65" y="181"/>
                    <a:pt x="65" y="181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4" y="184"/>
                    <a:pt x="67" y="180"/>
                    <a:pt x="67" y="180"/>
                  </a:cubicBezTo>
                  <a:cubicBezTo>
                    <a:pt x="68" y="180"/>
                    <a:pt x="73" y="180"/>
                    <a:pt x="73" y="180"/>
                  </a:cubicBezTo>
                  <a:cubicBezTo>
                    <a:pt x="73" y="180"/>
                    <a:pt x="77" y="178"/>
                    <a:pt x="78" y="178"/>
                  </a:cubicBezTo>
                  <a:cubicBezTo>
                    <a:pt x="78" y="178"/>
                    <a:pt x="77" y="181"/>
                    <a:pt x="77" y="181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5" y="177"/>
                    <a:pt x="85" y="177"/>
                    <a:pt x="85" y="177"/>
                  </a:cubicBezTo>
                  <a:cubicBezTo>
                    <a:pt x="87" y="177"/>
                    <a:pt x="87" y="177"/>
                    <a:pt x="87" y="177"/>
                  </a:cubicBezTo>
                  <a:cubicBezTo>
                    <a:pt x="87" y="177"/>
                    <a:pt x="88" y="180"/>
                    <a:pt x="88" y="181"/>
                  </a:cubicBezTo>
                  <a:cubicBezTo>
                    <a:pt x="87" y="182"/>
                    <a:pt x="87" y="182"/>
                    <a:pt x="87" y="184"/>
                  </a:cubicBezTo>
                  <a:cubicBezTo>
                    <a:pt x="87" y="185"/>
                    <a:pt x="86" y="186"/>
                    <a:pt x="87" y="187"/>
                  </a:cubicBezTo>
                  <a:cubicBezTo>
                    <a:pt x="87" y="187"/>
                    <a:pt x="87" y="188"/>
                    <a:pt x="88" y="188"/>
                  </a:cubicBezTo>
                  <a:cubicBezTo>
                    <a:pt x="89" y="189"/>
                    <a:pt x="90" y="188"/>
                    <a:pt x="90" y="188"/>
                  </a:cubicBezTo>
                  <a:cubicBezTo>
                    <a:pt x="92" y="183"/>
                    <a:pt x="92" y="183"/>
                    <a:pt x="92" y="183"/>
                  </a:cubicBezTo>
                  <a:cubicBezTo>
                    <a:pt x="92" y="183"/>
                    <a:pt x="94" y="181"/>
                    <a:pt x="94" y="181"/>
                  </a:cubicBezTo>
                  <a:cubicBezTo>
                    <a:pt x="95" y="181"/>
                    <a:pt x="98" y="179"/>
                    <a:pt x="98" y="179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3" y="179"/>
                    <a:pt x="108" y="178"/>
                    <a:pt x="109" y="178"/>
                  </a:cubicBezTo>
                  <a:cubicBezTo>
                    <a:pt x="109" y="179"/>
                    <a:pt x="111" y="179"/>
                    <a:pt x="112" y="179"/>
                  </a:cubicBezTo>
                  <a:cubicBezTo>
                    <a:pt x="114" y="179"/>
                    <a:pt x="115" y="179"/>
                    <a:pt x="117" y="179"/>
                  </a:cubicBezTo>
                  <a:cubicBezTo>
                    <a:pt x="118" y="179"/>
                    <a:pt x="119" y="179"/>
                    <a:pt x="119" y="179"/>
                  </a:cubicBezTo>
                  <a:cubicBezTo>
                    <a:pt x="119" y="179"/>
                    <a:pt x="121" y="177"/>
                    <a:pt x="121" y="177"/>
                  </a:cubicBezTo>
                  <a:cubicBezTo>
                    <a:pt x="121" y="176"/>
                    <a:pt x="121" y="175"/>
                    <a:pt x="121" y="175"/>
                  </a:cubicBezTo>
                  <a:cubicBezTo>
                    <a:pt x="122" y="174"/>
                    <a:pt x="123" y="172"/>
                    <a:pt x="124" y="172"/>
                  </a:cubicBezTo>
                  <a:cubicBezTo>
                    <a:pt x="125" y="172"/>
                    <a:pt x="140" y="174"/>
                    <a:pt x="140" y="174"/>
                  </a:cubicBezTo>
                  <a:cubicBezTo>
                    <a:pt x="153" y="178"/>
                    <a:pt x="153" y="178"/>
                    <a:pt x="153" y="178"/>
                  </a:cubicBezTo>
                  <a:cubicBezTo>
                    <a:pt x="162" y="180"/>
                    <a:pt x="162" y="180"/>
                    <a:pt x="162" y="180"/>
                  </a:cubicBezTo>
                  <a:cubicBezTo>
                    <a:pt x="162" y="180"/>
                    <a:pt x="169" y="184"/>
                    <a:pt x="170" y="184"/>
                  </a:cubicBezTo>
                  <a:cubicBezTo>
                    <a:pt x="171" y="185"/>
                    <a:pt x="184" y="187"/>
                    <a:pt x="184" y="187"/>
                  </a:cubicBezTo>
                  <a:cubicBezTo>
                    <a:pt x="190" y="191"/>
                    <a:pt x="190" y="191"/>
                    <a:pt x="190" y="191"/>
                  </a:cubicBezTo>
                  <a:cubicBezTo>
                    <a:pt x="190" y="191"/>
                    <a:pt x="196" y="193"/>
                    <a:pt x="196" y="194"/>
                  </a:cubicBezTo>
                  <a:cubicBezTo>
                    <a:pt x="196" y="195"/>
                    <a:pt x="200" y="197"/>
                    <a:pt x="200" y="197"/>
                  </a:cubicBezTo>
                  <a:cubicBezTo>
                    <a:pt x="204" y="195"/>
                    <a:pt x="204" y="195"/>
                    <a:pt x="204" y="195"/>
                  </a:cubicBezTo>
                  <a:cubicBezTo>
                    <a:pt x="204" y="195"/>
                    <a:pt x="209" y="196"/>
                    <a:pt x="209" y="196"/>
                  </a:cubicBezTo>
                  <a:cubicBezTo>
                    <a:pt x="210" y="197"/>
                    <a:pt x="220" y="200"/>
                    <a:pt x="220" y="200"/>
                  </a:cubicBezTo>
                  <a:cubicBezTo>
                    <a:pt x="220" y="200"/>
                    <a:pt x="227" y="202"/>
                    <a:pt x="228" y="202"/>
                  </a:cubicBezTo>
                  <a:cubicBezTo>
                    <a:pt x="229" y="202"/>
                    <a:pt x="233" y="201"/>
                    <a:pt x="233" y="201"/>
                  </a:cubicBezTo>
                  <a:cubicBezTo>
                    <a:pt x="233" y="198"/>
                    <a:pt x="233" y="198"/>
                    <a:pt x="233" y="198"/>
                  </a:cubicBezTo>
                  <a:cubicBezTo>
                    <a:pt x="233" y="198"/>
                    <a:pt x="232" y="196"/>
                    <a:pt x="234" y="197"/>
                  </a:cubicBezTo>
                  <a:cubicBezTo>
                    <a:pt x="236" y="197"/>
                    <a:pt x="237" y="197"/>
                    <a:pt x="238" y="198"/>
                  </a:cubicBezTo>
                  <a:cubicBezTo>
                    <a:pt x="238" y="199"/>
                    <a:pt x="240" y="199"/>
                    <a:pt x="241" y="200"/>
                  </a:cubicBezTo>
                  <a:cubicBezTo>
                    <a:pt x="242" y="202"/>
                    <a:pt x="246" y="203"/>
                    <a:pt x="246" y="203"/>
                  </a:cubicBezTo>
                  <a:cubicBezTo>
                    <a:pt x="251" y="205"/>
                    <a:pt x="251" y="205"/>
                    <a:pt x="251" y="205"/>
                  </a:cubicBezTo>
                  <a:cubicBezTo>
                    <a:pt x="252" y="208"/>
                    <a:pt x="252" y="208"/>
                    <a:pt x="252" y="208"/>
                  </a:cubicBezTo>
                  <a:cubicBezTo>
                    <a:pt x="253" y="209"/>
                    <a:pt x="253" y="209"/>
                    <a:pt x="253" y="209"/>
                  </a:cubicBezTo>
                  <a:cubicBezTo>
                    <a:pt x="254" y="207"/>
                    <a:pt x="254" y="207"/>
                    <a:pt x="254" y="207"/>
                  </a:cubicBezTo>
                  <a:cubicBezTo>
                    <a:pt x="255" y="206"/>
                    <a:pt x="256" y="206"/>
                    <a:pt x="256" y="206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8" y="207"/>
                    <a:pt x="260" y="207"/>
                    <a:pt x="260" y="207"/>
                  </a:cubicBezTo>
                  <a:cubicBezTo>
                    <a:pt x="261" y="207"/>
                    <a:pt x="264" y="206"/>
                    <a:pt x="264" y="206"/>
                  </a:cubicBezTo>
                  <a:cubicBezTo>
                    <a:pt x="264" y="207"/>
                    <a:pt x="266" y="209"/>
                    <a:pt x="267" y="209"/>
                  </a:cubicBezTo>
                  <a:cubicBezTo>
                    <a:pt x="267" y="210"/>
                    <a:pt x="269" y="213"/>
                    <a:pt x="269" y="213"/>
                  </a:cubicBezTo>
                  <a:cubicBezTo>
                    <a:pt x="269" y="213"/>
                    <a:pt x="269" y="214"/>
                    <a:pt x="269" y="216"/>
                  </a:cubicBezTo>
                  <a:cubicBezTo>
                    <a:pt x="269" y="217"/>
                    <a:pt x="270" y="218"/>
                    <a:pt x="270" y="218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7" y="228"/>
                    <a:pt x="277" y="228"/>
                    <a:pt x="277" y="228"/>
                  </a:cubicBezTo>
                  <a:cubicBezTo>
                    <a:pt x="279" y="230"/>
                    <a:pt x="279" y="230"/>
                    <a:pt x="279" y="230"/>
                  </a:cubicBezTo>
                  <a:cubicBezTo>
                    <a:pt x="281" y="228"/>
                    <a:pt x="281" y="228"/>
                    <a:pt x="281" y="228"/>
                  </a:cubicBezTo>
                  <a:cubicBezTo>
                    <a:pt x="284" y="228"/>
                    <a:pt x="284" y="228"/>
                    <a:pt x="284" y="228"/>
                  </a:cubicBezTo>
                  <a:cubicBezTo>
                    <a:pt x="287" y="235"/>
                    <a:pt x="287" y="235"/>
                    <a:pt x="287" y="235"/>
                  </a:cubicBezTo>
                  <a:cubicBezTo>
                    <a:pt x="290" y="244"/>
                    <a:pt x="290" y="244"/>
                    <a:pt x="290" y="244"/>
                  </a:cubicBezTo>
                  <a:cubicBezTo>
                    <a:pt x="288" y="256"/>
                    <a:pt x="288" y="256"/>
                    <a:pt x="288" y="256"/>
                  </a:cubicBezTo>
                  <a:cubicBezTo>
                    <a:pt x="288" y="264"/>
                    <a:pt x="288" y="264"/>
                    <a:pt x="288" y="264"/>
                  </a:cubicBezTo>
                  <a:cubicBezTo>
                    <a:pt x="288" y="264"/>
                    <a:pt x="286" y="270"/>
                    <a:pt x="286" y="271"/>
                  </a:cubicBezTo>
                  <a:cubicBezTo>
                    <a:pt x="286" y="273"/>
                    <a:pt x="281" y="280"/>
                    <a:pt x="281" y="280"/>
                  </a:cubicBezTo>
                  <a:cubicBezTo>
                    <a:pt x="281" y="280"/>
                    <a:pt x="278" y="286"/>
                    <a:pt x="277" y="287"/>
                  </a:cubicBezTo>
                  <a:cubicBezTo>
                    <a:pt x="276" y="289"/>
                    <a:pt x="272" y="297"/>
                    <a:pt x="272" y="297"/>
                  </a:cubicBezTo>
                  <a:cubicBezTo>
                    <a:pt x="260" y="309"/>
                    <a:pt x="260" y="309"/>
                    <a:pt x="260" y="309"/>
                  </a:cubicBezTo>
                  <a:cubicBezTo>
                    <a:pt x="260" y="309"/>
                    <a:pt x="254" y="312"/>
                    <a:pt x="252" y="313"/>
                  </a:cubicBezTo>
                  <a:cubicBezTo>
                    <a:pt x="251" y="315"/>
                    <a:pt x="241" y="316"/>
                    <a:pt x="241" y="316"/>
                  </a:cubicBezTo>
                  <a:cubicBezTo>
                    <a:pt x="233" y="316"/>
                    <a:pt x="233" y="316"/>
                    <a:pt x="233" y="316"/>
                  </a:cubicBezTo>
                  <a:cubicBezTo>
                    <a:pt x="221" y="313"/>
                    <a:pt x="221" y="313"/>
                    <a:pt x="221" y="313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05" y="318"/>
                    <a:pt x="205" y="318"/>
                    <a:pt x="205" y="318"/>
                  </a:cubicBezTo>
                  <a:cubicBezTo>
                    <a:pt x="197" y="318"/>
                    <a:pt x="197" y="318"/>
                    <a:pt x="197" y="318"/>
                  </a:cubicBezTo>
                  <a:cubicBezTo>
                    <a:pt x="187" y="320"/>
                    <a:pt x="187" y="320"/>
                    <a:pt x="187" y="320"/>
                  </a:cubicBezTo>
                  <a:cubicBezTo>
                    <a:pt x="187" y="320"/>
                    <a:pt x="185" y="320"/>
                    <a:pt x="183" y="320"/>
                  </a:cubicBezTo>
                  <a:cubicBezTo>
                    <a:pt x="182" y="320"/>
                    <a:pt x="176" y="318"/>
                    <a:pt x="176" y="318"/>
                  </a:cubicBezTo>
                  <a:cubicBezTo>
                    <a:pt x="169" y="316"/>
                    <a:pt x="169" y="316"/>
                    <a:pt x="169" y="316"/>
                  </a:cubicBezTo>
                  <a:cubicBezTo>
                    <a:pt x="164" y="316"/>
                    <a:pt x="164" y="316"/>
                    <a:pt x="164" y="316"/>
                  </a:cubicBezTo>
                  <a:cubicBezTo>
                    <a:pt x="163" y="320"/>
                    <a:pt x="163" y="320"/>
                    <a:pt x="163" y="320"/>
                  </a:cubicBezTo>
                  <a:cubicBezTo>
                    <a:pt x="163" y="320"/>
                    <a:pt x="163" y="320"/>
                    <a:pt x="161" y="320"/>
                  </a:cubicBezTo>
                  <a:cubicBezTo>
                    <a:pt x="159" y="320"/>
                    <a:pt x="157" y="320"/>
                    <a:pt x="157" y="320"/>
                  </a:cubicBezTo>
                  <a:cubicBezTo>
                    <a:pt x="157" y="316"/>
                    <a:pt x="157" y="316"/>
                    <a:pt x="157" y="316"/>
                  </a:cubicBezTo>
                  <a:cubicBezTo>
                    <a:pt x="150" y="316"/>
                    <a:pt x="150" y="316"/>
                    <a:pt x="150" y="316"/>
                  </a:cubicBezTo>
                  <a:cubicBezTo>
                    <a:pt x="150" y="316"/>
                    <a:pt x="147" y="317"/>
                    <a:pt x="145" y="317"/>
                  </a:cubicBezTo>
                  <a:cubicBezTo>
                    <a:pt x="142" y="317"/>
                    <a:pt x="139" y="314"/>
                    <a:pt x="138" y="314"/>
                  </a:cubicBezTo>
                  <a:cubicBezTo>
                    <a:pt x="137" y="314"/>
                    <a:pt x="137" y="315"/>
                    <a:pt x="137" y="315"/>
                  </a:cubicBezTo>
                  <a:cubicBezTo>
                    <a:pt x="137" y="318"/>
                    <a:pt x="137" y="318"/>
                    <a:pt x="137" y="318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26" y="316"/>
                    <a:pt x="126" y="316"/>
                    <a:pt x="126" y="316"/>
                  </a:cubicBezTo>
                  <a:cubicBezTo>
                    <a:pt x="121" y="312"/>
                    <a:pt x="121" y="312"/>
                    <a:pt x="121" y="312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1" y="308"/>
                    <a:pt x="101" y="308"/>
                    <a:pt x="101" y="308"/>
                  </a:cubicBezTo>
                  <a:cubicBezTo>
                    <a:pt x="106" y="309"/>
                    <a:pt x="106" y="309"/>
                    <a:pt x="106" y="309"/>
                  </a:cubicBezTo>
                  <a:cubicBezTo>
                    <a:pt x="109" y="310"/>
                    <a:pt x="109" y="310"/>
                    <a:pt x="109" y="310"/>
                  </a:cubicBezTo>
                  <a:cubicBezTo>
                    <a:pt x="109" y="310"/>
                    <a:pt x="113" y="309"/>
                    <a:pt x="113" y="312"/>
                  </a:cubicBezTo>
                  <a:cubicBezTo>
                    <a:pt x="113" y="314"/>
                    <a:pt x="111" y="314"/>
                    <a:pt x="113" y="316"/>
                  </a:cubicBezTo>
                  <a:cubicBezTo>
                    <a:pt x="114" y="318"/>
                    <a:pt x="118" y="320"/>
                    <a:pt x="118" y="320"/>
                  </a:cubicBezTo>
                  <a:cubicBezTo>
                    <a:pt x="118" y="320"/>
                    <a:pt x="120" y="320"/>
                    <a:pt x="121" y="320"/>
                  </a:cubicBezTo>
                  <a:cubicBezTo>
                    <a:pt x="122" y="320"/>
                    <a:pt x="123" y="320"/>
                    <a:pt x="123" y="320"/>
                  </a:cubicBezTo>
                  <a:cubicBezTo>
                    <a:pt x="125" y="323"/>
                    <a:pt x="125" y="323"/>
                    <a:pt x="125" y="323"/>
                  </a:cubicBezTo>
                  <a:cubicBezTo>
                    <a:pt x="125" y="323"/>
                    <a:pt x="124" y="324"/>
                    <a:pt x="126" y="324"/>
                  </a:cubicBezTo>
                  <a:cubicBezTo>
                    <a:pt x="127" y="324"/>
                    <a:pt x="132" y="324"/>
                    <a:pt x="132" y="324"/>
                  </a:cubicBezTo>
                  <a:cubicBezTo>
                    <a:pt x="137" y="326"/>
                    <a:pt x="137" y="326"/>
                    <a:pt x="137" y="326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6" y="331"/>
                    <a:pt x="138" y="331"/>
                  </a:cubicBezTo>
                  <a:cubicBezTo>
                    <a:pt x="139" y="332"/>
                    <a:pt x="143" y="331"/>
                    <a:pt x="143" y="331"/>
                  </a:cubicBezTo>
                  <a:cubicBezTo>
                    <a:pt x="143" y="331"/>
                    <a:pt x="142" y="330"/>
                    <a:pt x="144" y="331"/>
                  </a:cubicBezTo>
                  <a:cubicBezTo>
                    <a:pt x="145" y="332"/>
                    <a:pt x="146" y="333"/>
                    <a:pt x="146" y="333"/>
                  </a:cubicBezTo>
                  <a:cubicBezTo>
                    <a:pt x="146" y="333"/>
                    <a:pt x="147" y="335"/>
                    <a:pt x="147" y="336"/>
                  </a:cubicBezTo>
                  <a:cubicBezTo>
                    <a:pt x="147" y="337"/>
                    <a:pt x="148" y="339"/>
                    <a:pt x="148" y="339"/>
                  </a:cubicBezTo>
                  <a:cubicBezTo>
                    <a:pt x="148" y="339"/>
                    <a:pt x="145" y="340"/>
                    <a:pt x="150" y="340"/>
                  </a:cubicBezTo>
                  <a:cubicBezTo>
                    <a:pt x="155" y="340"/>
                    <a:pt x="155" y="340"/>
                    <a:pt x="155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63" y="341"/>
                    <a:pt x="163" y="341"/>
                    <a:pt x="163" y="341"/>
                  </a:cubicBezTo>
                  <a:cubicBezTo>
                    <a:pt x="170" y="344"/>
                    <a:pt x="170" y="344"/>
                    <a:pt x="170" y="344"/>
                  </a:cubicBezTo>
                  <a:cubicBezTo>
                    <a:pt x="177" y="348"/>
                    <a:pt x="177" y="348"/>
                    <a:pt x="177" y="348"/>
                  </a:cubicBezTo>
                  <a:cubicBezTo>
                    <a:pt x="177" y="348"/>
                    <a:pt x="176" y="351"/>
                    <a:pt x="178" y="351"/>
                  </a:cubicBezTo>
                  <a:cubicBezTo>
                    <a:pt x="179" y="351"/>
                    <a:pt x="183" y="351"/>
                    <a:pt x="183" y="351"/>
                  </a:cubicBezTo>
                  <a:cubicBezTo>
                    <a:pt x="186" y="359"/>
                    <a:pt x="186" y="359"/>
                    <a:pt x="186" y="359"/>
                  </a:cubicBezTo>
                  <a:cubicBezTo>
                    <a:pt x="181" y="359"/>
                    <a:pt x="181" y="359"/>
                    <a:pt x="181" y="359"/>
                  </a:cubicBezTo>
                  <a:cubicBezTo>
                    <a:pt x="184" y="367"/>
                    <a:pt x="184" y="367"/>
                    <a:pt x="184" y="367"/>
                  </a:cubicBezTo>
                  <a:cubicBezTo>
                    <a:pt x="186" y="371"/>
                    <a:pt x="186" y="371"/>
                    <a:pt x="186" y="371"/>
                  </a:cubicBezTo>
                  <a:cubicBezTo>
                    <a:pt x="185" y="376"/>
                    <a:pt x="185" y="376"/>
                    <a:pt x="185" y="376"/>
                  </a:cubicBezTo>
                  <a:cubicBezTo>
                    <a:pt x="182" y="379"/>
                    <a:pt x="182" y="379"/>
                    <a:pt x="182" y="379"/>
                  </a:cubicBezTo>
                  <a:cubicBezTo>
                    <a:pt x="182" y="379"/>
                    <a:pt x="182" y="381"/>
                    <a:pt x="182" y="381"/>
                  </a:cubicBezTo>
                  <a:cubicBezTo>
                    <a:pt x="182" y="382"/>
                    <a:pt x="184" y="382"/>
                    <a:pt x="184" y="382"/>
                  </a:cubicBezTo>
                  <a:cubicBezTo>
                    <a:pt x="184" y="382"/>
                    <a:pt x="186" y="384"/>
                    <a:pt x="186" y="385"/>
                  </a:cubicBezTo>
                  <a:cubicBezTo>
                    <a:pt x="186" y="386"/>
                    <a:pt x="189" y="387"/>
                    <a:pt x="189" y="388"/>
                  </a:cubicBezTo>
                  <a:cubicBezTo>
                    <a:pt x="190" y="389"/>
                    <a:pt x="193" y="392"/>
                    <a:pt x="193" y="392"/>
                  </a:cubicBezTo>
                  <a:cubicBezTo>
                    <a:pt x="194" y="394"/>
                    <a:pt x="194" y="394"/>
                    <a:pt x="194" y="394"/>
                  </a:cubicBezTo>
                  <a:cubicBezTo>
                    <a:pt x="198" y="396"/>
                    <a:pt x="198" y="396"/>
                    <a:pt x="198" y="396"/>
                  </a:cubicBezTo>
                  <a:cubicBezTo>
                    <a:pt x="198" y="396"/>
                    <a:pt x="198" y="396"/>
                    <a:pt x="198" y="397"/>
                  </a:cubicBezTo>
                  <a:cubicBezTo>
                    <a:pt x="198" y="399"/>
                    <a:pt x="200" y="401"/>
                    <a:pt x="200" y="401"/>
                  </a:cubicBezTo>
                  <a:cubicBezTo>
                    <a:pt x="204" y="404"/>
                    <a:pt x="204" y="404"/>
                    <a:pt x="204" y="404"/>
                  </a:cubicBezTo>
                  <a:cubicBezTo>
                    <a:pt x="204" y="404"/>
                    <a:pt x="204" y="403"/>
                    <a:pt x="204" y="405"/>
                  </a:cubicBezTo>
                  <a:cubicBezTo>
                    <a:pt x="204" y="407"/>
                    <a:pt x="204" y="410"/>
                    <a:pt x="204" y="410"/>
                  </a:cubicBezTo>
                  <a:cubicBezTo>
                    <a:pt x="208" y="410"/>
                    <a:pt x="208" y="410"/>
                    <a:pt x="208" y="410"/>
                  </a:cubicBezTo>
                  <a:cubicBezTo>
                    <a:pt x="207" y="414"/>
                    <a:pt x="207" y="414"/>
                    <a:pt x="207" y="414"/>
                  </a:cubicBezTo>
                  <a:cubicBezTo>
                    <a:pt x="207" y="414"/>
                    <a:pt x="205" y="414"/>
                    <a:pt x="207" y="417"/>
                  </a:cubicBezTo>
                  <a:cubicBezTo>
                    <a:pt x="209" y="419"/>
                    <a:pt x="209" y="421"/>
                    <a:pt x="209" y="421"/>
                  </a:cubicBezTo>
                  <a:cubicBezTo>
                    <a:pt x="216" y="426"/>
                    <a:pt x="216" y="426"/>
                    <a:pt x="216" y="426"/>
                  </a:cubicBezTo>
                  <a:cubicBezTo>
                    <a:pt x="220" y="426"/>
                    <a:pt x="220" y="426"/>
                    <a:pt x="220" y="426"/>
                  </a:cubicBezTo>
                  <a:cubicBezTo>
                    <a:pt x="224" y="425"/>
                    <a:pt x="224" y="425"/>
                    <a:pt x="224" y="425"/>
                  </a:cubicBezTo>
                  <a:cubicBezTo>
                    <a:pt x="226" y="421"/>
                    <a:pt x="226" y="421"/>
                    <a:pt x="226" y="421"/>
                  </a:cubicBezTo>
                  <a:cubicBezTo>
                    <a:pt x="226" y="421"/>
                    <a:pt x="229" y="421"/>
                    <a:pt x="232" y="422"/>
                  </a:cubicBezTo>
                  <a:cubicBezTo>
                    <a:pt x="234" y="423"/>
                    <a:pt x="238" y="422"/>
                    <a:pt x="238" y="422"/>
                  </a:cubicBezTo>
                  <a:cubicBezTo>
                    <a:pt x="238" y="422"/>
                    <a:pt x="238" y="422"/>
                    <a:pt x="238" y="424"/>
                  </a:cubicBezTo>
                  <a:cubicBezTo>
                    <a:pt x="239" y="426"/>
                    <a:pt x="241" y="425"/>
                    <a:pt x="241" y="425"/>
                  </a:cubicBezTo>
                  <a:cubicBezTo>
                    <a:pt x="241" y="425"/>
                    <a:pt x="244" y="425"/>
                    <a:pt x="244" y="426"/>
                  </a:cubicBezTo>
                  <a:cubicBezTo>
                    <a:pt x="244" y="427"/>
                    <a:pt x="246" y="428"/>
                    <a:pt x="247" y="430"/>
                  </a:cubicBezTo>
                  <a:cubicBezTo>
                    <a:pt x="248" y="432"/>
                    <a:pt x="248" y="431"/>
                    <a:pt x="249" y="432"/>
                  </a:cubicBezTo>
                  <a:cubicBezTo>
                    <a:pt x="249" y="433"/>
                    <a:pt x="245" y="434"/>
                    <a:pt x="250" y="434"/>
                  </a:cubicBezTo>
                  <a:cubicBezTo>
                    <a:pt x="254" y="435"/>
                    <a:pt x="264" y="436"/>
                    <a:pt x="264" y="436"/>
                  </a:cubicBezTo>
                  <a:cubicBezTo>
                    <a:pt x="264" y="436"/>
                    <a:pt x="270" y="434"/>
                    <a:pt x="273" y="434"/>
                  </a:cubicBezTo>
                  <a:cubicBezTo>
                    <a:pt x="276" y="434"/>
                    <a:pt x="276" y="435"/>
                    <a:pt x="276" y="435"/>
                  </a:cubicBezTo>
                  <a:cubicBezTo>
                    <a:pt x="279" y="435"/>
                    <a:pt x="279" y="435"/>
                    <a:pt x="279" y="435"/>
                  </a:cubicBezTo>
                  <a:cubicBezTo>
                    <a:pt x="279" y="435"/>
                    <a:pt x="281" y="434"/>
                    <a:pt x="281" y="433"/>
                  </a:cubicBezTo>
                  <a:cubicBezTo>
                    <a:pt x="281" y="432"/>
                    <a:pt x="282" y="429"/>
                    <a:pt x="282" y="429"/>
                  </a:cubicBezTo>
                  <a:cubicBezTo>
                    <a:pt x="282" y="429"/>
                    <a:pt x="281" y="427"/>
                    <a:pt x="283" y="427"/>
                  </a:cubicBezTo>
                  <a:cubicBezTo>
                    <a:pt x="285" y="427"/>
                    <a:pt x="286" y="426"/>
                    <a:pt x="286" y="426"/>
                  </a:cubicBezTo>
                  <a:cubicBezTo>
                    <a:pt x="289" y="424"/>
                    <a:pt x="289" y="424"/>
                    <a:pt x="289" y="424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16"/>
                    <a:pt x="288" y="413"/>
                    <a:pt x="287" y="412"/>
                  </a:cubicBezTo>
                  <a:cubicBezTo>
                    <a:pt x="285" y="411"/>
                    <a:pt x="282" y="408"/>
                    <a:pt x="282" y="408"/>
                  </a:cubicBezTo>
                  <a:cubicBezTo>
                    <a:pt x="281" y="405"/>
                    <a:pt x="281" y="405"/>
                    <a:pt x="281" y="405"/>
                  </a:cubicBezTo>
                  <a:cubicBezTo>
                    <a:pt x="277" y="402"/>
                    <a:pt x="277" y="402"/>
                    <a:pt x="277" y="402"/>
                  </a:cubicBezTo>
                  <a:cubicBezTo>
                    <a:pt x="277" y="402"/>
                    <a:pt x="276" y="400"/>
                    <a:pt x="275" y="400"/>
                  </a:cubicBezTo>
                  <a:cubicBezTo>
                    <a:pt x="274" y="401"/>
                    <a:pt x="275" y="401"/>
                    <a:pt x="273" y="404"/>
                  </a:cubicBezTo>
                  <a:cubicBezTo>
                    <a:pt x="271" y="406"/>
                    <a:pt x="268" y="407"/>
                    <a:pt x="268" y="407"/>
                  </a:cubicBezTo>
                  <a:cubicBezTo>
                    <a:pt x="262" y="409"/>
                    <a:pt x="262" y="409"/>
                    <a:pt x="262" y="409"/>
                  </a:cubicBezTo>
                  <a:cubicBezTo>
                    <a:pt x="262" y="409"/>
                    <a:pt x="258" y="407"/>
                    <a:pt x="257" y="405"/>
                  </a:cubicBezTo>
                  <a:cubicBezTo>
                    <a:pt x="256" y="404"/>
                    <a:pt x="249" y="398"/>
                    <a:pt x="249" y="398"/>
                  </a:cubicBezTo>
                  <a:cubicBezTo>
                    <a:pt x="249" y="398"/>
                    <a:pt x="245" y="395"/>
                    <a:pt x="244" y="395"/>
                  </a:cubicBezTo>
                  <a:cubicBezTo>
                    <a:pt x="242" y="395"/>
                    <a:pt x="240" y="395"/>
                    <a:pt x="240" y="395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36" y="389"/>
                    <a:pt x="236" y="389"/>
                    <a:pt x="236" y="389"/>
                  </a:cubicBezTo>
                  <a:cubicBezTo>
                    <a:pt x="236" y="389"/>
                    <a:pt x="233" y="386"/>
                    <a:pt x="235" y="386"/>
                  </a:cubicBezTo>
                  <a:cubicBezTo>
                    <a:pt x="238" y="386"/>
                    <a:pt x="239" y="383"/>
                    <a:pt x="239" y="383"/>
                  </a:cubicBezTo>
                  <a:cubicBezTo>
                    <a:pt x="239" y="380"/>
                    <a:pt x="239" y="380"/>
                    <a:pt x="239" y="380"/>
                  </a:cubicBezTo>
                  <a:cubicBezTo>
                    <a:pt x="239" y="378"/>
                    <a:pt x="239" y="378"/>
                    <a:pt x="239" y="378"/>
                  </a:cubicBezTo>
                  <a:cubicBezTo>
                    <a:pt x="238" y="373"/>
                    <a:pt x="238" y="373"/>
                    <a:pt x="238" y="373"/>
                  </a:cubicBezTo>
                  <a:cubicBezTo>
                    <a:pt x="238" y="373"/>
                    <a:pt x="237" y="368"/>
                    <a:pt x="238" y="367"/>
                  </a:cubicBezTo>
                  <a:cubicBezTo>
                    <a:pt x="240" y="367"/>
                    <a:pt x="246" y="366"/>
                    <a:pt x="246" y="366"/>
                  </a:cubicBezTo>
                  <a:cubicBezTo>
                    <a:pt x="246" y="366"/>
                    <a:pt x="249" y="367"/>
                    <a:pt x="252" y="368"/>
                  </a:cubicBezTo>
                  <a:cubicBezTo>
                    <a:pt x="254" y="368"/>
                    <a:pt x="256" y="369"/>
                    <a:pt x="256" y="369"/>
                  </a:cubicBezTo>
                  <a:cubicBezTo>
                    <a:pt x="256" y="369"/>
                    <a:pt x="262" y="372"/>
                    <a:pt x="263" y="373"/>
                  </a:cubicBezTo>
                  <a:cubicBezTo>
                    <a:pt x="263" y="374"/>
                    <a:pt x="265" y="375"/>
                    <a:pt x="267" y="376"/>
                  </a:cubicBezTo>
                  <a:cubicBezTo>
                    <a:pt x="270" y="378"/>
                    <a:pt x="276" y="376"/>
                    <a:pt x="276" y="376"/>
                  </a:cubicBezTo>
                  <a:cubicBezTo>
                    <a:pt x="276" y="376"/>
                    <a:pt x="279" y="375"/>
                    <a:pt x="281" y="375"/>
                  </a:cubicBezTo>
                  <a:cubicBezTo>
                    <a:pt x="282" y="375"/>
                    <a:pt x="291" y="375"/>
                    <a:pt x="291" y="375"/>
                  </a:cubicBezTo>
                  <a:cubicBezTo>
                    <a:pt x="291" y="375"/>
                    <a:pt x="295" y="375"/>
                    <a:pt x="296" y="375"/>
                  </a:cubicBezTo>
                  <a:cubicBezTo>
                    <a:pt x="297" y="375"/>
                    <a:pt x="301" y="375"/>
                    <a:pt x="301" y="375"/>
                  </a:cubicBezTo>
                  <a:cubicBezTo>
                    <a:pt x="309" y="377"/>
                    <a:pt x="309" y="377"/>
                    <a:pt x="309" y="377"/>
                  </a:cubicBezTo>
                  <a:cubicBezTo>
                    <a:pt x="315" y="374"/>
                    <a:pt x="315" y="374"/>
                    <a:pt x="315" y="374"/>
                  </a:cubicBezTo>
                  <a:cubicBezTo>
                    <a:pt x="315" y="374"/>
                    <a:pt x="315" y="369"/>
                    <a:pt x="317" y="369"/>
                  </a:cubicBezTo>
                  <a:cubicBezTo>
                    <a:pt x="318" y="369"/>
                    <a:pt x="320" y="369"/>
                    <a:pt x="322" y="369"/>
                  </a:cubicBezTo>
                  <a:cubicBezTo>
                    <a:pt x="324" y="370"/>
                    <a:pt x="330" y="368"/>
                    <a:pt x="330" y="368"/>
                  </a:cubicBezTo>
                  <a:cubicBezTo>
                    <a:pt x="324" y="360"/>
                    <a:pt x="324" y="360"/>
                    <a:pt x="324" y="360"/>
                  </a:cubicBezTo>
                  <a:cubicBezTo>
                    <a:pt x="324" y="360"/>
                    <a:pt x="324" y="360"/>
                    <a:pt x="322" y="356"/>
                  </a:cubicBezTo>
                  <a:cubicBezTo>
                    <a:pt x="321" y="352"/>
                    <a:pt x="318" y="348"/>
                    <a:pt x="318" y="348"/>
                  </a:cubicBezTo>
                  <a:cubicBezTo>
                    <a:pt x="318" y="348"/>
                    <a:pt x="314" y="347"/>
                    <a:pt x="311" y="346"/>
                  </a:cubicBezTo>
                  <a:cubicBezTo>
                    <a:pt x="308" y="345"/>
                    <a:pt x="310" y="346"/>
                    <a:pt x="308" y="344"/>
                  </a:cubicBezTo>
                  <a:cubicBezTo>
                    <a:pt x="306" y="343"/>
                    <a:pt x="297" y="338"/>
                    <a:pt x="297" y="338"/>
                  </a:cubicBezTo>
                  <a:cubicBezTo>
                    <a:pt x="297" y="338"/>
                    <a:pt x="293" y="337"/>
                    <a:pt x="292" y="335"/>
                  </a:cubicBezTo>
                  <a:cubicBezTo>
                    <a:pt x="291" y="332"/>
                    <a:pt x="292" y="323"/>
                    <a:pt x="292" y="32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300" y="299"/>
                    <a:pt x="300" y="299"/>
                    <a:pt x="300" y="299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15" y="269"/>
                    <a:pt x="315" y="269"/>
                    <a:pt x="315" y="269"/>
                  </a:cubicBezTo>
                  <a:cubicBezTo>
                    <a:pt x="315" y="260"/>
                    <a:pt x="315" y="260"/>
                    <a:pt x="315" y="260"/>
                  </a:cubicBezTo>
                  <a:cubicBezTo>
                    <a:pt x="315" y="253"/>
                    <a:pt x="315" y="253"/>
                    <a:pt x="315" y="253"/>
                  </a:cubicBezTo>
                  <a:cubicBezTo>
                    <a:pt x="328" y="253"/>
                    <a:pt x="328" y="253"/>
                    <a:pt x="328" y="253"/>
                  </a:cubicBezTo>
                  <a:cubicBezTo>
                    <a:pt x="328" y="256"/>
                    <a:pt x="328" y="256"/>
                    <a:pt x="328" y="256"/>
                  </a:cubicBezTo>
                  <a:cubicBezTo>
                    <a:pt x="328" y="256"/>
                    <a:pt x="330" y="252"/>
                    <a:pt x="331" y="252"/>
                  </a:cubicBezTo>
                  <a:cubicBezTo>
                    <a:pt x="332" y="252"/>
                    <a:pt x="340" y="247"/>
                    <a:pt x="340" y="247"/>
                  </a:cubicBezTo>
                  <a:cubicBezTo>
                    <a:pt x="343" y="249"/>
                    <a:pt x="343" y="249"/>
                    <a:pt x="343" y="249"/>
                  </a:cubicBezTo>
                  <a:cubicBezTo>
                    <a:pt x="351" y="251"/>
                    <a:pt x="351" y="251"/>
                    <a:pt x="351" y="251"/>
                  </a:cubicBezTo>
                  <a:cubicBezTo>
                    <a:pt x="351" y="251"/>
                    <a:pt x="354" y="252"/>
                    <a:pt x="353" y="254"/>
                  </a:cubicBezTo>
                  <a:cubicBezTo>
                    <a:pt x="352" y="256"/>
                    <a:pt x="352" y="256"/>
                    <a:pt x="353" y="256"/>
                  </a:cubicBezTo>
                  <a:cubicBezTo>
                    <a:pt x="354" y="256"/>
                    <a:pt x="358" y="253"/>
                    <a:pt x="358" y="253"/>
                  </a:cubicBezTo>
                  <a:cubicBezTo>
                    <a:pt x="365" y="256"/>
                    <a:pt x="365" y="256"/>
                    <a:pt x="365" y="256"/>
                  </a:cubicBezTo>
                  <a:cubicBezTo>
                    <a:pt x="359" y="249"/>
                    <a:pt x="359" y="249"/>
                    <a:pt x="359" y="249"/>
                  </a:cubicBezTo>
                  <a:cubicBezTo>
                    <a:pt x="359" y="249"/>
                    <a:pt x="358" y="244"/>
                    <a:pt x="358" y="242"/>
                  </a:cubicBezTo>
                  <a:cubicBezTo>
                    <a:pt x="358" y="240"/>
                    <a:pt x="357" y="232"/>
                    <a:pt x="357" y="232"/>
                  </a:cubicBezTo>
                  <a:cubicBezTo>
                    <a:pt x="356" y="226"/>
                    <a:pt x="356" y="226"/>
                    <a:pt x="356" y="226"/>
                  </a:cubicBezTo>
                  <a:cubicBezTo>
                    <a:pt x="354" y="221"/>
                    <a:pt x="354" y="221"/>
                    <a:pt x="354" y="221"/>
                  </a:cubicBezTo>
                  <a:cubicBezTo>
                    <a:pt x="351" y="218"/>
                    <a:pt x="351" y="218"/>
                    <a:pt x="351" y="218"/>
                  </a:cubicBezTo>
                  <a:cubicBezTo>
                    <a:pt x="350" y="213"/>
                    <a:pt x="350" y="213"/>
                    <a:pt x="350" y="213"/>
                  </a:cubicBezTo>
                  <a:cubicBezTo>
                    <a:pt x="348" y="209"/>
                    <a:pt x="348" y="209"/>
                    <a:pt x="348" y="209"/>
                  </a:cubicBezTo>
                  <a:cubicBezTo>
                    <a:pt x="341" y="205"/>
                    <a:pt x="341" y="205"/>
                    <a:pt x="341" y="205"/>
                  </a:cubicBezTo>
                  <a:cubicBezTo>
                    <a:pt x="336" y="204"/>
                    <a:pt x="336" y="204"/>
                    <a:pt x="336" y="204"/>
                  </a:cubicBezTo>
                  <a:cubicBezTo>
                    <a:pt x="332" y="205"/>
                    <a:pt x="332" y="205"/>
                    <a:pt x="332" y="205"/>
                  </a:cubicBezTo>
                  <a:cubicBezTo>
                    <a:pt x="328" y="205"/>
                    <a:pt x="328" y="205"/>
                    <a:pt x="328" y="205"/>
                  </a:cubicBezTo>
                  <a:cubicBezTo>
                    <a:pt x="325" y="200"/>
                    <a:pt x="325" y="200"/>
                    <a:pt x="325" y="200"/>
                  </a:cubicBezTo>
                  <a:cubicBezTo>
                    <a:pt x="325" y="200"/>
                    <a:pt x="324" y="193"/>
                    <a:pt x="324" y="192"/>
                  </a:cubicBezTo>
                  <a:cubicBezTo>
                    <a:pt x="324" y="191"/>
                    <a:pt x="322" y="184"/>
                    <a:pt x="322" y="184"/>
                  </a:cubicBezTo>
                  <a:cubicBezTo>
                    <a:pt x="321" y="176"/>
                    <a:pt x="321" y="176"/>
                    <a:pt x="321" y="176"/>
                  </a:cubicBezTo>
                  <a:cubicBezTo>
                    <a:pt x="318" y="168"/>
                    <a:pt x="318" y="168"/>
                    <a:pt x="318" y="168"/>
                  </a:cubicBezTo>
                  <a:cubicBezTo>
                    <a:pt x="318" y="168"/>
                    <a:pt x="316" y="163"/>
                    <a:pt x="315" y="161"/>
                  </a:cubicBezTo>
                  <a:cubicBezTo>
                    <a:pt x="314" y="159"/>
                    <a:pt x="312" y="155"/>
                    <a:pt x="312" y="155"/>
                  </a:cubicBezTo>
                  <a:cubicBezTo>
                    <a:pt x="310" y="148"/>
                    <a:pt x="310" y="148"/>
                    <a:pt x="310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89" y="142"/>
                    <a:pt x="289" y="142"/>
                    <a:pt x="289" y="142"/>
                  </a:cubicBezTo>
                  <a:cubicBezTo>
                    <a:pt x="282" y="139"/>
                    <a:pt x="282" y="139"/>
                    <a:pt x="282" y="139"/>
                  </a:cubicBezTo>
                  <a:cubicBezTo>
                    <a:pt x="283" y="136"/>
                    <a:pt x="283" y="136"/>
                    <a:pt x="283" y="136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9" y="135"/>
                    <a:pt x="291" y="135"/>
                  </a:cubicBezTo>
                  <a:cubicBezTo>
                    <a:pt x="294" y="135"/>
                    <a:pt x="296" y="135"/>
                    <a:pt x="298" y="135"/>
                  </a:cubicBezTo>
                  <a:cubicBezTo>
                    <a:pt x="300" y="135"/>
                    <a:pt x="303" y="135"/>
                    <a:pt x="303" y="135"/>
                  </a:cubicBezTo>
                  <a:cubicBezTo>
                    <a:pt x="307" y="130"/>
                    <a:pt x="307" y="130"/>
                    <a:pt x="307" y="130"/>
                  </a:cubicBezTo>
                  <a:cubicBezTo>
                    <a:pt x="322" y="122"/>
                    <a:pt x="322" y="122"/>
                    <a:pt x="322" y="122"/>
                  </a:cubicBezTo>
                  <a:cubicBezTo>
                    <a:pt x="329" y="121"/>
                    <a:pt x="329" y="121"/>
                    <a:pt x="329" y="121"/>
                  </a:cubicBezTo>
                  <a:cubicBezTo>
                    <a:pt x="336" y="121"/>
                    <a:pt x="336" y="121"/>
                    <a:pt x="336" y="121"/>
                  </a:cubicBezTo>
                  <a:cubicBezTo>
                    <a:pt x="336" y="121"/>
                    <a:pt x="336" y="125"/>
                    <a:pt x="338" y="126"/>
                  </a:cubicBezTo>
                  <a:cubicBezTo>
                    <a:pt x="340" y="127"/>
                    <a:pt x="341" y="127"/>
                    <a:pt x="342" y="128"/>
                  </a:cubicBezTo>
                  <a:cubicBezTo>
                    <a:pt x="344" y="128"/>
                    <a:pt x="350" y="129"/>
                    <a:pt x="350" y="129"/>
                  </a:cubicBezTo>
                  <a:cubicBezTo>
                    <a:pt x="354" y="131"/>
                    <a:pt x="354" y="131"/>
                    <a:pt x="354" y="131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65" y="141"/>
                    <a:pt x="365" y="141"/>
                    <a:pt x="365" y="141"/>
                  </a:cubicBezTo>
                  <a:cubicBezTo>
                    <a:pt x="365" y="141"/>
                    <a:pt x="366" y="144"/>
                    <a:pt x="365" y="145"/>
                  </a:cubicBezTo>
                  <a:cubicBezTo>
                    <a:pt x="364" y="146"/>
                    <a:pt x="365" y="149"/>
                    <a:pt x="361" y="151"/>
                  </a:cubicBezTo>
                  <a:cubicBezTo>
                    <a:pt x="357" y="153"/>
                    <a:pt x="352" y="157"/>
                    <a:pt x="351" y="157"/>
                  </a:cubicBezTo>
                  <a:cubicBezTo>
                    <a:pt x="350" y="158"/>
                    <a:pt x="347" y="162"/>
                    <a:pt x="347" y="162"/>
                  </a:cubicBezTo>
                  <a:cubicBezTo>
                    <a:pt x="345" y="166"/>
                    <a:pt x="345" y="166"/>
                    <a:pt x="345" y="166"/>
                  </a:cubicBezTo>
                  <a:cubicBezTo>
                    <a:pt x="346" y="169"/>
                    <a:pt x="346" y="169"/>
                    <a:pt x="346" y="169"/>
                  </a:cubicBezTo>
                  <a:cubicBezTo>
                    <a:pt x="346" y="169"/>
                    <a:pt x="346" y="170"/>
                    <a:pt x="346" y="171"/>
                  </a:cubicBezTo>
                  <a:cubicBezTo>
                    <a:pt x="345" y="173"/>
                    <a:pt x="344" y="176"/>
                    <a:pt x="344" y="176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181"/>
                    <a:pt x="346" y="183"/>
                    <a:pt x="347" y="185"/>
                  </a:cubicBezTo>
                  <a:cubicBezTo>
                    <a:pt x="347" y="186"/>
                    <a:pt x="356" y="188"/>
                    <a:pt x="356" y="188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72" y="196"/>
                    <a:pt x="372" y="196"/>
                    <a:pt x="372" y="196"/>
                  </a:cubicBezTo>
                  <a:cubicBezTo>
                    <a:pt x="378" y="199"/>
                    <a:pt x="378" y="199"/>
                    <a:pt x="378" y="199"/>
                  </a:cubicBezTo>
                  <a:cubicBezTo>
                    <a:pt x="385" y="198"/>
                    <a:pt x="385" y="198"/>
                    <a:pt x="385" y="198"/>
                  </a:cubicBezTo>
                  <a:cubicBezTo>
                    <a:pt x="392" y="193"/>
                    <a:pt x="392" y="193"/>
                    <a:pt x="392" y="193"/>
                  </a:cubicBezTo>
                  <a:cubicBezTo>
                    <a:pt x="397" y="190"/>
                    <a:pt x="397" y="190"/>
                    <a:pt x="397" y="190"/>
                  </a:cubicBezTo>
                  <a:cubicBezTo>
                    <a:pt x="397" y="190"/>
                    <a:pt x="400" y="186"/>
                    <a:pt x="401" y="185"/>
                  </a:cubicBezTo>
                  <a:cubicBezTo>
                    <a:pt x="402" y="184"/>
                    <a:pt x="405" y="181"/>
                    <a:pt x="405" y="181"/>
                  </a:cubicBezTo>
                  <a:cubicBezTo>
                    <a:pt x="405" y="181"/>
                    <a:pt x="407" y="179"/>
                    <a:pt x="407" y="178"/>
                  </a:cubicBezTo>
                  <a:cubicBezTo>
                    <a:pt x="407" y="177"/>
                    <a:pt x="406" y="169"/>
                    <a:pt x="406" y="169"/>
                  </a:cubicBezTo>
                  <a:cubicBezTo>
                    <a:pt x="404" y="163"/>
                    <a:pt x="404" y="163"/>
                    <a:pt x="404" y="163"/>
                  </a:cubicBezTo>
                  <a:cubicBezTo>
                    <a:pt x="401" y="156"/>
                    <a:pt x="401" y="156"/>
                    <a:pt x="401" y="156"/>
                  </a:cubicBezTo>
                  <a:cubicBezTo>
                    <a:pt x="401" y="156"/>
                    <a:pt x="399" y="153"/>
                    <a:pt x="399" y="151"/>
                  </a:cubicBezTo>
                  <a:cubicBezTo>
                    <a:pt x="399" y="150"/>
                    <a:pt x="398" y="146"/>
                    <a:pt x="398" y="146"/>
                  </a:cubicBezTo>
                  <a:cubicBezTo>
                    <a:pt x="394" y="142"/>
                    <a:pt x="394" y="142"/>
                    <a:pt x="394" y="142"/>
                  </a:cubicBezTo>
                  <a:cubicBezTo>
                    <a:pt x="396" y="138"/>
                    <a:pt x="396" y="138"/>
                    <a:pt x="396" y="138"/>
                  </a:cubicBezTo>
                  <a:cubicBezTo>
                    <a:pt x="398" y="135"/>
                    <a:pt x="398" y="135"/>
                    <a:pt x="398" y="135"/>
                  </a:cubicBezTo>
                  <a:cubicBezTo>
                    <a:pt x="403" y="129"/>
                    <a:pt x="403" y="129"/>
                    <a:pt x="403" y="129"/>
                  </a:cubicBezTo>
                  <a:cubicBezTo>
                    <a:pt x="405" y="125"/>
                    <a:pt x="405" y="125"/>
                    <a:pt x="405" y="125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398" y="119"/>
                    <a:pt x="398" y="119"/>
                    <a:pt x="398" y="119"/>
                  </a:cubicBezTo>
                  <a:cubicBezTo>
                    <a:pt x="404" y="116"/>
                    <a:pt x="404" y="116"/>
                    <a:pt x="404" y="116"/>
                  </a:cubicBezTo>
                  <a:cubicBezTo>
                    <a:pt x="408" y="114"/>
                    <a:pt x="408" y="114"/>
                    <a:pt x="408" y="114"/>
                  </a:cubicBezTo>
                  <a:cubicBezTo>
                    <a:pt x="413" y="102"/>
                    <a:pt x="413" y="102"/>
                    <a:pt x="413" y="102"/>
                  </a:cubicBezTo>
                  <a:cubicBezTo>
                    <a:pt x="416" y="95"/>
                    <a:pt x="416" y="95"/>
                    <a:pt x="416" y="95"/>
                  </a:cubicBezTo>
                  <a:cubicBezTo>
                    <a:pt x="420" y="84"/>
                    <a:pt x="420" y="84"/>
                    <a:pt x="420" y="84"/>
                  </a:cubicBezTo>
                  <a:cubicBezTo>
                    <a:pt x="420" y="84"/>
                    <a:pt x="422" y="76"/>
                    <a:pt x="422" y="75"/>
                  </a:cubicBezTo>
                  <a:cubicBezTo>
                    <a:pt x="422" y="74"/>
                    <a:pt x="425" y="72"/>
                    <a:pt x="425" y="72"/>
                  </a:cubicBezTo>
                  <a:cubicBezTo>
                    <a:pt x="429" y="67"/>
                    <a:pt x="429" y="67"/>
                    <a:pt x="429" y="67"/>
                  </a:cubicBezTo>
                  <a:cubicBezTo>
                    <a:pt x="432" y="61"/>
                    <a:pt x="432" y="61"/>
                    <a:pt x="432" y="61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9" y="49"/>
                    <a:pt x="439" y="49"/>
                    <a:pt x="439" y="49"/>
                  </a:cubicBezTo>
                  <a:cubicBezTo>
                    <a:pt x="443" y="51"/>
                    <a:pt x="443" y="51"/>
                    <a:pt x="443" y="51"/>
                  </a:cubicBezTo>
                  <a:cubicBezTo>
                    <a:pt x="443" y="51"/>
                    <a:pt x="445" y="53"/>
                    <a:pt x="445" y="55"/>
                  </a:cubicBezTo>
                  <a:cubicBezTo>
                    <a:pt x="445" y="57"/>
                    <a:pt x="444" y="58"/>
                    <a:pt x="445" y="58"/>
                  </a:cubicBezTo>
                  <a:cubicBezTo>
                    <a:pt x="447" y="58"/>
                    <a:pt x="446" y="58"/>
                    <a:pt x="447" y="57"/>
                  </a:cubicBezTo>
                  <a:cubicBezTo>
                    <a:pt x="449" y="55"/>
                    <a:pt x="450" y="51"/>
                    <a:pt x="450" y="50"/>
                  </a:cubicBezTo>
                  <a:cubicBezTo>
                    <a:pt x="450" y="49"/>
                    <a:pt x="452" y="49"/>
                    <a:pt x="450" y="48"/>
                  </a:cubicBezTo>
                  <a:cubicBezTo>
                    <a:pt x="447" y="47"/>
                    <a:pt x="443" y="45"/>
                    <a:pt x="443" y="45"/>
                  </a:cubicBezTo>
                  <a:cubicBezTo>
                    <a:pt x="443" y="45"/>
                    <a:pt x="439" y="44"/>
                    <a:pt x="439" y="43"/>
                  </a:cubicBezTo>
                  <a:cubicBezTo>
                    <a:pt x="440" y="42"/>
                    <a:pt x="443" y="33"/>
                    <a:pt x="443" y="33"/>
                  </a:cubicBezTo>
                  <a:cubicBezTo>
                    <a:pt x="447" y="23"/>
                    <a:pt x="447" y="23"/>
                    <a:pt x="447" y="23"/>
                  </a:cubicBezTo>
                  <a:cubicBezTo>
                    <a:pt x="447" y="17"/>
                    <a:pt x="447" y="17"/>
                    <a:pt x="447" y="17"/>
                  </a:cubicBezTo>
                  <a:cubicBezTo>
                    <a:pt x="450" y="12"/>
                    <a:pt x="450" y="12"/>
                    <a:pt x="450" y="12"/>
                  </a:cubicBezTo>
                  <a:cubicBezTo>
                    <a:pt x="453" y="8"/>
                    <a:pt x="455" y="2"/>
                    <a:pt x="460" y="0"/>
                  </a:cubicBezTo>
                  <a:cubicBezTo>
                    <a:pt x="1479" y="0"/>
                    <a:pt x="1479" y="0"/>
                    <a:pt x="1479" y="0"/>
                  </a:cubicBezTo>
                  <a:cubicBezTo>
                    <a:pt x="1479" y="736"/>
                    <a:pt x="1479" y="736"/>
                    <a:pt x="1479" y="736"/>
                  </a:cubicBezTo>
                  <a:cubicBezTo>
                    <a:pt x="1465" y="741"/>
                    <a:pt x="1465" y="741"/>
                    <a:pt x="1465" y="741"/>
                  </a:cubicBezTo>
                  <a:cubicBezTo>
                    <a:pt x="1463" y="741"/>
                    <a:pt x="1435" y="737"/>
                    <a:pt x="1436" y="746"/>
                  </a:cubicBezTo>
                  <a:cubicBezTo>
                    <a:pt x="1437" y="751"/>
                    <a:pt x="1442" y="752"/>
                    <a:pt x="1442" y="752"/>
                  </a:cubicBezTo>
                  <a:cubicBezTo>
                    <a:pt x="1455" y="764"/>
                    <a:pt x="1455" y="764"/>
                    <a:pt x="1455" y="764"/>
                  </a:cubicBezTo>
                  <a:cubicBezTo>
                    <a:pt x="1454" y="771"/>
                    <a:pt x="1454" y="771"/>
                    <a:pt x="1454" y="771"/>
                  </a:cubicBezTo>
                  <a:cubicBezTo>
                    <a:pt x="1462" y="773"/>
                    <a:pt x="1462" y="773"/>
                    <a:pt x="1462" y="773"/>
                  </a:cubicBezTo>
                  <a:cubicBezTo>
                    <a:pt x="1479" y="773"/>
                    <a:pt x="1479" y="773"/>
                    <a:pt x="1479" y="773"/>
                  </a:cubicBezTo>
                  <a:cubicBezTo>
                    <a:pt x="1479" y="785"/>
                    <a:pt x="1479" y="785"/>
                    <a:pt x="1479" y="785"/>
                  </a:cubicBezTo>
                  <a:cubicBezTo>
                    <a:pt x="1469" y="786"/>
                    <a:pt x="1458" y="788"/>
                    <a:pt x="1456" y="789"/>
                  </a:cubicBezTo>
                  <a:cubicBezTo>
                    <a:pt x="1445" y="801"/>
                    <a:pt x="1445" y="801"/>
                    <a:pt x="1445" y="801"/>
                  </a:cubicBezTo>
                  <a:cubicBezTo>
                    <a:pt x="1458" y="818"/>
                    <a:pt x="1458" y="818"/>
                    <a:pt x="1458" y="818"/>
                  </a:cubicBezTo>
                  <a:cubicBezTo>
                    <a:pt x="1457" y="829"/>
                    <a:pt x="1457" y="829"/>
                    <a:pt x="1457" y="829"/>
                  </a:cubicBezTo>
                  <a:cubicBezTo>
                    <a:pt x="1446" y="837"/>
                    <a:pt x="1446" y="837"/>
                    <a:pt x="1446" y="837"/>
                  </a:cubicBezTo>
                  <a:cubicBezTo>
                    <a:pt x="1455" y="846"/>
                    <a:pt x="1455" y="846"/>
                    <a:pt x="1455" y="846"/>
                  </a:cubicBezTo>
                  <a:cubicBezTo>
                    <a:pt x="1471" y="846"/>
                    <a:pt x="1471" y="846"/>
                    <a:pt x="1471" y="846"/>
                  </a:cubicBezTo>
                  <a:cubicBezTo>
                    <a:pt x="1479" y="852"/>
                    <a:pt x="1479" y="852"/>
                    <a:pt x="1479" y="852"/>
                  </a:cubicBezTo>
                  <a:cubicBezTo>
                    <a:pt x="1479" y="899"/>
                    <a:pt x="1479" y="899"/>
                    <a:pt x="1479" y="899"/>
                  </a:cubicBezTo>
                  <a:cubicBezTo>
                    <a:pt x="1476" y="899"/>
                    <a:pt x="1472" y="900"/>
                    <a:pt x="1467" y="900"/>
                  </a:cubicBezTo>
                  <a:cubicBezTo>
                    <a:pt x="1460" y="912"/>
                    <a:pt x="1460" y="912"/>
                    <a:pt x="1460" y="912"/>
                  </a:cubicBezTo>
                  <a:cubicBezTo>
                    <a:pt x="1409" y="903"/>
                    <a:pt x="1409" y="903"/>
                    <a:pt x="1409" y="903"/>
                  </a:cubicBezTo>
                  <a:cubicBezTo>
                    <a:pt x="1392" y="893"/>
                    <a:pt x="1392" y="893"/>
                    <a:pt x="1392" y="893"/>
                  </a:cubicBezTo>
                  <a:cubicBezTo>
                    <a:pt x="1379" y="902"/>
                    <a:pt x="1382" y="898"/>
                    <a:pt x="1371" y="910"/>
                  </a:cubicBezTo>
                  <a:cubicBezTo>
                    <a:pt x="1341" y="902"/>
                    <a:pt x="1341" y="902"/>
                    <a:pt x="1341" y="902"/>
                  </a:cubicBezTo>
                  <a:cubicBezTo>
                    <a:pt x="1322" y="911"/>
                    <a:pt x="1322" y="911"/>
                    <a:pt x="1322" y="911"/>
                  </a:cubicBezTo>
                  <a:cubicBezTo>
                    <a:pt x="1300" y="933"/>
                    <a:pt x="1300" y="933"/>
                    <a:pt x="1300" y="933"/>
                  </a:cubicBezTo>
                  <a:cubicBezTo>
                    <a:pt x="1263" y="931"/>
                    <a:pt x="1263" y="931"/>
                    <a:pt x="1263" y="931"/>
                  </a:cubicBezTo>
                  <a:cubicBezTo>
                    <a:pt x="1255" y="920"/>
                    <a:pt x="1255" y="920"/>
                    <a:pt x="1255" y="920"/>
                  </a:cubicBezTo>
                  <a:cubicBezTo>
                    <a:pt x="1253" y="930"/>
                    <a:pt x="1253" y="930"/>
                    <a:pt x="1253" y="930"/>
                  </a:cubicBezTo>
                  <a:cubicBezTo>
                    <a:pt x="1261" y="940"/>
                    <a:pt x="1261" y="940"/>
                    <a:pt x="1261" y="940"/>
                  </a:cubicBezTo>
                  <a:cubicBezTo>
                    <a:pt x="1247" y="947"/>
                    <a:pt x="1247" y="947"/>
                    <a:pt x="1247" y="947"/>
                  </a:cubicBezTo>
                  <a:cubicBezTo>
                    <a:pt x="1242" y="933"/>
                    <a:pt x="1242" y="933"/>
                    <a:pt x="1242" y="933"/>
                  </a:cubicBezTo>
                  <a:cubicBezTo>
                    <a:pt x="1230" y="918"/>
                    <a:pt x="1230" y="918"/>
                    <a:pt x="1230" y="918"/>
                  </a:cubicBezTo>
                  <a:cubicBezTo>
                    <a:pt x="1212" y="914"/>
                    <a:pt x="1212" y="914"/>
                    <a:pt x="1212" y="914"/>
                  </a:cubicBezTo>
                  <a:cubicBezTo>
                    <a:pt x="1202" y="907"/>
                    <a:pt x="1202" y="907"/>
                    <a:pt x="1202" y="907"/>
                  </a:cubicBezTo>
                  <a:cubicBezTo>
                    <a:pt x="1200" y="906"/>
                    <a:pt x="1163" y="910"/>
                    <a:pt x="1156" y="911"/>
                  </a:cubicBezTo>
                  <a:cubicBezTo>
                    <a:pt x="1147" y="905"/>
                    <a:pt x="1146" y="905"/>
                    <a:pt x="1136" y="900"/>
                  </a:cubicBezTo>
                  <a:cubicBezTo>
                    <a:pt x="1126" y="908"/>
                    <a:pt x="1126" y="908"/>
                    <a:pt x="1126" y="908"/>
                  </a:cubicBezTo>
                  <a:cubicBezTo>
                    <a:pt x="1126" y="908"/>
                    <a:pt x="1121" y="917"/>
                    <a:pt x="1113" y="917"/>
                  </a:cubicBezTo>
                  <a:cubicBezTo>
                    <a:pt x="1104" y="917"/>
                    <a:pt x="1105" y="905"/>
                    <a:pt x="1105" y="905"/>
                  </a:cubicBezTo>
                  <a:cubicBezTo>
                    <a:pt x="1092" y="907"/>
                    <a:pt x="1092" y="907"/>
                    <a:pt x="1092" y="907"/>
                  </a:cubicBezTo>
                  <a:cubicBezTo>
                    <a:pt x="1075" y="931"/>
                    <a:pt x="1075" y="931"/>
                    <a:pt x="1075" y="931"/>
                  </a:cubicBezTo>
                  <a:cubicBezTo>
                    <a:pt x="1054" y="949"/>
                    <a:pt x="1054" y="949"/>
                    <a:pt x="1054" y="949"/>
                  </a:cubicBezTo>
                  <a:cubicBezTo>
                    <a:pt x="1042" y="967"/>
                    <a:pt x="1042" y="967"/>
                    <a:pt x="1042" y="967"/>
                  </a:cubicBezTo>
                  <a:cubicBezTo>
                    <a:pt x="1019" y="976"/>
                    <a:pt x="1019" y="976"/>
                    <a:pt x="1019" y="976"/>
                  </a:cubicBezTo>
                  <a:cubicBezTo>
                    <a:pt x="1020" y="984"/>
                    <a:pt x="1020" y="984"/>
                    <a:pt x="1020" y="984"/>
                  </a:cubicBezTo>
                  <a:cubicBezTo>
                    <a:pt x="1043" y="1004"/>
                    <a:pt x="1043" y="1004"/>
                    <a:pt x="1043" y="1004"/>
                  </a:cubicBezTo>
                  <a:cubicBezTo>
                    <a:pt x="1027" y="1015"/>
                    <a:pt x="1027" y="1015"/>
                    <a:pt x="1027" y="1015"/>
                  </a:cubicBezTo>
                  <a:cubicBezTo>
                    <a:pt x="1003" y="990"/>
                    <a:pt x="1012" y="1009"/>
                    <a:pt x="982" y="986"/>
                  </a:cubicBezTo>
                  <a:cubicBezTo>
                    <a:pt x="977" y="1004"/>
                    <a:pt x="976" y="999"/>
                    <a:pt x="979" y="1014"/>
                  </a:cubicBezTo>
                  <a:cubicBezTo>
                    <a:pt x="966" y="1023"/>
                    <a:pt x="966" y="1023"/>
                    <a:pt x="966" y="1023"/>
                  </a:cubicBezTo>
                  <a:cubicBezTo>
                    <a:pt x="973" y="1050"/>
                    <a:pt x="968" y="1041"/>
                    <a:pt x="985" y="1059"/>
                  </a:cubicBezTo>
                  <a:cubicBezTo>
                    <a:pt x="975" y="1080"/>
                    <a:pt x="977" y="1071"/>
                    <a:pt x="978" y="1096"/>
                  </a:cubicBezTo>
                  <a:cubicBezTo>
                    <a:pt x="1001" y="1103"/>
                    <a:pt x="1001" y="1103"/>
                    <a:pt x="1001" y="1103"/>
                  </a:cubicBezTo>
                  <a:cubicBezTo>
                    <a:pt x="1007" y="1117"/>
                    <a:pt x="1007" y="1117"/>
                    <a:pt x="1007" y="1117"/>
                  </a:cubicBezTo>
                  <a:cubicBezTo>
                    <a:pt x="1022" y="1124"/>
                    <a:pt x="1022" y="1124"/>
                    <a:pt x="1022" y="1124"/>
                  </a:cubicBezTo>
                  <a:cubicBezTo>
                    <a:pt x="1037" y="1114"/>
                    <a:pt x="1037" y="1114"/>
                    <a:pt x="1037" y="1114"/>
                  </a:cubicBezTo>
                  <a:cubicBezTo>
                    <a:pt x="1059" y="1125"/>
                    <a:pt x="1059" y="1125"/>
                    <a:pt x="1059" y="1125"/>
                  </a:cubicBezTo>
                  <a:cubicBezTo>
                    <a:pt x="1088" y="1147"/>
                    <a:pt x="1088" y="1147"/>
                    <a:pt x="1088" y="1147"/>
                  </a:cubicBezTo>
                  <a:cubicBezTo>
                    <a:pt x="1105" y="1168"/>
                    <a:pt x="1105" y="1168"/>
                    <a:pt x="1105" y="1168"/>
                  </a:cubicBezTo>
                  <a:cubicBezTo>
                    <a:pt x="1095" y="1160"/>
                    <a:pt x="1095" y="1160"/>
                    <a:pt x="1095" y="1160"/>
                  </a:cubicBezTo>
                  <a:cubicBezTo>
                    <a:pt x="1089" y="1163"/>
                    <a:pt x="1089" y="1163"/>
                    <a:pt x="1089" y="1163"/>
                  </a:cubicBezTo>
                  <a:cubicBezTo>
                    <a:pt x="1093" y="1170"/>
                    <a:pt x="1093" y="1170"/>
                    <a:pt x="1093" y="1170"/>
                  </a:cubicBezTo>
                  <a:cubicBezTo>
                    <a:pt x="1114" y="1176"/>
                    <a:pt x="1114" y="1176"/>
                    <a:pt x="1114" y="1176"/>
                  </a:cubicBezTo>
                  <a:cubicBezTo>
                    <a:pt x="1113" y="1192"/>
                    <a:pt x="1113" y="1192"/>
                    <a:pt x="1113" y="1192"/>
                  </a:cubicBezTo>
                  <a:cubicBezTo>
                    <a:pt x="1097" y="1252"/>
                    <a:pt x="1097" y="1252"/>
                    <a:pt x="1097" y="1252"/>
                  </a:cubicBezTo>
                  <a:cubicBezTo>
                    <a:pt x="1084" y="1280"/>
                    <a:pt x="1084" y="1280"/>
                    <a:pt x="1084" y="1280"/>
                  </a:cubicBezTo>
                  <a:cubicBezTo>
                    <a:pt x="1081" y="1297"/>
                    <a:pt x="1081" y="1297"/>
                    <a:pt x="1081" y="1297"/>
                  </a:cubicBezTo>
                  <a:cubicBezTo>
                    <a:pt x="1079" y="1314"/>
                    <a:pt x="1079" y="1314"/>
                    <a:pt x="1079" y="1314"/>
                  </a:cubicBezTo>
                  <a:cubicBezTo>
                    <a:pt x="1083" y="1328"/>
                    <a:pt x="1083" y="1328"/>
                    <a:pt x="1083" y="1328"/>
                  </a:cubicBezTo>
                  <a:cubicBezTo>
                    <a:pt x="1083" y="1328"/>
                    <a:pt x="1083" y="1332"/>
                    <a:pt x="1087" y="1336"/>
                  </a:cubicBezTo>
                  <a:cubicBezTo>
                    <a:pt x="1091" y="1340"/>
                    <a:pt x="1092" y="1344"/>
                    <a:pt x="1097" y="1348"/>
                  </a:cubicBezTo>
                  <a:cubicBezTo>
                    <a:pt x="1102" y="1351"/>
                    <a:pt x="1100" y="1353"/>
                    <a:pt x="1118" y="1354"/>
                  </a:cubicBezTo>
                  <a:cubicBezTo>
                    <a:pt x="1135" y="1356"/>
                    <a:pt x="1119" y="1364"/>
                    <a:pt x="1120" y="1367"/>
                  </a:cubicBezTo>
                  <a:cubicBezTo>
                    <a:pt x="1121" y="1369"/>
                    <a:pt x="1122" y="1383"/>
                    <a:pt x="1129" y="1397"/>
                  </a:cubicBezTo>
                  <a:cubicBezTo>
                    <a:pt x="1136" y="1411"/>
                    <a:pt x="1140" y="1409"/>
                    <a:pt x="1151" y="1415"/>
                  </a:cubicBezTo>
                  <a:cubicBezTo>
                    <a:pt x="1162" y="1420"/>
                    <a:pt x="1157" y="1422"/>
                    <a:pt x="1164" y="1436"/>
                  </a:cubicBezTo>
                  <a:cubicBezTo>
                    <a:pt x="1171" y="1449"/>
                    <a:pt x="1188" y="1443"/>
                    <a:pt x="1191" y="1443"/>
                  </a:cubicBezTo>
                  <a:cubicBezTo>
                    <a:pt x="1193" y="1443"/>
                    <a:pt x="1195" y="1446"/>
                    <a:pt x="1198" y="1450"/>
                  </a:cubicBezTo>
                  <a:cubicBezTo>
                    <a:pt x="1198" y="1450"/>
                    <a:pt x="1198" y="1450"/>
                    <a:pt x="1198" y="1450"/>
                  </a:cubicBezTo>
                  <a:cubicBezTo>
                    <a:pt x="1198" y="1450"/>
                    <a:pt x="1192" y="1456"/>
                    <a:pt x="1190" y="1457"/>
                  </a:cubicBezTo>
                  <a:cubicBezTo>
                    <a:pt x="1189" y="1458"/>
                    <a:pt x="1188" y="1459"/>
                    <a:pt x="1187" y="1460"/>
                  </a:cubicBezTo>
                  <a:cubicBezTo>
                    <a:pt x="1186" y="1462"/>
                    <a:pt x="1189" y="1463"/>
                    <a:pt x="1187" y="1464"/>
                  </a:cubicBezTo>
                  <a:cubicBezTo>
                    <a:pt x="1185" y="1465"/>
                    <a:pt x="1183" y="1469"/>
                    <a:pt x="1183" y="1471"/>
                  </a:cubicBezTo>
                  <a:cubicBezTo>
                    <a:pt x="1184" y="1473"/>
                    <a:pt x="1182" y="1476"/>
                    <a:pt x="1182" y="1476"/>
                  </a:cubicBezTo>
                  <a:cubicBezTo>
                    <a:pt x="1182" y="1476"/>
                    <a:pt x="1178" y="1481"/>
                    <a:pt x="1173" y="1481"/>
                  </a:cubicBezTo>
                  <a:cubicBezTo>
                    <a:pt x="1169" y="1482"/>
                    <a:pt x="1166" y="1480"/>
                    <a:pt x="1162" y="1479"/>
                  </a:cubicBezTo>
                  <a:cubicBezTo>
                    <a:pt x="1158" y="1478"/>
                    <a:pt x="1158" y="1478"/>
                    <a:pt x="1158" y="1478"/>
                  </a:cubicBezTo>
                  <a:cubicBezTo>
                    <a:pt x="1158" y="1478"/>
                    <a:pt x="1155" y="1478"/>
                    <a:pt x="1151" y="1477"/>
                  </a:cubicBezTo>
                  <a:cubicBezTo>
                    <a:pt x="1147" y="1475"/>
                    <a:pt x="1150" y="1475"/>
                    <a:pt x="1150" y="1475"/>
                  </a:cubicBezTo>
                  <a:cubicBezTo>
                    <a:pt x="1146" y="1471"/>
                    <a:pt x="1146" y="1471"/>
                    <a:pt x="1146" y="1471"/>
                  </a:cubicBezTo>
                  <a:cubicBezTo>
                    <a:pt x="1142" y="1466"/>
                    <a:pt x="1142" y="1466"/>
                    <a:pt x="1142" y="1466"/>
                  </a:cubicBezTo>
                  <a:cubicBezTo>
                    <a:pt x="1142" y="1466"/>
                    <a:pt x="1141" y="1465"/>
                    <a:pt x="1141" y="1463"/>
                  </a:cubicBezTo>
                  <a:cubicBezTo>
                    <a:pt x="1140" y="1461"/>
                    <a:pt x="1140" y="1463"/>
                    <a:pt x="1138" y="1463"/>
                  </a:cubicBezTo>
                  <a:cubicBezTo>
                    <a:pt x="1136" y="1463"/>
                    <a:pt x="1135" y="1464"/>
                    <a:pt x="1133" y="1463"/>
                  </a:cubicBezTo>
                  <a:cubicBezTo>
                    <a:pt x="1132" y="1462"/>
                    <a:pt x="1132" y="1461"/>
                    <a:pt x="1132" y="1460"/>
                  </a:cubicBezTo>
                  <a:cubicBezTo>
                    <a:pt x="1132" y="1459"/>
                    <a:pt x="1129" y="1457"/>
                    <a:pt x="1126" y="1457"/>
                  </a:cubicBezTo>
                  <a:cubicBezTo>
                    <a:pt x="1123" y="1456"/>
                    <a:pt x="1124" y="1454"/>
                    <a:pt x="1120" y="1454"/>
                  </a:cubicBezTo>
                  <a:cubicBezTo>
                    <a:pt x="1116" y="1454"/>
                    <a:pt x="1119" y="1451"/>
                    <a:pt x="1119" y="1449"/>
                  </a:cubicBezTo>
                  <a:cubicBezTo>
                    <a:pt x="1118" y="1448"/>
                    <a:pt x="1115" y="1451"/>
                    <a:pt x="1114" y="1452"/>
                  </a:cubicBezTo>
                  <a:cubicBezTo>
                    <a:pt x="1113" y="1453"/>
                    <a:pt x="1112" y="1455"/>
                    <a:pt x="1110" y="1455"/>
                  </a:cubicBezTo>
                  <a:cubicBezTo>
                    <a:pt x="1109" y="1456"/>
                    <a:pt x="1108" y="1450"/>
                    <a:pt x="1108" y="1450"/>
                  </a:cubicBezTo>
                  <a:cubicBezTo>
                    <a:pt x="1108" y="1450"/>
                    <a:pt x="1108" y="1450"/>
                    <a:pt x="1104" y="1450"/>
                  </a:cubicBezTo>
                  <a:cubicBezTo>
                    <a:pt x="1099" y="1450"/>
                    <a:pt x="1102" y="1452"/>
                    <a:pt x="1102" y="1452"/>
                  </a:cubicBezTo>
                  <a:cubicBezTo>
                    <a:pt x="1099" y="1459"/>
                    <a:pt x="1099" y="1459"/>
                    <a:pt x="1099" y="1459"/>
                  </a:cubicBezTo>
                  <a:cubicBezTo>
                    <a:pt x="1094" y="1463"/>
                    <a:pt x="1094" y="1463"/>
                    <a:pt x="1094" y="1463"/>
                  </a:cubicBezTo>
                  <a:cubicBezTo>
                    <a:pt x="1094" y="1463"/>
                    <a:pt x="1095" y="1466"/>
                    <a:pt x="1096" y="1468"/>
                  </a:cubicBezTo>
                  <a:cubicBezTo>
                    <a:pt x="1096" y="1470"/>
                    <a:pt x="1099" y="1471"/>
                    <a:pt x="1099" y="1471"/>
                  </a:cubicBezTo>
                  <a:cubicBezTo>
                    <a:pt x="1099" y="1471"/>
                    <a:pt x="1102" y="1473"/>
                    <a:pt x="1105" y="1475"/>
                  </a:cubicBezTo>
                  <a:cubicBezTo>
                    <a:pt x="1108" y="1477"/>
                    <a:pt x="1107" y="1477"/>
                    <a:pt x="1109" y="1477"/>
                  </a:cubicBezTo>
                  <a:cubicBezTo>
                    <a:pt x="1111" y="1478"/>
                    <a:pt x="1114" y="1479"/>
                    <a:pt x="1118" y="1481"/>
                  </a:cubicBezTo>
                  <a:cubicBezTo>
                    <a:pt x="1122" y="1482"/>
                    <a:pt x="1120" y="1481"/>
                    <a:pt x="1126" y="1486"/>
                  </a:cubicBezTo>
                  <a:cubicBezTo>
                    <a:pt x="1131" y="1490"/>
                    <a:pt x="1125" y="1486"/>
                    <a:pt x="1124" y="1489"/>
                  </a:cubicBezTo>
                  <a:cubicBezTo>
                    <a:pt x="1123" y="1493"/>
                    <a:pt x="1117" y="1485"/>
                    <a:pt x="1113" y="1487"/>
                  </a:cubicBezTo>
                  <a:cubicBezTo>
                    <a:pt x="1109" y="1488"/>
                    <a:pt x="1108" y="1485"/>
                    <a:pt x="1105" y="1486"/>
                  </a:cubicBezTo>
                  <a:cubicBezTo>
                    <a:pt x="1105" y="1486"/>
                    <a:pt x="1105" y="1486"/>
                    <a:pt x="1105" y="1486"/>
                  </a:cubicBezTo>
                  <a:cubicBezTo>
                    <a:pt x="1104" y="1486"/>
                    <a:pt x="1104" y="1486"/>
                    <a:pt x="1104" y="1486"/>
                  </a:cubicBezTo>
                  <a:cubicBezTo>
                    <a:pt x="1104" y="1485"/>
                    <a:pt x="1103" y="1484"/>
                    <a:pt x="1103" y="1483"/>
                  </a:cubicBezTo>
                  <a:cubicBezTo>
                    <a:pt x="1102" y="1482"/>
                    <a:pt x="1097" y="1482"/>
                    <a:pt x="1097" y="1482"/>
                  </a:cubicBezTo>
                  <a:cubicBezTo>
                    <a:pt x="1093" y="1481"/>
                    <a:pt x="1093" y="1481"/>
                    <a:pt x="1093" y="1481"/>
                  </a:cubicBezTo>
                  <a:cubicBezTo>
                    <a:pt x="1090" y="1480"/>
                    <a:pt x="1090" y="1480"/>
                    <a:pt x="1090" y="1480"/>
                  </a:cubicBezTo>
                  <a:cubicBezTo>
                    <a:pt x="1087" y="1475"/>
                    <a:pt x="1087" y="1475"/>
                    <a:pt x="1087" y="1475"/>
                  </a:cubicBezTo>
                  <a:cubicBezTo>
                    <a:pt x="1084" y="1473"/>
                    <a:pt x="1084" y="1473"/>
                    <a:pt x="1084" y="1473"/>
                  </a:cubicBezTo>
                  <a:cubicBezTo>
                    <a:pt x="1081" y="1469"/>
                    <a:pt x="1081" y="1469"/>
                    <a:pt x="1081" y="1469"/>
                  </a:cubicBezTo>
                  <a:cubicBezTo>
                    <a:pt x="1082" y="1467"/>
                    <a:pt x="1082" y="1467"/>
                    <a:pt x="1082" y="1467"/>
                  </a:cubicBezTo>
                  <a:cubicBezTo>
                    <a:pt x="1085" y="1463"/>
                    <a:pt x="1085" y="1463"/>
                    <a:pt x="1085" y="1463"/>
                  </a:cubicBezTo>
                  <a:cubicBezTo>
                    <a:pt x="1085" y="1463"/>
                    <a:pt x="1086" y="1463"/>
                    <a:pt x="1087" y="1461"/>
                  </a:cubicBezTo>
                  <a:cubicBezTo>
                    <a:pt x="1089" y="1458"/>
                    <a:pt x="1087" y="1458"/>
                    <a:pt x="1087" y="1458"/>
                  </a:cubicBezTo>
                  <a:cubicBezTo>
                    <a:pt x="1087" y="1458"/>
                    <a:pt x="1083" y="1456"/>
                    <a:pt x="1081" y="1455"/>
                  </a:cubicBezTo>
                  <a:cubicBezTo>
                    <a:pt x="1079" y="1454"/>
                    <a:pt x="1076" y="1457"/>
                    <a:pt x="1076" y="1457"/>
                  </a:cubicBezTo>
                  <a:cubicBezTo>
                    <a:pt x="1070" y="1456"/>
                    <a:pt x="1070" y="1456"/>
                    <a:pt x="1070" y="1456"/>
                  </a:cubicBezTo>
                  <a:cubicBezTo>
                    <a:pt x="1065" y="1456"/>
                    <a:pt x="1065" y="1456"/>
                    <a:pt x="1065" y="1456"/>
                  </a:cubicBezTo>
                  <a:cubicBezTo>
                    <a:pt x="1061" y="1452"/>
                    <a:pt x="1061" y="1452"/>
                    <a:pt x="1061" y="1452"/>
                  </a:cubicBezTo>
                  <a:cubicBezTo>
                    <a:pt x="1054" y="1450"/>
                    <a:pt x="1054" y="1450"/>
                    <a:pt x="1054" y="1450"/>
                  </a:cubicBezTo>
                  <a:cubicBezTo>
                    <a:pt x="1050" y="1448"/>
                    <a:pt x="1050" y="1448"/>
                    <a:pt x="1050" y="1448"/>
                  </a:cubicBezTo>
                  <a:cubicBezTo>
                    <a:pt x="1050" y="1448"/>
                    <a:pt x="1050" y="1440"/>
                    <a:pt x="1050" y="1439"/>
                  </a:cubicBezTo>
                  <a:cubicBezTo>
                    <a:pt x="1050" y="1437"/>
                    <a:pt x="1050" y="1434"/>
                    <a:pt x="1050" y="1434"/>
                  </a:cubicBezTo>
                  <a:cubicBezTo>
                    <a:pt x="1050" y="1434"/>
                    <a:pt x="1044" y="1433"/>
                    <a:pt x="1041" y="1434"/>
                  </a:cubicBezTo>
                  <a:cubicBezTo>
                    <a:pt x="1039" y="1435"/>
                    <a:pt x="1036" y="1434"/>
                    <a:pt x="1036" y="1434"/>
                  </a:cubicBezTo>
                  <a:cubicBezTo>
                    <a:pt x="1036" y="1434"/>
                    <a:pt x="1028" y="1433"/>
                    <a:pt x="1027" y="1431"/>
                  </a:cubicBezTo>
                  <a:cubicBezTo>
                    <a:pt x="1027" y="1429"/>
                    <a:pt x="1027" y="1430"/>
                    <a:pt x="1026" y="1430"/>
                  </a:cubicBezTo>
                  <a:cubicBezTo>
                    <a:pt x="1024" y="1430"/>
                    <a:pt x="1018" y="1430"/>
                    <a:pt x="1018" y="1430"/>
                  </a:cubicBezTo>
                  <a:cubicBezTo>
                    <a:pt x="1012" y="1428"/>
                    <a:pt x="1012" y="1428"/>
                    <a:pt x="1012" y="1428"/>
                  </a:cubicBezTo>
                  <a:cubicBezTo>
                    <a:pt x="1012" y="1437"/>
                    <a:pt x="1012" y="1437"/>
                    <a:pt x="1012" y="1437"/>
                  </a:cubicBezTo>
                  <a:cubicBezTo>
                    <a:pt x="1011" y="1435"/>
                    <a:pt x="1011" y="1435"/>
                    <a:pt x="1011" y="1435"/>
                  </a:cubicBezTo>
                  <a:cubicBezTo>
                    <a:pt x="1001" y="1434"/>
                    <a:pt x="1001" y="1434"/>
                    <a:pt x="1001" y="1434"/>
                  </a:cubicBezTo>
                  <a:cubicBezTo>
                    <a:pt x="995" y="1437"/>
                    <a:pt x="995" y="1437"/>
                    <a:pt x="995" y="1437"/>
                  </a:cubicBezTo>
                  <a:cubicBezTo>
                    <a:pt x="990" y="1439"/>
                    <a:pt x="990" y="1439"/>
                    <a:pt x="990" y="1439"/>
                  </a:cubicBezTo>
                  <a:cubicBezTo>
                    <a:pt x="990" y="1442"/>
                    <a:pt x="990" y="1442"/>
                    <a:pt x="990" y="1442"/>
                  </a:cubicBezTo>
                  <a:cubicBezTo>
                    <a:pt x="988" y="1445"/>
                    <a:pt x="988" y="1445"/>
                    <a:pt x="988" y="1445"/>
                  </a:cubicBezTo>
                  <a:cubicBezTo>
                    <a:pt x="988" y="1445"/>
                    <a:pt x="985" y="1446"/>
                    <a:pt x="983" y="1446"/>
                  </a:cubicBezTo>
                  <a:cubicBezTo>
                    <a:pt x="983" y="1447"/>
                    <a:pt x="982" y="1449"/>
                    <a:pt x="982" y="1450"/>
                  </a:cubicBezTo>
                  <a:cubicBezTo>
                    <a:pt x="981" y="1451"/>
                    <a:pt x="979" y="1451"/>
                    <a:pt x="979" y="1451"/>
                  </a:cubicBezTo>
                  <a:cubicBezTo>
                    <a:pt x="975" y="1450"/>
                    <a:pt x="975" y="1450"/>
                    <a:pt x="975" y="1450"/>
                  </a:cubicBezTo>
                  <a:cubicBezTo>
                    <a:pt x="972" y="1450"/>
                    <a:pt x="972" y="1450"/>
                    <a:pt x="972" y="1450"/>
                  </a:cubicBezTo>
                  <a:cubicBezTo>
                    <a:pt x="970" y="1448"/>
                    <a:pt x="970" y="1448"/>
                    <a:pt x="970" y="1448"/>
                  </a:cubicBezTo>
                  <a:cubicBezTo>
                    <a:pt x="972" y="1444"/>
                    <a:pt x="972" y="1444"/>
                    <a:pt x="972" y="1444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72" y="1442"/>
                    <a:pt x="972" y="1442"/>
                    <a:pt x="972" y="1442"/>
                  </a:cubicBezTo>
                  <a:cubicBezTo>
                    <a:pt x="966" y="1442"/>
                    <a:pt x="966" y="1442"/>
                    <a:pt x="966" y="1442"/>
                  </a:cubicBezTo>
                  <a:cubicBezTo>
                    <a:pt x="960" y="1440"/>
                    <a:pt x="960" y="1440"/>
                    <a:pt x="960" y="1440"/>
                  </a:cubicBezTo>
                  <a:cubicBezTo>
                    <a:pt x="947" y="1439"/>
                    <a:pt x="947" y="1439"/>
                    <a:pt x="947" y="1439"/>
                  </a:cubicBezTo>
                  <a:cubicBezTo>
                    <a:pt x="939" y="1437"/>
                    <a:pt x="939" y="1437"/>
                    <a:pt x="939" y="1437"/>
                  </a:cubicBezTo>
                  <a:cubicBezTo>
                    <a:pt x="934" y="1432"/>
                    <a:pt x="934" y="1432"/>
                    <a:pt x="934" y="1432"/>
                  </a:cubicBezTo>
                  <a:cubicBezTo>
                    <a:pt x="926" y="1430"/>
                    <a:pt x="926" y="1430"/>
                    <a:pt x="926" y="1430"/>
                  </a:cubicBezTo>
                  <a:cubicBezTo>
                    <a:pt x="919" y="1435"/>
                    <a:pt x="919" y="1435"/>
                    <a:pt x="919" y="1435"/>
                  </a:cubicBezTo>
                  <a:cubicBezTo>
                    <a:pt x="919" y="1435"/>
                    <a:pt x="912" y="1432"/>
                    <a:pt x="909" y="1432"/>
                  </a:cubicBezTo>
                  <a:cubicBezTo>
                    <a:pt x="907" y="1433"/>
                    <a:pt x="903" y="1434"/>
                    <a:pt x="902" y="1435"/>
                  </a:cubicBezTo>
                  <a:cubicBezTo>
                    <a:pt x="901" y="1435"/>
                    <a:pt x="901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6"/>
                    <a:pt x="900" y="1436"/>
                    <a:pt x="900" y="1436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900" y="1437"/>
                    <a:pt x="900" y="1437"/>
                    <a:pt x="900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7"/>
                    <a:pt x="899" y="1437"/>
                    <a:pt x="899" y="1437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9" y="1438"/>
                    <a:pt x="899" y="1438"/>
                    <a:pt x="899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8" y="1438"/>
                    <a:pt x="898" y="1438"/>
                    <a:pt x="898" y="1438"/>
                  </a:cubicBezTo>
                  <a:cubicBezTo>
                    <a:pt x="896" y="1439"/>
                    <a:pt x="894" y="1438"/>
                    <a:pt x="892" y="1438"/>
                  </a:cubicBezTo>
                  <a:cubicBezTo>
                    <a:pt x="891" y="1439"/>
                    <a:pt x="890" y="1440"/>
                    <a:pt x="888" y="1440"/>
                  </a:cubicBezTo>
                  <a:cubicBezTo>
                    <a:pt x="886" y="1440"/>
                    <a:pt x="885" y="1439"/>
                    <a:pt x="883" y="1439"/>
                  </a:cubicBezTo>
                  <a:cubicBezTo>
                    <a:pt x="882" y="1440"/>
                    <a:pt x="881" y="1441"/>
                    <a:pt x="879" y="1441"/>
                  </a:cubicBezTo>
                  <a:cubicBezTo>
                    <a:pt x="877" y="1441"/>
                    <a:pt x="876" y="1439"/>
                    <a:pt x="876" y="1439"/>
                  </a:cubicBezTo>
                  <a:cubicBezTo>
                    <a:pt x="873" y="1439"/>
                    <a:pt x="873" y="1439"/>
                    <a:pt x="873" y="1439"/>
                  </a:cubicBezTo>
                  <a:cubicBezTo>
                    <a:pt x="870" y="1436"/>
                    <a:pt x="870" y="1436"/>
                    <a:pt x="870" y="1436"/>
                  </a:cubicBezTo>
                  <a:cubicBezTo>
                    <a:pt x="870" y="1436"/>
                    <a:pt x="869" y="1438"/>
                    <a:pt x="866" y="1438"/>
                  </a:cubicBezTo>
                  <a:cubicBezTo>
                    <a:pt x="864" y="1437"/>
                    <a:pt x="862" y="1436"/>
                    <a:pt x="860" y="1437"/>
                  </a:cubicBezTo>
                  <a:cubicBezTo>
                    <a:pt x="858" y="1437"/>
                    <a:pt x="855" y="1438"/>
                    <a:pt x="855" y="1438"/>
                  </a:cubicBezTo>
                  <a:cubicBezTo>
                    <a:pt x="847" y="1435"/>
                    <a:pt x="847" y="1435"/>
                    <a:pt x="847" y="1435"/>
                  </a:cubicBezTo>
                  <a:cubicBezTo>
                    <a:pt x="842" y="1434"/>
                    <a:pt x="842" y="1434"/>
                    <a:pt x="842" y="1434"/>
                  </a:cubicBezTo>
                  <a:cubicBezTo>
                    <a:pt x="838" y="1433"/>
                    <a:pt x="838" y="1433"/>
                    <a:pt x="838" y="1433"/>
                  </a:cubicBezTo>
                  <a:cubicBezTo>
                    <a:pt x="836" y="1436"/>
                    <a:pt x="836" y="1436"/>
                    <a:pt x="836" y="1436"/>
                  </a:cubicBezTo>
                  <a:cubicBezTo>
                    <a:pt x="831" y="1436"/>
                    <a:pt x="831" y="1436"/>
                    <a:pt x="831" y="1436"/>
                  </a:cubicBezTo>
                  <a:cubicBezTo>
                    <a:pt x="831" y="1436"/>
                    <a:pt x="825" y="1434"/>
                    <a:pt x="821" y="1435"/>
                  </a:cubicBezTo>
                  <a:cubicBezTo>
                    <a:pt x="820" y="1435"/>
                    <a:pt x="817" y="1438"/>
                    <a:pt x="816" y="1438"/>
                  </a:cubicBezTo>
                  <a:cubicBezTo>
                    <a:pt x="815" y="1439"/>
                    <a:pt x="819" y="1442"/>
                    <a:pt x="817" y="1442"/>
                  </a:cubicBezTo>
                  <a:cubicBezTo>
                    <a:pt x="787" y="1439"/>
                    <a:pt x="752" y="1427"/>
                    <a:pt x="722" y="1419"/>
                  </a:cubicBezTo>
                  <a:cubicBezTo>
                    <a:pt x="722" y="1419"/>
                    <a:pt x="697" y="1413"/>
                    <a:pt x="693" y="1413"/>
                  </a:cubicBezTo>
                  <a:cubicBezTo>
                    <a:pt x="689" y="1413"/>
                    <a:pt x="681" y="1402"/>
                    <a:pt x="681" y="1399"/>
                  </a:cubicBezTo>
                  <a:cubicBezTo>
                    <a:pt x="681" y="1396"/>
                    <a:pt x="680" y="1387"/>
                    <a:pt x="684" y="1385"/>
                  </a:cubicBezTo>
                  <a:cubicBezTo>
                    <a:pt x="688" y="1383"/>
                    <a:pt x="688" y="1383"/>
                    <a:pt x="695" y="1377"/>
                  </a:cubicBezTo>
                  <a:cubicBezTo>
                    <a:pt x="701" y="1370"/>
                    <a:pt x="701" y="1365"/>
                    <a:pt x="701" y="1365"/>
                  </a:cubicBezTo>
                  <a:cubicBezTo>
                    <a:pt x="686" y="1356"/>
                    <a:pt x="686" y="1356"/>
                    <a:pt x="686" y="1356"/>
                  </a:cubicBezTo>
                  <a:cubicBezTo>
                    <a:pt x="686" y="1356"/>
                    <a:pt x="669" y="1365"/>
                    <a:pt x="666" y="1363"/>
                  </a:cubicBezTo>
                  <a:cubicBezTo>
                    <a:pt x="662" y="1361"/>
                    <a:pt x="646" y="1372"/>
                    <a:pt x="646" y="1372"/>
                  </a:cubicBezTo>
                  <a:cubicBezTo>
                    <a:pt x="630" y="1373"/>
                    <a:pt x="630" y="1373"/>
                    <a:pt x="630" y="1373"/>
                  </a:cubicBezTo>
                  <a:cubicBezTo>
                    <a:pt x="630" y="1371"/>
                    <a:pt x="630" y="1371"/>
                    <a:pt x="630" y="1371"/>
                  </a:cubicBezTo>
                  <a:cubicBezTo>
                    <a:pt x="630" y="1371"/>
                    <a:pt x="633" y="1361"/>
                    <a:pt x="637" y="1363"/>
                  </a:cubicBezTo>
                  <a:cubicBezTo>
                    <a:pt x="641" y="1351"/>
                    <a:pt x="641" y="1351"/>
                    <a:pt x="641" y="1351"/>
                  </a:cubicBezTo>
                  <a:cubicBezTo>
                    <a:pt x="639" y="1337"/>
                    <a:pt x="639" y="1337"/>
                    <a:pt x="639" y="1337"/>
                  </a:cubicBezTo>
                  <a:cubicBezTo>
                    <a:pt x="635" y="1318"/>
                    <a:pt x="635" y="1318"/>
                    <a:pt x="635" y="1318"/>
                  </a:cubicBezTo>
                  <a:cubicBezTo>
                    <a:pt x="655" y="1317"/>
                    <a:pt x="655" y="1317"/>
                    <a:pt x="655" y="1317"/>
                  </a:cubicBezTo>
                  <a:cubicBezTo>
                    <a:pt x="673" y="1307"/>
                    <a:pt x="673" y="1307"/>
                    <a:pt x="673" y="1307"/>
                  </a:cubicBezTo>
                  <a:cubicBezTo>
                    <a:pt x="667" y="1297"/>
                    <a:pt x="667" y="1297"/>
                    <a:pt x="667" y="1297"/>
                  </a:cubicBezTo>
                  <a:cubicBezTo>
                    <a:pt x="650" y="1303"/>
                    <a:pt x="650" y="1303"/>
                    <a:pt x="650" y="1303"/>
                  </a:cubicBezTo>
                  <a:cubicBezTo>
                    <a:pt x="634" y="1300"/>
                    <a:pt x="634" y="1300"/>
                    <a:pt x="634" y="1300"/>
                  </a:cubicBezTo>
                  <a:cubicBezTo>
                    <a:pt x="613" y="1318"/>
                    <a:pt x="613" y="1318"/>
                    <a:pt x="613" y="1318"/>
                  </a:cubicBezTo>
                  <a:cubicBezTo>
                    <a:pt x="589" y="1318"/>
                    <a:pt x="589" y="1318"/>
                    <a:pt x="589" y="1318"/>
                  </a:cubicBezTo>
                  <a:cubicBezTo>
                    <a:pt x="581" y="1317"/>
                    <a:pt x="581" y="1317"/>
                    <a:pt x="581" y="1317"/>
                  </a:cubicBezTo>
                  <a:cubicBezTo>
                    <a:pt x="582" y="1315"/>
                    <a:pt x="582" y="1313"/>
                    <a:pt x="583" y="1313"/>
                  </a:cubicBezTo>
                  <a:cubicBezTo>
                    <a:pt x="585" y="1312"/>
                    <a:pt x="600" y="1307"/>
                    <a:pt x="600" y="1307"/>
                  </a:cubicBezTo>
                  <a:cubicBezTo>
                    <a:pt x="610" y="1301"/>
                    <a:pt x="610" y="1301"/>
                    <a:pt x="610" y="1301"/>
                  </a:cubicBezTo>
                  <a:cubicBezTo>
                    <a:pt x="610" y="1301"/>
                    <a:pt x="615" y="1294"/>
                    <a:pt x="617" y="1293"/>
                  </a:cubicBezTo>
                  <a:cubicBezTo>
                    <a:pt x="619" y="1293"/>
                    <a:pt x="621" y="1289"/>
                    <a:pt x="623" y="1284"/>
                  </a:cubicBezTo>
                  <a:cubicBezTo>
                    <a:pt x="626" y="1280"/>
                    <a:pt x="628" y="1277"/>
                    <a:pt x="628" y="1277"/>
                  </a:cubicBezTo>
                  <a:cubicBezTo>
                    <a:pt x="628" y="1277"/>
                    <a:pt x="640" y="1274"/>
                    <a:pt x="639" y="1273"/>
                  </a:cubicBezTo>
                  <a:cubicBezTo>
                    <a:pt x="639" y="1271"/>
                    <a:pt x="634" y="1267"/>
                    <a:pt x="640" y="1267"/>
                  </a:cubicBezTo>
                  <a:cubicBezTo>
                    <a:pt x="646" y="1267"/>
                    <a:pt x="646" y="1267"/>
                    <a:pt x="649" y="1265"/>
                  </a:cubicBezTo>
                  <a:cubicBezTo>
                    <a:pt x="651" y="1264"/>
                    <a:pt x="650" y="1263"/>
                    <a:pt x="651" y="1260"/>
                  </a:cubicBezTo>
                  <a:cubicBezTo>
                    <a:pt x="653" y="1258"/>
                    <a:pt x="654" y="1255"/>
                    <a:pt x="654" y="1253"/>
                  </a:cubicBezTo>
                  <a:cubicBezTo>
                    <a:pt x="653" y="1251"/>
                    <a:pt x="648" y="1243"/>
                    <a:pt x="648" y="1241"/>
                  </a:cubicBezTo>
                  <a:cubicBezTo>
                    <a:pt x="647" y="1238"/>
                    <a:pt x="648" y="1232"/>
                    <a:pt x="648" y="1232"/>
                  </a:cubicBezTo>
                  <a:cubicBezTo>
                    <a:pt x="648" y="1232"/>
                    <a:pt x="651" y="1231"/>
                    <a:pt x="654" y="1230"/>
                  </a:cubicBezTo>
                  <a:cubicBezTo>
                    <a:pt x="656" y="1228"/>
                    <a:pt x="660" y="1221"/>
                    <a:pt x="660" y="1221"/>
                  </a:cubicBezTo>
                  <a:cubicBezTo>
                    <a:pt x="661" y="1216"/>
                    <a:pt x="661" y="1216"/>
                    <a:pt x="661" y="1216"/>
                  </a:cubicBezTo>
                  <a:cubicBezTo>
                    <a:pt x="661" y="1216"/>
                    <a:pt x="665" y="1213"/>
                    <a:pt x="666" y="1213"/>
                  </a:cubicBezTo>
                  <a:cubicBezTo>
                    <a:pt x="668" y="1212"/>
                    <a:pt x="684" y="1206"/>
                    <a:pt x="685" y="1206"/>
                  </a:cubicBezTo>
                  <a:cubicBezTo>
                    <a:pt x="686" y="1206"/>
                    <a:pt x="696" y="1207"/>
                    <a:pt x="693" y="1202"/>
                  </a:cubicBezTo>
                  <a:cubicBezTo>
                    <a:pt x="690" y="1198"/>
                    <a:pt x="689" y="1196"/>
                    <a:pt x="688" y="1193"/>
                  </a:cubicBezTo>
                  <a:cubicBezTo>
                    <a:pt x="687" y="1190"/>
                    <a:pt x="687" y="1183"/>
                    <a:pt x="687" y="1182"/>
                  </a:cubicBezTo>
                  <a:cubicBezTo>
                    <a:pt x="688" y="1181"/>
                    <a:pt x="696" y="1178"/>
                    <a:pt x="687" y="1177"/>
                  </a:cubicBezTo>
                  <a:cubicBezTo>
                    <a:pt x="678" y="1176"/>
                    <a:pt x="685" y="1173"/>
                    <a:pt x="683" y="1171"/>
                  </a:cubicBezTo>
                  <a:cubicBezTo>
                    <a:pt x="680" y="1169"/>
                    <a:pt x="674" y="1165"/>
                    <a:pt x="674" y="1165"/>
                  </a:cubicBezTo>
                  <a:cubicBezTo>
                    <a:pt x="671" y="1165"/>
                    <a:pt x="671" y="1165"/>
                    <a:pt x="671" y="1165"/>
                  </a:cubicBezTo>
                  <a:cubicBezTo>
                    <a:pt x="672" y="1155"/>
                    <a:pt x="672" y="1155"/>
                    <a:pt x="672" y="1155"/>
                  </a:cubicBezTo>
                  <a:cubicBezTo>
                    <a:pt x="672" y="1155"/>
                    <a:pt x="675" y="1151"/>
                    <a:pt x="676" y="1151"/>
                  </a:cubicBezTo>
                  <a:cubicBezTo>
                    <a:pt x="677" y="1150"/>
                    <a:pt x="678" y="1146"/>
                    <a:pt x="676" y="1146"/>
                  </a:cubicBezTo>
                  <a:cubicBezTo>
                    <a:pt x="674" y="1147"/>
                    <a:pt x="668" y="1148"/>
                    <a:pt x="668" y="1148"/>
                  </a:cubicBezTo>
                  <a:cubicBezTo>
                    <a:pt x="668" y="1148"/>
                    <a:pt x="663" y="1148"/>
                    <a:pt x="664" y="1146"/>
                  </a:cubicBezTo>
                  <a:cubicBezTo>
                    <a:pt x="664" y="1143"/>
                    <a:pt x="666" y="1143"/>
                    <a:pt x="669" y="1140"/>
                  </a:cubicBezTo>
                  <a:cubicBezTo>
                    <a:pt x="672" y="1137"/>
                    <a:pt x="673" y="1135"/>
                    <a:pt x="673" y="1135"/>
                  </a:cubicBezTo>
                  <a:cubicBezTo>
                    <a:pt x="672" y="1129"/>
                    <a:pt x="672" y="1129"/>
                    <a:pt x="672" y="1129"/>
                  </a:cubicBezTo>
                  <a:cubicBezTo>
                    <a:pt x="672" y="1129"/>
                    <a:pt x="672" y="1125"/>
                    <a:pt x="671" y="1125"/>
                  </a:cubicBezTo>
                  <a:cubicBezTo>
                    <a:pt x="671" y="1124"/>
                    <a:pt x="665" y="1112"/>
                    <a:pt x="665" y="1112"/>
                  </a:cubicBezTo>
                  <a:cubicBezTo>
                    <a:pt x="665" y="1112"/>
                    <a:pt x="659" y="1110"/>
                    <a:pt x="658" y="1112"/>
                  </a:cubicBezTo>
                  <a:cubicBezTo>
                    <a:pt x="658" y="1114"/>
                    <a:pt x="656" y="1118"/>
                    <a:pt x="656" y="1118"/>
                  </a:cubicBezTo>
                  <a:cubicBezTo>
                    <a:pt x="649" y="1118"/>
                    <a:pt x="649" y="1118"/>
                    <a:pt x="649" y="1118"/>
                  </a:cubicBezTo>
                  <a:cubicBezTo>
                    <a:pt x="645" y="1115"/>
                    <a:pt x="645" y="1115"/>
                    <a:pt x="645" y="1115"/>
                  </a:cubicBezTo>
                  <a:cubicBezTo>
                    <a:pt x="637" y="1113"/>
                    <a:pt x="637" y="1113"/>
                    <a:pt x="637" y="1113"/>
                  </a:cubicBezTo>
                  <a:cubicBezTo>
                    <a:pt x="637" y="1113"/>
                    <a:pt x="636" y="1114"/>
                    <a:pt x="635" y="1115"/>
                  </a:cubicBezTo>
                  <a:cubicBezTo>
                    <a:pt x="635" y="1116"/>
                    <a:pt x="627" y="1111"/>
                    <a:pt x="627" y="1111"/>
                  </a:cubicBezTo>
                  <a:cubicBezTo>
                    <a:pt x="627" y="1111"/>
                    <a:pt x="624" y="1115"/>
                    <a:pt x="623" y="1116"/>
                  </a:cubicBezTo>
                  <a:cubicBezTo>
                    <a:pt x="623" y="1116"/>
                    <a:pt x="615" y="1114"/>
                    <a:pt x="615" y="1114"/>
                  </a:cubicBezTo>
                  <a:cubicBezTo>
                    <a:pt x="607" y="1115"/>
                    <a:pt x="607" y="1115"/>
                    <a:pt x="607" y="1115"/>
                  </a:cubicBezTo>
                  <a:cubicBezTo>
                    <a:pt x="600" y="1116"/>
                    <a:pt x="600" y="1116"/>
                    <a:pt x="600" y="1116"/>
                  </a:cubicBezTo>
                  <a:cubicBezTo>
                    <a:pt x="594" y="1113"/>
                    <a:pt x="594" y="1113"/>
                    <a:pt x="594" y="1113"/>
                  </a:cubicBezTo>
                  <a:cubicBezTo>
                    <a:pt x="592" y="1116"/>
                    <a:pt x="592" y="1116"/>
                    <a:pt x="592" y="1116"/>
                  </a:cubicBezTo>
                  <a:cubicBezTo>
                    <a:pt x="593" y="1121"/>
                    <a:pt x="593" y="1121"/>
                    <a:pt x="593" y="1121"/>
                  </a:cubicBezTo>
                  <a:cubicBezTo>
                    <a:pt x="588" y="1124"/>
                    <a:pt x="588" y="1124"/>
                    <a:pt x="588" y="1124"/>
                  </a:cubicBezTo>
                  <a:cubicBezTo>
                    <a:pt x="582" y="1120"/>
                    <a:pt x="582" y="1120"/>
                    <a:pt x="582" y="1120"/>
                  </a:cubicBezTo>
                  <a:cubicBezTo>
                    <a:pt x="577" y="1119"/>
                    <a:pt x="577" y="1119"/>
                    <a:pt x="577" y="1119"/>
                  </a:cubicBezTo>
                  <a:cubicBezTo>
                    <a:pt x="570" y="1112"/>
                    <a:pt x="570" y="1112"/>
                    <a:pt x="570" y="1112"/>
                  </a:cubicBezTo>
                  <a:cubicBezTo>
                    <a:pt x="564" y="1110"/>
                    <a:pt x="564" y="1110"/>
                    <a:pt x="564" y="1110"/>
                  </a:cubicBezTo>
                  <a:cubicBezTo>
                    <a:pt x="558" y="1107"/>
                    <a:pt x="558" y="1107"/>
                    <a:pt x="558" y="1107"/>
                  </a:cubicBezTo>
                  <a:cubicBezTo>
                    <a:pt x="558" y="1107"/>
                    <a:pt x="555" y="1115"/>
                    <a:pt x="554" y="1116"/>
                  </a:cubicBezTo>
                  <a:cubicBezTo>
                    <a:pt x="553" y="1116"/>
                    <a:pt x="548" y="1118"/>
                    <a:pt x="547" y="1118"/>
                  </a:cubicBezTo>
                  <a:cubicBezTo>
                    <a:pt x="545" y="1119"/>
                    <a:pt x="544" y="1124"/>
                    <a:pt x="544" y="1124"/>
                  </a:cubicBezTo>
                  <a:cubicBezTo>
                    <a:pt x="539" y="1127"/>
                    <a:pt x="539" y="1127"/>
                    <a:pt x="539" y="1127"/>
                  </a:cubicBezTo>
                  <a:cubicBezTo>
                    <a:pt x="539" y="1127"/>
                    <a:pt x="536" y="1125"/>
                    <a:pt x="534" y="1125"/>
                  </a:cubicBezTo>
                  <a:cubicBezTo>
                    <a:pt x="533" y="1125"/>
                    <a:pt x="532" y="1126"/>
                    <a:pt x="532" y="1126"/>
                  </a:cubicBezTo>
                  <a:cubicBezTo>
                    <a:pt x="530" y="1129"/>
                    <a:pt x="530" y="1129"/>
                    <a:pt x="530" y="1129"/>
                  </a:cubicBezTo>
                  <a:cubicBezTo>
                    <a:pt x="530" y="1129"/>
                    <a:pt x="529" y="1129"/>
                    <a:pt x="526" y="1127"/>
                  </a:cubicBezTo>
                  <a:cubicBezTo>
                    <a:pt x="524" y="1126"/>
                    <a:pt x="521" y="1124"/>
                    <a:pt x="521" y="1124"/>
                  </a:cubicBezTo>
                  <a:cubicBezTo>
                    <a:pt x="518" y="1123"/>
                    <a:pt x="518" y="1123"/>
                    <a:pt x="518" y="1123"/>
                  </a:cubicBezTo>
                  <a:cubicBezTo>
                    <a:pt x="518" y="1123"/>
                    <a:pt x="509" y="1127"/>
                    <a:pt x="508" y="1128"/>
                  </a:cubicBezTo>
                  <a:cubicBezTo>
                    <a:pt x="508" y="1129"/>
                    <a:pt x="506" y="1132"/>
                    <a:pt x="506" y="1132"/>
                  </a:cubicBezTo>
                  <a:cubicBezTo>
                    <a:pt x="501" y="1128"/>
                    <a:pt x="501" y="1128"/>
                    <a:pt x="501" y="1128"/>
                  </a:cubicBezTo>
                  <a:cubicBezTo>
                    <a:pt x="495" y="1124"/>
                    <a:pt x="495" y="1124"/>
                    <a:pt x="495" y="1124"/>
                  </a:cubicBezTo>
                  <a:cubicBezTo>
                    <a:pt x="494" y="1117"/>
                    <a:pt x="494" y="1117"/>
                    <a:pt x="494" y="1117"/>
                  </a:cubicBezTo>
                  <a:cubicBezTo>
                    <a:pt x="483" y="1107"/>
                    <a:pt x="483" y="1107"/>
                    <a:pt x="483" y="1107"/>
                  </a:cubicBezTo>
                  <a:cubicBezTo>
                    <a:pt x="481" y="1097"/>
                    <a:pt x="481" y="1097"/>
                    <a:pt x="481" y="1097"/>
                  </a:cubicBezTo>
                  <a:cubicBezTo>
                    <a:pt x="473" y="1091"/>
                    <a:pt x="473" y="1091"/>
                    <a:pt x="473" y="1091"/>
                  </a:cubicBezTo>
                  <a:cubicBezTo>
                    <a:pt x="468" y="1097"/>
                    <a:pt x="468" y="1097"/>
                    <a:pt x="468" y="1097"/>
                  </a:cubicBezTo>
                  <a:cubicBezTo>
                    <a:pt x="460" y="1096"/>
                    <a:pt x="460" y="1096"/>
                    <a:pt x="460" y="1096"/>
                  </a:cubicBezTo>
                  <a:close/>
                  <a:moveTo>
                    <a:pt x="357" y="73"/>
                  </a:moveTo>
                  <a:cubicBezTo>
                    <a:pt x="357" y="73"/>
                    <a:pt x="357" y="73"/>
                    <a:pt x="357" y="73"/>
                  </a:cubicBezTo>
                  <a:cubicBezTo>
                    <a:pt x="358" y="74"/>
                    <a:pt x="358" y="74"/>
                    <a:pt x="358" y="74"/>
                  </a:cubicBezTo>
                  <a:cubicBezTo>
                    <a:pt x="358" y="74"/>
                    <a:pt x="364" y="80"/>
                    <a:pt x="369" y="80"/>
                  </a:cubicBezTo>
                  <a:cubicBezTo>
                    <a:pt x="374" y="80"/>
                    <a:pt x="370" y="80"/>
                    <a:pt x="375" y="79"/>
                  </a:cubicBezTo>
                  <a:cubicBezTo>
                    <a:pt x="379" y="77"/>
                    <a:pt x="380" y="74"/>
                    <a:pt x="382" y="71"/>
                  </a:cubicBezTo>
                  <a:cubicBezTo>
                    <a:pt x="384" y="68"/>
                    <a:pt x="384" y="68"/>
                    <a:pt x="384" y="65"/>
                  </a:cubicBezTo>
                  <a:cubicBezTo>
                    <a:pt x="384" y="62"/>
                    <a:pt x="384" y="57"/>
                    <a:pt x="384" y="54"/>
                  </a:cubicBezTo>
                  <a:cubicBezTo>
                    <a:pt x="384" y="51"/>
                    <a:pt x="387" y="52"/>
                    <a:pt x="390" y="52"/>
                  </a:cubicBezTo>
                  <a:cubicBezTo>
                    <a:pt x="392" y="52"/>
                    <a:pt x="388" y="44"/>
                    <a:pt x="388" y="44"/>
                  </a:cubicBezTo>
                  <a:cubicBezTo>
                    <a:pt x="388" y="44"/>
                    <a:pt x="379" y="40"/>
                    <a:pt x="375" y="40"/>
                  </a:cubicBezTo>
                  <a:cubicBezTo>
                    <a:pt x="371" y="40"/>
                    <a:pt x="362" y="39"/>
                    <a:pt x="362" y="39"/>
                  </a:cubicBezTo>
                  <a:cubicBezTo>
                    <a:pt x="351" y="53"/>
                    <a:pt x="351" y="53"/>
                    <a:pt x="351" y="53"/>
                  </a:cubicBezTo>
                  <a:cubicBezTo>
                    <a:pt x="351" y="53"/>
                    <a:pt x="355" y="72"/>
                    <a:pt x="357" y="73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1" name="Freeform 109"/>
            <p:cNvSpPr>
              <a:spLocks noEditPoints="1"/>
            </p:cNvSpPr>
            <p:nvPr/>
          </p:nvSpPr>
          <p:spPr bwMode="auto">
            <a:xfrm>
              <a:off x="3018944" y="3060344"/>
              <a:ext cx="692108" cy="1268436"/>
            </a:xfrm>
            <a:custGeom>
              <a:avLst/>
              <a:gdLst>
                <a:gd name="T0" fmla="*/ 29 w 291"/>
                <a:gd name="T1" fmla="*/ 540 h 550"/>
                <a:gd name="T2" fmla="*/ 96 w 291"/>
                <a:gd name="T3" fmla="*/ 541 h 550"/>
                <a:gd name="T4" fmla="*/ 173 w 291"/>
                <a:gd name="T5" fmla="*/ 531 h 550"/>
                <a:gd name="T6" fmla="*/ 212 w 291"/>
                <a:gd name="T7" fmla="*/ 534 h 550"/>
                <a:gd name="T8" fmla="*/ 254 w 291"/>
                <a:gd name="T9" fmla="*/ 506 h 550"/>
                <a:gd name="T10" fmla="*/ 285 w 291"/>
                <a:gd name="T11" fmla="*/ 469 h 550"/>
                <a:gd name="T12" fmla="*/ 250 w 291"/>
                <a:gd name="T13" fmla="*/ 407 h 550"/>
                <a:gd name="T14" fmla="*/ 238 w 291"/>
                <a:gd name="T15" fmla="*/ 368 h 550"/>
                <a:gd name="T16" fmla="*/ 207 w 291"/>
                <a:gd name="T17" fmla="*/ 282 h 550"/>
                <a:gd name="T18" fmla="*/ 158 w 291"/>
                <a:gd name="T19" fmla="*/ 243 h 550"/>
                <a:gd name="T20" fmla="*/ 165 w 291"/>
                <a:gd name="T21" fmla="*/ 227 h 550"/>
                <a:gd name="T22" fmla="*/ 220 w 291"/>
                <a:gd name="T23" fmla="*/ 173 h 550"/>
                <a:gd name="T24" fmla="*/ 167 w 291"/>
                <a:gd name="T25" fmla="*/ 157 h 550"/>
                <a:gd name="T26" fmla="*/ 143 w 291"/>
                <a:gd name="T27" fmla="*/ 156 h 550"/>
                <a:gd name="T28" fmla="*/ 166 w 291"/>
                <a:gd name="T29" fmla="*/ 136 h 550"/>
                <a:gd name="T30" fmla="*/ 157 w 291"/>
                <a:gd name="T31" fmla="*/ 107 h 550"/>
                <a:gd name="T32" fmla="*/ 136 w 291"/>
                <a:gd name="T33" fmla="*/ 106 h 550"/>
                <a:gd name="T34" fmla="*/ 128 w 291"/>
                <a:gd name="T35" fmla="*/ 138 h 550"/>
                <a:gd name="T36" fmla="*/ 111 w 291"/>
                <a:gd name="T37" fmla="*/ 142 h 550"/>
                <a:gd name="T38" fmla="*/ 107 w 291"/>
                <a:gd name="T39" fmla="*/ 165 h 550"/>
                <a:gd name="T40" fmla="*/ 90 w 291"/>
                <a:gd name="T41" fmla="*/ 144 h 550"/>
                <a:gd name="T42" fmla="*/ 84 w 291"/>
                <a:gd name="T43" fmla="*/ 159 h 550"/>
                <a:gd name="T44" fmla="*/ 104 w 291"/>
                <a:gd name="T45" fmla="*/ 172 h 550"/>
                <a:gd name="T46" fmla="*/ 84 w 291"/>
                <a:gd name="T47" fmla="*/ 191 h 550"/>
                <a:gd name="T48" fmla="*/ 95 w 291"/>
                <a:gd name="T49" fmla="*/ 210 h 550"/>
                <a:gd name="T50" fmla="*/ 65 w 291"/>
                <a:gd name="T51" fmla="*/ 241 h 550"/>
                <a:gd name="T52" fmla="*/ 87 w 291"/>
                <a:gd name="T53" fmla="*/ 231 h 550"/>
                <a:gd name="T54" fmla="*/ 83 w 291"/>
                <a:gd name="T55" fmla="*/ 256 h 550"/>
                <a:gd name="T56" fmla="*/ 101 w 291"/>
                <a:gd name="T57" fmla="*/ 237 h 550"/>
                <a:gd name="T58" fmla="*/ 98 w 291"/>
                <a:gd name="T59" fmla="*/ 306 h 550"/>
                <a:gd name="T60" fmla="*/ 133 w 291"/>
                <a:gd name="T61" fmla="*/ 306 h 550"/>
                <a:gd name="T62" fmla="*/ 142 w 291"/>
                <a:gd name="T63" fmla="*/ 337 h 550"/>
                <a:gd name="T64" fmla="*/ 144 w 291"/>
                <a:gd name="T65" fmla="*/ 382 h 550"/>
                <a:gd name="T66" fmla="*/ 97 w 291"/>
                <a:gd name="T67" fmla="*/ 376 h 550"/>
                <a:gd name="T68" fmla="*/ 103 w 291"/>
                <a:gd name="T69" fmla="*/ 422 h 550"/>
                <a:gd name="T70" fmla="*/ 62 w 291"/>
                <a:gd name="T71" fmla="*/ 461 h 550"/>
                <a:gd name="T72" fmla="*/ 101 w 291"/>
                <a:gd name="T73" fmla="*/ 472 h 550"/>
                <a:gd name="T74" fmla="*/ 139 w 291"/>
                <a:gd name="T75" fmla="*/ 482 h 550"/>
                <a:gd name="T76" fmla="*/ 50 w 291"/>
                <a:gd name="T77" fmla="*/ 266 h 550"/>
                <a:gd name="T78" fmla="*/ 80 w 291"/>
                <a:gd name="T79" fmla="*/ 314 h 550"/>
                <a:gd name="T80" fmla="*/ 41 w 291"/>
                <a:gd name="T81" fmla="*/ 324 h 550"/>
                <a:gd name="T82" fmla="*/ 13 w 291"/>
                <a:gd name="T83" fmla="*/ 287 h 550"/>
                <a:gd name="T84" fmla="*/ 75 w 291"/>
                <a:gd name="T85" fmla="*/ 227 h 550"/>
                <a:gd name="T86" fmla="*/ 103 w 291"/>
                <a:gd name="T87" fmla="*/ 263 h 550"/>
                <a:gd name="T88" fmla="*/ 65 w 291"/>
                <a:gd name="T89" fmla="*/ 199 h 550"/>
                <a:gd name="T90" fmla="*/ 78 w 291"/>
                <a:gd name="T91" fmla="*/ 171 h 550"/>
                <a:gd name="T92" fmla="*/ 46 w 291"/>
                <a:gd name="T93" fmla="*/ 177 h 550"/>
                <a:gd name="T94" fmla="*/ 59 w 291"/>
                <a:gd name="T95" fmla="*/ 158 h 550"/>
                <a:gd name="T96" fmla="*/ 69 w 291"/>
                <a:gd name="T97" fmla="*/ 132 h 550"/>
                <a:gd name="T98" fmla="*/ 80 w 291"/>
                <a:gd name="T99" fmla="*/ 106 h 550"/>
                <a:gd name="T100" fmla="*/ 94 w 291"/>
                <a:gd name="T101" fmla="*/ 116 h 550"/>
                <a:gd name="T102" fmla="*/ 267 w 291"/>
                <a:gd name="T103" fmla="*/ 15 h 550"/>
                <a:gd name="T104" fmla="*/ 245 w 291"/>
                <a:gd name="T105" fmla="*/ 27 h 550"/>
                <a:gd name="T106" fmla="*/ 269 w 291"/>
                <a:gd name="T107" fmla="*/ 2 h 550"/>
                <a:gd name="T108" fmla="*/ 259 w 291"/>
                <a:gd name="T109" fmla="*/ 29 h 550"/>
                <a:gd name="T110" fmla="*/ 243 w 291"/>
                <a:gd name="T111" fmla="*/ 64 h 550"/>
                <a:gd name="T112" fmla="*/ 221 w 291"/>
                <a:gd name="T113" fmla="*/ 72 h 550"/>
                <a:gd name="T114" fmla="*/ 205 w 291"/>
                <a:gd name="T115" fmla="*/ 80 h 550"/>
                <a:gd name="T116" fmla="*/ 204 w 291"/>
                <a:gd name="T117" fmla="*/ 75 h 550"/>
                <a:gd name="T118" fmla="*/ 191 w 291"/>
                <a:gd name="T119" fmla="*/ 91 h 550"/>
                <a:gd name="T120" fmla="*/ 187 w 291"/>
                <a:gd name="T121" fmla="*/ 92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1" h="550">
                  <a:moveTo>
                    <a:pt x="73" y="501"/>
                  </a:moveTo>
                  <a:cubicBezTo>
                    <a:pt x="69" y="504"/>
                    <a:pt x="69" y="504"/>
                    <a:pt x="69" y="504"/>
                  </a:cubicBezTo>
                  <a:cubicBezTo>
                    <a:pt x="69" y="508"/>
                    <a:pt x="69" y="508"/>
                    <a:pt x="69" y="508"/>
                  </a:cubicBezTo>
                  <a:cubicBezTo>
                    <a:pt x="67" y="512"/>
                    <a:pt x="67" y="512"/>
                    <a:pt x="67" y="512"/>
                  </a:cubicBezTo>
                  <a:cubicBezTo>
                    <a:pt x="67" y="512"/>
                    <a:pt x="65" y="513"/>
                    <a:pt x="65" y="514"/>
                  </a:cubicBezTo>
                  <a:cubicBezTo>
                    <a:pt x="64" y="515"/>
                    <a:pt x="60" y="518"/>
                    <a:pt x="60" y="518"/>
                  </a:cubicBezTo>
                  <a:cubicBezTo>
                    <a:pt x="60" y="518"/>
                    <a:pt x="60" y="519"/>
                    <a:pt x="59" y="519"/>
                  </a:cubicBezTo>
                  <a:cubicBezTo>
                    <a:pt x="58" y="519"/>
                    <a:pt x="51" y="522"/>
                    <a:pt x="51" y="522"/>
                  </a:cubicBezTo>
                  <a:cubicBezTo>
                    <a:pt x="49" y="526"/>
                    <a:pt x="49" y="526"/>
                    <a:pt x="49" y="526"/>
                  </a:cubicBezTo>
                  <a:cubicBezTo>
                    <a:pt x="45" y="527"/>
                    <a:pt x="45" y="527"/>
                    <a:pt x="45" y="527"/>
                  </a:cubicBezTo>
                  <a:cubicBezTo>
                    <a:pt x="42" y="532"/>
                    <a:pt x="42" y="532"/>
                    <a:pt x="42" y="532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33" y="535"/>
                    <a:pt x="33" y="535"/>
                    <a:pt x="33" y="535"/>
                  </a:cubicBezTo>
                  <a:cubicBezTo>
                    <a:pt x="29" y="533"/>
                    <a:pt x="29" y="533"/>
                    <a:pt x="29" y="533"/>
                  </a:cubicBezTo>
                  <a:cubicBezTo>
                    <a:pt x="26" y="535"/>
                    <a:pt x="26" y="535"/>
                    <a:pt x="26" y="535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4" y="541"/>
                    <a:pt x="24" y="541"/>
                    <a:pt x="24" y="541"/>
                  </a:cubicBezTo>
                  <a:cubicBezTo>
                    <a:pt x="27" y="543"/>
                    <a:pt x="27" y="543"/>
                    <a:pt x="27" y="543"/>
                  </a:cubicBezTo>
                  <a:cubicBezTo>
                    <a:pt x="29" y="540"/>
                    <a:pt x="29" y="540"/>
                    <a:pt x="29" y="540"/>
                  </a:cubicBezTo>
                  <a:cubicBezTo>
                    <a:pt x="35" y="542"/>
                    <a:pt x="35" y="542"/>
                    <a:pt x="35" y="542"/>
                  </a:cubicBezTo>
                  <a:cubicBezTo>
                    <a:pt x="35" y="542"/>
                    <a:pt x="37" y="545"/>
                    <a:pt x="38" y="546"/>
                  </a:cubicBezTo>
                  <a:cubicBezTo>
                    <a:pt x="38" y="547"/>
                    <a:pt x="38" y="550"/>
                    <a:pt x="39" y="550"/>
                  </a:cubicBezTo>
                  <a:cubicBezTo>
                    <a:pt x="40" y="549"/>
                    <a:pt x="45" y="546"/>
                    <a:pt x="45" y="546"/>
                  </a:cubicBezTo>
                  <a:cubicBezTo>
                    <a:pt x="43" y="542"/>
                    <a:pt x="43" y="542"/>
                    <a:pt x="43" y="542"/>
                  </a:cubicBezTo>
                  <a:cubicBezTo>
                    <a:pt x="43" y="542"/>
                    <a:pt x="46" y="541"/>
                    <a:pt x="48" y="541"/>
                  </a:cubicBezTo>
                  <a:cubicBezTo>
                    <a:pt x="50" y="541"/>
                    <a:pt x="52" y="542"/>
                    <a:pt x="53" y="540"/>
                  </a:cubicBezTo>
                  <a:cubicBezTo>
                    <a:pt x="53" y="539"/>
                    <a:pt x="56" y="539"/>
                    <a:pt x="56" y="539"/>
                  </a:cubicBezTo>
                  <a:cubicBezTo>
                    <a:pt x="56" y="539"/>
                    <a:pt x="58" y="536"/>
                    <a:pt x="58" y="536"/>
                  </a:cubicBezTo>
                  <a:cubicBezTo>
                    <a:pt x="58" y="535"/>
                    <a:pt x="61" y="533"/>
                    <a:pt x="61" y="533"/>
                  </a:cubicBezTo>
                  <a:cubicBezTo>
                    <a:pt x="61" y="533"/>
                    <a:pt x="68" y="536"/>
                    <a:pt x="69" y="536"/>
                  </a:cubicBezTo>
                  <a:cubicBezTo>
                    <a:pt x="70" y="536"/>
                    <a:pt x="77" y="534"/>
                    <a:pt x="77" y="534"/>
                  </a:cubicBezTo>
                  <a:cubicBezTo>
                    <a:pt x="80" y="537"/>
                    <a:pt x="80" y="537"/>
                    <a:pt x="80" y="537"/>
                  </a:cubicBezTo>
                  <a:cubicBezTo>
                    <a:pt x="80" y="537"/>
                    <a:pt x="80" y="539"/>
                    <a:pt x="82" y="540"/>
                  </a:cubicBezTo>
                  <a:cubicBezTo>
                    <a:pt x="84" y="540"/>
                    <a:pt x="85" y="540"/>
                    <a:pt x="85" y="540"/>
                  </a:cubicBezTo>
                  <a:cubicBezTo>
                    <a:pt x="88" y="544"/>
                    <a:pt x="88" y="544"/>
                    <a:pt x="88" y="544"/>
                  </a:cubicBezTo>
                  <a:cubicBezTo>
                    <a:pt x="91" y="546"/>
                    <a:pt x="91" y="546"/>
                    <a:pt x="91" y="546"/>
                  </a:cubicBezTo>
                  <a:cubicBezTo>
                    <a:pt x="91" y="546"/>
                    <a:pt x="94" y="546"/>
                    <a:pt x="94" y="545"/>
                  </a:cubicBezTo>
                  <a:cubicBezTo>
                    <a:pt x="94" y="544"/>
                    <a:pt x="95" y="542"/>
                    <a:pt x="96" y="541"/>
                  </a:cubicBezTo>
                  <a:cubicBezTo>
                    <a:pt x="97" y="541"/>
                    <a:pt x="100" y="540"/>
                    <a:pt x="100" y="540"/>
                  </a:cubicBezTo>
                  <a:cubicBezTo>
                    <a:pt x="100" y="540"/>
                    <a:pt x="100" y="538"/>
                    <a:pt x="100" y="537"/>
                  </a:cubicBezTo>
                  <a:cubicBezTo>
                    <a:pt x="100" y="535"/>
                    <a:pt x="100" y="532"/>
                    <a:pt x="101" y="531"/>
                  </a:cubicBezTo>
                  <a:cubicBezTo>
                    <a:pt x="101" y="531"/>
                    <a:pt x="104" y="527"/>
                    <a:pt x="104" y="527"/>
                  </a:cubicBezTo>
                  <a:cubicBezTo>
                    <a:pt x="109" y="526"/>
                    <a:pt x="109" y="526"/>
                    <a:pt x="109" y="526"/>
                  </a:cubicBezTo>
                  <a:cubicBezTo>
                    <a:pt x="121" y="525"/>
                    <a:pt x="121" y="525"/>
                    <a:pt x="121" y="525"/>
                  </a:cubicBezTo>
                  <a:cubicBezTo>
                    <a:pt x="125" y="525"/>
                    <a:pt x="125" y="525"/>
                    <a:pt x="125" y="525"/>
                  </a:cubicBezTo>
                  <a:cubicBezTo>
                    <a:pt x="130" y="529"/>
                    <a:pt x="130" y="529"/>
                    <a:pt x="130" y="529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35" y="534"/>
                    <a:pt x="138" y="538"/>
                    <a:pt x="138" y="537"/>
                  </a:cubicBezTo>
                  <a:cubicBezTo>
                    <a:pt x="139" y="535"/>
                    <a:pt x="140" y="531"/>
                    <a:pt x="141" y="531"/>
                  </a:cubicBezTo>
                  <a:cubicBezTo>
                    <a:pt x="142" y="531"/>
                    <a:pt x="145" y="535"/>
                    <a:pt x="145" y="535"/>
                  </a:cubicBezTo>
                  <a:cubicBezTo>
                    <a:pt x="149" y="536"/>
                    <a:pt x="149" y="536"/>
                    <a:pt x="149" y="536"/>
                  </a:cubicBezTo>
                  <a:cubicBezTo>
                    <a:pt x="152" y="536"/>
                    <a:pt x="152" y="536"/>
                    <a:pt x="152" y="536"/>
                  </a:cubicBezTo>
                  <a:cubicBezTo>
                    <a:pt x="155" y="533"/>
                    <a:pt x="155" y="533"/>
                    <a:pt x="155" y="533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57" y="531"/>
                    <a:pt x="157" y="531"/>
                    <a:pt x="157" y="531"/>
                  </a:cubicBezTo>
                  <a:cubicBezTo>
                    <a:pt x="168" y="532"/>
                    <a:pt x="168" y="532"/>
                    <a:pt x="168" y="532"/>
                  </a:cubicBezTo>
                  <a:cubicBezTo>
                    <a:pt x="173" y="531"/>
                    <a:pt x="173" y="531"/>
                    <a:pt x="173" y="531"/>
                  </a:cubicBezTo>
                  <a:cubicBezTo>
                    <a:pt x="177" y="530"/>
                    <a:pt x="177" y="530"/>
                    <a:pt x="177" y="530"/>
                  </a:cubicBezTo>
                  <a:cubicBezTo>
                    <a:pt x="177" y="532"/>
                    <a:pt x="177" y="532"/>
                    <a:pt x="177" y="532"/>
                  </a:cubicBezTo>
                  <a:cubicBezTo>
                    <a:pt x="171" y="534"/>
                    <a:pt x="171" y="534"/>
                    <a:pt x="171" y="534"/>
                  </a:cubicBezTo>
                  <a:cubicBezTo>
                    <a:pt x="171" y="534"/>
                    <a:pt x="168" y="534"/>
                    <a:pt x="169" y="535"/>
                  </a:cubicBezTo>
                  <a:cubicBezTo>
                    <a:pt x="170" y="537"/>
                    <a:pt x="175" y="539"/>
                    <a:pt x="175" y="539"/>
                  </a:cubicBezTo>
                  <a:cubicBezTo>
                    <a:pt x="175" y="539"/>
                    <a:pt x="172" y="540"/>
                    <a:pt x="176" y="540"/>
                  </a:cubicBezTo>
                  <a:cubicBezTo>
                    <a:pt x="180" y="540"/>
                    <a:pt x="182" y="539"/>
                    <a:pt x="182" y="539"/>
                  </a:cubicBezTo>
                  <a:cubicBezTo>
                    <a:pt x="185" y="536"/>
                    <a:pt x="185" y="536"/>
                    <a:pt x="185" y="536"/>
                  </a:cubicBezTo>
                  <a:cubicBezTo>
                    <a:pt x="183" y="534"/>
                    <a:pt x="183" y="534"/>
                    <a:pt x="183" y="534"/>
                  </a:cubicBezTo>
                  <a:cubicBezTo>
                    <a:pt x="178" y="533"/>
                    <a:pt x="178" y="533"/>
                    <a:pt x="178" y="533"/>
                  </a:cubicBezTo>
                  <a:cubicBezTo>
                    <a:pt x="179" y="529"/>
                    <a:pt x="179" y="529"/>
                    <a:pt x="179" y="529"/>
                  </a:cubicBezTo>
                  <a:cubicBezTo>
                    <a:pt x="180" y="529"/>
                    <a:pt x="180" y="529"/>
                    <a:pt x="180" y="529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186" y="530"/>
                    <a:pt x="186" y="530"/>
                    <a:pt x="186" y="530"/>
                  </a:cubicBezTo>
                  <a:cubicBezTo>
                    <a:pt x="190" y="531"/>
                    <a:pt x="190" y="531"/>
                    <a:pt x="190" y="531"/>
                  </a:cubicBezTo>
                  <a:cubicBezTo>
                    <a:pt x="192" y="535"/>
                    <a:pt x="192" y="535"/>
                    <a:pt x="192" y="535"/>
                  </a:cubicBezTo>
                  <a:cubicBezTo>
                    <a:pt x="192" y="535"/>
                    <a:pt x="194" y="537"/>
                    <a:pt x="196" y="535"/>
                  </a:cubicBezTo>
                  <a:cubicBezTo>
                    <a:pt x="198" y="534"/>
                    <a:pt x="200" y="533"/>
                    <a:pt x="200" y="533"/>
                  </a:cubicBezTo>
                  <a:cubicBezTo>
                    <a:pt x="212" y="534"/>
                    <a:pt x="212" y="534"/>
                    <a:pt x="212" y="534"/>
                  </a:cubicBezTo>
                  <a:cubicBezTo>
                    <a:pt x="212" y="534"/>
                    <a:pt x="218" y="533"/>
                    <a:pt x="219" y="535"/>
                  </a:cubicBezTo>
                  <a:cubicBezTo>
                    <a:pt x="220" y="536"/>
                    <a:pt x="223" y="538"/>
                    <a:pt x="223" y="538"/>
                  </a:cubicBezTo>
                  <a:cubicBezTo>
                    <a:pt x="228" y="539"/>
                    <a:pt x="228" y="539"/>
                    <a:pt x="228" y="539"/>
                  </a:cubicBezTo>
                  <a:cubicBezTo>
                    <a:pt x="233" y="539"/>
                    <a:pt x="233" y="539"/>
                    <a:pt x="233" y="539"/>
                  </a:cubicBezTo>
                  <a:cubicBezTo>
                    <a:pt x="233" y="539"/>
                    <a:pt x="235" y="537"/>
                    <a:pt x="236" y="536"/>
                  </a:cubicBezTo>
                  <a:cubicBezTo>
                    <a:pt x="238" y="536"/>
                    <a:pt x="241" y="534"/>
                    <a:pt x="242" y="534"/>
                  </a:cubicBezTo>
                  <a:cubicBezTo>
                    <a:pt x="244" y="534"/>
                    <a:pt x="249" y="533"/>
                    <a:pt x="249" y="533"/>
                  </a:cubicBezTo>
                  <a:cubicBezTo>
                    <a:pt x="250" y="533"/>
                    <a:pt x="251" y="534"/>
                    <a:pt x="253" y="533"/>
                  </a:cubicBezTo>
                  <a:cubicBezTo>
                    <a:pt x="254" y="533"/>
                    <a:pt x="257" y="528"/>
                    <a:pt x="257" y="528"/>
                  </a:cubicBezTo>
                  <a:cubicBezTo>
                    <a:pt x="257" y="528"/>
                    <a:pt x="258" y="526"/>
                    <a:pt x="260" y="526"/>
                  </a:cubicBezTo>
                  <a:cubicBezTo>
                    <a:pt x="262" y="526"/>
                    <a:pt x="265" y="526"/>
                    <a:pt x="266" y="525"/>
                  </a:cubicBezTo>
                  <a:cubicBezTo>
                    <a:pt x="267" y="523"/>
                    <a:pt x="268" y="522"/>
                    <a:pt x="269" y="521"/>
                  </a:cubicBezTo>
                  <a:cubicBezTo>
                    <a:pt x="270" y="520"/>
                    <a:pt x="272" y="517"/>
                    <a:pt x="271" y="516"/>
                  </a:cubicBezTo>
                  <a:cubicBezTo>
                    <a:pt x="271" y="515"/>
                    <a:pt x="272" y="511"/>
                    <a:pt x="272" y="511"/>
                  </a:cubicBezTo>
                  <a:cubicBezTo>
                    <a:pt x="272" y="511"/>
                    <a:pt x="269" y="511"/>
                    <a:pt x="268" y="511"/>
                  </a:cubicBezTo>
                  <a:cubicBezTo>
                    <a:pt x="267" y="510"/>
                    <a:pt x="263" y="511"/>
                    <a:pt x="262" y="510"/>
                  </a:cubicBezTo>
                  <a:cubicBezTo>
                    <a:pt x="261" y="510"/>
                    <a:pt x="257" y="510"/>
                    <a:pt x="257" y="510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7"/>
                    <a:pt x="254" y="506"/>
                  </a:cubicBezTo>
                  <a:cubicBezTo>
                    <a:pt x="253" y="506"/>
                    <a:pt x="254" y="506"/>
                    <a:pt x="252" y="505"/>
                  </a:cubicBezTo>
                  <a:cubicBezTo>
                    <a:pt x="251" y="505"/>
                    <a:pt x="249" y="503"/>
                    <a:pt x="249" y="503"/>
                  </a:cubicBezTo>
                  <a:cubicBezTo>
                    <a:pt x="246" y="502"/>
                    <a:pt x="246" y="502"/>
                    <a:pt x="246" y="502"/>
                  </a:cubicBezTo>
                  <a:cubicBezTo>
                    <a:pt x="242" y="502"/>
                    <a:pt x="242" y="502"/>
                    <a:pt x="242" y="502"/>
                  </a:cubicBezTo>
                  <a:cubicBezTo>
                    <a:pt x="246" y="500"/>
                    <a:pt x="246" y="500"/>
                    <a:pt x="246" y="500"/>
                  </a:cubicBezTo>
                  <a:cubicBezTo>
                    <a:pt x="246" y="500"/>
                    <a:pt x="250" y="500"/>
                    <a:pt x="251" y="500"/>
                  </a:cubicBezTo>
                  <a:cubicBezTo>
                    <a:pt x="252" y="501"/>
                    <a:pt x="256" y="501"/>
                    <a:pt x="256" y="500"/>
                  </a:cubicBezTo>
                  <a:cubicBezTo>
                    <a:pt x="257" y="500"/>
                    <a:pt x="260" y="495"/>
                    <a:pt x="260" y="495"/>
                  </a:cubicBezTo>
                  <a:cubicBezTo>
                    <a:pt x="259" y="492"/>
                    <a:pt x="259" y="492"/>
                    <a:pt x="259" y="492"/>
                  </a:cubicBezTo>
                  <a:cubicBezTo>
                    <a:pt x="257" y="490"/>
                    <a:pt x="257" y="490"/>
                    <a:pt x="257" y="490"/>
                  </a:cubicBezTo>
                  <a:cubicBezTo>
                    <a:pt x="253" y="491"/>
                    <a:pt x="253" y="491"/>
                    <a:pt x="253" y="491"/>
                  </a:cubicBezTo>
                  <a:cubicBezTo>
                    <a:pt x="259" y="488"/>
                    <a:pt x="259" y="488"/>
                    <a:pt x="259" y="488"/>
                  </a:cubicBezTo>
                  <a:cubicBezTo>
                    <a:pt x="261" y="486"/>
                    <a:pt x="261" y="486"/>
                    <a:pt x="261" y="486"/>
                  </a:cubicBezTo>
                  <a:cubicBezTo>
                    <a:pt x="264" y="488"/>
                    <a:pt x="264" y="488"/>
                    <a:pt x="264" y="488"/>
                  </a:cubicBezTo>
                  <a:cubicBezTo>
                    <a:pt x="264" y="488"/>
                    <a:pt x="269" y="489"/>
                    <a:pt x="269" y="488"/>
                  </a:cubicBezTo>
                  <a:cubicBezTo>
                    <a:pt x="270" y="487"/>
                    <a:pt x="271" y="485"/>
                    <a:pt x="271" y="485"/>
                  </a:cubicBezTo>
                  <a:cubicBezTo>
                    <a:pt x="271" y="482"/>
                    <a:pt x="271" y="482"/>
                    <a:pt x="271" y="482"/>
                  </a:cubicBezTo>
                  <a:cubicBezTo>
                    <a:pt x="281" y="475"/>
                    <a:pt x="281" y="475"/>
                    <a:pt x="281" y="475"/>
                  </a:cubicBezTo>
                  <a:cubicBezTo>
                    <a:pt x="285" y="469"/>
                    <a:pt x="285" y="469"/>
                    <a:pt x="285" y="469"/>
                  </a:cubicBezTo>
                  <a:cubicBezTo>
                    <a:pt x="286" y="463"/>
                    <a:pt x="286" y="463"/>
                    <a:pt x="286" y="463"/>
                  </a:cubicBezTo>
                  <a:cubicBezTo>
                    <a:pt x="291" y="454"/>
                    <a:pt x="291" y="454"/>
                    <a:pt x="291" y="454"/>
                  </a:cubicBezTo>
                  <a:cubicBezTo>
                    <a:pt x="290" y="442"/>
                    <a:pt x="290" y="442"/>
                    <a:pt x="290" y="442"/>
                  </a:cubicBezTo>
                  <a:cubicBezTo>
                    <a:pt x="285" y="434"/>
                    <a:pt x="285" y="434"/>
                    <a:pt x="285" y="434"/>
                  </a:cubicBezTo>
                  <a:cubicBezTo>
                    <a:pt x="285" y="434"/>
                    <a:pt x="279" y="429"/>
                    <a:pt x="277" y="428"/>
                  </a:cubicBezTo>
                  <a:cubicBezTo>
                    <a:pt x="275" y="428"/>
                    <a:pt x="264" y="425"/>
                    <a:pt x="264" y="425"/>
                  </a:cubicBezTo>
                  <a:cubicBezTo>
                    <a:pt x="256" y="423"/>
                    <a:pt x="256" y="423"/>
                    <a:pt x="256" y="423"/>
                  </a:cubicBezTo>
                  <a:cubicBezTo>
                    <a:pt x="252" y="425"/>
                    <a:pt x="252" y="425"/>
                    <a:pt x="252" y="425"/>
                  </a:cubicBezTo>
                  <a:cubicBezTo>
                    <a:pt x="251" y="428"/>
                    <a:pt x="251" y="428"/>
                    <a:pt x="251" y="428"/>
                  </a:cubicBezTo>
                  <a:cubicBezTo>
                    <a:pt x="248" y="430"/>
                    <a:pt x="248" y="430"/>
                    <a:pt x="248" y="430"/>
                  </a:cubicBezTo>
                  <a:cubicBezTo>
                    <a:pt x="248" y="430"/>
                    <a:pt x="245" y="432"/>
                    <a:pt x="245" y="432"/>
                  </a:cubicBezTo>
                  <a:cubicBezTo>
                    <a:pt x="244" y="432"/>
                    <a:pt x="242" y="429"/>
                    <a:pt x="242" y="429"/>
                  </a:cubicBezTo>
                  <a:cubicBezTo>
                    <a:pt x="242" y="429"/>
                    <a:pt x="239" y="426"/>
                    <a:pt x="239" y="426"/>
                  </a:cubicBezTo>
                  <a:cubicBezTo>
                    <a:pt x="238" y="426"/>
                    <a:pt x="235" y="425"/>
                    <a:pt x="235" y="425"/>
                  </a:cubicBezTo>
                  <a:cubicBezTo>
                    <a:pt x="239" y="422"/>
                    <a:pt x="239" y="422"/>
                    <a:pt x="239" y="422"/>
                  </a:cubicBezTo>
                  <a:cubicBezTo>
                    <a:pt x="244" y="420"/>
                    <a:pt x="244" y="420"/>
                    <a:pt x="244" y="420"/>
                  </a:cubicBezTo>
                  <a:cubicBezTo>
                    <a:pt x="244" y="420"/>
                    <a:pt x="246" y="418"/>
                    <a:pt x="246" y="417"/>
                  </a:cubicBezTo>
                  <a:cubicBezTo>
                    <a:pt x="247" y="417"/>
                    <a:pt x="249" y="415"/>
                    <a:pt x="249" y="415"/>
                  </a:cubicBezTo>
                  <a:cubicBezTo>
                    <a:pt x="250" y="407"/>
                    <a:pt x="250" y="407"/>
                    <a:pt x="250" y="407"/>
                  </a:cubicBezTo>
                  <a:cubicBezTo>
                    <a:pt x="248" y="399"/>
                    <a:pt x="248" y="399"/>
                    <a:pt x="248" y="399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3" y="391"/>
                    <a:pt x="243" y="391"/>
                    <a:pt x="243" y="391"/>
                  </a:cubicBezTo>
                  <a:cubicBezTo>
                    <a:pt x="241" y="391"/>
                    <a:pt x="241" y="391"/>
                    <a:pt x="241" y="391"/>
                  </a:cubicBezTo>
                  <a:cubicBezTo>
                    <a:pt x="237" y="388"/>
                    <a:pt x="237" y="388"/>
                    <a:pt x="237" y="388"/>
                  </a:cubicBezTo>
                  <a:cubicBezTo>
                    <a:pt x="234" y="384"/>
                    <a:pt x="234" y="384"/>
                    <a:pt x="234" y="384"/>
                  </a:cubicBezTo>
                  <a:cubicBezTo>
                    <a:pt x="233" y="381"/>
                    <a:pt x="233" y="381"/>
                    <a:pt x="233" y="381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235" y="380"/>
                    <a:pt x="235" y="380"/>
                    <a:pt x="235" y="380"/>
                  </a:cubicBezTo>
                  <a:cubicBezTo>
                    <a:pt x="235" y="380"/>
                    <a:pt x="235" y="382"/>
                    <a:pt x="236" y="382"/>
                  </a:cubicBezTo>
                  <a:cubicBezTo>
                    <a:pt x="236" y="383"/>
                    <a:pt x="237" y="384"/>
                    <a:pt x="237" y="384"/>
                  </a:cubicBezTo>
                  <a:cubicBezTo>
                    <a:pt x="238" y="385"/>
                    <a:pt x="242" y="387"/>
                    <a:pt x="242" y="387"/>
                  </a:cubicBezTo>
                  <a:cubicBezTo>
                    <a:pt x="244" y="387"/>
                    <a:pt x="244" y="387"/>
                    <a:pt x="244" y="387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6" y="390"/>
                    <a:pt x="247" y="387"/>
                    <a:pt x="247" y="387"/>
                  </a:cubicBezTo>
                  <a:cubicBezTo>
                    <a:pt x="247" y="386"/>
                    <a:pt x="244" y="382"/>
                    <a:pt x="244" y="382"/>
                  </a:cubicBezTo>
                  <a:cubicBezTo>
                    <a:pt x="243" y="382"/>
                    <a:pt x="242" y="378"/>
                    <a:pt x="242" y="378"/>
                  </a:cubicBezTo>
                  <a:cubicBezTo>
                    <a:pt x="241" y="377"/>
                    <a:pt x="239" y="371"/>
                    <a:pt x="239" y="371"/>
                  </a:cubicBezTo>
                  <a:cubicBezTo>
                    <a:pt x="239" y="371"/>
                    <a:pt x="238" y="369"/>
                    <a:pt x="238" y="368"/>
                  </a:cubicBezTo>
                  <a:cubicBezTo>
                    <a:pt x="238" y="368"/>
                    <a:pt x="238" y="363"/>
                    <a:pt x="238" y="363"/>
                  </a:cubicBezTo>
                  <a:cubicBezTo>
                    <a:pt x="240" y="362"/>
                    <a:pt x="240" y="362"/>
                    <a:pt x="240" y="362"/>
                  </a:cubicBezTo>
                  <a:cubicBezTo>
                    <a:pt x="242" y="360"/>
                    <a:pt x="242" y="360"/>
                    <a:pt x="242" y="360"/>
                  </a:cubicBezTo>
                  <a:cubicBezTo>
                    <a:pt x="242" y="360"/>
                    <a:pt x="241" y="360"/>
                    <a:pt x="241" y="359"/>
                  </a:cubicBezTo>
                  <a:cubicBezTo>
                    <a:pt x="240" y="357"/>
                    <a:pt x="238" y="355"/>
                    <a:pt x="238" y="355"/>
                  </a:cubicBezTo>
                  <a:cubicBezTo>
                    <a:pt x="238" y="355"/>
                    <a:pt x="236" y="354"/>
                    <a:pt x="235" y="353"/>
                  </a:cubicBezTo>
                  <a:cubicBezTo>
                    <a:pt x="235" y="351"/>
                    <a:pt x="234" y="349"/>
                    <a:pt x="234" y="349"/>
                  </a:cubicBezTo>
                  <a:cubicBezTo>
                    <a:pt x="234" y="348"/>
                    <a:pt x="233" y="342"/>
                    <a:pt x="233" y="342"/>
                  </a:cubicBezTo>
                  <a:cubicBezTo>
                    <a:pt x="228" y="337"/>
                    <a:pt x="228" y="337"/>
                    <a:pt x="228" y="337"/>
                  </a:cubicBezTo>
                  <a:cubicBezTo>
                    <a:pt x="228" y="337"/>
                    <a:pt x="226" y="335"/>
                    <a:pt x="225" y="334"/>
                  </a:cubicBezTo>
                  <a:cubicBezTo>
                    <a:pt x="225" y="334"/>
                    <a:pt x="222" y="333"/>
                    <a:pt x="222" y="333"/>
                  </a:cubicBezTo>
                  <a:cubicBezTo>
                    <a:pt x="221" y="333"/>
                    <a:pt x="216" y="330"/>
                    <a:pt x="216" y="330"/>
                  </a:cubicBezTo>
                  <a:cubicBezTo>
                    <a:pt x="216" y="330"/>
                    <a:pt x="212" y="325"/>
                    <a:pt x="212" y="324"/>
                  </a:cubicBezTo>
                  <a:cubicBezTo>
                    <a:pt x="212" y="323"/>
                    <a:pt x="210" y="317"/>
                    <a:pt x="210" y="317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08" y="305"/>
                    <a:pt x="208" y="305"/>
                    <a:pt x="208" y="305"/>
                  </a:cubicBezTo>
                  <a:cubicBezTo>
                    <a:pt x="207" y="297"/>
                    <a:pt x="207" y="297"/>
                    <a:pt x="207" y="297"/>
                  </a:cubicBezTo>
                  <a:cubicBezTo>
                    <a:pt x="207" y="289"/>
                    <a:pt x="207" y="289"/>
                    <a:pt x="207" y="289"/>
                  </a:cubicBezTo>
                  <a:cubicBezTo>
                    <a:pt x="207" y="282"/>
                    <a:pt x="207" y="282"/>
                    <a:pt x="207" y="282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2" y="270"/>
                    <a:pt x="202" y="270"/>
                    <a:pt x="202" y="270"/>
                  </a:cubicBezTo>
                  <a:cubicBezTo>
                    <a:pt x="200" y="264"/>
                    <a:pt x="200" y="264"/>
                    <a:pt x="200" y="264"/>
                  </a:cubicBezTo>
                  <a:cubicBezTo>
                    <a:pt x="194" y="258"/>
                    <a:pt x="194" y="258"/>
                    <a:pt x="194" y="258"/>
                  </a:cubicBezTo>
                  <a:cubicBezTo>
                    <a:pt x="190" y="253"/>
                    <a:pt x="190" y="253"/>
                    <a:pt x="190" y="253"/>
                  </a:cubicBezTo>
                  <a:cubicBezTo>
                    <a:pt x="187" y="252"/>
                    <a:pt x="187" y="252"/>
                    <a:pt x="187" y="252"/>
                  </a:cubicBezTo>
                  <a:cubicBezTo>
                    <a:pt x="182" y="246"/>
                    <a:pt x="182" y="246"/>
                    <a:pt x="182" y="246"/>
                  </a:cubicBezTo>
                  <a:cubicBezTo>
                    <a:pt x="178" y="245"/>
                    <a:pt x="178" y="245"/>
                    <a:pt x="178" y="245"/>
                  </a:cubicBezTo>
                  <a:cubicBezTo>
                    <a:pt x="174" y="247"/>
                    <a:pt x="174" y="247"/>
                    <a:pt x="174" y="247"/>
                  </a:cubicBezTo>
                  <a:cubicBezTo>
                    <a:pt x="170" y="248"/>
                    <a:pt x="170" y="248"/>
                    <a:pt x="170" y="248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59" y="246"/>
                    <a:pt x="159" y="246"/>
                    <a:pt x="159" y="246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2" y="242"/>
                    <a:pt x="152" y="242"/>
                    <a:pt x="152" y="242"/>
                  </a:cubicBezTo>
                  <a:cubicBezTo>
                    <a:pt x="150" y="242"/>
                    <a:pt x="150" y="242"/>
                    <a:pt x="150" y="242"/>
                  </a:cubicBezTo>
                  <a:cubicBezTo>
                    <a:pt x="150" y="242"/>
                    <a:pt x="150" y="241"/>
                    <a:pt x="150" y="241"/>
                  </a:cubicBezTo>
                  <a:cubicBezTo>
                    <a:pt x="150" y="241"/>
                    <a:pt x="152" y="241"/>
                    <a:pt x="152" y="241"/>
                  </a:cubicBezTo>
                  <a:cubicBezTo>
                    <a:pt x="152" y="241"/>
                    <a:pt x="154" y="242"/>
                    <a:pt x="155" y="242"/>
                  </a:cubicBezTo>
                  <a:cubicBezTo>
                    <a:pt x="155" y="242"/>
                    <a:pt x="158" y="243"/>
                    <a:pt x="158" y="243"/>
                  </a:cubicBezTo>
                  <a:cubicBezTo>
                    <a:pt x="158" y="243"/>
                    <a:pt x="159" y="244"/>
                    <a:pt x="160" y="244"/>
                  </a:cubicBezTo>
                  <a:cubicBezTo>
                    <a:pt x="161" y="244"/>
                    <a:pt x="164" y="244"/>
                    <a:pt x="164" y="244"/>
                  </a:cubicBezTo>
                  <a:cubicBezTo>
                    <a:pt x="167" y="242"/>
                    <a:pt x="167" y="242"/>
                    <a:pt x="167" y="242"/>
                  </a:cubicBezTo>
                  <a:cubicBezTo>
                    <a:pt x="168" y="239"/>
                    <a:pt x="168" y="239"/>
                    <a:pt x="168" y="239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3" y="237"/>
                    <a:pt x="173" y="237"/>
                    <a:pt x="173" y="237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5" y="237"/>
                    <a:pt x="176" y="239"/>
                    <a:pt x="178" y="238"/>
                  </a:cubicBezTo>
                  <a:cubicBezTo>
                    <a:pt x="180" y="238"/>
                    <a:pt x="181" y="237"/>
                    <a:pt x="181" y="237"/>
                  </a:cubicBezTo>
                  <a:cubicBezTo>
                    <a:pt x="181" y="237"/>
                    <a:pt x="185" y="235"/>
                    <a:pt x="184" y="235"/>
                  </a:cubicBezTo>
                  <a:cubicBezTo>
                    <a:pt x="184" y="234"/>
                    <a:pt x="184" y="233"/>
                    <a:pt x="183" y="233"/>
                  </a:cubicBezTo>
                  <a:cubicBezTo>
                    <a:pt x="183" y="232"/>
                    <a:pt x="181" y="230"/>
                    <a:pt x="181" y="230"/>
                  </a:cubicBezTo>
                  <a:cubicBezTo>
                    <a:pt x="181" y="230"/>
                    <a:pt x="180" y="230"/>
                    <a:pt x="180" y="229"/>
                  </a:cubicBezTo>
                  <a:cubicBezTo>
                    <a:pt x="180" y="228"/>
                    <a:pt x="180" y="226"/>
                    <a:pt x="180" y="226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24"/>
                    <a:pt x="177" y="224"/>
                    <a:pt x="176" y="224"/>
                  </a:cubicBezTo>
                  <a:cubicBezTo>
                    <a:pt x="175" y="224"/>
                    <a:pt x="174" y="225"/>
                    <a:pt x="174" y="225"/>
                  </a:cubicBezTo>
                  <a:cubicBezTo>
                    <a:pt x="170" y="226"/>
                    <a:pt x="170" y="226"/>
                    <a:pt x="170" y="226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6"/>
                    <a:pt x="165" y="226"/>
                    <a:pt x="165" y="226"/>
                  </a:cubicBezTo>
                  <a:cubicBezTo>
                    <a:pt x="170" y="225"/>
                    <a:pt x="170" y="225"/>
                    <a:pt x="170" y="225"/>
                  </a:cubicBezTo>
                  <a:cubicBezTo>
                    <a:pt x="173" y="223"/>
                    <a:pt x="173" y="223"/>
                    <a:pt x="173" y="223"/>
                  </a:cubicBezTo>
                  <a:cubicBezTo>
                    <a:pt x="173" y="223"/>
                    <a:pt x="173" y="222"/>
                    <a:pt x="174" y="222"/>
                  </a:cubicBezTo>
                  <a:cubicBezTo>
                    <a:pt x="175" y="222"/>
                    <a:pt x="178" y="223"/>
                    <a:pt x="178" y="223"/>
                  </a:cubicBezTo>
                  <a:cubicBezTo>
                    <a:pt x="179" y="223"/>
                    <a:pt x="183" y="223"/>
                    <a:pt x="183" y="223"/>
                  </a:cubicBezTo>
                  <a:cubicBezTo>
                    <a:pt x="183" y="223"/>
                    <a:pt x="186" y="221"/>
                    <a:pt x="186" y="220"/>
                  </a:cubicBezTo>
                  <a:cubicBezTo>
                    <a:pt x="187" y="220"/>
                    <a:pt x="191" y="218"/>
                    <a:pt x="191" y="218"/>
                  </a:cubicBezTo>
                  <a:cubicBezTo>
                    <a:pt x="191" y="215"/>
                    <a:pt x="191" y="215"/>
                    <a:pt x="191" y="215"/>
                  </a:cubicBezTo>
                  <a:cubicBezTo>
                    <a:pt x="191" y="215"/>
                    <a:pt x="192" y="212"/>
                    <a:pt x="193" y="212"/>
                  </a:cubicBezTo>
                  <a:cubicBezTo>
                    <a:pt x="193" y="212"/>
                    <a:pt x="197" y="209"/>
                    <a:pt x="197" y="209"/>
                  </a:cubicBezTo>
                  <a:cubicBezTo>
                    <a:pt x="201" y="205"/>
                    <a:pt x="201" y="205"/>
                    <a:pt x="201" y="205"/>
                  </a:cubicBezTo>
                  <a:cubicBezTo>
                    <a:pt x="203" y="200"/>
                    <a:pt x="203" y="200"/>
                    <a:pt x="203" y="200"/>
                  </a:cubicBezTo>
                  <a:cubicBezTo>
                    <a:pt x="205" y="196"/>
                    <a:pt x="205" y="196"/>
                    <a:pt x="205" y="196"/>
                  </a:cubicBezTo>
                  <a:cubicBezTo>
                    <a:pt x="205" y="196"/>
                    <a:pt x="209" y="193"/>
                    <a:pt x="208" y="192"/>
                  </a:cubicBezTo>
                  <a:cubicBezTo>
                    <a:pt x="208" y="190"/>
                    <a:pt x="208" y="187"/>
                    <a:pt x="208" y="187"/>
                  </a:cubicBezTo>
                  <a:cubicBezTo>
                    <a:pt x="208" y="187"/>
                    <a:pt x="211" y="185"/>
                    <a:pt x="212" y="184"/>
                  </a:cubicBezTo>
                  <a:cubicBezTo>
                    <a:pt x="212" y="183"/>
                    <a:pt x="219" y="178"/>
                    <a:pt x="219" y="178"/>
                  </a:cubicBezTo>
                  <a:cubicBezTo>
                    <a:pt x="220" y="173"/>
                    <a:pt x="220" y="173"/>
                    <a:pt x="220" y="173"/>
                  </a:cubicBezTo>
                  <a:cubicBezTo>
                    <a:pt x="219" y="171"/>
                    <a:pt x="219" y="171"/>
                    <a:pt x="219" y="171"/>
                  </a:cubicBezTo>
                  <a:cubicBezTo>
                    <a:pt x="218" y="168"/>
                    <a:pt x="218" y="168"/>
                    <a:pt x="218" y="168"/>
                  </a:cubicBezTo>
                  <a:cubicBezTo>
                    <a:pt x="216" y="165"/>
                    <a:pt x="216" y="165"/>
                    <a:pt x="216" y="165"/>
                  </a:cubicBezTo>
                  <a:cubicBezTo>
                    <a:pt x="214" y="162"/>
                    <a:pt x="214" y="162"/>
                    <a:pt x="214" y="162"/>
                  </a:cubicBezTo>
                  <a:cubicBezTo>
                    <a:pt x="210" y="162"/>
                    <a:pt x="210" y="162"/>
                    <a:pt x="210" y="162"/>
                  </a:cubicBezTo>
                  <a:cubicBezTo>
                    <a:pt x="210" y="162"/>
                    <a:pt x="209" y="164"/>
                    <a:pt x="209" y="163"/>
                  </a:cubicBezTo>
                  <a:cubicBezTo>
                    <a:pt x="208" y="163"/>
                    <a:pt x="206" y="161"/>
                    <a:pt x="206" y="161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197" y="161"/>
                    <a:pt x="197" y="161"/>
                    <a:pt x="197" y="161"/>
                  </a:cubicBezTo>
                  <a:cubicBezTo>
                    <a:pt x="196" y="159"/>
                    <a:pt x="196" y="159"/>
                    <a:pt x="196" y="159"/>
                  </a:cubicBezTo>
                  <a:cubicBezTo>
                    <a:pt x="192" y="159"/>
                    <a:pt x="192" y="159"/>
                    <a:pt x="192" y="159"/>
                  </a:cubicBezTo>
                  <a:cubicBezTo>
                    <a:pt x="190" y="158"/>
                    <a:pt x="190" y="158"/>
                    <a:pt x="190" y="158"/>
                  </a:cubicBezTo>
                  <a:cubicBezTo>
                    <a:pt x="186" y="159"/>
                    <a:pt x="186" y="159"/>
                    <a:pt x="186" y="159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2" y="155"/>
                    <a:pt x="172" y="155"/>
                    <a:pt x="172" y="155"/>
                  </a:cubicBezTo>
                  <a:cubicBezTo>
                    <a:pt x="171" y="157"/>
                    <a:pt x="171" y="157"/>
                    <a:pt x="171" y="157"/>
                  </a:cubicBezTo>
                  <a:cubicBezTo>
                    <a:pt x="167" y="157"/>
                    <a:pt x="167" y="157"/>
                    <a:pt x="167" y="157"/>
                  </a:cubicBezTo>
                  <a:cubicBezTo>
                    <a:pt x="167" y="157"/>
                    <a:pt x="166" y="157"/>
                    <a:pt x="165" y="157"/>
                  </a:cubicBezTo>
                  <a:cubicBezTo>
                    <a:pt x="165" y="157"/>
                    <a:pt x="163" y="158"/>
                    <a:pt x="163" y="158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59" y="159"/>
                    <a:pt x="159" y="159"/>
                    <a:pt x="159" y="159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3" y="161"/>
                    <a:pt x="153" y="161"/>
                    <a:pt x="153" y="161"/>
                  </a:cubicBezTo>
                  <a:cubicBezTo>
                    <a:pt x="150" y="162"/>
                    <a:pt x="150" y="162"/>
                    <a:pt x="150" y="162"/>
                  </a:cubicBezTo>
                  <a:cubicBezTo>
                    <a:pt x="147" y="165"/>
                    <a:pt x="147" y="165"/>
                    <a:pt x="147" y="165"/>
                  </a:cubicBezTo>
                  <a:cubicBezTo>
                    <a:pt x="148" y="162"/>
                    <a:pt x="148" y="162"/>
                    <a:pt x="148" y="162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5" y="156"/>
                    <a:pt x="157" y="155"/>
                    <a:pt x="157" y="154"/>
                  </a:cubicBezTo>
                  <a:cubicBezTo>
                    <a:pt x="158" y="154"/>
                    <a:pt x="160" y="152"/>
                    <a:pt x="160" y="152"/>
                  </a:cubicBezTo>
                  <a:cubicBezTo>
                    <a:pt x="157" y="151"/>
                    <a:pt x="157" y="151"/>
                    <a:pt x="157" y="151"/>
                  </a:cubicBezTo>
                  <a:cubicBezTo>
                    <a:pt x="154" y="153"/>
                    <a:pt x="154" y="153"/>
                    <a:pt x="154" y="153"/>
                  </a:cubicBezTo>
                  <a:cubicBezTo>
                    <a:pt x="154" y="153"/>
                    <a:pt x="153" y="153"/>
                    <a:pt x="152" y="153"/>
                  </a:cubicBezTo>
                  <a:cubicBezTo>
                    <a:pt x="152" y="153"/>
                    <a:pt x="149" y="154"/>
                    <a:pt x="149" y="154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149" y="153"/>
                    <a:pt x="149" y="153"/>
                    <a:pt x="149" y="153"/>
                  </a:cubicBezTo>
                  <a:cubicBezTo>
                    <a:pt x="149" y="153"/>
                    <a:pt x="151" y="152"/>
                    <a:pt x="152" y="151"/>
                  </a:cubicBezTo>
                  <a:cubicBezTo>
                    <a:pt x="153" y="151"/>
                    <a:pt x="155" y="150"/>
                    <a:pt x="155" y="150"/>
                  </a:cubicBezTo>
                  <a:cubicBezTo>
                    <a:pt x="156" y="150"/>
                    <a:pt x="158" y="149"/>
                    <a:pt x="158" y="149"/>
                  </a:cubicBezTo>
                  <a:cubicBezTo>
                    <a:pt x="159" y="150"/>
                    <a:pt x="161" y="151"/>
                    <a:pt x="162" y="150"/>
                  </a:cubicBezTo>
                  <a:cubicBezTo>
                    <a:pt x="162" y="150"/>
                    <a:pt x="163" y="148"/>
                    <a:pt x="164" y="148"/>
                  </a:cubicBezTo>
                  <a:cubicBezTo>
                    <a:pt x="164" y="147"/>
                    <a:pt x="166" y="145"/>
                    <a:pt x="166" y="145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60" y="145"/>
                    <a:pt x="159" y="146"/>
                    <a:pt x="158" y="146"/>
                  </a:cubicBezTo>
                  <a:cubicBezTo>
                    <a:pt x="157" y="145"/>
                    <a:pt x="155" y="145"/>
                    <a:pt x="154" y="144"/>
                  </a:cubicBezTo>
                  <a:cubicBezTo>
                    <a:pt x="154" y="144"/>
                    <a:pt x="153" y="143"/>
                    <a:pt x="153" y="143"/>
                  </a:cubicBezTo>
                  <a:cubicBezTo>
                    <a:pt x="152" y="143"/>
                    <a:pt x="150" y="141"/>
                    <a:pt x="150" y="141"/>
                  </a:cubicBezTo>
                  <a:cubicBezTo>
                    <a:pt x="151" y="140"/>
                    <a:pt x="151" y="140"/>
                    <a:pt x="151" y="140"/>
                  </a:cubicBezTo>
                  <a:cubicBezTo>
                    <a:pt x="153" y="142"/>
                    <a:pt x="153" y="142"/>
                    <a:pt x="153" y="142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7" y="142"/>
                    <a:pt x="159" y="142"/>
                  </a:cubicBezTo>
                  <a:cubicBezTo>
                    <a:pt x="160" y="143"/>
                    <a:pt x="162" y="140"/>
                    <a:pt x="162" y="140"/>
                  </a:cubicBezTo>
                  <a:cubicBezTo>
                    <a:pt x="162" y="140"/>
                    <a:pt x="160" y="140"/>
                    <a:pt x="163" y="139"/>
                  </a:cubicBezTo>
                  <a:cubicBezTo>
                    <a:pt x="165" y="137"/>
                    <a:pt x="164" y="138"/>
                    <a:pt x="166" y="136"/>
                  </a:cubicBezTo>
                  <a:cubicBezTo>
                    <a:pt x="168" y="135"/>
                    <a:pt x="173" y="132"/>
                    <a:pt x="173" y="132"/>
                  </a:cubicBezTo>
                  <a:cubicBezTo>
                    <a:pt x="179" y="130"/>
                    <a:pt x="179" y="130"/>
                    <a:pt x="179" y="130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90" y="121"/>
                    <a:pt x="190" y="121"/>
                    <a:pt x="190" y="121"/>
                  </a:cubicBezTo>
                  <a:cubicBezTo>
                    <a:pt x="192" y="119"/>
                    <a:pt x="192" y="119"/>
                    <a:pt x="192" y="119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3" y="107"/>
                    <a:pt x="193" y="107"/>
                    <a:pt x="193" y="107"/>
                  </a:cubicBezTo>
                  <a:cubicBezTo>
                    <a:pt x="190" y="106"/>
                    <a:pt x="190" y="106"/>
                    <a:pt x="190" y="106"/>
                  </a:cubicBezTo>
                  <a:cubicBezTo>
                    <a:pt x="184" y="106"/>
                    <a:pt x="184" y="106"/>
                    <a:pt x="184" y="106"/>
                  </a:cubicBezTo>
                  <a:cubicBezTo>
                    <a:pt x="184" y="106"/>
                    <a:pt x="183" y="109"/>
                    <a:pt x="182" y="108"/>
                  </a:cubicBezTo>
                  <a:cubicBezTo>
                    <a:pt x="182" y="108"/>
                    <a:pt x="178" y="105"/>
                    <a:pt x="177" y="105"/>
                  </a:cubicBezTo>
                  <a:cubicBezTo>
                    <a:pt x="177" y="105"/>
                    <a:pt x="173" y="108"/>
                    <a:pt x="173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0" y="108"/>
                    <a:pt x="168" y="108"/>
                  </a:cubicBezTo>
                  <a:cubicBezTo>
                    <a:pt x="166" y="107"/>
                    <a:pt x="162" y="106"/>
                    <a:pt x="162" y="106"/>
                  </a:cubicBezTo>
                  <a:cubicBezTo>
                    <a:pt x="159" y="108"/>
                    <a:pt x="159" y="108"/>
                    <a:pt x="159" y="108"/>
                  </a:cubicBezTo>
                  <a:cubicBezTo>
                    <a:pt x="157" y="107"/>
                    <a:pt x="157" y="107"/>
                    <a:pt x="157" y="107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5" y="105"/>
                    <a:pt x="155" y="105"/>
                    <a:pt x="155" y="105"/>
                  </a:cubicBezTo>
                  <a:cubicBezTo>
                    <a:pt x="155" y="105"/>
                    <a:pt x="154" y="104"/>
                    <a:pt x="153" y="104"/>
                  </a:cubicBezTo>
                  <a:cubicBezTo>
                    <a:pt x="153" y="104"/>
                    <a:pt x="151" y="103"/>
                    <a:pt x="151" y="103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5" y="108"/>
                    <a:pt x="145" y="108"/>
                    <a:pt x="145" y="108"/>
                  </a:cubicBezTo>
                  <a:cubicBezTo>
                    <a:pt x="146" y="107"/>
                    <a:pt x="146" y="107"/>
                    <a:pt x="146" y="107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9" y="103"/>
                    <a:pt x="149" y="103"/>
                    <a:pt x="149" y="103"/>
                  </a:cubicBezTo>
                  <a:cubicBezTo>
                    <a:pt x="149" y="103"/>
                    <a:pt x="148" y="103"/>
                    <a:pt x="148" y="103"/>
                  </a:cubicBezTo>
                  <a:cubicBezTo>
                    <a:pt x="147" y="103"/>
                    <a:pt x="146" y="102"/>
                    <a:pt x="146" y="102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2"/>
                    <a:pt x="139" y="102"/>
                    <a:pt x="139" y="102"/>
                  </a:cubicBezTo>
                  <a:cubicBezTo>
                    <a:pt x="137" y="103"/>
                    <a:pt x="137" y="103"/>
                    <a:pt x="137" y="103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2" y="109"/>
                    <a:pt x="132" y="109"/>
                    <a:pt x="132" y="109"/>
                  </a:cubicBezTo>
                  <a:cubicBezTo>
                    <a:pt x="132" y="109"/>
                    <a:pt x="132" y="113"/>
                    <a:pt x="133" y="113"/>
                  </a:cubicBezTo>
                  <a:cubicBezTo>
                    <a:pt x="133" y="113"/>
                    <a:pt x="134" y="115"/>
                    <a:pt x="134" y="115"/>
                  </a:cubicBezTo>
                  <a:cubicBezTo>
                    <a:pt x="134" y="117"/>
                    <a:pt x="134" y="117"/>
                    <a:pt x="134" y="117"/>
                  </a:cubicBezTo>
                  <a:cubicBezTo>
                    <a:pt x="135" y="118"/>
                    <a:pt x="135" y="118"/>
                    <a:pt x="135" y="118"/>
                  </a:cubicBezTo>
                  <a:cubicBezTo>
                    <a:pt x="135" y="118"/>
                    <a:pt x="134" y="118"/>
                    <a:pt x="133" y="118"/>
                  </a:cubicBezTo>
                  <a:cubicBezTo>
                    <a:pt x="133" y="118"/>
                    <a:pt x="132" y="116"/>
                    <a:pt x="132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7" y="116"/>
                    <a:pt x="127" y="116"/>
                    <a:pt x="127" y="116"/>
                  </a:cubicBezTo>
                  <a:cubicBezTo>
                    <a:pt x="126" y="119"/>
                    <a:pt x="126" y="119"/>
                    <a:pt x="126" y="119"/>
                  </a:cubicBezTo>
                  <a:cubicBezTo>
                    <a:pt x="127" y="122"/>
                    <a:pt x="127" y="122"/>
                    <a:pt x="127" y="122"/>
                  </a:cubicBezTo>
                  <a:cubicBezTo>
                    <a:pt x="126" y="124"/>
                    <a:pt x="126" y="124"/>
                    <a:pt x="126" y="124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5" y="125"/>
                    <a:pt x="123" y="127"/>
                    <a:pt x="123" y="127"/>
                  </a:cubicBezTo>
                  <a:cubicBezTo>
                    <a:pt x="123" y="128"/>
                    <a:pt x="124" y="131"/>
                    <a:pt x="124" y="131"/>
                  </a:cubicBezTo>
                  <a:cubicBezTo>
                    <a:pt x="124" y="131"/>
                    <a:pt x="125" y="133"/>
                    <a:pt x="126" y="133"/>
                  </a:cubicBezTo>
                  <a:cubicBezTo>
                    <a:pt x="126" y="134"/>
                    <a:pt x="128" y="135"/>
                    <a:pt x="128" y="135"/>
                  </a:cubicBezTo>
                  <a:cubicBezTo>
                    <a:pt x="128" y="138"/>
                    <a:pt x="128" y="138"/>
                    <a:pt x="128" y="138"/>
                  </a:cubicBezTo>
                  <a:cubicBezTo>
                    <a:pt x="126" y="135"/>
                    <a:pt x="126" y="135"/>
                    <a:pt x="126" y="135"/>
                  </a:cubicBezTo>
                  <a:cubicBezTo>
                    <a:pt x="126" y="135"/>
                    <a:pt x="125" y="134"/>
                    <a:pt x="124" y="133"/>
                  </a:cubicBezTo>
                  <a:cubicBezTo>
                    <a:pt x="124" y="133"/>
                    <a:pt x="123" y="131"/>
                    <a:pt x="123" y="131"/>
                  </a:cubicBezTo>
                  <a:cubicBezTo>
                    <a:pt x="123" y="131"/>
                    <a:pt x="121" y="132"/>
                    <a:pt x="121" y="132"/>
                  </a:cubicBezTo>
                  <a:cubicBezTo>
                    <a:pt x="121" y="132"/>
                    <a:pt x="120" y="132"/>
                    <a:pt x="121" y="133"/>
                  </a:cubicBezTo>
                  <a:cubicBezTo>
                    <a:pt x="121" y="134"/>
                    <a:pt x="119" y="135"/>
                    <a:pt x="119" y="135"/>
                  </a:cubicBezTo>
                  <a:cubicBezTo>
                    <a:pt x="119" y="135"/>
                    <a:pt x="116" y="136"/>
                    <a:pt x="116" y="135"/>
                  </a:cubicBezTo>
                  <a:cubicBezTo>
                    <a:pt x="116" y="134"/>
                    <a:pt x="116" y="133"/>
                    <a:pt x="115" y="132"/>
                  </a:cubicBezTo>
                  <a:cubicBezTo>
                    <a:pt x="115" y="132"/>
                    <a:pt x="114" y="132"/>
                    <a:pt x="114" y="132"/>
                  </a:cubicBezTo>
                  <a:cubicBezTo>
                    <a:pt x="114" y="133"/>
                    <a:pt x="113" y="134"/>
                    <a:pt x="113" y="13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4" y="137"/>
                    <a:pt x="113" y="139"/>
                    <a:pt x="113" y="139"/>
                  </a:cubicBezTo>
                  <a:cubicBezTo>
                    <a:pt x="113" y="138"/>
                    <a:pt x="112" y="136"/>
                    <a:pt x="112" y="135"/>
                  </a:cubicBezTo>
                  <a:cubicBezTo>
                    <a:pt x="112" y="135"/>
                    <a:pt x="112" y="133"/>
                    <a:pt x="111" y="133"/>
                  </a:cubicBezTo>
                  <a:cubicBezTo>
                    <a:pt x="111" y="133"/>
                    <a:pt x="109" y="135"/>
                    <a:pt x="109" y="135"/>
                  </a:cubicBezTo>
                  <a:cubicBezTo>
                    <a:pt x="109" y="135"/>
                    <a:pt x="108" y="135"/>
                    <a:pt x="108" y="136"/>
                  </a:cubicBezTo>
                  <a:cubicBezTo>
                    <a:pt x="108" y="136"/>
                    <a:pt x="107" y="139"/>
                    <a:pt x="108" y="140"/>
                  </a:cubicBezTo>
                  <a:cubicBezTo>
                    <a:pt x="109" y="141"/>
                    <a:pt x="109" y="141"/>
                    <a:pt x="110" y="141"/>
                  </a:cubicBezTo>
                  <a:cubicBezTo>
                    <a:pt x="111" y="141"/>
                    <a:pt x="111" y="142"/>
                    <a:pt x="111" y="142"/>
                  </a:cubicBezTo>
                  <a:cubicBezTo>
                    <a:pt x="107" y="142"/>
                    <a:pt x="107" y="142"/>
                    <a:pt x="107" y="142"/>
                  </a:cubicBezTo>
                  <a:cubicBezTo>
                    <a:pt x="107" y="142"/>
                    <a:pt x="106" y="143"/>
                    <a:pt x="107" y="144"/>
                  </a:cubicBezTo>
                  <a:cubicBezTo>
                    <a:pt x="107" y="144"/>
                    <a:pt x="107" y="146"/>
                    <a:pt x="107" y="146"/>
                  </a:cubicBezTo>
                  <a:cubicBezTo>
                    <a:pt x="107" y="146"/>
                    <a:pt x="109" y="148"/>
                    <a:pt x="109" y="148"/>
                  </a:cubicBezTo>
                  <a:cubicBezTo>
                    <a:pt x="109" y="148"/>
                    <a:pt x="108" y="150"/>
                    <a:pt x="108" y="150"/>
                  </a:cubicBezTo>
                  <a:cubicBezTo>
                    <a:pt x="108" y="150"/>
                    <a:pt x="106" y="149"/>
                    <a:pt x="106" y="149"/>
                  </a:cubicBezTo>
                  <a:cubicBezTo>
                    <a:pt x="105" y="148"/>
                    <a:pt x="105" y="149"/>
                    <a:pt x="104" y="149"/>
                  </a:cubicBezTo>
                  <a:cubicBezTo>
                    <a:pt x="104" y="150"/>
                    <a:pt x="103" y="151"/>
                    <a:pt x="103" y="152"/>
                  </a:cubicBezTo>
                  <a:cubicBezTo>
                    <a:pt x="103" y="152"/>
                    <a:pt x="104" y="153"/>
                    <a:pt x="104" y="154"/>
                  </a:cubicBezTo>
                  <a:cubicBezTo>
                    <a:pt x="103" y="156"/>
                    <a:pt x="103" y="158"/>
                    <a:pt x="103" y="158"/>
                  </a:cubicBezTo>
                  <a:cubicBezTo>
                    <a:pt x="103" y="158"/>
                    <a:pt x="102" y="158"/>
                    <a:pt x="103" y="159"/>
                  </a:cubicBezTo>
                  <a:cubicBezTo>
                    <a:pt x="104" y="160"/>
                    <a:pt x="106" y="160"/>
                    <a:pt x="107" y="160"/>
                  </a:cubicBezTo>
                  <a:cubicBezTo>
                    <a:pt x="108" y="160"/>
                    <a:pt x="108" y="160"/>
                    <a:pt x="108" y="160"/>
                  </a:cubicBezTo>
                  <a:cubicBezTo>
                    <a:pt x="109" y="160"/>
                    <a:pt x="110" y="160"/>
                    <a:pt x="111" y="161"/>
                  </a:cubicBezTo>
                  <a:cubicBezTo>
                    <a:pt x="111" y="161"/>
                    <a:pt x="112" y="161"/>
                    <a:pt x="112" y="161"/>
                  </a:cubicBezTo>
                  <a:cubicBezTo>
                    <a:pt x="112" y="161"/>
                    <a:pt x="111" y="163"/>
                    <a:pt x="110" y="162"/>
                  </a:cubicBezTo>
                  <a:cubicBezTo>
                    <a:pt x="109" y="161"/>
                    <a:pt x="107" y="161"/>
                    <a:pt x="106" y="161"/>
                  </a:cubicBezTo>
                  <a:cubicBezTo>
                    <a:pt x="105" y="161"/>
                    <a:pt x="106" y="163"/>
                    <a:pt x="106" y="163"/>
                  </a:cubicBezTo>
                  <a:cubicBezTo>
                    <a:pt x="107" y="165"/>
                    <a:pt x="107" y="165"/>
                    <a:pt x="107" y="165"/>
                  </a:cubicBezTo>
                  <a:cubicBezTo>
                    <a:pt x="107" y="165"/>
                    <a:pt x="108" y="166"/>
                    <a:pt x="107" y="166"/>
                  </a:cubicBezTo>
                  <a:cubicBezTo>
                    <a:pt x="106" y="166"/>
                    <a:pt x="104" y="165"/>
                    <a:pt x="104" y="165"/>
                  </a:cubicBezTo>
                  <a:cubicBezTo>
                    <a:pt x="104" y="165"/>
                    <a:pt x="104" y="165"/>
                    <a:pt x="103" y="165"/>
                  </a:cubicBezTo>
                  <a:cubicBezTo>
                    <a:pt x="103" y="165"/>
                    <a:pt x="102" y="166"/>
                    <a:pt x="101" y="166"/>
                  </a:cubicBezTo>
                  <a:cubicBezTo>
                    <a:pt x="100" y="166"/>
                    <a:pt x="100" y="166"/>
                    <a:pt x="99" y="165"/>
                  </a:cubicBezTo>
                  <a:cubicBezTo>
                    <a:pt x="98" y="165"/>
                    <a:pt x="96" y="163"/>
                    <a:pt x="96" y="163"/>
                  </a:cubicBezTo>
                  <a:cubicBezTo>
                    <a:pt x="96" y="163"/>
                    <a:pt x="95" y="163"/>
                    <a:pt x="95" y="162"/>
                  </a:cubicBezTo>
                  <a:cubicBezTo>
                    <a:pt x="95" y="161"/>
                    <a:pt x="96" y="159"/>
                    <a:pt x="96" y="159"/>
                  </a:cubicBezTo>
                  <a:cubicBezTo>
                    <a:pt x="97" y="158"/>
                    <a:pt x="96" y="158"/>
                    <a:pt x="97" y="158"/>
                  </a:cubicBezTo>
                  <a:cubicBezTo>
                    <a:pt x="98" y="158"/>
                    <a:pt x="101" y="158"/>
                    <a:pt x="99" y="156"/>
                  </a:cubicBezTo>
                  <a:cubicBezTo>
                    <a:pt x="98" y="154"/>
                    <a:pt x="98" y="154"/>
                    <a:pt x="97" y="154"/>
                  </a:cubicBezTo>
                  <a:cubicBezTo>
                    <a:pt x="96" y="155"/>
                    <a:pt x="94" y="156"/>
                    <a:pt x="94" y="156"/>
                  </a:cubicBezTo>
                  <a:cubicBezTo>
                    <a:pt x="94" y="156"/>
                    <a:pt x="93" y="155"/>
                    <a:pt x="94" y="152"/>
                  </a:cubicBezTo>
                  <a:cubicBezTo>
                    <a:pt x="95" y="149"/>
                    <a:pt x="94" y="149"/>
                    <a:pt x="95" y="148"/>
                  </a:cubicBezTo>
                  <a:cubicBezTo>
                    <a:pt x="96" y="147"/>
                    <a:pt x="97" y="146"/>
                    <a:pt x="97" y="146"/>
                  </a:cubicBezTo>
                  <a:cubicBezTo>
                    <a:pt x="97" y="146"/>
                    <a:pt x="97" y="145"/>
                    <a:pt x="95" y="143"/>
                  </a:cubicBezTo>
                  <a:cubicBezTo>
                    <a:pt x="94" y="141"/>
                    <a:pt x="93" y="139"/>
                    <a:pt x="93" y="139"/>
                  </a:cubicBezTo>
                  <a:cubicBezTo>
                    <a:pt x="92" y="138"/>
                    <a:pt x="90" y="140"/>
                    <a:pt x="90" y="140"/>
                  </a:cubicBezTo>
                  <a:cubicBezTo>
                    <a:pt x="90" y="141"/>
                    <a:pt x="89" y="143"/>
                    <a:pt x="90" y="144"/>
                  </a:cubicBezTo>
                  <a:cubicBezTo>
                    <a:pt x="90" y="145"/>
                    <a:pt x="90" y="146"/>
                    <a:pt x="89" y="147"/>
                  </a:cubicBezTo>
                  <a:cubicBezTo>
                    <a:pt x="88" y="147"/>
                    <a:pt x="88" y="148"/>
                    <a:pt x="87" y="147"/>
                  </a:cubicBezTo>
                  <a:cubicBezTo>
                    <a:pt x="86" y="146"/>
                    <a:pt x="87" y="147"/>
                    <a:pt x="86" y="145"/>
                  </a:cubicBezTo>
                  <a:cubicBezTo>
                    <a:pt x="85" y="144"/>
                    <a:pt x="86" y="144"/>
                    <a:pt x="85" y="144"/>
                  </a:cubicBezTo>
                  <a:cubicBezTo>
                    <a:pt x="84" y="143"/>
                    <a:pt x="83" y="142"/>
                    <a:pt x="83" y="142"/>
                  </a:cubicBezTo>
                  <a:cubicBezTo>
                    <a:pt x="83" y="142"/>
                    <a:pt x="80" y="141"/>
                    <a:pt x="80" y="142"/>
                  </a:cubicBezTo>
                  <a:cubicBezTo>
                    <a:pt x="80" y="143"/>
                    <a:pt x="80" y="143"/>
                    <a:pt x="81" y="144"/>
                  </a:cubicBezTo>
                  <a:cubicBezTo>
                    <a:pt x="81" y="145"/>
                    <a:pt x="82" y="145"/>
                    <a:pt x="82" y="146"/>
                  </a:cubicBezTo>
                  <a:cubicBezTo>
                    <a:pt x="82" y="147"/>
                    <a:pt x="81" y="147"/>
                    <a:pt x="81" y="147"/>
                  </a:cubicBezTo>
                  <a:cubicBezTo>
                    <a:pt x="81" y="147"/>
                    <a:pt x="80" y="146"/>
                    <a:pt x="79" y="146"/>
                  </a:cubicBezTo>
                  <a:cubicBezTo>
                    <a:pt x="79" y="146"/>
                    <a:pt x="77" y="148"/>
                    <a:pt x="77" y="148"/>
                  </a:cubicBezTo>
                  <a:cubicBezTo>
                    <a:pt x="77" y="148"/>
                    <a:pt x="77" y="149"/>
                    <a:pt x="77" y="150"/>
                  </a:cubicBezTo>
                  <a:cubicBezTo>
                    <a:pt x="77" y="150"/>
                    <a:pt x="77" y="151"/>
                    <a:pt x="77" y="152"/>
                  </a:cubicBezTo>
                  <a:cubicBezTo>
                    <a:pt x="78" y="153"/>
                    <a:pt x="78" y="155"/>
                    <a:pt x="79" y="155"/>
                  </a:cubicBezTo>
                  <a:cubicBezTo>
                    <a:pt x="81" y="155"/>
                    <a:pt x="85" y="153"/>
                    <a:pt x="85" y="153"/>
                  </a:cubicBezTo>
                  <a:cubicBezTo>
                    <a:pt x="85" y="154"/>
                    <a:pt x="87" y="155"/>
                    <a:pt x="88" y="156"/>
                  </a:cubicBezTo>
                  <a:cubicBezTo>
                    <a:pt x="88" y="156"/>
                    <a:pt x="88" y="158"/>
                    <a:pt x="88" y="158"/>
                  </a:cubicBezTo>
                  <a:cubicBezTo>
                    <a:pt x="88" y="158"/>
                    <a:pt x="87" y="159"/>
                    <a:pt x="86" y="159"/>
                  </a:cubicBezTo>
                  <a:cubicBezTo>
                    <a:pt x="85" y="159"/>
                    <a:pt x="84" y="157"/>
                    <a:pt x="84" y="159"/>
                  </a:cubicBezTo>
                  <a:cubicBezTo>
                    <a:pt x="84" y="160"/>
                    <a:pt x="83" y="162"/>
                    <a:pt x="84" y="163"/>
                  </a:cubicBezTo>
                  <a:cubicBezTo>
                    <a:pt x="85" y="164"/>
                    <a:pt x="85" y="166"/>
                    <a:pt x="87" y="166"/>
                  </a:cubicBezTo>
                  <a:cubicBezTo>
                    <a:pt x="89" y="167"/>
                    <a:pt x="89" y="168"/>
                    <a:pt x="90" y="167"/>
                  </a:cubicBezTo>
                  <a:cubicBezTo>
                    <a:pt x="91" y="166"/>
                    <a:pt x="91" y="165"/>
                    <a:pt x="92" y="166"/>
                  </a:cubicBezTo>
                  <a:cubicBezTo>
                    <a:pt x="93" y="166"/>
                    <a:pt x="94" y="166"/>
                    <a:pt x="95" y="167"/>
                  </a:cubicBezTo>
                  <a:cubicBezTo>
                    <a:pt x="95" y="168"/>
                    <a:pt x="94" y="168"/>
                    <a:pt x="94" y="168"/>
                  </a:cubicBezTo>
                  <a:cubicBezTo>
                    <a:pt x="94" y="168"/>
                    <a:pt x="93" y="168"/>
                    <a:pt x="93" y="169"/>
                  </a:cubicBezTo>
                  <a:cubicBezTo>
                    <a:pt x="93" y="169"/>
                    <a:pt x="92" y="170"/>
                    <a:pt x="93" y="170"/>
                  </a:cubicBezTo>
                  <a:cubicBezTo>
                    <a:pt x="95" y="170"/>
                    <a:pt x="96" y="170"/>
                    <a:pt x="96" y="170"/>
                  </a:cubicBezTo>
                  <a:cubicBezTo>
                    <a:pt x="96" y="170"/>
                    <a:pt x="97" y="168"/>
                    <a:pt x="98" y="169"/>
                  </a:cubicBezTo>
                  <a:cubicBezTo>
                    <a:pt x="98" y="170"/>
                    <a:pt x="97" y="170"/>
                    <a:pt x="96" y="171"/>
                  </a:cubicBezTo>
                  <a:cubicBezTo>
                    <a:pt x="95" y="172"/>
                    <a:pt x="95" y="172"/>
                    <a:pt x="95" y="173"/>
                  </a:cubicBezTo>
                  <a:cubicBezTo>
                    <a:pt x="95" y="174"/>
                    <a:pt x="94" y="174"/>
                    <a:pt x="94" y="175"/>
                  </a:cubicBezTo>
                  <a:cubicBezTo>
                    <a:pt x="94" y="176"/>
                    <a:pt x="92" y="180"/>
                    <a:pt x="95" y="177"/>
                  </a:cubicBezTo>
                  <a:cubicBezTo>
                    <a:pt x="99" y="174"/>
                    <a:pt x="99" y="175"/>
                    <a:pt x="99" y="174"/>
                  </a:cubicBezTo>
                  <a:cubicBezTo>
                    <a:pt x="99" y="173"/>
                    <a:pt x="99" y="173"/>
                    <a:pt x="101" y="172"/>
                  </a:cubicBezTo>
                  <a:cubicBezTo>
                    <a:pt x="102" y="171"/>
                    <a:pt x="103" y="171"/>
                    <a:pt x="104" y="171"/>
                  </a:cubicBezTo>
                  <a:cubicBezTo>
                    <a:pt x="104" y="170"/>
                    <a:pt x="106" y="170"/>
                    <a:pt x="105" y="171"/>
                  </a:cubicBezTo>
                  <a:cubicBezTo>
                    <a:pt x="104" y="172"/>
                    <a:pt x="103" y="171"/>
                    <a:pt x="104" y="172"/>
                  </a:cubicBezTo>
                  <a:cubicBezTo>
                    <a:pt x="105" y="173"/>
                    <a:pt x="105" y="174"/>
                    <a:pt x="106" y="174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7" y="174"/>
                    <a:pt x="105" y="174"/>
                    <a:pt x="104" y="174"/>
                  </a:cubicBezTo>
                  <a:cubicBezTo>
                    <a:pt x="104" y="174"/>
                    <a:pt x="103" y="174"/>
                    <a:pt x="103" y="174"/>
                  </a:cubicBezTo>
                  <a:cubicBezTo>
                    <a:pt x="102" y="174"/>
                    <a:pt x="102" y="175"/>
                    <a:pt x="102" y="175"/>
                  </a:cubicBezTo>
                  <a:cubicBezTo>
                    <a:pt x="101" y="176"/>
                    <a:pt x="101" y="176"/>
                    <a:pt x="101" y="176"/>
                  </a:cubicBezTo>
                  <a:cubicBezTo>
                    <a:pt x="101" y="176"/>
                    <a:pt x="102" y="177"/>
                    <a:pt x="102" y="178"/>
                  </a:cubicBezTo>
                  <a:cubicBezTo>
                    <a:pt x="102" y="178"/>
                    <a:pt x="102" y="178"/>
                    <a:pt x="101" y="178"/>
                  </a:cubicBezTo>
                  <a:cubicBezTo>
                    <a:pt x="100" y="178"/>
                    <a:pt x="101" y="177"/>
                    <a:pt x="99" y="178"/>
                  </a:cubicBezTo>
                  <a:cubicBezTo>
                    <a:pt x="97" y="178"/>
                    <a:pt x="98" y="176"/>
                    <a:pt x="97" y="179"/>
                  </a:cubicBezTo>
                  <a:cubicBezTo>
                    <a:pt x="96" y="182"/>
                    <a:pt x="95" y="182"/>
                    <a:pt x="95" y="182"/>
                  </a:cubicBezTo>
                  <a:cubicBezTo>
                    <a:pt x="95" y="182"/>
                    <a:pt x="95" y="182"/>
                    <a:pt x="95" y="183"/>
                  </a:cubicBezTo>
                  <a:cubicBezTo>
                    <a:pt x="95" y="183"/>
                    <a:pt x="96" y="184"/>
                    <a:pt x="97" y="185"/>
                  </a:cubicBezTo>
                  <a:cubicBezTo>
                    <a:pt x="99" y="186"/>
                    <a:pt x="100" y="187"/>
                    <a:pt x="100" y="187"/>
                  </a:cubicBezTo>
                  <a:cubicBezTo>
                    <a:pt x="100" y="187"/>
                    <a:pt x="99" y="187"/>
                    <a:pt x="98" y="187"/>
                  </a:cubicBezTo>
                  <a:cubicBezTo>
                    <a:pt x="96" y="188"/>
                    <a:pt x="95" y="188"/>
                    <a:pt x="94" y="189"/>
                  </a:cubicBezTo>
                  <a:cubicBezTo>
                    <a:pt x="94" y="189"/>
                    <a:pt x="93" y="190"/>
                    <a:pt x="92" y="190"/>
                  </a:cubicBezTo>
                  <a:cubicBezTo>
                    <a:pt x="91" y="190"/>
                    <a:pt x="88" y="189"/>
                    <a:pt x="87" y="190"/>
                  </a:cubicBezTo>
                  <a:cubicBezTo>
                    <a:pt x="86" y="190"/>
                    <a:pt x="85" y="190"/>
                    <a:pt x="84" y="191"/>
                  </a:cubicBezTo>
                  <a:cubicBezTo>
                    <a:pt x="84" y="191"/>
                    <a:pt x="84" y="192"/>
                    <a:pt x="84" y="192"/>
                  </a:cubicBezTo>
                  <a:cubicBezTo>
                    <a:pt x="84" y="192"/>
                    <a:pt x="83" y="193"/>
                    <a:pt x="84" y="193"/>
                  </a:cubicBezTo>
                  <a:cubicBezTo>
                    <a:pt x="85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0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4"/>
                    <a:pt x="86" y="194"/>
                    <a:pt x="85" y="194"/>
                  </a:cubicBezTo>
                  <a:cubicBezTo>
                    <a:pt x="85" y="194"/>
                    <a:pt x="82" y="195"/>
                    <a:pt x="82" y="195"/>
                  </a:cubicBezTo>
                  <a:cubicBezTo>
                    <a:pt x="82" y="195"/>
                    <a:pt x="80" y="197"/>
                    <a:pt x="80" y="198"/>
                  </a:cubicBezTo>
                  <a:cubicBezTo>
                    <a:pt x="80" y="198"/>
                    <a:pt x="80" y="199"/>
                    <a:pt x="81" y="201"/>
                  </a:cubicBezTo>
                  <a:cubicBezTo>
                    <a:pt x="83" y="202"/>
                    <a:pt x="83" y="203"/>
                    <a:pt x="83" y="204"/>
                  </a:cubicBezTo>
                  <a:cubicBezTo>
                    <a:pt x="83" y="204"/>
                    <a:pt x="83" y="204"/>
                    <a:pt x="83" y="205"/>
                  </a:cubicBezTo>
                  <a:cubicBezTo>
                    <a:pt x="82" y="205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9"/>
                  </a:cubicBezTo>
                  <a:cubicBezTo>
                    <a:pt x="79" y="210"/>
                    <a:pt x="77" y="213"/>
                    <a:pt x="79" y="213"/>
                  </a:cubicBezTo>
                  <a:cubicBezTo>
                    <a:pt x="81" y="214"/>
                    <a:pt x="80" y="215"/>
                    <a:pt x="82" y="214"/>
                  </a:cubicBezTo>
                  <a:cubicBezTo>
                    <a:pt x="85" y="213"/>
                    <a:pt x="82" y="212"/>
                    <a:pt x="86" y="213"/>
                  </a:cubicBezTo>
                  <a:cubicBezTo>
                    <a:pt x="90" y="214"/>
                    <a:pt x="91" y="213"/>
                    <a:pt x="92" y="213"/>
                  </a:cubicBezTo>
                  <a:cubicBezTo>
                    <a:pt x="93" y="212"/>
                    <a:pt x="93" y="212"/>
                    <a:pt x="94" y="211"/>
                  </a:cubicBezTo>
                  <a:cubicBezTo>
                    <a:pt x="94" y="211"/>
                    <a:pt x="92" y="210"/>
                    <a:pt x="95" y="210"/>
                  </a:cubicBezTo>
                  <a:cubicBezTo>
                    <a:pt x="98" y="209"/>
                    <a:pt x="98" y="209"/>
                    <a:pt x="98" y="209"/>
                  </a:cubicBezTo>
                  <a:cubicBezTo>
                    <a:pt x="98" y="209"/>
                    <a:pt x="96" y="206"/>
                    <a:pt x="98" y="208"/>
                  </a:cubicBezTo>
                  <a:cubicBezTo>
                    <a:pt x="101" y="210"/>
                    <a:pt x="101" y="211"/>
                    <a:pt x="101" y="211"/>
                  </a:cubicBezTo>
                  <a:cubicBezTo>
                    <a:pt x="99" y="213"/>
                    <a:pt x="99" y="213"/>
                    <a:pt x="99" y="213"/>
                  </a:cubicBezTo>
                  <a:cubicBezTo>
                    <a:pt x="99" y="214"/>
                    <a:pt x="99" y="214"/>
                    <a:pt x="99" y="214"/>
                  </a:cubicBezTo>
                  <a:cubicBezTo>
                    <a:pt x="99" y="214"/>
                    <a:pt x="97" y="214"/>
                    <a:pt x="96" y="216"/>
                  </a:cubicBezTo>
                  <a:cubicBezTo>
                    <a:pt x="95" y="218"/>
                    <a:pt x="92" y="221"/>
                    <a:pt x="92" y="222"/>
                  </a:cubicBezTo>
                  <a:cubicBezTo>
                    <a:pt x="92" y="222"/>
                    <a:pt x="93" y="221"/>
                    <a:pt x="91" y="223"/>
                  </a:cubicBezTo>
                  <a:cubicBezTo>
                    <a:pt x="88" y="225"/>
                    <a:pt x="87" y="225"/>
                    <a:pt x="85" y="226"/>
                  </a:cubicBezTo>
                  <a:cubicBezTo>
                    <a:pt x="84" y="228"/>
                    <a:pt x="84" y="227"/>
                    <a:pt x="83" y="228"/>
                  </a:cubicBezTo>
                  <a:cubicBezTo>
                    <a:pt x="83" y="229"/>
                    <a:pt x="82" y="230"/>
                    <a:pt x="82" y="230"/>
                  </a:cubicBezTo>
                  <a:cubicBezTo>
                    <a:pt x="81" y="232"/>
                    <a:pt x="81" y="232"/>
                    <a:pt x="81" y="232"/>
                  </a:cubicBezTo>
                  <a:cubicBezTo>
                    <a:pt x="78" y="233"/>
                    <a:pt x="78" y="233"/>
                    <a:pt x="78" y="233"/>
                  </a:cubicBezTo>
                  <a:cubicBezTo>
                    <a:pt x="75" y="232"/>
                    <a:pt x="75" y="232"/>
                    <a:pt x="75" y="232"/>
                  </a:cubicBezTo>
                  <a:cubicBezTo>
                    <a:pt x="73" y="234"/>
                    <a:pt x="73" y="234"/>
                    <a:pt x="73" y="234"/>
                  </a:cubicBezTo>
                  <a:cubicBezTo>
                    <a:pt x="73" y="234"/>
                    <a:pt x="70" y="233"/>
                    <a:pt x="69" y="233"/>
                  </a:cubicBezTo>
                  <a:cubicBezTo>
                    <a:pt x="68" y="234"/>
                    <a:pt x="67" y="235"/>
                    <a:pt x="67" y="235"/>
                  </a:cubicBezTo>
                  <a:cubicBezTo>
                    <a:pt x="67" y="235"/>
                    <a:pt x="66" y="235"/>
                    <a:pt x="66" y="237"/>
                  </a:cubicBezTo>
                  <a:cubicBezTo>
                    <a:pt x="66" y="238"/>
                    <a:pt x="65" y="241"/>
                    <a:pt x="65" y="241"/>
                  </a:cubicBezTo>
                  <a:cubicBezTo>
                    <a:pt x="63" y="243"/>
                    <a:pt x="63" y="243"/>
                    <a:pt x="63" y="243"/>
                  </a:cubicBezTo>
                  <a:cubicBezTo>
                    <a:pt x="63" y="243"/>
                    <a:pt x="62" y="245"/>
                    <a:pt x="64" y="244"/>
                  </a:cubicBezTo>
                  <a:cubicBezTo>
                    <a:pt x="66" y="243"/>
                    <a:pt x="67" y="242"/>
                    <a:pt x="68" y="241"/>
                  </a:cubicBezTo>
                  <a:cubicBezTo>
                    <a:pt x="68" y="241"/>
                    <a:pt x="70" y="240"/>
                    <a:pt x="70" y="240"/>
                  </a:cubicBezTo>
                  <a:cubicBezTo>
                    <a:pt x="70" y="242"/>
                    <a:pt x="70" y="242"/>
                    <a:pt x="70" y="242"/>
                  </a:cubicBezTo>
                  <a:cubicBezTo>
                    <a:pt x="69" y="246"/>
                    <a:pt x="69" y="246"/>
                    <a:pt x="69" y="246"/>
                  </a:cubicBezTo>
                  <a:cubicBezTo>
                    <a:pt x="68" y="247"/>
                    <a:pt x="68" y="247"/>
                    <a:pt x="68" y="247"/>
                  </a:cubicBezTo>
                  <a:cubicBezTo>
                    <a:pt x="67" y="248"/>
                    <a:pt x="67" y="248"/>
                    <a:pt x="67" y="248"/>
                  </a:cubicBezTo>
                  <a:cubicBezTo>
                    <a:pt x="67" y="248"/>
                    <a:pt x="65" y="252"/>
                    <a:pt x="67" y="252"/>
                  </a:cubicBezTo>
                  <a:cubicBezTo>
                    <a:pt x="69" y="251"/>
                    <a:pt x="68" y="251"/>
                    <a:pt x="70" y="250"/>
                  </a:cubicBezTo>
                  <a:cubicBezTo>
                    <a:pt x="72" y="250"/>
                    <a:pt x="71" y="249"/>
                    <a:pt x="75" y="248"/>
                  </a:cubicBezTo>
                  <a:cubicBezTo>
                    <a:pt x="78" y="248"/>
                    <a:pt x="78" y="246"/>
                    <a:pt x="78" y="245"/>
                  </a:cubicBezTo>
                  <a:cubicBezTo>
                    <a:pt x="78" y="245"/>
                    <a:pt x="78" y="244"/>
                    <a:pt x="78" y="243"/>
                  </a:cubicBezTo>
                  <a:cubicBezTo>
                    <a:pt x="78" y="242"/>
                    <a:pt x="76" y="241"/>
                    <a:pt x="79" y="240"/>
                  </a:cubicBezTo>
                  <a:cubicBezTo>
                    <a:pt x="81" y="240"/>
                    <a:pt x="80" y="241"/>
                    <a:pt x="81" y="240"/>
                  </a:cubicBezTo>
                  <a:cubicBezTo>
                    <a:pt x="82" y="239"/>
                    <a:pt x="82" y="241"/>
                    <a:pt x="82" y="238"/>
                  </a:cubicBezTo>
                  <a:cubicBezTo>
                    <a:pt x="82" y="236"/>
                    <a:pt x="82" y="236"/>
                    <a:pt x="84" y="235"/>
                  </a:cubicBezTo>
                  <a:cubicBezTo>
                    <a:pt x="86" y="233"/>
                    <a:pt x="85" y="234"/>
                    <a:pt x="86" y="233"/>
                  </a:cubicBezTo>
                  <a:cubicBezTo>
                    <a:pt x="87" y="232"/>
                    <a:pt x="86" y="232"/>
                    <a:pt x="87" y="231"/>
                  </a:cubicBezTo>
                  <a:cubicBezTo>
                    <a:pt x="89" y="230"/>
                    <a:pt x="89" y="230"/>
                    <a:pt x="89" y="230"/>
                  </a:cubicBezTo>
                  <a:cubicBezTo>
                    <a:pt x="89" y="229"/>
                    <a:pt x="92" y="227"/>
                    <a:pt x="92" y="227"/>
                  </a:cubicBezTo>
                  <a:cubicBezTo>
                    <a:pt x="92" y="225"/>
                    <a:pt x="92" y="225"/>
                    <a:pt x="92" y="225"/>
                  </a:cubicBezTo>
                  <a:cubicBezTo>
                    <a:pt x="96" y="223"/>
                    <a:pt x="96" y="223"/>
                    <a:pt x="96" y="223"/>
                  </a:cubicBezTo>
                  <a:cubicBezTo>
                    <a:pt x="96" y="223"/>
                    <a:pt x="97" y="222"/>
                    <a:pt x="97" y="223"/>
                  </a:cubicBezTo>
                  <a:cubicBezTo>
                    <a:pt x="96" y="224"/>
                    <a:pt x="95" y="226"/>
                    <a:pt x="95" y="22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2" y="230"/>
                    <a:pt x="94" y="231"/>
                    <a:pt x="93" y="232"/>
                  </a:cubicBezTo>
                  <a:cubicBezTo>
                    <a:pt x="92" y="233"/>
                    <a:pt x="90" y="234"/>
                    <a:pt x="90" y="234"/>
                  </a:cubicBezTo>
                  <a:cubicBezTo>
                    <a:pt x="90" y="236"/>
                    <a:pt x="90" y="236"/>
                    <a:pt x="90" y="236"/>
                  </a:cubicBezTo>
                  <a:cubicBezTo>
                    <a:pt x="91" y="237"/>
                    <a:pt x="91" y="237"/>
                    <a:pt x="91" y="237"/>
                  </a:cubicBezTo>
                  <a:cubicBezTo>
                    <a:pt x="89" y="241"/>
                    <a:pt x="89" y="241"/>
                    <a:pt x="89" y="241"/>
                  </a:cubicBezTo>
                  <a:cubicBezTo>
                    <a:pt x="91" y="243"/>
                    <a:pt x="91" y="243"/>
                    <a:pt x="91" y="243"/>
                  </a:cubicBezTo>
                  <a:cubicBezTo>
                    <a:pt x="92" y="245"/>
                    <a:pt x="92" y="245"/>
                    <a:pt x="92" y="245"/>
                  </a:cubicBezTo>
                  <a:cubicBezTo>
                    <a:pt x="92" y="245"/>
                    <a:pt x="91" y="246"/>
                    <a:pt x="90" y="247"/>
                  </a:cubicBezTo>
                  <a:cubicBezTo>
                    <a:pt x="89" y="247"/>
                    <a:pt x="87" y="250"/>
                    <a:pt x="87" y="250"/>
                  </a:cubicBezTo>
                  <a:cubicBezTo>
                    <a:pt x="85" y="253"/>
                    <a:pt x="85" y="253"/>
                    <a:pt x="85" y="253"/>
                  </a:cubicBezTo>
                  <a:cubicBezTo>
                    <a:pt x="83" y="256"/>
                    <a:pt x="83" y="256"/>
                    <a:pt x="83" y="256"/>
                  </a:cubicBezTo>
                  <a:cubicBezTo>
                    <a:pt x="83" y="259"/>
                    <a:pt x="83" y="259"/>
                    <a:pt x="83" y="259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0" y="264"/>
                    <a:pt x="80" y="264"/>
                    <a:pt x="80" y="264"/>
                  </a:cubicBezTo>
                  <a:cubicBezTo>
                    <a:pt x="80" y="264"/>
                    <a:pt x="79" y="267"/>
                    <a:pt x="81" y="267"/>
                  </a:cubicBezTo>
                  <a:cubicBezTo>
                    <a:pt x="83" y="268"/>
                    <a:pt x="83" y="268"/>
                    <a:pt x="84" y="268"/>
                  </a:cubicBezTo>
                  <a:cubicBezTo>
                    <a:pt x="86" y="268"/>
                    <a:pt x="85" y="268"/>
                    <a:pt x="86" y="268"/>
                  </a:cubicBezTo>
                  <a:cubicBezTo>
                    <a:pt x="87" y="268"/>
                    <a:pt x="89" y="268"/>
                    <a:pt x="89" y="266"/>
                  </a:cubicBezTo>
                  <a:cubicBezTo>
                    <a:pt x="89" y="264"/>
                    <a:pt x="89" y="262"/>
                    <a:pt x="89" y="261"/>
                  </a:cubicBezTo>
                  <a:cubicBezTo>
                    <a:pt x="89" y="261"/>
                    <a:pt x="91" y="258"/>
                    <a:pt x="91" y="258"/>
                  </a:cubicBezTo>
                  <a:cubicBezTo>
                    <a:pt x="91" y="254"/>
                    <a:pt x="91" y="254"/>
                    <a:pt x="91" y="254"/>
                  </a:cubicBezTo>
                  <a:cubicBezTo>
                    <a:pt x="91" y="254"/>
                    <a:pt x="91" y="253"/>
                    <a:pt x="93" y="251"/>
                  </a:cubicBezTo>
                  <a:cubicBezTo>
                    <a:pt x="95" y="250"/>
                    <a:pt x="94" y="250"/>
                    <a:pt x="95" y="250"/>
                  </a:cubicBezTo>
                  <a:cubicBezTo>
                    <a:pt x="96" y="249"/>
                    <a:pt x="96" y="248"/>
                    <a:pt x="96" y="247"/>
                  </a:cubicBezTo>
                  <a:cubicBezTo>
                    <a:pt x="97" y="246"/>
                    <a:pt x="97" y="246"/>
                    <a:pt x="97" y="246"/>
                  </a:cubicBezTo>
                  <a:cubicBezTo>
                    <a:pt x="98" y="244"/>
                    <a:pt x="98" y="244"/>
                    <a:pt x="98" y="244"/>
                  </a:cubicBezTo>
                  <a:cubicBezTo>
                    <a:pt x="98" y="236"/>
                    <a:pt x="98" y="236"/>
                    <a:pt x="98" y="236"/>
                  </a:cubicBezTo>
                  <a:cubicBezTo>
                    <a:pt x="98" y="236"/>
                    <a:pt x="98" y="234"/>
                    <a:pt x="99" y="234"/>
                  </a:cubicBezTo>
                  <a:cubicBezTo>
                    <a:pt x="100" y="234"/>
                    <a:pt x="101" y="234"/>
                    <a:pt x="101" y="234"/>
                  </a:cubicBezTo>
                  <a:cubicBezTo>
                    <a:pt x="101" y="234"/>
                    <a:pt x="101" y="235"/>
                    <a:pt x="101" y="237"/>
                  </a:cubicBezTo>
                  <a:cubicBezTo>
                    <a:pt x="100" y="239"/>
                    <a:pt x="101" y="242"/>
                    <a:pt x="101" y="242"/>
                  </a:cubicBezTo>
                  <a:cubicBezTo>
                    <a:pt x="108" y="248"/>
                    <a:pt x="108" y="248"/>
                    <a:pt x="108" y="248"/>
                  </a:cubicBezTo>
                  <a:cubicBezTo>
                    <a:pt x="108" y="248"/>
                    <a:pt x="111" y="253"/>
                    <a:pt x="111" y="254"/>
                  </a:cubicBezTo>
                  <a:cubicBezTo>
                    <a:pt x="111" y="254"/>
                    <a:pt x="116" y="258"/>
                    <a:pt x="116" y="258"/>
                  </a:cubicBezTo>
                  <a:cubicBezTo>
                    <a:pt x="116" y="258"/>
                    <a:pt x="117" y="259"/>
                    <a:pt x="116" y="260"/>
                  </a:cubicBezTo>
                  <a:cubicBezTo>
                    <a:pt x="116" y="261"/>
                    <a:pt x="117" y="262"/>
                    <a:pt x="117" y="263"/>
                  </a:cubicBezTo>
                  <a:cubicBezTo>
                    <a:pt x="116" y="264"/>
                    <a:pt x="115" y="267"/>
                    <a:pt x="115" y="267"/>
                  </a:cubicBezTo>
                  <a:cubicBezTo>
                    <a:pt x="113" y="268"/>
                    <a:pt x="113" y="268"/>
                    <a:pt x="113" y="268"/>
                  </a:cubicBezTo>
                  <a:cubicBezTo>
                    <a:pt x="110" y="271"/>
                    <a:pt x="110" y="271"/>
                    <a:pt x="110" y="271"/>
                  </a:cubicBezTo>
                  <a:cubicBezTo>
                    <a:pt x="109" y="275"/>
                    <a:pt x="109" y="275"/>
                    <a:pt x="109" y="275"/>
                  </a:cubicBezTo>
                  <a:cubicBezTo>
                    <a:pt x="107" y="278"/>
                    <a:pt x="107" y="278"/>
                    <a:pt x="107" y="278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98" y="285"/>
                    <a:pt x="98" y="285"/>
                    <a:pt x="98" y="285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3" y="293"/>
                    <a:pt x="93" y="293"/>
                    <a:pt x="93" y="293"/>
                  </a:cubicBezTo>
                  <a:cubicBezTo>
                    <a:pt x="93" y="296"/>
                    <a:pt x="93" y="296"/>
                    <a:pt x="93" y="296"/>
                  </a:cubicBezTo>
                  <a:cubicBezTo>
                    <a:pt x="93" y="296"/>
                    <a:pt x="95" y="300"/>
                    <a:pt x="96" y="300"/>
                  </a:cubicBezTo>
                  <a:cubicBezTo>
                    <a:pt x="96" y="300"/>
                    <a:pt x="97" y="301"/>
                    <a:pt x="97" y="301"/>
                  </a:cubicBezTo>
                  <a:cubicBezTo>
                    <a:pt x="98" y="306"/>
                    <a:pt x="98" y="306"/>
                    <a:pt x="98" y="306"/>
                  </a:cubicBezTo>
                  <a:cubicBezTo>
                    <a:pt x="98" y="306"/>
                    <a:pt x="98" y="309"/>
                    <a:pt x="99" y="309"/>
                  </a:cubicBezTo>
                  <a:cubicBezTo>
                    <a:pt x="100" y="308"/>
                    <a:pt x="101" y="305"/>
                    <a:pt x="101" y="305"/>
                  </a:cubicBezTo>
                  <a:cubicBezTo>
                    <a:pt x="101" y="305"/>
                    <a:pt x="99" y="303"/>
                    <a:pt x="99" y="301"/>
                  </a:cubicBezTo>
                  <a:cubicBezTo>
                    <a:pt x="99" y="299"/>
                    <a:pt x="101" y="296"/>
                    <a:pt x="101" y="296"/>
                  </a:cubicBezTo>
                  <a:cubicBezTo>
                    <a:pt x="103" y="295"/>
                    <a:pt x="103" y="295"/>
                    <a:pt x="103" y="295"/>
                  </a:cubicBezTo>
                  <a:cubicBezTo>
                    <a:pt x="103" y="295"/>
                    <a:pt x="102" y="295"/>
                    <a:pt x="103" y="296"/>
                  </a:cubicBezTo>
                  <a:cubicBezTo>
                    <a:pt x="104" y="298"/>
                    <a:pt x="104" y="297"/>
                    <a:pt x="105" y="298"/>
                  </a:cubicBezTo>
                  <a:cubicBezTo>
                    <a:pt x="105" y="299"/>
                    <a:pt x="108" y="302"/>
                    <a:pt x="108" y="302"/>
                  </a:cubicBezTo>
                  <a:cubicBezTo>
                    <a:pt x="108" y="302"/>
                    <a:pt x="111" y="305"/>
                    <a:pt x="112" y="306"/>
                  </a:cubicBezTo>
                  <a:cubicBezTo>
                    <a:pt x="113" y="307"/>
                    <a:pt x="114" y="309"/>
                    <a:pt x="115" y="309"/>
                  </a:cubicBezTo>
                  <a:cubicBezTo>
                    <a:pt x="116" y="308"/>
                    <a:pt x="117" y="309"/>
                    <a:pt x="117" y="307"/>
                  </a:cubicBezTo>
                  <a:cubicBezTo>
                    <a:pt x="117" y="305"/>
                    <a:pt x="118" y="305"/>
                    <a:pt x="118" y="303"/>
                  </a:cubicBezTo>
                  <a:cubicBezTo>
                    <a:pt x="117" y="302"/>
                    <a:pt x="117" y="299"/>
                    <a:pt x="117" y="299"/>
                  </a:cubicBezTo>
                  <a:cubicBezTo>
                    <a:pt x="117" y="299"/>
                    <a:pt x="117" y="298"/>
                    <a:pt x="118" y="298"/>
                  </a:cubicBezTo>
                  <a:cubicBezTo>
                    <a:pt x="120" y="298"/>
                    <a:pt x="120" y="300"/>
                    <a:pt x="120" y="300"/>
                  </a:cubicBezTo>
                  <a:cubicBezTo>
                    <a:pt x="120" y="300"/>
                    <a:pt x="121" y="303"/>
                    <a:pt x="122" y="304"/>
                  </a:cubicBezTo>
                  <a:cubicBezTo>
                    <a:pt x="123" y="304"/>
                    <a:pt x="124" y="304"/>
                    <a:pt x="125" y="305"/>
                  </a:cubicBezTo>
                  <a:cubicBezTo>
                    <a:pt x="126" y="307"/>
                    <a:pt x="131" y="308"/>
                    <a:pt x="131" y="308"/>
                  </a:cubicBezTo>
                  <a:cubicBezTo>
                    <a:pt x="131" y="308"/>
                    <a:pt x="132" y="307"/>
                    <a:pt x="133" y="306"/>
                  </a:cubicBezTo>
                  <a:cubicBezTo>
                    <a:pt x="133" y="305"/>
                    <a:pt x="135" y="305"/>
                    <a:pt x="135" y="305"/>
                  </a:cubicBezTo>
                  <a:cubicBezTo>
                    <a:pt x="135" y="305"/>
                    <a:pt x="134" y="303"/>
                    <a:pt x="137" y="304"/>
                  </a:cubicBezTo>
                  <a:cubicBezTo>
                    <a:pt x="139" y="304"/>
                    <a:pt x="140" y="305"/>
                    <a:pt x="140" y="304"/>
                  </a:cubicBezTo>
                  <a:cubicBezTo>
                    <a:pt x="141" y="303"/>
                    <a:pt x="143" y="299"/>
                    <a:pt x="143" y="299"/>
                  </a:cubicBezTo>
                  <a:cubicBezTo>
                    <a:pt x="143" y="299"/>
                    <a:pt x="142" y="296"/>
                    <a:pt x="145" y="297"/>
                  </a:cubicBezTo>
                  <a:cubicBezTo>
                    <a:pt x="147" y="299"/>
                    <a:pt x="158" y="301"/>
                    <a:pt x="158" y="301"/>
                  </a:cubicBezTo>
                  <a:cubicBezTo>
                    <a:pt x="157" y="303"/>
                    <a:pt x="157" y="303"/>
                    <a:pt x="157" y="303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0" y="303"/>
                    <a:pt x="150" y="303"/>
                    <a:pt x="150" y="303"/>
                  </a:cubicBezTo>
                  <a:cubicBezTo>
                    <a:pt x="150" y="303"/>
                    <a:pt x="149" y="303"/>
                    <a:pt x="148" y="305"/>
                  </a:cubicBezTo>
                  <a:cubicBezTo>
                    <a:pt x="148" y="306"/>
                    <a:pt x="148" y="307"/>
                    <a:pt x="147" y="308"/>
                  </a:cubicBezTo>
                  <a:cubicBezTo>
                    <a:pt x="147" y="309"/>
                    <a:pt x="146" y="310"/>
                    <a:pt x="145" y="310"/>
                  </a:cubicBezTo>
                  <a:cubicBezTo>
                    <a:pt x="145" y="311"/>
                    <a:pt x="141" y="314"/>
                    <a:pt x="141" y="314"/>
                  </a:cubicBezTo>
                  <a:cubicBezTo>
                    <a:pt x="139" y="317"/>
                    <a:pt x="139" y="317"/>
                    <a:pt x="139" y="317"/>
                  </a:cubicBezTo>
                  <a:cubicBezTo>
                    <a:pt x="137" y="322"/>
                    <a:pt x="137" y="322"/>
                    <a:pt x="137" y="322"/>
                  </a:cubicBezTo>
                  <a:cubicBezTo>
                    <a:pt x="137" y="322"/>
                    <a:pt x="137" y="326"/>
                    <a:pt x="138" y="326"/>
                  </a:cubicBezTo>
                  <a:cubicBezTo>
                    <a:pt x="139" y="327"/>
                    <a:pt x="141" y="330"/>
                    <a:pt x="141" y="330"/>
                  </a:cubicBezTo>
                  <a:cubicBezTo>
                    <a:pt x="141" y="330"/>
                    <a:pt x="141" y="332"/>
                    <a:pt x="141" y="333"/>
                  </a:cubicBezTo>
                  <a:cubicBezTo>
                    <a:pt x="141" y="334"/>
                    <a:pt x="141" y="335"/>
                    <a:pt x="142" y="337"/>
                  </a:cubicBezTo>
                  <a:cubicBezTo>
                    <a:pt x="143" y="338"/>
                    <a:pt x="144" y="342"/>
                    <a:pt x="144" y="342"/>
                  </a:cubicBezTo>
                  <a:cubicBezTo>
                    <a:pt x="145" y="342"/>
                    <a:pt x="145" y="342"/>
                    <a:pt x="145" y="342"/>
                  </a:cubicBezTo>
                  <a:cubicBezTo>
                    <a:pt x="145" y="345"/>
                    <a:pt x="145" y="345"/>
                    <a:pt x="145" y="345"/>
                  </a:cubicBezTo>
                  <a:cubicBezTo>
                    <a:pt x="145" y="345"/>
                    <a:pt x="145" y="348"/>
                    <a:pt x="146" y="348"/>
                  </a:cubicBezTo>
                  <a:cubicBezTo>
                    <a:pt x="148" y="348"/>
                    <a:pt x="151" y="346"/>
                    <a:pt x="151" y="346"/>
                  </a:cubicBezTo>
                  <a:cubicBezTo>
                    <a:pt x="159" y="344"/>
                    <a:pt x="159" y="344"/>
                    <a:pt x="159" y="344"/>
                  </a:cubicBezTo>
                  <a:cubicBezTo>
                    <a:pt x="159" y="344"/>
                    <a:pt x="158" y="348"/>
                    <a:pt x="158" y="349"/>
                  </a:cubicBezTo>
                  <a:cubicBezTo>
                    <a:pt x="158" y="350"/>
                    <a:pt x="156" y="350"/>
                    <a:pt x="155" y="351"/>
                  </a:cubicBezTo>
                  <a:cubicBezTo>
                    <a:pt x="155" y="352"/>
                    <a:pt x="155" y="353"/>
                    <a:pt x="155" y="353"/>
                  </a:cubicBezTo>
                  <a:cubicBezTo>
                    <a:pt x="155" y="353"/>
                    <a:pt x="154" y="356"/>
                    <a:pt x="153" y="356"/>
                  </a:cubicBezTo>
                  <a:cubicBezTo>
                    <a:pt x="151" y="356"/>
                    <a:pt x="149" y="357"/>
                    <a:pt x="149" y="357"/>
                  </a:cubicBezTo>
                  <a:cubicBezTo>
                    <a:pt x="149" y="357"/>
                    <a:pt x="148" y="355"/>
                    <a:pt x="148" y="358"/>
                  </a:cubicBezTo>
                  <a:cubicBezTo>
                    <a:pt x="147" y="360"/>
                    <a:pt x="146" y="362"/>
                    <a:pt x="146" y="363"/>
                  </a:cubicBezTo>
                  <a:cubicBezTo>
                    <a:pt x="146" y="364"/>
                    <a:pt x="144" y="365"/>
                    <a:pt x="147" y="366"/>
                  </a:cubicBezTo>
                  <a:cubicBezTo>
                    <a:pt x="149" y="366"/>
                    <a:pt x="149" y="369"/>
                    <a:pt x="149" y="369"/>
                  </a:cubicBezTo>
                  <a:cubicBezTo>
                    <a:pt x="149" y="369"/>
                    <a:pt x="147" y="371"/>
                    <a:pt x="146" y="372"/>
                  </a:cubicBezTo>
                  <a:cubicBezTo>
                    <a:pt x="145" y="373"/>
                    <a:pt x="144" y="372"/>
                    <a:pt x="144" y="373"/>
                  </a:cubicBezTo>
                  <a:cubicBezTo>
                    <a:pt x="144" y="374"/>
                    <a:pt x="146" y="379"/>
                    <a:pt x="146" y="379"/>
                  </a:cubicBezTo>
                  <a:cubicBezTo>
                    <a:pt x="146" y="379"/>
                    <a:pt x="146" y="382"/>
                    <a:pt x="144" y="382"/>
                  </a:cubicBezTo>
                  <a:cubicBezTo>
                    <a:pt x="142" y="382"/>
                    <a:pt x="142" y="382"/>
                    <a:pt x="141" y="382"/>
                  </a:cubicBezTo>
                  <a:cubicBezTo>
                    <a:pt x="140" y="382"/>
                    <a:pt x="139" y="382"/>
                    <a:pt x="139" y="382"/>
                  </a:cubicBezTo>
                  <a:cubicBezTo>
                    <a:pt x="139" y="382"/>
                    <a:pt x="140" y="383"/>
                    <a:pt x="140" y="385"/>
                  </a:cubicBezTo>
                  <a:cubicBezTo>
                    <a:pt x="140" y="387"/>
                    <a:pt x="140" y="389"/>
                    <a:pt x="140" y="389"/>
                  </a:cubicBezTo>
                  <a:cubicBezTo>
                    <a:pt x="137" y="388"/>
                    <a:pt x="137" y="388"/>
                    <a:pt x="137" y="388"/>
                  </a:cubicBezTo>
                  <a:cubicBezTo>
                    <a:pt x="134" y="385"/>
                    <a:pt x="134" y="385"/>
                    <a:pt x="134" y="385"/>
                  </a:cubicBezTo>
                  <a:cubicBezTo>
                    <a:pt x="134" y="385"/>
                    <a:pt x="131" y="385"/>
                    <a:pt x="130" y="385"/>
                  </a:cubicBezTo>
                  <a:cubicBezTo>
                    <a:pt x="129" y="386"/>
                    <a:pt x="126" y="386"/>
                    <a:pt x="126" y="386"/>
                  </a:cubicBezTo>
                  <a:cubicBezTo>
                    <a:pt x="126" y="386"/>
                    <a:pt x="121" y="384"/>
                    <a:pt x="120" y="383"/>
                  </a:cubicBezTo>
                  <a:cubicBezTo>
                    <a:pt x="120" y="382"/>
                    <a:pt x="120" y="382"/>
                    <a:pt x="119" y="383"/>
                  </a:cubicBezTo>
                  <a:cubicBezTo>
                    <a:pt x="119" y="383"/>
                    <a:pt x="120" y="383"/>
                    <a:pt x="119" y="383"/>
                  </a:cubicBezTo>
                  <a:cubicBezTo>
                    <a:pt x="118" y="384"/>
                    <a:pt x="120" y="384"/>
                    <a:pt x="116" y="384"/>
                  </a:cubicBezTo>
                  <a:cubicBezTo>
                    <a:pt x="112" y="385"/>
                    <a:pt x="108" y="386"/>
                    <a:pt x="108" y="386"/>
                  </a:cubicBezTo>
                  <a:cubicBezTo>
                    <a:pt x="108" y="386"/>
                    <a:pt x="111" y="383"/>
                    <a:pt x="110" y="382"/>
                  </a:cubicBezTo>
                  <a:cubicBezTo>
                    <a:pt x="109" y="381"/>
                    <a:pt x="110" y="382"/>
                    <a:pt x="108" y="381"/>
                  </a:cubicBezTo>
                  <a:cubicBezTo>
                    <a:pt x="107" y="380"/>
                    <a:pt x="105" y="378"/>
                    <a:pt x="105" y="377"/>
                  </a:cubicBezTo>
                  <a:cubicBezTo>
                    <a:pt x="105" y="376"/>
                    <a:pt x="105" y="374"/>
                    <a:pt x="103" y="374"/>
                  </a:cubicBezTo>
                  <a:cubicBezTo>
                    <a:pt x="102" y="374"/>
                    <a:pt x="101" y="372"/>
                    <a:pt x="99" y="374"/>
                  </a:cubicBezTo>
                  <a:cubicBezTo>
                    <a:pt x="98" y="375"/>
                    <a:pt x="97" y="375"/>
                    <a:pt x="97" y="376"/>
                  </a:cubicBezTo>
                  <a:cubicBezTo>
                    <a:pt x="96" y="377"/>
                    <a:pt x="92" y="378"/>
                    <a:pt x="92" y="378"/>
                  </a:cubicBezTo>
                  <a:cubicBezTo>
                    <a:pt x="92" y="378"/>
                    <a:pt x="95" y="382"/>
                    <a:pt x="95" y="383"/>
                  </a:cubicBezTo>
                  <a:cubicBezTo>
                    <a:pt x="95" y="384"/>
                    <a:pt x="97" y="388"/>
                    <a:pt x="97" y="388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4" y="388"/>
                    <a:pt x="99" y="390"/>
                    <a:pt x="99" y="392"/>
                  </a:cubicBezTo>
                  <a:cubicBezTo>
                    <a:pt x="98" y="393"/>
                    <a:pt x="98" y="394"/>
                    <a:pt x="97" y="395"/>
                  </a:cubicBezTo>
                  <a:cubicBezTo>
                    <a:pt x="96" y="396"/>
                    <a:pt x="96" y="397"/>
                    <a:pt x="94" y="398"/>
                  </a:cubicBezTo>
                  <a:cubicBezTo>
                    <a:pt x="91" y="398"/>
                    <a:pt x="88" y="399"/>
                    <a:pt x="86" y="400"/>
                  </a:cubicBezTo>
                  <a:cubicBezTo>
                    <a:pt x="85" y="401"/>
                    <a:pt x="84" y="401"/>
                    <a:pt x="84" y="402"/>
                  </a:cubicBezTo>
                  <a:cubicBezTo>
                    <a:pt x="84" y="404"/>
                    <a:pt x="78" y="403"/>
                    <a:pt x="84" y="405"/>
                  </a:cubicBezTo>
                  <a:cubicBezTo>
                    <a:pt x="90" y="406"/>
                    <a:pt x="91" y="407"/>
                    <a:pt x="91" y="407"/>
                  </a:cubicBezTo>
                  <a:cubicBezTo>
                    <a:pt x="91" y="407"/>
                    <a:pt x="94" y="404"/>
                    <a:pt x="95" y="403"/>
                  </a:cubicBezTo>
                  <a:cubicBezTo>
                    <a:pt x="97" y="401"/>
                    <a:pt x="97" y="401"/>
                    <a:pt x="101" y="401"/>
                  </a:cubicBezTo>
                  <a:cubicBezTo>
                    <a:pt x="105" y="402"/>
                    <a:pt x="105" y="401"/>
                    <a:pt x="105" y="402"/>
                  </a:cubicBezTo>
                  <a:cubicBezTo>
                    <a:pt x="105" y="404"/>
                    <a:pt x="105" y="405"/>
                    <a:pt x="105" y="407"/>
                  </a:cubicBezTo>
                  <a:cubicBezTo>
                    <a:pt x="104" y="409"/>
                    <a:pt x="102" y="410"/>
                    <a:pt x="104" y="413"/>
                  </a:cubicBezTo>
                  <a:cubicBezTo>
                    <a:pt x="106" y="415"/>
                    <a:pt x="103" y="417"/>
                    <a:pt x="103" y="418"/>
                  </a:cubicBezTo>
                  <a:cubicBezTo>
                    <a:pt x="103" y="418"/>
                    <a:pt x="101" y="421"/>
                    <a:pt x="102" y="421"/>
                  </a:cubicBezTo>
                  <a:cubicBezTo>
                    <a:pt x="103" y="422"/>
                    <a:pt x="103" y="422"/>
                    <a:pt x="103" y="422"/>
                  </a:cubicBezTo>
                  <a:cubicBezTo>
                    <a:pt x="103" y="422"/>
                    <a:pt x="101" y="427"/>
                    <a:pt x="101" y="428"/>
                  </a:cubicBezTo>
                  <a:cubicBezTo>
                    <a:pt x="101" y="428"/>
                    <a:pt x="98" y="434"/>
                    <a:pt x="97" y="434"/>
                  </a:cubicBezTo>
                  <a:cubicBezTo>
                    <a:pt x="96" y="435"/>
                    <a:pt x="98" y="435"/>
                    <a:pt x="92" y="437"/>
                  </a:cubicBezTo>
                  <a:cubicBezTo>
                    <a:pt x="86" y="438"/>
                    <a:pt x="83" y="439"/>
                    <a:pt x="83" y="439"/>
                  </a:cubicBezTo>
                  <a:cubicBezTo>
                    <a:pt x="78" y="441"/>
                    <a:pt x="78" y="441"/>
                    <a:pt x="78" y="441"/>
                  </a:cubicBezTo>
                  <a:cubicBezTo>
                    <a:pt x="74" y="444"/>
                    <a:pt x="74" y="444"/>
                    <a:pt x="74" y="444"/>
                  </a:cubicBezTo>
                  <a:cubicBezTo>
                    <a:pt x="71" y="444"/>
                    <a:pt x="71" y="444"/>
                    <a:pt x="71" y="444"/>
                  </a:cubicBezTo>
                  <a:cubicBezTo>
                    <a:pt x="66" y="443"/>
                    <a:pt x="66" y="443"/>
                    <a:pt x="66" y="443"/>
                  </a:cubicBezTo>
                  <a:cubicBezTo>
                    <a:pt x="66" y="443"/>
                    <a:pt x="61" y="446"/>
                    <a:pt x="61" y="447"/>
                  </a:cubicBezTo>
                  <a:cubicBezTo>
                    <a:pt x="61" y="447"/>
                    <a:pt x="58" y="448"/>
                    <a:pt x="57" y="449"/>
                  </a:cubicBezTo>
                  <a:cubicBezTo>
                    <a:pt x="57" y="450"/>
                    <a:pt x="62" y="452"/>
                    <a:pt x="62" y="452"/>
                  </a:cubicBezTo>
                  <a:cubicBezTo>
                    <a:pt x="63" y="455"/>
                    <a:pt x="63" y="455"/>
                    <a:pt x="63" y="455"/>
                  </a:cubicBezTo>
                  <a:cubicBezTo>
                    <a:pt x="61" y="455"/>
                    <a:pt x="61" y="455"/>
                    <a:pt x="61" y="455"/>
                  </a:cubicBezTo>
                  <a:cubicBezTo>
                    <a:pt x="57" y="456"/>
                    <a:pt x="57" y="456"/>
                    <a:pt x="57" y="456"/>
                  </a:cubicBezTo>
                  <a:cubicBezTo>
                    <a:pt x="57" y="458"/>
                    <a:pt x="57" y="458"/>
                    <a:pt x="57" y="458"/>
                  </a:cubicBezTo>
                  <a:cubicBezTo>
                    <a:pt x="59" y="459"/>
                    <a:pt x="59" y="459"/>
                    <a:pt x="59" y="459"/>
                  </a:cubicBezTo>
                  <a:cubicBezTo>
                    <a:pt x="59" y="459"/>
                    <a:pt x="60" y="460"/>
                    <a:pt x="61" y="460"/>
                  </a:cubicBezTo>
                  <a:cubicBezTo>
                    <a:pt x="63" y="460"/>
                    <a:pt x="67" y="458"/>
                    <a:pt x="67" y="458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1" y="464"/>
                    <a:pt x="61" y="464"/>
                    <a:pt x="61" y="464"/>
                  </a:cubicBezTo>
                  <a:cubicBezTo>
                    <a:pt x="61" y="464"/>
                    <a:pt x="60" y="466"/>
                    <a:pt x="62" y="466"/>
                  </a:cubicBezTo>
                  <a:cubicBezTo>
                    <a:pt x="64" y="466"/>
                    <a:pt x="66" y="466"/>
                    <a:pt x="66" y="466"/>
                  </a:cubicBezTo>
                  <a:cubicBezTo>
                    <a:pt x="66" y="466"/>
                    <a:pt x="67" y="464"/>
                    <a:pt x="69" y="464"/>
                  </a:cubicBezTo>
                  <a:cubicBezTo>
                    <a:pt x="72" y="465"/>
                    <a:pt x="72" y="465"/>
                    <a:pt x="72" y="465"/>
                  </a:cubicBezTo>
                  <a:cubicBezTo>
                    <a:pt x="72" y="465"/>
                    <a:pt x="73" y="462"/>
                    <a:pt x="74" y="462"/>
                  </a:cubicBezTo>
                  <a:cubicBezTo>
                    <a:pt x="74" y="462"/>
                    <a:pt x="73" y="462"/>
                    <a:pt x="76" y="462"/>
                  </a:cubicBezTo>
                  <a:cubicBezTo>
                    <a:pt x="78" y="463"/>
                    <a:pt x="85" y="462"/>
                    <a:pt x="85" y="462"/>
                  </a:cubicBezTo>
                  <a:cubicBezTo>
                    <a:pt x="85" y="462"/>
                    <a:pt x="86" y="462"/>
                    <a:pt x="86" y="463"/>
                  </a:cubicBezTo>
                  <a:cubicBezTo>
                    <a:pt x="86" y="465"/>
                    <a:pt x="88" y="465"/>
                    <a:pt x="89" y="467"/>
                  </a:cubicBezTo>
                  <a:cubicBezTo>
                    <a:pt x="91" y="468"/>
                    <a:pt x="95" y="469"/>
                    <a:pt x="95" y="469"/>
                  </a:cubicBezTo>
                  <a:cubicBezTo>
                    <a:pt x="92" y="470"/>
                    <a:pt x="92" y="470"/>
                    <a:pt x="92" y="470"/>
                  </a:cubicBezTo>
                  <a:cubicBezTo>
                    <a:pt x="88" y="469"/>
                    <a:pt x="88" y="469"/>
                    <a:pt x="88" y="469"/>
                  </a:cubicBezTo>
                  <a:cubicBezTo>
                    <a:pt x="88" y="469"/>
                    <a:pt x="86" y="468"/>
                    <a:pt x="86" y="469"/>
                  </a:cubicBezTo>
                  <a:cubicBezTo>
                    <a:pt x="86" y="471"/>
                    <a:pt x="85" y="474"/>
                    <a:pt x="85" y="474"/>
                  </a:cubicBezTo>
                  <a:cubicBezTo>
                    <a:pt x="86" y="474"/>
                    <a:pt x="91" y="475"/>
                    <a:pt x="91" y="475"/>
                  </a:cubicBezTo>
                  <a:cubicBezTo>
                    <a:pt x="96" y="475"/>
                    <a:pt x="96" y="475"/>
                    <a:pt x="96" y="475"/>
                  </a:cubicBezTo>
                  <a:cubicBezTo>
                    <a:pt x="98" y="474"/>
                    <a:pt x="98" y="474"/>
                    <a:pt x="98" y="474"/>
                  </a:cubicBezTo>
                  <a:cubicBezTo>
                    <a:pt x="101" y="472"/>
                    <a:pt x="101" y="472"/>
                    <a:pt x="101" y="472"/>
                  </a:cubicBezTo>
                  <a:cubicBezTo>
                    <a:pt x="101" y="472"/>
                    <a:pt x="102" y="474"/>
                    <a:pt x="101" y="474"/>
                  </a:cubicBezTo>
                  <a:cubicBezTo>
                    <a:pt x="101" y="475"/>
                    <a:pt x="102" y="477"/>
                    <a:pt x="102" y="477"/>
                  </a:cubicBezTo>
                  <a:cubicBezTo>
                    <a:pt x="102" y="477"/>
                    <a:pt x="102" y="480"/>
                    <a:pt x="103" y="480"/>
                  </a:cubicBezTo>
                  <a:cubicBezTo>
                    <a:pt x="104" y="480"/>
                    <a:pt x="106" y="483"/>
                    <a:pt x="106" y="483"/>
                  </a:cubicBezTo>
                  <a:cubicBezTo>
                    <a:pt x="108" y="486"/>
                    <a:pt x="108" y="486"/>
                    <a:pt x="108" y="486"/>
                  </a:cubicBezTo>
                  <a:cubicBezTo>
                    <a:pt x="112" y="487"/>
                    <a:pt x="112" y="487"/>
                    <a:pt x="112" y="487"/>
                  </a:cubicBezTo>
                  <a:cubicBezTo>
                    <a:pt x="112" y="487"/>
                    <a:pt x="115" y="487"/>
                    <a:pt x="116" y="487"/>
                  </a:cubicBezTo>
                  <a:cubicBezTo>
                    <a:pt x="117" y="488"/>
                    <a:pt x="119" y="489"/>
                    <a:pt x="119" y="488"/>
                  </a:cubicBezTo>
                  <a:cubicBezTo>
                    <a:pt x="120" y="487"/>
                    <a:pt x="122" y="485"/>
                    <a:pt x="122" y="485"/>
                  </a:cubicBezTo>
                  <a:cubicBezTo>
                    <a:pt x="126" y="482"/>
                    <a:pt x="126" y="482"/>
                    <a:pt x="126" y="482"/>
                  </a:cubicBezTo>
                  <a:cubicBezTo>
                    <a:pt x="126" y="482"/>
                    <a:pt x="128" y="482"/>
                    <a:pt x="130" y="482"/>
                  </a:cubicBezTo>
                  <a:cubicBezTo>
                    <a:pt x="131" y="482"/>
                    <a:pt x="138" y="481"/>
                    <a:pt x="138" y="481"/>
                  </a:cubicBezTo>
                  <a:cubicBezTo>
                    <a:pt x="138" y="481"/>
                    <a:pt x="139" y="479"/>
                    <a:pt x="141" y="478"/>
                  </a:cubicBezTo>
                  <a:cubicBezTo>
                    <a:pt x="142" y="477"/>
                    <a:pt x="146" y="475"/>
                    <a:pt x="146" y="475"/>
                  </a:cubicBezTo>
                  <a:cubicBezTo>
                    <a:pt x="153" y="473"/>
                    <a:pt x="153" y="473"/>
                    <a:pt x="153" y="473"/>
                  </a:cubicBezTo>
                  <a:cubicBezTo>
                    <a:pt x="147" y="475"/>
                    <a:pt x="147" y="475"/>
                    <a:pt x="147" y="475"/>
                  </a:cubicBezTo>
                  <a:cubicBezTo>
                    <a:pt x="145" y="477"/>
                    <a:pt x="145" y="477"/>
                    <a:pt x="145" y="477"/>
                  </a:cubicBezTo>
                  <a:cubicBezTo>
                    <a:pt x="141" y="480"/>
                    <a:pt x="141" y="480"/>
                    <a:pt x="141" y="480"/>
                  </a:cubicBezTo>
                  <a:cubicBezTo>
                    <a:pt x="139" y="482"/>
                    <a:pt x="139" y="482"/>
                    <a:pt x="139" y="482"/>
                  </a:cubicBezTo>
                  <a:cubicBezTo>
                    <a:pt x="139" y="482"/>
                    <a:pt x="137" y="483"/>
                    <a:pt x="136" y="484"/>
                  </a:cubicBezTo>
                  <a:cubicBezTo>
                    <a:pt x="136" y="484"/>
                    <a:pt x="133" y="489"/>
                    <a:pt x="133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30" y="490"/>
                    <a:pt x="127" y="492"/>
                    <a:pt x="126" y="494"/>
                  </a:cubicBezTo>
                  <a:cubicBezTo>
                    <a:pt x="125" y="495"/>
                    <a:pt x="124" y="496"/>
                    <a:pt x="124" y="496"/>
                  </a:cubicBezTo>
                  <a:cubicBezTo>
                    <a:pt x="124" y="496"/>
                    <a:pt x="125" y="498"/>
                    <a:pt x="120" y="498"/>
                  </a:cubicBezTo>
                  <a:cubicBezTo>
                    <a:pt x="115" y="497"/>
                    <a:pt x="111" y="496"/>
                    <a:pt x="111" y="496"/>
                  </a:cubicBezTo>
                  <a:cubicBezTo>
                    <a:pt x="111" y="496"/>
                    <a:pt x="106" y="495"/>
                    <a:pt x="105" y="495"/>
                  </a:cubicBezTo>
                  <a:cubicBezTo>
                    <a:pt x="104" y="494"/>
                    <a:pt x="104" y="494"/>
                    <a:pt x="101" y="494"/>
                  </a:cubicBezTo>
                  <a:cubicBezTo>
                    <a:pt x="99" y="494"/>
                    <a:pt x="89" y="491"/>
                    <a:pt x="89" y="491"/>
                  </a:cubicBezTo>
                  <a:cubicBezTo>
                    <a:pt x="89" y="491"/>
                    <a:pt x="87" y="491"/>
                    <a:pt x="86" y="492"/>
                  </a:cubicBezTo>
                  <a:cubicBezTo>
                    <a:pt x="85" y="493"/>
                    <a:pt x="83" y="493"/>
                    <a:pt x="83" y="494"/>
                  </a:cubicBezTo>
                  <a:cubicBezTo>
                    <a:pt x="83" y="496"/>
                    <a:pt x="83" y="497"/>
                    <a:pt x="83" y="497"/>
                  </a:cubicBezTo>
                  <a:cubicBezTo>
                    <a:pt x="82" y="500"/>
                    <a:pt x="82" y="500"/>
                    <a:pt x="82" y="500"/>
                  </a:cubicBezTo>
                  <a:cubicBezTo>
                    <a:pt x="78" y="501"/>
                    <a:pt x="78" y="501"/>
                    <a:pt x="78" y="501"/>
                  </a:cubicBezTo>
                  <a:cubicBezTo>
                    <a:pt x="73" y="501"/>
                    <a:pt x="73" y="501"/>
                    <a:pt x="73" y="501"/>
                  </a:cubicBezTo>
                  <a:close/>
                  <a:moveTo>
                    <a:pt x="43" y="266"/>
                  </a:moveTo>
                  <a:cubicBezTo>
                    <a:pt x="43" y="266"/>
                    <a:pt x="43" y="266"/>
                    <a:pt x="43" y="266"/>
                  </a:cubicBezTo>
                  <a:cubicBezTo>
                    <a:pt x="44" y="266"/>
                    <a:pt x="50" y="266"/>
                    <a:pt x="50" y="266"/>
                  </a:cubicBezTo>
                  <a:cubicBezTo>
                    <a:pt x="54" y="266"/>
                    <a:pt x="54" y="266"/>
                    <a:pt x="54" y="266"/>
                  </a:cubicBezTo>
                  <a:cubicBezTo>
                    <a:pt x="54" y="266"/>
                    <a:pt x="59" y="266"/>
                    <a:pt x="60" y="266"/>
                  </a:cubicBezTo>
                  <a:cubicBezTo>
                    <a:pt x="61" y="266"/>
                    <a:pt x="62" y="267"/>
                    <a:pt x="62" y="267"/>
                  </a:cubicBezTo>
                  <a:cubicBezTo>
                    <a:pt x="62" y="267"/>
                    <a:pt x="64" y="265"/>
                    <a:pt x="65" y="266"/>
                  </a:cubicBezTo>
                  <a:cubicBezTo>
                    <a:pt x="66" y="266"/>
                    <a:pt x="68" y="269"/>
                    <a:pt x="6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6" y="290"/>
                    <a:pt x="76" y="290"/>
                    <a:pt x="76" y="290"/>
                  </a:cubicBezTo>
                  <a:cubicBezTo>
                    <a:pt x="74" y="293"/>
                    <a:pt x="74" y="293"/>
                    <a:pt x="74" y="293"/>
                  </a:cubicBezTo>
                  <a:cubicBezTo>
                    <a:pt x="74" y="293"/>
                    <a:pt x="74" y="297"/>
                    <a:pt x="74" y="297"/>
                  </a:cubicBezTo>
                  <a:cubicBezTo>
                    <a:pt x="73" y="297"/>
                    <a:pt x="70" y="298"/>
                    <a:pt x="70" y="298"/>
                  </a:cubicBezTo>
                  <a:cubicBezTo>
                    <a:pt x="69" y="299"/>
                    <a:pt x="68" y="302"/>
                    <a:pt x="68" y="302"/>
                  </a:cubicBezTo>
                  <a:cubicBezTo>
                    <a:pt x="68" y="302"/>
                    <a:pt x="72" y="298"/>
                    <a:pt x="73" y="299"/>
                  </a:cubicBezTo>
                  <a:cubicBezTo>
                    <a:pt x="74" y="299"/>
                    <a:pt x="77" y="299"/>
                    <a:pt x="77" y="299"/>
                  </a:cubicBezTo>
                  <a:cubicBezTo>
                    <a:pt x="79" y="301"/>
                    <a:pt x="79" y="301"/>
                    <a:pt x="79" y="301"/>
                  </a:cubicBezTo>
                  <a:cubicBezTo>
                    <a:pt x="81" y="305"/>
                    <a:pt x="81" y="305"/>
                    <a:pt x="81" y="305"/>
                  </a:cubicBezTo>
                  <a:cubicBezTo>
                    <a:pt x="81" y="310"/>
                    <a:pt x="81" y="310"/>
                    <a:pt x="81" y="310"/>
                  </a:cubicBezTo>
                  <a:cubicBezTo>
                    <a:pt x="81" y="310"/>
                    <a:pt x="81" y="314"/>
                    <a:pt x="80" y="314"/>
                  </a:cubicBezTo>
                  <a:cubicBezTo>
                    <a:pt x="80" y="315"/>
                    <a:pt x="79" y="316"/>
                    <a:pt x="78" y="316"/>
                  </a:cubicBezTo>
                  <a:cubicBezTo>
                    <a:pt x="77" y="316"/>
                    <a:pt x="76" y="316"/>
                    <a:pt x="77" y="314"/>
                  </a:cubicBezTo>
                  <a:cubicBezTo>
                    <a:pt x="77" y="312"/>
                    <a:pt x="78" y="310"/>
                    <a:pt x="78" y="310"/>
                  </a:cubicBezTo>
                  <a:cubicBezTo>
                    <a:pt x="78" y="309"/>
                    <a:pt x="79" y="305"/>
                    <a:pt x="78" y="305"/>
                  </a:cubicBezTo>
                  <a:cubicBezTo>
                    <a:pt x="76" y="305"/>
                    <a:pt x="75" y="303"/>
                    <a:pt x="75" y="305"/>
                  </a:cubicBezTo>
                  <a:cubicBezTo>
                    <a:pt x="74" y="306"/>
                    <a:pt x="75" y="310"/>
                    <a:pt x="75" y="310"/>
                  </a:cubicBezTo>
                  <a:cubicBezTo>
                    <a:pt x="75" y="310"/>
                    <a:pt x="76" y="311"/>
                    <a:pt x="76" y="312"/>
                  </a:cubicBezTo>
                  <a:cubicBezTo>
                    <a:pt x="75" y="313"/>
                    <a:pt x="75" y="312"/>
                    <a:pt x="74" y="314"/>
                  </a:cubicBezTo>
                  <a:cubicBezTo>
                    <a:pt x="72" y="315"/>
                    <a:pt x="75" y="316"/>
                    <a:pt x="75" y="316"/>
                  </a:cubicBezTo>
                  <a:cubicBezTo>
                    <a:pt x="76" y="318"/>
                    <a:pt x="76" y="318"/>
                    <a:pt x="76" y="318"/>
                  </a:cubicBezTo>
                  <a:cubicBezTo>
                    <a:pt x="76" y="318"/>
                    <a:pt x="76" y="321"/>
                    <a:pt x="75" y="321"/>
                  </a:cubicBezTo>
                  <a:cubicBezTo>
                    <a:pt x="74" y="322"/>
                    <a:pt x="74" y="323"/>
                    <a:pt x="70" y="321"/>
                  </a:cubicBezTo>
                  <a:cubicBezTo>
                    <a:pt x="66" y="320"/>
                    <a:pt x="65" y="319"/>
                    <a:pt x="65" y="319"/>
                  </a:cubicBezTo>
                  <a:cubicBezTo>
                    <a:pt x="64" y="324"/>
                    <a:pt x="64" y="324"/>
                    <a:pt x="64" y="324"/>
                  </a:cubicBezTo>
                  <a:cubicBezTo>
                    <a:pt x="62" y="328"/>
                    <a:pt x="62" y="328"/>
                    <a:pt x="62" y="328"/>
                  </a:cubicBezTo>
                  <a:cubicBezTo>
                    <a:pt x="55" y="330"/>
                    <a:pt x="55" y="330"/>
                    <a:pt x="55" y="330"/>
                  </a:cubicBezTo>
                  <a:cubicBezTo>
                    <a:pt x="51" y="325"/>
                    <a:pt x="51" y="325"/>
                    <a:pt x="51" y="325"/>
                  </a:cubicBezTo>
                  <a:cubicBezTo>
                    <a:pt x="51" y="325"/>
                    <a:pt x="48" y="326"/>
                    <a:pt x="47" y="326"/>
                  </a:cubicBezTo>
                  <a:cubicBezTo>
                    <a:pt x="46" y="325"/>
                    <a:pt x="41" y="324"/>
                    <a:pt x="41" y="324"/>
                  </a:cubicBezTo>
                  <a:cubicBezTo>
                    <a:pt x="40" y="319"/>
                    <a:pt x="40" y="319"/>
                    <a:pt x="40" y="319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36" y="310"/>
                    <a:pt x="36" y="310"/>
                    <a:pt x="36" y="310"/>
                  </a:cubicBezTo>
                  <a:cubicBezTo>
                    <a:pt x="33" y="304"/>
                    <a:pt x="33" y="304"/>
                    <a:pt x="33" y="304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25" y="310"/>
                    <a:pt x="25" y="310"/>
                    <a:pt x="25" y="310"/>
                  </a:cubicBezTo>
                  <a:cubicBezTo>
                    <a:pt x="25" y="310"/>
                    <a:pt x="27" y="312"/>
                    <a:pt x="25" y="313"/>
                  </a:cubicBezTo>
                  <a:cubicBezTo>
                    <a:pt x="23" y="313"/>
                    <a:pt x="19" y="314"/>
                    <a:pt x="19" y="314"/>
                  </a:cubicBezTo>
                  <a:cubicBezTo>
                    <a:pt x="19" y="314"/>
                    <a:pt x="14" y="315"/>
                    <a:pt x="13" y="315"/>
                  </a:cubicBezTo>
                  <a:cubicBezTo>
                    <a:pt x="13" y="315"/>
                    <a:pt x="9" y="309"/>
                    <a:pt x="9" y="309"/>
                  </a:cubicBezTo>
                  <a:cubicBezTo>
                    <a:pt x="9" y="309"/>
                    <a:pt x="7" y="309"/>
                    <a:pt x="6" y="309"/>
                  </a:cubicBezTo>
                  <a:cubicBezTo>
                    <a:pt x="5" y="309"/>
                    <a:pt x="5" y="310"/>
                    <a:pt x="5" y="308"/>
                  </a:cubicBezTo>
                  <a:cubicBezTo>
                    <a:pt x="5" y="306"/>
                    <a:pt x="4" y="303"/>
                    <a:pt x="4" y="303"/>
                  </a:cubicBezTo>
                  <a:cubicBezTo>
                    <a:pt x="4" y="303"/>
                    <a:pt x="7" y="306"/>
                    <a:pt x="4" y="302"/>
                  </a:cubicBezTo>
                  <a:cubicBezTo>
                    <a:pt x="1" y="298"/>
                    <a:pt x="0" y="294"/>
                    <a:pt x="0" y="294"/>
                  </a:cubicBezTo>
                  <a:cubicBezTo>
                    <a:pt x="5" y="291"/>
                    <a:pt x="5" y="291"/>
                    <a:pt x="5" y="291"/>
                  </a:cubicBezTo>
                  <a:cubicBezTo>
                    <a:pt x="5" y="291"/>
                    <a:pt x="10" y="291"/>
                    <a:pt x="11" y="292"/>
                  </a:cubicBezTo>
                  <a:cubicBezTo>
                    <a:pt x="12" y="292"/>
                    <a:pt x="13" y="290"/>
                    <a:pt x="13" y="290"/>
                  </a:cubicBezTo>
                  <a:cubicBezTo>
                    <a:pt x="13" y="290"/>
                    <a:pt x="15" y="288"/>
                    <a:pt x="13" y="287"/>
                  </a:cubicBezTo>
                  <a:cubicBezTo>
                    <a:pt x="12" y="287"/>
                    <a:pt x="10" y="285"/>
                    <a:pt x="10" y="285"/>
                  </a:cubicBezTo>
                  <a:cubicBezTo>
                    <a:pt x="10" y="285"/>
                    <a:pt x="8" y="283"/>
                    <a:pt x="11" y="282"/>
                  </a:cubicBezTo>
                  <a:cubicBezTo>
                    <a:pt x="14" y="282"/>
                    <a:pt x="14" y="282"/>
                    <a:pt x="16" y="282"/>
                  </a:cubicBezTo>
                  <a:cubicBezTo>
                    <a:pt x="18" y="283"/>
                    <a:pt x="19" y="286"/>
                    <a:pt x="20" y="282"/>
                  </a:cubicBezTo>
                  <a:cubicBezTo>
                    <a:pt x="21" y="279"/>
                    <a:pt x="19" y="279"/>
                    <a:pt x="22" y="278"/>
                  </a:cubicBezTo>
                  <a:cubicBezTo>
                    <a:pt x="25" y="278"/>
                    <a:pt x="27" y="277"/>
                    <a:pt x="27" y="276"/>
                  </a:cubicBezTo>
                  <a:cubicBezTo>
                    <a:pt x="27" y="275"/>
                    <a:pt x="27" y="271"/>
                    <a:pt x="28" y="271"/>
                  </a:cubicBezTo>
                  <a:cubicBezTo>
                    <a:pt x="29" y="271"/>
                    <a:pt x="34" y="272"/>
                    <a:pt x="34" y="272"/>
                  </a:cubicBezTo>
                  <a:cubicBezTo>
                    <a:pt x="34" y="272"/>
                    <a:pt x="36" y="270"/>
                    <a:pt x="38" y="271"/>
                  </a:cubicBezTo>
                  <a:cubicBezTo>
                    <a:pt x="40" y="271"/>
                    <a:pt x="41" y="270"/>
                    <a:pt x="41" y="270"/>
                  </a:cubicBezTo>
                  <a:cubicBezTo>
                    <a:pt x="41" y="270"/>
                    <a:pt x="43" y="266"/>
                    <a:pt x="43" y="266"/>
                  </a:cubicBezTo>
                  <a:close/>
                  <a:moveTo>
                    <a:pt x="74" y="227"/>
                  </a:moveTo>
                  <a:cubicBezTo>
                    <a:pt x="74" y="227"/>
                    <a:pt x="74" y="227"/>
                    <a:pt x="74" y="227"/>
                  </a:cubicBezTo>
                  <a:cubicBezTo>
                    <a:pt x="74" y="227"/>
                    <a:pt x="73" y="224"/>
                    <a:pt x="74" y="224"/>
                  </a:cubicBezTo>
                  <a:cubicBezTo>
                    <a:pt x="75" y="224"/>
                    <a:pt x="78" y="223"/>
                    <a:pt x="78" y="223"/>
                  </a:cubicBezTo>
                  <a:cubicBezTo>
                    <a:pt x="78" y="223"/>
                    <a:pt x="79" y="221"/>
                    <a:pt x="79" y="222"/>
                  </a:cubicBezTo>
                  <a:cubicBezTo>
                    <a:pt x="80" y="222"/>
                    <a:pt x="80" y="224"/>
                    <a:pt x="79" y="224"/>
                  </a:cubicBezTo>
                  <a:cubicBezTo>
                    <a:pt x="79" y="224"/>
                    <a:pt x="77" y="226"/>
                    <a:pt x="77" y="226"/>
                  </a:cubicBezTo>
                  <a:cubicBezTo>
                    <a:pt x="77" y="226"/>
                    <a:pt x="75" y="227"/>
                    <a:pt x="75" y="227"/>
                  </a:cubicBezTo>
                  <a:cubicBezTo>
                    <a:pt x="74" y="227"/>
                    <a:pt x="74" y="227"/>
                    <a:pt x="74" y="227"/>
                  </a:cubicBezTo>
                  <a:close/>
                  <a:moveTo>
                    <a:pt x="87" y="248"/>
                  </a:moveTo>
                  <a:cubicBezTo>
                    <a:pt x="87" y="248"/>
                    <a:pt x="87" y="248"/>
                    <a:pt x="87" y="248"/>
                  </a:cubicBezTo>
                  <a:cubicBezTo>
                    <a:pt x="87" y="248"/>
                    <a:pt x="87" y="249"/>
                    <a:pt x="86" y="249"/>
                  </a:cubicBezTo>
                  <a:cubicBezTo>
                    <a:pt x="85" y="249"/>
                    <a:pt x="83" y="249"/>
                    <a:pt x="83" y="248"/>
                  </a:cubicBezTo>
                  <a:cubicBezTo>
                    <a:pt x="83" y="248"/>
                    <a:pt x="84" y="246"/>
                    <a:pt x="85" y="246"/>
                  </a:cubicBezTo>
                  <a:cubicBezTo>
                    <a:pt x="85" y="246"/>
                    <a:pt x="86" y="245"/>
                    <a:pt x="86" y="245"/>
                  </a:cubicBezTo>
                  <a:cubicBezTo>
                    <a:pt x="86" y="245"/>
                    <a:pt x="86" y="244"/>
                    <a:pt x="86" y="244"/>
                  </a:cubicBezTo>
                  <a:cubicBezTo>
                    <a:pt x="87" y="244"/>
                    <a:pt x="88" y="246"/>
                    <a:pt x="88" y="246"/>
                  </a:cubicBezTo>
                  <a:cubicBezTo>
                    <a:pt x="87" y="248"/>
                    <a:pt x="87" y="248"/>
                    <a:pt x="87" y="248"/>
                  </a:cubicBezTo>
                  <a:close/>
                  <a:moveTo>
                    <a:pt x="95" y="255"/>
                  </a:moveTo>
                  <a:cubicBezTo>
                    <a:pt x="95" y="255"/>
                    <a:pt x="95" y="255"/>
                    <a:pt x="95" y="255"/>
                  </a:cubicBezTo>
                  <a:cubicBezTo>
                    <a:pt x="95" y="254"/>
                    <a:pt x="97" y="252"/>
                    <a:pt x="97" y="251"/>
                  </a:cubicBezTo>
                  <a:cubicBezTo>
                    <a:pt x="98" y="251"/>
                    <a:pt x="98" y="250"/>
                    <a:pt x="98" y="250"/>
                  </a:cubicBezTo>
                  <a:cubicBezTo>
                    <a:pt x="99" y="249"/>
                    <a:pt x="100" y="249"/>
                    <a:pt x="101" y="249"/>
                  </a:cubicBezTo>
                  <a:cubicBezTo>
                    <a:pt x="103" y="250"/>
                    <a:pt x="105" y="252"/>
                    <a:pt x="104" y="252"/>
                  </a:cubicBezTo>
                  <a:cubicBezTo>
                    <a:pt x="104" y="253"/>
                    <a:pt x="103" y="252"/>
                    <a:pt x="103" y="255"/>
                  </a:cubicBezTo>
                  <a:cubicBezTo>
                    <a:pt x="103" y="258"/>
                    <a:pt x="103" y="258"/>
                    <a:pt x="103" y="259"/>
                  </a:cubicBezTo>
                  <a:cubicBezTo>
                    <a:pt x="104" y="260"/>
                    <a:pt x="103" y="263"/>
                    <a:pt x="103" y="263"/>
                  </a:cubicBezTo>
                  <a:cubicBezTo>
                    <a:pt x="103" y="263"/>
                    <a:pt x="102" y="265"/>
                    <a:pt x="101" y="265"/>
                  </a:cubicBezTo>
                  <a:cubicBezTo>
                    <a:pt x="101" y="265"/>
                    <a:pt x="101" y="265"/>
                    <a:pt x="99" y="264"/>
                  </a:cubicBezTo>
                  <a:cubicBezTo>
                    <a:pt x="98" y="264"/>
                    <a:pt x="95" y="262"/>
                    <a:pt x="95" y="262"/>
                  </a:cubicBezTo>
                  <a:cubicBezTo>
                    <a:pt x="95" y="262"/>
                    <a:pt x="95" y="257"/>
                    <a:pt x="95" y="257"/>
                  </a:cubicBezTo>
                  <a:cubicBezTo>
                    <a:pt x="95" y="256"/>
                    <a:pt x="94" y="255"/>
                    <a:pt x="94" y="255"/>
                  </a:cubicBezTo>
                  <a:cubicBezTo>
                    <a:pt x="95" y="255"/>
                    <a:pt x="95" y="255"/>
                    <a:pt x="95" y="255"/>
                  </a:cubicBezTo>
                  <a:close/>
                  <a:moveTo>
                    <a:pt x="74" y="210"/>
                  </a:moveTo>
                  <a:cubicBezTo>
                    <a:pt x="74" y="210"/>
                    <a:pt x="74" y="210"/>
                    <a:pt x="74" y="210"/>
                  </a:cubicBezTo>
                  <a:cubicBezTo>
                    <a:pt x="74" y="210"/>
                    <a:pt x="74" y="209"/>
                    <a:pt x="76" y="209"/>
                  </a:cubicBezTo>
                  <a:cubicBezTo>
                    <a:pt x="77" y="210"/>
                    <a:pt x="77" y="211"/>
                    <a:pt x="77" y="212"/>
                  </a:cubicBezTo>
                  <a:cubicBezTo>
                    <a:pt x="77" y="213"/>
                    <a:pt x="80" y="213"/>
                    <a:pt x="79" y="214"/>
                  </a:cubicBezTo>
                  <a:cubicBezTo>
                    <a:pt x="77" y="215"/>
                    <a:pt x="76" y="215"/>
                    <a:pt x="76" y="215"/>
                  </a:cubicBezTo>
                  <a:cubicBezTo>
                    <a:pt x="76" y="214"/>
                    <a:pt x="75" y="215"/>
                    <a:pt x="75" y="214"/>
                  </a:cubicBezTo>
                  <a:cubicBezTo>
                    <a:pt x="75" y="213"/>
                    <a:pt x="73" y="212"/>
                    <a:pt x="73" y="212"/>
                  </a:cubicBezTo>
                  <a:cubicBezTo>
                    <a:pt x="73" y="212"/>
                    <a:pt x="74" y="210"/>
                    <a:pt x="74" y="210"/>
                  </a:cubicBezTo>
                  <a:close/>
                  <a:moveTo>
                    <a:pt x="61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63" y="197"/>
                    <a:pt x="64" y="196"/>
                    <a:pt x="64" y="197"/>
                  </a:cubicBezTo>
                  <a:cubicBezTo>
                    <a:pt x="65" y="197"/>
                    <a:pt x="66" y="198"/>
                    <a:pt x="65" y="199"/>
                  </a:cubicBezTo>
                  <a:cubicBezTo>
                    <a:pt x="63" y="200"/>
                    <a:pt x="63" y="200"/>
                    <a:pt x="61" y="200"/>
                  </a:cubicBezTo>
                  <a:cubicBezTo>
                    <a:pt x="60" y="200"/>
                    <a:pt x="62" y="200"/>
                    <a:pt x="60" y="200"/>
                  </a:cubicBezTo>
                  <a:cubicBezTo>
                    <a:pt x="58" y="200"/>
                    <a:pt x="55" y="202"/>
                    <a:pt x="57" y="199"/>
                  </a:cubicBezTo>
                  <a:cubicBezTo>
                    <a:pt x="59" y="197"/>
                    <a:pt x="61" y="196"/>
                    <a:pt x="61" y="196"/>
                  </a:cubicBezTo>
                  <a:close/>
                  <a:moveTo>
                    <a:pt x="72" y="191"/>
                  </a:moveTo>
                  <a:cubicBezTo>
                    <a:pt x="72" y="191"/>
                    <a:pt x="72" y="191"/>
                    <a:pt x="72" y="191"/>
                  </a:cubicBezTo>
                  <a:cubicBezTo>
                    <a:pt x="73" y="191"/>
                    <a:pt x="74" y="189"/>
                    <a:pt x="75" y="190"/>
                  </a:cubicBezTo>
                  <a:cubicBezTo>
                    <a:pt x="76" y="191"/>
                    <a:pt x="78" y="192"/>
                    <a:pt x="76" y="193"/>
                  </a:cubicBezTo>
                  <a:cubicBezTo>
                    <a:pt x="74" y="194"/>
                    <a:pt x="74" y="194"/>
                    <a:pt x="73" y="195"/>
                  </a:cubicBezTo>
                  <a:cubicBezTo>
                    <a:pt x="71" y="196"/>
                    <a:pt x="69" y="197"/>
                    <a:pt x="68" y="197"/>
                  </a:cubicBezTo>
                  <a:cubicBezTo>
                    <a:pt x="67" y="197"/>
                    <a:pt x="66" y="195"/>
                    <a:pt x="67" y="195"/>
                  </a:cubicBezTo>
                  <a:cubicBezTo>
                    <a:pt x="68" y="195"/>
                    <a:pt x="69" y="194"/>
                    <a:pt x="70" y="194"/>
                  </a:cubicBezTo>
                  <a:cubicBezTo>
                    <a:pt x="70" y="193"/>
                    <a:pt x="72" y="191"/>
                    <a:pt x="72" y="191"/>
                  </a:cubicBezTo>
                  <a:close/>
                  <a:moveTo>
                    <a:pt x="78" y="171"/>
                  </a:moveTo>
                  <a:cubicBezTo>
                    <a:pt x="78" y="171"/>
                    <a:pt x="78" y="171"/>
                    <a:pt x="78" y="171"/>
                  </a:cubicBezTo>
                  <a:cubicBezTo>
                    <a:pt x="78" y="171"/>
                    <a:pt x="78" y="168"/>
                    <a:pt x="79" y="169"/>
                  </a:cubicBezTo>
                  <a:cubicBezTo>
                    <a:pt x="81" y="169"/>
                    <a:pt x="81" y="169"/>
                    <a:pt x="81" y="170"/>
                  </a:cubicBezTo>
                  <a:cubicBezTo>
                    <a:pt x="81" y="171"/>
                    <a:pt x="83" y="170"/>
                    <a:pt x="81" y="171"/>
                  </a:cubicBezTo>
                  <a:cubicBezTo>
                    <a:pt x="80" y="171"/>
                    <a:pt x="78" y="171"/>
                    <a:pt x="78" y="171"/>
                  </a:cubicBezTo>
                  <a:close/>
                  <a:moveTo>
                    <a:pt x="87" y="181"/>
                  </a:moveTo>
                  <a:cubicBezTo>
                    <a:pt x="87" y="181"/>
                    <a:pt x="87" y="181"/>
                    <a:pt x="87" y="181"/>
                  </a:cubicBezTo>
                  <a:cubicBezTo>
                    <a:pt x="87" y="181"/>
                    <a:pt x="88" y="179"/>
                    <a:pt x="89" y="179"/>
                  </a:cubicBezTo>
                  <a:cubicBezTo>
                    <a:pt x="89" y="179"/>
                    <a:pt x="90" y="179"/>
                    <a:pt x="90" y="180"/>
                  </a:cubicBezTo>
                  <a:cubicBezTo>
                    <a:pt x="90" y="181"/>
                    <a:pt x="90" y="183"/>
                    <a:pt x="89" y="183"/>
                  </a:cubicBezTo>
                  <a:cubicBezTo>
                    <a:pt x="88" y="183"/>
                    <a:pt x="88" y="184"/>
                    <a:pt x="87" y="183"/>
                  </a:cubicBezTo>
                  <a:cubicBezTo>
                    <a:pt x="86" y="183"/>
                    <a:pt x="87" y="181"/>
                    <a:pt x="87" y="181"/>
                  </a:cubicBezTo>
                  <a:close/>
                  <a:moveTo>
                    <a:pt x="82" y="177"/>
                  </a:move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1" y="173"/>
                    <a:pt x="83" y="173"/>
                  </a:cubicBezTo>
                  <a:cubicBezTo>
                    <a:pt x="85" y="172"/>
                    <a:pt x="86" y="172"/>
                    <a:pt x="86" y="172"/>
                  </a:cubicBezTo>
                  <a:cubicBezTo>
                    <a:pt x="86" y="172"/>
                    <a:pt x="89" y="176"/>
                    <a:pt x="89" y="176"/>
                  </a:cubicBezTo>
                  <a:cubicBezTo>
                    <a:pt x="88" y="177"/>
                    <a:pt x="88" y="178"/>
                    <a:pt x="86" y="178"/>
                  </a:cubicBezTo>
                  <a:cubicBezTo>
                    <a:pt x="85" y="178"/>
                    <a:pt x="84" y="179"/>
                    <a:pt x="84" y="178"/>
                  </a:cubicBezTo>
                  <a:cubicBezTo>
                    <a:pt x="83" y="177"/>
                    <a:pt x="82" y="177"/>
                    <a:pt x="82" y="177"/>
                  </a:cubicBezTo>
                  <a:close/>
                  <a:moveTo>
                    <a:pt x="45" y="174"/>
                  </a:moveTo>
                  <a:cubicBezTo>
                    <a:pt x="45" y="174"/>
                    <a:pt x="45" y="174"/>
                    <a:pt x="45" y="174"/>
                  </a:cubicBezTo>
                  <a:cubicBezTo>
                    <a:pt x="46" y="174"/>
                    <a:pt x="46" y="173"/>
                    <a:pt x="46" y="175"/>
                  </a:cubicBezTo>
                  <a:cubicBezTo>
                    <a:pt x="46" y="176"/>
                    <a:pt x="46" y="177"/>
                    <a:pt x="46" y="177"/>
                  </a:cubicBezTo>
                  <a:cubicBezTo>
                    <a:pt x="46" y="177"/>
                    <a:pt x="45" y="179"/>
                    <a:pt x="44" y="178"/>
                  </a:cubicBezTo>
                  <a:cubicBezTo>
                    <a:pt x="43" y="177"/>
                    <a:pt x="43" y="176"/>
                    <a:pt x="43" y="176"/>
                  </a:cubicBezTo>
                  <a:cubicBezTo>
                    <a:pt x="45" y="174"/>
                    <a:pt x="45" y="174"/>
                    <a:pt x="45" y="174"/>
                  </a:cubicBezTo>
                  <a:close/>
                  <a:moveTo>
                    <a:pt x="53" y="164"/>
                  </a:moveTo>
                  <a:cubicBezTo>
                    <a:pt x="53" y="164"/>
                    <a:pt x="53" y="164"/>
                    <a:pt x="53" y="164"/>
                  </a:cubicBezTo>
                  <a:cubicBezTo>
                    <a:pt x="54" y="165"/>
                    <a:pt x="56" y="167"/>
                    <a:pt x="56" y="167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0"/>
                    <a:pt x="50" y="171"/>
                    <a:pt x="50" y="172"/>
                  </a:cubicBezTo>
                  <a:cubicBezTo>
                    <a:pt x="49" y="172"/>
                    <a:pt x="51" y="175"/>
                    <a:pt x="49" y="174"/>
                  </a:cubicBezTo>
                  <a:cubicBezTo>
                    <a:pt x="47" y="173"/>
                    <a:pt x="46" y="171"/>
                    <a:pt x="47" y="171"/>
                  </a:cubicBezTo>
                  <a:cubicBezTo>
                    <a:pt x="48" y="170"/>
                    <a:pt x="48" y="170"/>
                    <a:pt x="49" y="169"/>
                  </a:cubicBezTo>
                  <a:cubicBezTo>
                    <a:pt x="50" y="168"/>
                    <a:pt x="52" y="165"/>
                    <a:pt x="52" y="165"/>
                  </a:cubicBezTo>
                  <a:cubicBezTo>
                    <a:pt x="53" y="164"/>
                    <a:pt x="53" y="164"/>
                    <a:pt x="53" y="164"/>
                  </a:cubicBezTo>
                  <a:close/>
                  <a:moveTo>
                    <a:pt x="58" y="150"/>
                  </a:moveTo>
                  <a:cubicBezTo>
                    <a:pt x="58" y="150"/>
                    <a:pt x="58" y="150"/>
                    <a:pt x="58" y="150"/>
                  </a:cubicBezTo>
                  <a:cubicBezTo>
                    <a:pt x="58" y="150"/>
                    <a:pt x="60" y="150"/>
                    <a:pt x="61" y="151"/>
                  </a:cubicBezTo>
                  <a:cubicBezTo>
                    <a:pt x="61" y="151"/>
                    <a:pt x="62" y="154"/>
                    <a:pt x="62" y="154"/>
                  </a:cubicBezTo>
                  <a:cubicBezTo>
                    <a:pt x="62" y="154"/>
                    <a:pt x="63" y="155"/>
                    <a:pt x="62" y="156"/>
                  </a:cubicBezTo>
                  <a:cubicBezTo>
                    <a:pt x="61" y="157"/>
                    <a:pt x="59" y="158"/>
                    <a:pt x="59" y="158"/>
                  </a:cubicBezTo>
                  <a:cubicBezTo>
                    <a:pt x="59" y="163"/>
                    <a:pt x="59" y="163"/>
                    <a:pt x="59" y="163"/>
                  </a:cubicBezTo>
                  <a:cubicBezTo>
                    <a:pt x="58" y="165"/>
                    <a:pt x="58" y="165"/>
                    <a:pt x="58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7" y="152"/>
                    <a:pt x="57" y="152"/>
                    <a:pt x="57" y="152"/>
                  </a:cubicBezTo>
                  <a:cubicBezTo>
                    <a:pt x="58" y="150"/>
                    <a:pt x="58" y="150"/>
                    <a:pt x="58" y="150"/>
                  </a:cubicBezTo>
                  <a:close/>
                  <a:moveTo>
                    <a:pt x="60" y="142"/>
                  </a:move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62" y="141"/>
                    <a:pt x="63" y="142"/>
                  </a:cubicBezTo>
                  <a:cubicBezTo>
                    <a:pt x="64" y="143"/>
                    <a:pt x="64" y="141"/>
                    <a:pt x="65" y="143"/>
                  </a:cubicBezTo>
                  <a:cubicBezTo>
                    <a:pt x="66" y="145"/>
                    <a:pt x="67" y="145"/>
                    <a:pt x="66" y="146"/>
                  </a:cubicBezTo>
                  <a:cubicBezTo>
                    <a:pt x="66" y="147"/>
                    <a:pt x="66" y="148"/>
                    <a:pt x="65" y="149"/>
                  </a:cubicBezTo>
                  <a:cubicBezTo>
                    <a:pt x="64" y="150"/>
                    <a:pt x="65" y="151"/>
                    <a:pt x="63" y="150"/>
                  </a:cubicBezTo>
                  <a:cubicBezTo>
                    <a:pt x="61" y="149"/>
                    <a:pt x="61" y="149"/>
                    <a:pt x="60" y="148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60" y="142"/>
                    <a:pt x="60" y="142"/>
                    <a:pt x="60" y="142"/>
                  </a:cubicBezTo>
                  <a:close/>
                  <a:moveTo>
                    <a:pt x="69" y="132"/>
                  </a:moveTo>
                  <a:cubicBezTo>
                    <a:pt x="69" y="132"/>
                    <a:pt x="69" y="132"/>
                    <a:pt x="69" y="132"/>
                  </a:cubicBezTo>
                  <a:cubicBezTo>
                    <a:pt x="69" y="132"/>
                    <a:pt x="70" y="131"/>
                    <a:pt x="69" y="133"/>
                  </a:cubicBezTo>
                  <a:cubicBezTo>
                    <a:pt x="67" y="136"/>
                    <a:pt x="67" y="137"/>
                    <a:pt x="68" y="137"/>
                  </a:cubicBezTo>
                  <a:cubicBezTo>
                    <a:pt x="68" y="137"/>
                    <a:pt x="69" y="137"/>
                    <a:pt x="69" y="137"/>
                  </a:cubicBezTo>
                  <a:cubicBezTo>
                    <a:pt x="69" y="141"/>
                    <a:pt x="69" y="141"/>
                    <a:pt x="69" y="141"/>
                  </a:cubicBezTo>
                  <a:cubicBezTo>
                    <a:pt x="69" y="141"/>
                    <a:pt x="69" y="142"/>
                    <a:pt x="66" y="141"/>
                  </a:cubicBezTo>
                  <a:cubicBezTo>
                    <a:pt x="63" y="141"/>
                    <a:pt x="61" y="140"/>
                    <a:pt x="61" y="140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7"/>
                    <a:pt x="57" y="136"/>
                    <a:pt x="59" y="134"/>
                  </a:cubicBezTo>
                  <a:cubicBezTo>
                    <a:pt x="60" y="132"/>
                    <a:pt x="63" y="133"/>
                    <a:pt x="63" y="133"/>
                  </a:cubicBezTo>
                  <a:cubicBezTo>
                    <a:pt x="63" y="133"/>
                    <a:pt x="64" y="135"/>
                    <a:pt x="65" y="133"/>
                  </a:cubicBezTo>
                  <a:cubicBezTo>
                    <a:pt x="66" y="131"/>
                    <a:pt x="66" y="129"/>
                    <a:pt x="67" y="130"/>
                  </a:cubicBezTo>
                  <a:cubicBezTo>
                    <a:pt x="68" y="131"/>
                    <a:pt x="69" y="132"/>
                    <a:pt x="69" y="132"/>
                  </a:cubicBezTo>
                  <a:close/>
                  <a:moveTo>
                    <a:pt x="77" y="121"/>
                  </a:moveTo>
                  <a:cubicBezTo>
                    <a:pt x="77" y="121"/>
                    <a:pt x="77" y="121"/>
                    <a:pt x="77" y="121"/>
                  </a:cubicBezTo>
                  <a:cubicBezTo>
                    <a:pt x="76" y="120"/>
                    <a:pt x="76" y="118"/>
                    <a:pt x="76" y="118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77" y="116"/>
                    <a:pt x="75" y="114"/>
                    <a:pt x="75" y="113"/>
                  </a:cubicBezTo>
                  <a:cubicBezTo>
                    <a:pt x="75" y="112"/>
                    <a:pt x="75" y="110"/>
                    <a:pt x="77" y="109"/>
                  </a:cubicBezTo>
                  <a:cubicBezTo>
                    <a:pt x="78" y="108"/>
                    <a:pt x="79" y="106"/>
                    <a:pt x="80" y="106"/>
                  </a:cubicBezTo>
                  <a:cubicBezTo>
                    <a:pt x="80" y="107"/>
                    <a:pt x="80" y="107"/>
                    <a:pt x="81" y="109"/>
                  </a:cubicBezTo>
                  <a:cubicBezTo>
                    <a:pt x="82" y="110"/>
                    <a:pt x="82" y="112"/>
                    <a:pt x="83" y="111"/>
                  </a:cubicBezTo>
                  <a:cubicBezTo>
                    <a:pt x="84" y="110"/>
                    <a:pt x="84" y="109"/>
                    <a:pt x="85" y="108"/>
                  </a:cubicBezTo>
                  <a:cubicBezTo>
                    <a:pt x="86" y="107"/>
                    <a:pt x="87" y="104"/>
                    <a:pt x="87" y="104"/>
                  </a:cubicBezTo>
                  <a:cubicBezTo>
                    <a:pt x="87" y="104"/>
                    <a:pt x="89" y="105"/>
                    <a:pt x="90" y="104"/>
                  </a:cubicBezTo>
                  <a:cubicBezTo>
                    <a:pt x="92" y="103"/>
                    <a:pt x="90" y="103"/>
                    <a:pt x="93" y="102"/>
                  </a:cubicBezTo>
                  <a:cubicBezTo>
                    <a:pt x="96" y="102"/>
                    <a:pt x="97" y="102"/>
                    <a:pt x="98" y="100"/>
                  </a:cubicBezTo>
                  <a:cubicBezTo>
                    <a:pt x="99" y="99"/>
                    <a:pt x="99" y="100"/>
                    <a:pt x="100" y="99"/>
                  </a:cubicBezTo>
                  <a:cubicBezTo>
                    <a:pt x="101" y="98"/>
                    <a:pt x="102" y="97"/>
                    <a:pt x="103" y="97"/>
                  </a:cubicBezTo>
                  <a:cubicBezTo>
                    <a:pt x="104" y="98"/>
                    <a:pt x="105" y="99"/>
                    <a:pt x="105" y="100"/>
                  </a:cubicBezTo>
                  <a:cubicBezTo>
                    <a:pt x="105" y="101"/>
                    <a:pt x="106" y="103"/>
                    <a:pt x="105" y="104"/>
                  </a:cubicBezTo>
                  <a:cubicBezTo>
                    <a:pt x="104" y="105"/>
                    <a:pt x="104" y="106"/>
                    <a:pt x="103" y="106"/>
                  </a:cubicBezTo>
                  <a:cubicBezTo>
                    <a:pt x="102" y="107"/>
                    <a:pt x="99" y="109"/>
                    <a:pt x="99" y="109"/>
                  </a:cubicBezTo>
                  <a:cubicBezTo>
                    <a:pt x="99" y="109"/>
                    <a:pt x="99" y="111"/>
                    <a:pt x="100" y="111"/>
                  </a:cubicBezTo>
                  <a:cubicBezTo>
                    <a:pt x="101" y="111"/>
                    <a:pt x="103" y="108"/>
                    <a:pt x="103" y="110"/>
                  </a:cubicBezTo>
                  <a:cubicBezTo>
                    <a:pt x="102" y="112"/>
                    <a:pt x="105" y="113"/>
                    <a:pt x="102" y="114"/>
                  </a:cubicBezTo>
                  <a:cubicBezTo>
                    <a:pt x="100" y="114"/>
                    <a:pt x="98" y="113"/>
                    <a:pt x="98" y="113"/>
                  </a:cubicBezTo>
                  <a:cubicBezTo>
                    <a:pt x="96" y="116"/>
                    <a:pt x="96" y="116"/>
                    <a:pt x="96" y="116"/>
                  </a:cubicBezTo>
                  <a:cubicBezTo>
                    <a:pt x="96" y="116"/>
                    <a:pt x="94" y="115"/>
                    <a:pt x="94" y="116"/>
                  </a:cubicBezTo>
                  <a:cubicBezTo>
                    <a:pt x="94" y="117"/>
                    <a:pt x="95" y="119"/>
                    <a:pt x="95" y="119"/>
                  </a:cubicBezTo>
                  <a:cubicBezTo>
                    <a:pt x="93" y="121"/>
                    <a:pt x="93" y="121"/>
                    <a:pt x="93" y="121"/>
                  </a:cubicBezTo>
                  <a:cubicBezTo>
                    <a:pt x="93" y="121"/>
                    <a:pt x="90" y="120"/>
                    <a:pt x="90" y="121"/>
                  </a:cubicBezTo>
                  <a:cubicBezTo>
                    <a:pt x="91" y="122"/>
                    <a:pt x="92" y="124"/>
                    <a:pt x="92" y="124"/>
                  </a:cubicBezTo>
                  <a:cubicBezTo>
                    <a:pt x="92" y="124"/>
                    <a:pt x="92" y="126"/>
                    <a:pt x="90" y="126"/>
                  </a:cubicBezTo>
                  <a:cubicBezTo>
                    <a:pt x="88" y="126"/>
                    <a:pt x="86" y="126"/>
                    <a:pt x="85" y="126"/>
                  </a:cubicBezTo>
                  <a:cubicBezTo>
                    <a:pt x="84" y="125"/>
                    <a:pt x="84" y="125"/>
                    <a:pt x="84" y="125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8"/>
                    <a:pt x="84" y="129"/>
                    <a:pt x="83" y="130"/>
                  </a:cubicBezTo>
                  <a:cubicBezTo>
                    <a:pt x="82" y="131"/>
                    <a:pt x="79" y="131"/>
                    <a:pt x="79" y="131"/>
                  </a:cubicBezTo>
                  <a:cubicBezTo>
                    <a:pt x="79" y="131"/>
                    <a:pt x="78" y="131"/>
                    <a:pt x="78" y="131"/>
                  </a:cubicBezTo>
                  <a:cubicBezTo>
                    <a:pt x="78" y="132"/>
                    <a:pt x="77" y="134"/>
                    <a:pt x="76" y="134"/>
                  </a:cubicBezTo>
                  <a:cubicBezTo>
                    <a:pt x="75" y="133"/>
                    <a:pt x="73" y="132"/>
                    <a:pt x="72" y="131"/>
                  </a:cubicBezTo>
                  <a:cubicBezTo>
                    <a:pt x="72" y="130"/>
                    <a:pt x="71" y="126"/>
                    <a:pt x="73" y="127"/>
                  </a:cubicBezTo>
                  <a:cubicBezTo>
                    <a:pt x="75" y="127"/>
                    <a:pt x="77" y="128"/>
                    <a:pt x="77" y="126"/>
                  </a:cubicBezTo>
                  <a:cubicBezTo>
                    <a:pt x="77" y="124"/>
                    <a:pt x="76" y="123"/>
                    <a:pt x="76" y="123"/>
                  </a:cubicBezTo>
                  <a:cubicBezTo>
                    <a:pt x="77" y="121"/>
                    <a:pt x="77" y="121"/>
                    <a:pt x="77" y="121"/>
                  </a:cubicBezTo>
                  <a:close/>
                  <a:moveTo>
                    <a:pt x="267" y="15"/>
                  </a:moveTo>
                  <a:cubicBezTo>
                    <a:pt x="267" y="15"/>
                    <a:pt x="267" y="15"/>
                    <a:pt x="267" y="15"/>
                  </a:cubicBezTo>
                  <a:cubicBezTo>
                    <a:pt x="268" y="15"/>
                    <a:pt x="271" y="16"/>
                    <a:pt x="271" y="15"/>
                  </a:cubicBezTo>
                  <a:cubicBezTo>
                    <a:pt x="271" y="15"/>
                    <a:pt x="272" y="13"/>
                    <a:pt x="272" y="13"/>
                  </a:cubicBezTo>
                  <a:cubicBezTo>
                    <a:pt x="271" y="12"/>
                    <a:pt x="270" y="11"/>
                    <a:pt x="269" y="12"/>
                  </a:cubicBezTo>
                  <a:cubicBezTo>
                    <a:pt x="268" y="12"/>
                    <a:pt x="267" y="13"/>
                    <a:pt x="267" y="13"/>
                  </a:cubicBezTo>
                  <a:cubicBezTo>
                    <a:pt x="267" y="14"/>
                    <a:pt x="267" y="15"/>
                    <a:pt x="267" y="15"/>
                  </a:cubicBezTo>
                  <a:close/>
                  <a:moveTo>
                    <a:pt x="235" y="32"/>
                  </a:moveTo>
                  <a:cubicBezTo>
                    <a:pt x="235" y="32"/>
                    <a:pt x="235" y="32"/>
                    <a:pt x="235" y="32"/>
                  </a:cubicBezTo>
                  <a:cubicBezTo>
                    <a:pt x="236" y="32"/>
                    <a:pt x="237" y="30"/>
                    <a:pt x="237" y="31"/>
                  </a:cubicBezTo>
                  <a:cubicBezTo>
                    <a:pt x="237" y="33"/>
                    <a:pt x="238" y="33"/>
                    <a:pt x="237" y="34"/>
                  </a:cubicBezTo>
                  <a:cubicBezTo>
                    <a:pt x="236" y="34"/>
                    <a:pt x="234" y="36"/>
                    <a:pt x="233" y="35"/>
                  </a:cubicBezTo>
                  <a:cubicBezTo>
                    <a:pt x="233" y="35"/>
                    <a:pt x="234" y="31"/>
                    <a:pt x="234" y="31"/>
                  </a:cubicBezTo>
                  <a:cubicBezTo>
                    <a:pt x="235" y="32"/>
                    <a:pt x="235" y="32"/>
                    <a:pt x="235" y="32"/>
                  </a:cubicBezTo>
                  <a:close/>
                  <a:moveTo>
                    <a:pt x="254" y="34"/>
                  </a:moveTo>
                  <a:cubicBezTo>
                    <a:pt x="254" y="34"/>
                    <a:pt x="254" y="34"/>
                    <a:pt x="254" y="34"/>
                  </a:cubicBezTo>
                  <a:cubicBezTo>
                    <a:pt x="254" y="34"/>
                    <a:pt x="254" y="35"/>
                    <a:pt x="252" y="34"/>
                  </a:cubicBezTo>
                  <a:cubicBezTo>
                    <a:pt x="249" y="34"/>
                    <a:pt x="248" y="35"/>
                    <a:pt x="248" y="33"/>
                  </a:cubicBezTo>
                  <a:cubicBezTo>
                    <a:pt x="248" y="32"/>
                    <a:pt x="249" y="31"/>
                    <a:pt x="247" y="30"/>
                  </a:cubicBezTo>
                  <a:cubicBezTo>
                    <a:pt x="245" y="30"/>
                    <a:pt x="245" y="30"/>
                    <a:pt x="245" y="30"/>
                  </a:cubicBezTo>
                  <a:cubicBezTo>
                    <a:pt x="245" y="30"/>
                    <a:pt x="244" y="28"/>
                    <a:pt x="245" y="27"/>
                  </a:cubicBezTo>
                  <a:cubicBezTo>
                    <a:pt x="247" y="25"/>
                    <a:pt x="247" y="26"/>
                    <a:pt x="248" y="26"/>
                  </a:cubicBezTo>
                  <a:cubicBezTo>
                    <a:pt x="250" y="26"/>
                    <a:pt x="249" y="26"/>
                    <a:pt x="251" y="27"/>
                  </a:cubicBezTo>
                  <a:cubicBezTo>
                    <a:pt x="253" y="27"/>
                    <a:pt x="254" y="28"/>
                    <a:pt x="254" y="26"/>
                  </a:cubicBezTo>
                  <a:cubicBezTo>
                    <a:pt x="254" y="25"/>
                    <a:pt x="255" y="25"/>
                    <a:pt x="253" y="23"/>
                  </a:cubicBezTo>
                  <a:cubicBezTo>
                    <a:pt x="252" y="21"/>
                    <a:pt x="252" y="22"/>
                    <a:pt x="251" y="21"/>
                  </a:cubicBezTo>
                  <a:cubicBezTo>
                    <a:pt x="250" y="19"/>
                    <a:pt x="248" y="17"/>
                    <a:pt x="249" y="16"/>
                  </a:cubicBezTo>
                  <a:cubicBezTo>
                    <a:pt x="249" y="15"/>
                    <a:pt x="248" y="15"/>
                    <a:pt x="250" y="13"/>
                  </a:cubicBezTo>
                  <a:cubicBezTo>
                    <a:pt x="253" y="12"/>
                    <a:pt x="255" y="10"/>
                    <a:pt x="256" y="10"/>
                  </a:cubicBezTo>
                  <a:cubicBezTo>
                    <a:pt x="257" y="10"/>
                    <a:pt x="258" y="10"/>
                    <a:pt x="258" y="11"/>
                  </a:cubicBezTo>
                  <a:cubicBezTo>
                    <a:pt x="258" y="13"/>
                    <a:pt x="258" y="14"/>
                    <a:pt x="257" y="15"/>
                  </a:cubicBezTo>
                  <a:cubicBezTo>
                    <a:pt x="256" y="15"/>
                    <a:pt x="256" y="16"/>
                    <a:pt x="256" y="16"/>
                  </a:cubicBezTo>
                  <a:cubicBezTo>
                    <a:pt x="256" y="16"/>
                    <a:pt x="255" y="19"/>
                    <a:pt x="257" y="19"/>
                  </a:cubicBezTo>
                  <a:cubicBezTo>
                    <a:pt x="259" y="18"/>
                    <a:pt x="260" y="16"/>
                    <a:pt x="260" y="15"/>
                  </a:cubicBezTo>
                  <a:cubicBezTo>
                    <a:pt x="261" y="14"/>
                    <a:pt x="262" y="15"/>
                    <a:pt x="261" y="13"/>
                  </a:cubicBezTo>
                  <a:cubicBezTo>
                    <a:pt x="261" y="11"/>
                    <a:pt x="260" y="10"/>
                    <a:pt x="261" y="10"/>
                  </a:cubicBezTo>
                  <a:cubicBezTo>
                    <a:pt x="262" y="10"/>
                    <a:pt x="263" y="12"/>
                    <a:pt x="264" y="10"/>
                  </a:cubicBezTo>
                  <a:cubicBezTo>
                    <a:pt x="266" y="7"/>
                    <a:pt x="266" y="6"/>
                    <a:pt x="266" y="6"/>
                  </a:cubicBezTo>
                  <a:cubicBezTo>
                    <a:pt x="266" y="6"/>
                    <a:pt x="265" y="6"/>
                    <a:pt x="267" y="5"/>
                  </a:cubicBezTo>
                  <a:cubicBezTo>
                    <a:pt x="269" y="4"/>
                    <a:pt x="268" y="3"/>
                    <a:pt x="269" y="2"/>
                  </a:cubicBezTo>
                  <a:cubicBezTo>
                    <a:pt x="270" y="1"/>
                    <a:pt x="268" y="0"/>
                    <a:pt x="271" y="0"/>
                  </a:cubicBezTo>
                  <a:cubicBezTo>
                    <a:pt x="273" y="1"/>
                    <a:pt x="273" y="1"/>
                    <a:pt x="274" y="2"/>
                  </a:cubicBezTo>
                  <a:cubicBezTo>
                    <a:pt x="275" y="2"/>
                    <a:pt x="273" y="6"/>
                    <a:pt x="272" y="6"/>
                  </a:cubicBezTo>
                  <a:cubicBezTo>
                    <a:pt x="271" y="6"/>
                    <a:pt x="271" y="5"/>
                    <a:pt x="269" y="6"/>
                  </a:cubicBezTo>
                  <a:cubicBezTo>
                    <a:pt x="268" y="7"/>
                    <a:pt x="270" y="9"/>
                    <a:pt x="269" y="10"/>
                  </a:cubicBezTo>
                  <a:cubicBezTo>
                    <a:pt x="268" y="11"/>
                    <a:pt x="267" y="10"/>
                    <a:pt x="266" y="11"/>
                  </a:cubicBezTo>
                  <a:cubicBezTo>
                    <a:pt x="265" y="12"/>
                    <a:pt x="265" y="12"/>
                    <a:pt x="265" y="13"/>
                  </a:cubicBezTo>
                  <a:cubicBezTo>
                    <a:pt x="265" y="14"/>
                    <a:pt x="264" y="15"/>
                    <a:pt x="263" y="16"/>
                  </a:cubicBezTo>
                  <a:cubicBezTo>
                    <a:pt x="263" y="16"/>
                    <a:pt x="260" y="14"/>
                    <a:pt x="263" y="16"/>
                  </a:cubicBezTo>
                  <a:cubicBezTo>
                    <a:pt x="266" y="18"/>
                    <a:pt x="267" y="18"/>
                    <a:pt x="266" y="19"/>
                  </a:cubicBezTo>
                  <a:cubicBezTo>
                    <a:pt x="265" y="19"/>
                    <a:pt x="263" y="19"/>
                    <a:pt x="262" y="20"/>
                  </a:cubicBezTo>
                  <a:cubicBezTo>
                    <a:pt x="261" y="20"/>
                    <a:pt x="260" y="21"/>
                    <a:pt x="262" y="22"/>
                  </a:cubicBezTo>
                  <a:cubicBezTo>
                    <a:pt x="264" y="23"/>
                    <a:pt x="263" y="23"/>
                    <a:pt x="264" y="23"/>
                  </a:cubicBezTo>
                  <a:cubicBezTo>
                    <a:pt x="265" y="22"/>
                    <a:pt x="270" y="22"/>
                    <a:pt x="270" y="23"/>
                  </a:cubicBezTo>
                  <a:cubicBezTo>
                    <a:pt x="269" y="25"/>
                    <a:pt x="270" y="25"/>
                    <a:pt x="268" y="26"/>
                  </a:cubicBezTo>
                  <a:cubicBezTo>
                    <a:pt x="265" y="27"/>
                    <a:pt x="263" y="26"/>
                    <a:pt x="262" y="25"/>
                  </a:cubicBezTo>
                  <a:cubicBezTo>
                    <a:pt x="261" y="25"/>
                    <a:pt x="261" y="23"/>
                    <a:pt x="261" y="26"/>
                  </a:cubicBezTo>
                  <a:cubicBezTo>
                    <a:pt x="262" y="29"/>
                    <a:pt x="264" y="29"/>
                    <a:pt x="263" y="29"/>
                  </a:cubicBezTo>
                  <a:cubicBezTo>
                    <a:pt x="261" y="29"/>
                    <a:pt x="259" y="29"/>
                    <a:pt x="259" y="29"/>
                  </a:cubicBezTo>
                  <a:cubicBezTo>
                    <a:pt x="259" y="29"/>
                    <a:pt x="258" y="27"/>
                    <a:pt x="259" y="30"/>
                  </a:cubicBezTo>
                  <a:cubicBezTo>
                    <a:pt x="260" y="33"/>
                    <a:pt x="260" y="33"/>
                    <a:pt x="260" y="33"/>
                  </a:cubicBezTo>
                  <a:cubicBezTo>
                    <a:pt x="260" y="33"/>
                    <a:pt x="258" y="34"/>
                    <a:pt x="258" y="34"/>
                  </a:cubicBezTo>
                  <a:cubicBezTo>
                    <a:pt x="258" y="35"/>
                    <a:pt x="259" y="37"/>
                    <a:pt x="260" y="38"/>
                  </a:cubicBezTo>
                  <a:cubicBezTo>
                    <a:pt x="260" y="38"/>
                    <a:pt x="259" y="42"/>
                    <a:pt x="258" y="42"/>
                  </a:cubicBezTo>
                  <a:cubicBezTo>
                    <a:pt x="258" y="42"/>
                    <a:pt x="258" y="43"/>
                    <a:pt x="257" y="44"/>
                  </a:cubicBezTo>
                  <a:cubicBezTo>
                    <a:pt x="256" y="45"/>
                    <a:pt x="255" y="46"/>
                    <a:pt x="255" y="46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53" y="52"/>
                    <a:pt x="252" y="54"/>
                    <a:pt x="251" y="52"/>
                  </a:cubicBezTo>
                  <a:cubicBezTo>
                    <a:pt x="251" y="50"/>
                    <a:pt x="250" y="50"/>
                    <a:pt x="251" y="49"/>
                  </a:cubicBezTo>
                  <a:cubicBezTo>
                    <a:pt x="252" y="49"/>
                    <a:pt x="252" y="47"/>
                    <a:pt x="253" y="46"/>
                  </a:cubicBezTo>
                  <a:cubicBezTo>
                    <a:pt x="253" y="45"/>
                    <a:pt x="254" y="41"/>
                    <a:pt x="254" y="41"/>
                  </a:cubicBezTo>
                  <a:cubicBezTo>
                    <a:pt x="254" y="41"/>
                    <a:pt x="256" y="41"/>
                    <a:pt x="257" y="40"/>
                  </a:cubicBezTo>
                  <a:cubicBezTo>
                    <a:pt x="257" y="40"/>
                    <a:pt x="255" y="36"/>
                    <a:pt x="255" y="36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4" y="34"/>
                    <a:pt x="254" y="34"/>
                    <a:pt x="254" y="34"/>
                  </a:cubicBezTo>
                  <a:close/>
                  <a:moveTo>
                    <a:pt x="239" y="67"/>
                  </a:moveTo>
                  <a:cubicBezTo>
                    <a:pt x="239" y="67"/>
                    <a:pt x="239" y="67"/>
                    <a:pt x="239" y="67"/>
                  </a:cubicBezTo>
                  <a:cubicBezTo>
                    <a:pt x="239" y="67"/>
                    <a:pt x="242" y="63"/>
                    <a:pt x="243" y="64"/>
                  </a:cubicBezTo>
                  <a:cubicBezTo>
                    <a:pt x="243" y="64"/>
                    <a:pt x="243" y="65"/>
                    <a:pt x="243" y="66"/>
                  </a:cubicBezTo>
                  <a:cubicBezTo>
                    <a:pt x="243" y="66"/>
                    <a:pt x="244" y="68"/>
                    <a:pt x="243" y="68"/>
                  </a:cubicBezTo>
                  <a:cubicBezTo>
                    <a:pt x="242" y="68"/>
                    <a:pt x="241" y="68"/>
                    <a:pt x="240" y="68"/>
                  </a:cubicBezTo>
                  <a:cubicBezTo>
                    <a:pt x="240" y="68"/>
                    <a:pt x="239" y="67"/>
                    <a:pt x="239" y="67"/>
                  </a:cubicBezTo>
                  <a:close/>
                  <a:moveTo>
                    <a:pt x="196" y="98"/>
                  </a:moveTo>
                  <a:cubicBezTo>
                    <a:pt x="196" y="98"/>
                    <a:pt x="196" y="98"/>
                    <a:pt x="196" y="98"/>
                  </a:cubicBezTo>
                  <a:cubicBezTo>
                    <a:pt x="198" y="96"/>
                    <a:pt x="198" y="96"/>
                    <a:pt x="198" y="96"/>
                  </a:cubicBezTo>
                  <a:cubicBezTo>
                    <a:pt x="201" y="97"/>
                    <a:pt x="201" y="97"/>
                    <a:pt x="201" y="97"/>
                  </a:cubicBezTo>
                  <a:cubicBezTo>
                    <a:pt x="201" y="97"/>
                    <a:pt x="202" y="95"/>
                    <a:pt x="202" y="97"/>
                  </a:cubicBezTo>
                  <a:cubicBezTo>
                    <a:pt x="201" y="99"/>
                    <a:pt x="199" y="102"/>
                    <a:pt x="199" y="102"/>
                  </a:cubicBezTo>
                  <a:cubicBezTo>
                    <a:pt x="199" y="102"/>
                    <a:pt x="200" y="102"/>
                    <a:pt x="198" y="103"/>
                  </a:cubicBezTo>
                  <a:cubicBezTo>
                    <a:pt x="196" y="104"/>
                    <a:pt x="196" y="105"/>
                    <a:pt x="195" y="103"/>
                  </a:cubicBezTo>
                  <a:cubicBezTo>
                    <a:pt x="194" y="102"/>
                    <a:pt x="193" y="102"/>
                    <a:pt x="193" y="101"/>
                  </a:cubicBezTo>
                  <a:cubicBezTo>
                    <a:pt x="194" y="100"/>
                    <a:pt x="194" y="98"/>
                    <a:pt x="194" y="98"/>
                  </a:cubicBezTo>
                  <a:cubicBezTo>
                    <a:pt x="196" y="98"/>
                    <a:pt x="196" y="98"/>
                    <a:pt x="196" y="98"/>
                  </a:cubicBezTo>
                  <a:close/>
                  <a:moveTo>
                    <a:pt x="217" y="72"/>
                  </a:moveTo>
                  <a:cubicBezTo>
                    <a:pt x="217" y="72"/>
                    <a:pt x="217" y="72"/>
                    <a:pt x="217" y="72"/>
                  </a:cubicBezTo>
                  <a:cubicBezTo>
                    <a:pt x="217" y="72"/>
                    <a:pt x="218" y="70"/>
                    <a:pt x="219" y="70"/>
                  </a:cubicBezTo>
                  <a:cubicBezTo>
                    <a:pt x="220" y="71"/>
                    <a:pt x="221" y="71"/>
                    <a:pt x="221" y="72"/>
                  </a:cubicBezTo>
                  <a:cubicBezTo>
                    <a:pt x="220" y="73"/>
                    <a:pt x="219" y="74"/>
                    <a:pt x="218" y="74"/>
                  </a:cubicBezTo>
                  <a:cubicBezTo>
                    <a:pt x="217" y="74"/>
                    <a:pt x="217" y="72"/>
                    <a:pt x="217" y="72"/>
                  </a:cubicBezTo>
                  <a:close/>
                  <a:moveTo>
                    <a:pt x="213" y="77"/>
                  </a:moveTo>
                  <a:cubicBezTo>
                    <a:pt x="213" y="77"/>
                    <a:pt x="213" y="77"/>
                    <a:pt x="213" y="77"/>
                  </a:cubicBezTo>
                  <a:cubicBezTo>
                    <a:pt x="213" y="77"/>
                    <a:pt x="215" y="75"/>
                    <a:pt x="216" y="76"/>
                  </a:cubicBezTo>
                  <a:cubicBezTo>
                    <a:pt x="216" y="76"/>
                    <a:pt x="217" y="76"/>
                    <a:pt x="216" y="77"/>
                  </a:cubicBezTo>
                  <a:cubicBezTo>
                    <a:pt x="216" y="78"/>
                    <a:pt x="218" y="77"/>
                    <a:pt x="215" y="78"/>
                  </a:cubicBezTo>
                  <a:cubicBezTo>
                    <a:pt x="213" y="80"/>
                    <a:pt x="214" y="81"/>
                    <a:pt x="212" y="80"/>
                  </a:cubicBezTo>
                  <a:cubicBezTo>
                    <a:pt x="211" y="79"/>
                    <a:pt x="211" y="78"/>
                    <a:pt x="211" y="77"/>
                  </a:cubicBezTo>
                  <a:cubicBezTo>
                    <a:pt x="211" y="77"/>
                    <a:pt x="212" y="75"/>
                    <a:pt x="212" y="75"/>
                  </a:cubicBezTo>
                  <a:cubicBezTo>
                    <a:pt x="213" y="76"/>
                    <a:pt x="213" y="77"/>
                    <a:pt x="213" y="77"/>
                  </a:cubicBezTo>
                  <a:close/>
                  <a:moveTo>
                    <a:pt x="205" y="80"/>
                  </a:move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7" y="81"/>
                    <a:pt x="207" y="81"/>
                  </a:cubicBezTo>
                  <a:cubicBezTo>
                    <a:pt x="208" y="82"/>
                    <a:pt x="208" y="81"/>
                    <a:pt x="209" y="80"/>
                  </a:cubicBezTo>
                  <a:cubicBezTo>
                    <a:pt x="211" y="80"/>
                    <a:pt x="209" y="80"/>
                    <a:pt x="210" y="79"/>
                  </a:cubicBezTo>
                  <a:cubicBezTo>
                    <a:pt x="211" y="77"/>
                    <a:pt x="210" y="78"/>
                    <a:pt x="210" y="77"/>
                  </a:cubicBezTo>
                  <a:cubicBezTo>
                    <a:pt x="209" y="77"/>
                    <a:pt x="209" y="77"/>
                    <a:pt x="208" y="77"/>
                  </a:cubicBezTo>
                  <a:cubicBezTo>
                    <a:pt x="206" y="77"/>
                    <a:pt x="205" y="80"/>
                    <a:pt x="205" y="80"/>
                  </a:cubicBezTo>
                  <a:close/>
                  <a:moveTo>
                    <a:pt x="209" y="86"/>
                  </a:move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10" y="83"/>
                    <a:pt x="211" y="83"/>
                  </a:cubicBezTo>
                  <a:cubicBezTo>
                    <a:pt x="212" y="84"/>
                    <a:pt x="212" y="83"/>
                    <a:pt x="212" y="84"/>
                  </a:cubicBezTo>
                  <a:cubicBezTo>
                    <a:pt x="212" y="85"/>
                    <a:pt x="212" y="87"/>
                    <a:pt x="211" y="87"/>
                  </a:cubicBezTo>
                  <a:cubicBezTo>
                    <a:pt x="210" y="87"/>
                    <a:pt x="209" y="86"/>
                    <a:pt x="209" y="86"/>
                  </a:cubicBezTo>
                  <a:close/>
                  <a:moveTo>
                    <a:pt x="201" y="86"/>
                  </a:moveTo>
                  <a:cubicBezTo>
                    <a:pt x="201" y="86"/>
                    <a:pt x="201" y="86"/>
                    <a:pt x="201" y="86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4" y="85"/>
                    <a:pt x="204" y="85"/>
                    <a:pt x="204" y="85"/>
                  </a:cubicBezTo>
                  <a:cubicBezTo>
                    <a:pt x="204" y="85"/>
                    <a:pt x="205" y="86"/>
                    <a:pt x="204" y="86"/>
                  </a:cubicBezTo>
                  <a:cubicBezTo>
                    <a:pt x="204" y="87"/>
                    <a:pt x="203" y="87"/>
                    <a:pt x="203" y="88"/>
                  </a:cubicBezTo>
                  <a:cubicBezTo>
                    <a:pt x="202" y="88"/>
                    <a:pt x="201" y="87"/>
                    <a:pt x="201" y="87"/>
                  </a:cubicBezTo>
                  <a:cubicBezTo>
                    <a:pt x="201" y="86"/>
                    <a:pt x="201" y="86"/>
                    <a:pt x="201" y="86"/>
                  </a:cubicBezTo>
                  <a:close/>
                  <a:moveTo>
                    <a:pt x="201" y="73"/>
                  </a:moveTo>
                  <a:cubicBezTo>
                    <a:pt x="201" y="73"/>
                    <a:pt x="201" y="73"/>
                    <a:pt x="201" y="73"/>
                  </a:cubicBezTo>
                  <a:cubicBezTo>
                    <a:pt x="201" y="73"/>
                    <a:pt x="203" y="70"/>
                    <a:pt x="203" y="70"/>
                  </a:cubicBezTo>
                  <a:cubicBezTo>
                    <a:pt x="204" y="70"/>
                    <a:pt x="205" y="69"/>
                    <a:pt x="205" y="71"/>
                  </a:cubicBezTo>
                  <a:cubicBezTo>
                    <a:pt x="205" y="73"/>
                    <a:pt x="207" y="75"/>
                    <a:pt x="204" y="75"/>
                  </a:cubicBezTo>
                  <a:cubicBezTo>
                    <a:pt x="202" y="75"/>
                    <a:pt x="201" y="76"/>
                    <a:pt x="201" y="75"/>
                  </a:cubicBezTo>
                  <a:cubicBezTo>
                    <a:pt x="200" y="74"/>
                    <a:pt x="201" y="73"/>
                    <a:pt x="201" y="73"/>
                  </a:cubicBezTo>
                  <a:close/>
                  <a:moveTo>
                    <a:pt x="197" y="79"/>
                  </a:moveTo>
                  <a:cubicBezTo>
                    <a:pt x="197" y="79"/>
                    <a:pt x="197" y="79"/>
                    <a:pt x="197" y="79"/>
                  </a:cubicBezTo>
                  <a:cubicBezTo>
                    <a:pt x="197" y="79"/>
                    <a:pt x="199" y="77"/>
                    <a:pt x="200" y="77"/>
                  </a:cubicBezTo>
                  <a:cubicBezTo>
                    <a:pt x="201" y="78"/>
                    <a:pt x="202" y="78"/>
                    <a:pt x="202" y="79"/>
                  </a:cubicBezTo>
                  <a:cubicBezTo>
                    <a:pt x="202" y="80"/>
                    <a:pt x="202" y="80"/>
                    <a:pt x="201" y="81"/>
                  </a:cubicBezTo>
                  <a:cubicBezTo>
                    <a:pt x="201" y="82"/>
                    <a:pt x="200" y="82"/>
                    <a:pt x="199" y="82"/>
                  </a:cubicBezTo>
                  <a:cubicBezTo>
                    <a:pt x="199" y="82"/>
                    <a:pt x="197" y="79"/>
                    <a:pt x="197" y="79"/>
                  </a:cubicBezTo>
                  <a:close/>
                  <a:moveTo>
                    <a:pt x="200" y="91"/>
                  </a:moveTo>
                  <a:cubicBezTo>
                    <a:pt x="200" y="91"/>
                    <a:pt x="200" y="91"/>
                    <a:pt x="200" y="91"/>
                  </a:cubicBezTo>
                  <a:cubicBezTo>
                    <a:pt x="200" y="91"/>
                    <a:pt x="199" y="94"/>
                    <a:pt x="199" y="95"/>
                  </a:cubicBezTo>
                  <a:cubicBezTo>
                    <a:pt x="199" y="96"/>
                    <a:pt x="202" y="96"/>
                    <a:pt x="203" y="95"/>
                  </a:cubicBezTo>
                  <a:cubicBezTo>
                    <a:pt x="203" y="95"/>
                    <a:pt x="204" y="93"/>
                    <a:pt x="204" y="93"/>
                  </a:cubicBezTo>
                  <a:cubicBezTo>
                    <a:pt x="204" y="93"/>
                    <a:pt x="203" y="91"/>
                    <a:pt x="202" y="90"/>
                  </a:cubicBezTo>
                  <a:cubicBezTo>
                    <a:pt x="201" y="89"/>
                    <a:pt x="200" y="91"/>
                    <a:pt x="200" y="91"/>
                  </a:cubicBezTo>
                  <a:close/>
                  <a:moveTo>
                    <a:pt x="191" y="88"/>
                  </a:moveTo>
                  <a:cubicBezTo>
                    <a:pt x="191" y="88"/>
                    <a:pt x="191" y="88"/>
                    <a:pt x="191" y="88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1" y="91"/>
                    <a:pt x="193" y="93"/>
                    <a:pt x="194" y="93"/>
                  </a:cubicBezTo>
                  <a:cubicBezTo>
                    <a:pt x="195" y="94"/>
                    <a:pt x="195" y="93"/>
                    <a:pt x="197" y="94"/>
                  </a:cubicBezTo>
                  <a:cubicBezTo>
                    <a:pt x="198" y="94"/>
                    <a:pt x="198" y="93"/>
                    <a:pt x="198" y="93"/>
                  </a:cubicBezTo>
                  <a:cubicBezTo>
                    <a:pt x="199" y="93"/>
                    <a:pt x="199" y="93"/>
                    <a:pt x="199" y="92"/>
                  </a:cubicBezTo>
                  <a:cubicBezTo>
                    <a:pt x="199" y="92"/>
                    <a:pt x="197" y="91"/>
                    <a:pt x="196" y="90"/>
                  </a:cubicBezTo>
                  <a:cubicBezTo>
                    <a:pt x="196" y="89"/>
                    <a:pt x="196" y="89"/>
                    <a:pt x="196" y="88"/>
                  </a:cubicBezTo>
                  <a:cubicBezTo>
                    <a:pt x="196" y="88"/>
                    <a:pt x="197" y="87"/>
                    <a:pt x="198" y="87"/>
                  </a:cubicBezTo>
                  <a:cubicBezTo>
                    <a:pt x="198" y="86"/>
                    <a:pt x="198" y="84"/>
                    <a:pt x="198" y="84"/>
                  </a:cubicBezTo>
                  <a:cubicBezTo>
                    <a:pt x="198" y="84"/>
                    <a:pt x="196" y="84"/>
                    <a:pt x="196" y="83"/>
                  </a:cubicBezTo>
                  <a:cubicBezTo>
                    <a:pt x="196" y="83"/>
                    <a:pt x="195" y="82"/>
                    <a:pt x="194" y="81"/>
                  </a:cubicBezTo>
                  <a:cubicBezTo>
                    <a:pt x="194" y="80"/>
                    <a:pt x="192" y="80"/>
                    <a:pt x="191" y="80"/>
                  </a:cubicBezTo>
                  <a:cubicBezTo>
                    <a:pt x="191" y="80"/>
                    <a:pt x="190" y="83"/>
                    <a:pt x="189" y="84"/>
                  </a:cubicBezTo>
                  <a:cubicBezTo>
                    <a:pt x="189" y="84"/>
                    <a:pt x="188" y="86"/>
                    <a:pt x="188" y="86"/>
                  </a:cubicBezTo>
                  <a:cubicBezTo>
                    <a:pt x="188" y="87"/>
                    <a:pt x="188" y="88"/>
                    <a:pt x="189" y="89"/>
                  </a:cubicBezTo>
                  <a:cubicBezTo>
                    <a:pt x="190" y="89"/>
                    <a:pt x="191" y="88"/>
                    <a:pt x="191" y="88"/>
                  </a:cubicBezTo>
                  <a:close/>
                  <a:moveTo>
                    <a:pt x="188" y="96"/>
                  </a:moveTo>
                  <a:cubicBezTo>
                    <a:pt x="188" y="96"/>
                    <a:pt x="188" y="96"/>
                    <a:pt x="188" y="96"/>
                  </a:cubicBezTo>
                  <a:cubicBezTo>
                    <a:pt x="187" y="96"/>
                    <a:pt x="185" y="94"/>
                    <a:pt x="185" y="94"/>
                  </a:cubicBezTo>
                  <a:cubicBezTo>
                    <a:pt x="185" y="94"/>
                    <a:pt x="187" y="93"/>
                    <a:pt x="187" y="92"/>
                  </a:cubicBezTo>
                  <a:cubicBezTo>
                    <a:pt x="188" y="92"/>
                    <a:pt x="187" y="91"/>
                    <a:pt x="189" y="91"/>
                  </a:cubicBezTo>
                  <a:cubicBezTo>
                    <a:pt x="191" y="92"/>
                    <a:pt x="191" y="93"/>
                    <a:pt x="191" y="93"/>
                  </a:cubicBezTo>
                  <a:cubicBezTo>
                    <a:pt x="191" y="93"/>
                    <a:pt x="192" y="95"/>
                    <a:pt x="192" y="96"/>
                  </a:cubicBezTo>
                  <a:cubicBezTo>
                    <a:pt x="192" y="96"/>
                    <a:pt x="192" y="97"/>
                    <a:pt x="192" y="97"/>
                  </a:cubicBezTo>
                  <a:cubicBezTo>
                    <a:pt x="192" y="98"/>
                    <a:pt x="194" y="99"/>
                    <a:pt x="191" y="99"/>
                  </a:cubicBezTo>
                  <a:cubicBezTo>
                    <a:pt x="189" y="99"/>
                    <a:pt x="189" y="99"/>
                    <a:pt x="189" y="99"/>
                  </a:cubicBezTo>
                  <a:lnTo>
                    <a:pt x="188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2" name="Freeform 139"/>
            <p:cNvSpPr>
              <a:spLocks noEditPoints="1"/>
            </p:cNvSpPr>
            <p:nvPr/>
          </p:nvSpPr>
          <p:spPr bwMode="auto">
            <a:xfrm>
              <a:off x="2545698" y="5024086"/>
              <a:ext cx="1269628" cy="1011861"/>
            </a:xfrm>
            <a:custGeom>
              <a:avLst/>
              <a:gdLst>
                <a:gd name="T0" fmla="*/ 432 w 534"/>
                <a:gd name="T1" fmla="*/ 208 h 439"/>
                <a:gd name="T2" fmla="*/ 350 w 534"/>
                <a:gd name="T3" fmla="*/ 268 h 439"/>
                <a:gd name="T4" fmla="*/ 305 w 534"/>
                <a:gd name="T5" fmla="*/ 368 h 439"/>
                <a:gd name="T6" fmla="*/ 243 w 534"/>
                <a:gd name="T7" fmla="*/ 412 h 439"/>
                <a:gd name="T8" fmla="*/ 174 w 534"/>
                <a:gd name="T9" fmla="*/ 422 h 439"/>
                <a:gd name="T10" fmla="*/ 78 w 534"/>
                <a:gd name="T11" fmla="*/ 433 h 439"/>
                <a:gd name="T12" fmla="*/ 40 w 534"/>
                <a:gd name="T13" fmla="*/ 384 h 439"/>
                <a:gd name="T14" fmla="*/ 1 w 534"/>
                <a:gd name="T15" fmla="*/ 348 h 439"/>
                <a:gd name="T16" fmla="*/ 2 w 534"/>
                <a:gd name="T17" fmla="*/ 334 h 439"/>
                <a:gd name="T18" fmla="*/ 15 w 534"/>
                <a:gd name="T19" fmla="*/ 321 h 439"/>
                <a:gd name="T20" fmla="*/ 26 w 534"/>
                <a:gd name="T21" fmla="*/ 316 h 439"/>
                <a:gd name="T22" fmla="*/ 31 w 534"/>
                <a:gd name="T23" fmla="*/ 307 h 439"/>
                <a:gd name="T24" fmla="*/ 23 w 534"/>
                <a:gd name="T25" fmla="*/ 297 h 439"/>
                <a:gd name="T26" fmla="*/ 21 w 534"/>
                <a:gd name="T27" fmla="*/ 287 h 439"/>
                <a:gd name="T28" fmla="*/ 28 w 534"/>
                <a:gd name="T29" fmla="*/ 275 h 439"/>
                <a:gd name="T30" fmla="*/ 38 w 534"/>
                <a:gd name="T31" fmla="*/ 268 h 439"/>
                <a:gd name="T32" fmla="*/ 40 w 534"/>
                <a:gd name="T33" fmla="*/ 257 h 439"/>
                <a:gd name="T34" fmla="*/ 34 w 534"/>
                <a:gd name="T35" fmla="*/ 251 h 439"/>
                <a:gd name="T36" fmla="*/ 32 w 534"/>
                <a:gd name="T37" fmla="*/ 240 h 439"/>
                <a:gd name="T38" fmla="*/ 29 w 534"/>
                <a:gd name="T39" fmla="*/ 230 h 439"/>
                <a:gd name="T40" fmla="*/ 33 w 534"/>
                <a:gd name="T41" fmla="*/ 225 h 439"/>
                <a:gd name="T42" fmla="*/ 44 w 534"/>
                <a:gd name="T43" fmla="*/ 227 h 439"/>
                <a:gd name="T44" fmla="*/ 51 w 534"/>
                <a:gd name="T45" fmla="*/ 223 h 439"/>
                <a:gd name="T46" fmla="*/ 58 w 534"/>
                <a:gd name="T47" fmla="*/ 213 h 439"/>
                <a:gd name="T48" fmla="*/ 55 w 534"/>
                <a:gd name="T49" fmla="*/ 200 h 439"/>
                <a:gd name="T50" fmla="*/ 65 w 534"/>
                <a:gd name="T51" fmla="*/ 195 h 439"/>
                <a:gd name="T52" fmla="*/ 68 w 534"/>
                <a:gd name="T53" fmla="*/ 182 h 439"/>
                <a:gd name="T54" fmla="*/ 70 w 534"/>
                <a:gd name="T55" fmla="*/ 169 h 439"/>
                <a:gd name="T56" fmla="*/ 70 w 534"/>
                <a:gd name="T57" fmla="*/ 157 h 439"/>
                <a:gd name="T58" fmla="*/ 82 w 534"/>
                <a:gd name="T59" fmla="*/ 149 h 439"/>
                <a:gd name="T60" fmla="*/ 97 w 534"/>
                <a:gd name="T61" fmla="*/ 142 h 439"/>
                <a:gd name="T62" fmla="*/ 105 w 534"/>
                <a:gd name="T63" fmla="*/ 130 h 439"/>
                <a:gd name="T64" fmla="*/ 94 w 534"/>
                <a:gd name="T65" fmla="*/ 122 h 439"/>
                <a:gd name="T66" fmla="*/ 96 w 534"/>
                <a:gd name="T67" fmla="*/ 112 h 439"/>
                <a:gd name="T68" fmla="*/ 87 w 534"/>
                <a:gd name="T69" fmla="*/ 106 h 439"/>
                <a:gd name="T70" fmla="*/ 75 w 534"/>
                <a:gd name="T71" fmla="*/ 103 h 439"/>
                <a:gd name="T72" fmla="*/ 63 w 534"/>
                <a:gd name="T73" fmla="*/ 108 h 439"/>
                <a:gd name="T74" fmla="*/ 54 w 534"/>
                <a:gd name="T75" fmla="*/ 108 h 439"/>
                <a:gd name="T76" fmla="*/ 44 w 534"/>
                <a:gd name="T77" fmla="*/ 102 h 439"/>
                <a:gd name="T78" fmla="*/ 34 w 534"/>
                <a:gd name="T79" fmla="*/ 102 h 439"/>
                <a:gd name="T80" fmla="*/ 33 w 534"/>
                <a:gd name="T81" fmla="*/ 93 h 439"/>
                <a:gd name="T82" fmla="*/ 29 w 534"/>
                <a:gd name="T83" fmla="*/ 84 h 439"/>
                <a:gd name="T84" fmla="*/ 13 w 534"/>
                <a:gd name="T85" fmla="*/ 86 h 439"/>
                <a:gd name="T86" fmla="*/ 6 w 534"/>
                <a:gd name="T87" fmla="*/ 77 h 439"/>
                <a:gd name="T88" fmla="*/ 6 w 534"/>
                <a:gd name="T89" fmla="*/ 41 h 439"/>
                <a:gd name="T90" fmla="*/ 35 w 534"/>
                <a:gd name="T91" fmla="*/ 17 h 439"/>
                <a:gd name="T92" fmla="*/ 130 w 534"/>
                <a:gd name="T93" fmla="*/ 26 h 439"/>
                <a:gd name="T94" fmla="*/ 280 w 534"/>
                <a:gd name="T95" fmla="*/ 72 h 439"/>
                <a:gd name="T96" fmla="*/ 366 w 534"/>
                <a:gd name="T97" fmla="*/ 119 h 439"/>
                <a:gd name="T98" fmla="*/ 424 w 534"/>
                <a:gd name="T99" fmla="*/ 134 h 439"/>
                <a:gd name="T100" fmla="*/ 424 w 534"/>
                <a:gd name="T101" fmla="*/ 138 h 439"/>
                <a:gd name="T102" fmla="*/ 426 w 534"/>
                <a:gd name="T103" fmla="*/ 141 h 439"/>
                <a:gd name="T104" fmla="*/ 456 w 534"/>
                <a:gd name="T105" fmla="*/ 145 h 439"/>
                <a:gd name="T106" fmla="*/ 521 w 534"/>
                <a:gd name="T107" fmla="*/ 289 h 439"/>
                <a:gd name="T108" fmla="*/ 460 w 534"/>
                <a:gd name="T109" fmla="*/ 299 h 439"/>
                <a:gd name="T110" fmla="*/ 478 w 534"/>
                <a:gd name="T111" fmla="*/ 282 h 439"/>
                <a:gd name="T112" fmla="*/ 411 w 534"/>
                <a:gd name="T113" fmla="*/ 326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4" h="439">
                  <a:moveTo>
                    <a:pt x="496" y="159"/>
                  </a:moveTo>
                  <a:cubicBezTo>
                    <a:pt x="493" y="161"/>
                    <a:pt x="492" y="156"/>
                    <a:pt x="490" y="159"/>
                  </a:cubicBezTo>
                  <a:cubicBezTo>
                    <a:pt x="487" y="163"/>
                    <a:pt x="495" y="172"/>
                    <a:pt x="492" y="177"/>
                  </a:cubicBezTo>
                  <a:cubicBezTo>
                    <a:pt x="488" y="182"/>
                    <a:pt x="480" y="189"/>
                    <a:pt x="469" y="191"/>
                  </a:cubicBezTo>
                  <a:cubicBezTo>
                    <a:pt x="464" y="192"/>
                    <a:pt x="460" y="197"/>
                    <a:pt x="456" y="196"/>
                  </a:cubicBezTo>
                  <a:cubicBezTo>
                    <a:pt x="453" y="196"/>
                    <a:pt x="446" y="203"/>
                    <a:pt x="445" y="205"/>
                  </a:cubicBezTo>
                  <a:cubicBezTo>
                    <a:pt x="443" y="208"/>
                    <a:pt x="437" y="205"/>
                    <a:pt x="432" y="208"/>
                  </a:cubicBezTo>
                  <a:cubicBezTo>
                    <a:pt x="425" y="211"/>
                    <a:pt x="429" y="207"/>
                    <a:pt x="404" y="214"/>
                  </a:cubicBezTo>
                  <a:cubicBezTo>
                    <a:pt x="399" y="215"/>
                    <a:pt x="395" y="217"/>
                    <a:pt x="391" y="218"/>
                  </a:cubicBezTo>
                  <a:cubicBezTo>
                    <a:pt x="387" y="220"/>
                    <a:pt x="383" y="219"/>
                    <a:pt x="383" y="227"/>
                  </a:cubicBezTo>
                  <a:cubicBezTo>
                    <a:pt x="384" y="231"/>
                    <a:pt x="389" y="228"/>
                    <a:pt x="388" y="232"/>
                  </a:cubicBezTo>
                  <a:cubicBezTo>
                    <a:pt x="388" y="235"/>
                    <a:pt x="381" y="234"/>
                    <a:pt x="374" y="238"/>
                  </a:cubicBezTo>
                  <a:cubicBezTo>
                    <a:pt x="371" y="240"/>
                    <a:pt x="369" y="247"/>
                    <a:pt x="367" y="249"/>
                  </a:cubicBezTo>
                  <a:cubicBezTo>
                    <a:pt x="357" y="255"/>
                    <a:pt x="350" y="268"/>
                    <a:pt x="350" y="268"/>
                  </a:cubicBezTo>
                  <a:cubicBezTo>
                    <a:pt x="345" y="273"/>
                    <a:pt x="339" y="277"/>
                    <a:pt x="336" y="283"/>
                  </a:cubicBezTo>
                  <a:cubicBezTo>
                    <a:pt x="329" y="296"/>
                    <a:pt x="327" y="289"/>
                    <a:pt x="331" y="305"/>
                  </a:cubicBezTo>
                  <a:cubicBezTo>
                    <a:pt x="332" y="307"/>
                    <a:pt x="332" y="314"/>
                    <a:pt x="335" y="319"/>
                  </a:cubicBezTo>
                  <a:cubicBezTo>
                    <a:pt x="340" y="326"/>
                    <a:pt x="351" y="333"/>
                    <a:pt x="348" y="335"/>
                  </a:cubicBezTo>
                  <a:cubicBezTo>
                    <a:pt x="346" y="336"/>
                    <a:pt x="334" y="344"/>
                    <a:pt x="330" y="344"/>
                  </a:cubicBezTo>
                  <a:cubicBezTo>
                    <a:pt x="324" y="345"/>
                    <a:pt x="321" y="349"/>
                    <a:pt x="313" y="358"/>
                  </a:cubicBezTo>
                  <a:cubicBezTo>
                    <a:pt x="309" y="361"/>
                    <a:pt x="308" y="364"/>
                    <a:pt x="305" y="368"/>
                  </a:cubicBezTo>
                  <a:cubicBezTo>
                    <a:pt x="300" y="374"/>
                    <a:pt x="302" y="373"/>
                    <a:pt x="298" y="380"/>
                  </a:cubicBezTo>
                  <a:cubicBezTo>
                    <a:pt x="297" y="382"/>
                    <a:pt x="298" y="389"/>
                    <a:pt x="298" y="392"/>
                  </a:cubicBezTo>
                  <a:cubicBezTo>
                    <a:pt x="288" y="393"/>
                    <a:pt x="288" y="393"/>
                    <a:pt x="288" y="393"/>
                  </a:cubicBezTo>
                  <a:cubicBezTo>
                    <a:pt x="271" y="388"/>
                    <a:pt x="271" y="388"/>
                    <a:pt x="271" y="388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57" y="400"/>
                    <a:pt x="251" y="398"/>
                    <a:pt x="247" y="401"/>
                  </a:cubicBezTo>
                  <a:cubicBezTo>
                    <a:pt x="247" y="401"/>
                    <a:pt x="244" y="410"/>
                    <a:pt x="243" y="412"/>
                  </a:cubicBezTo>
                  <a:cubicBezTo>
                    <a:pt x="243" y="415"/>
                    <a:pt x="236" y="423"/>
                    <a:pt x="236" y="423"/>
                  </a:cubicBezTo>
                  <a:cubicBezTo>
                    <a:pt x="235" y="424"/>
                    <a:pt x="230" y="429"/>
                    <a:pt x="228" y="430"/>
                  </a:cubicBezTo>
                  <a:cubicBezTo>
                    <a:pt x="225" y="431"/>
                    <a:pt x="223" y="423"/>
                    <a:pt x="221" y="423"/>
                  </a:cubicBezTo>
                  <a:cubicBezTo>
                    <a:pt x="217" y="423"/>
                    <a:pt x="217" y="422"/>
                    <a:pt x="213" y="421"/>
                  </a:cubicBezTo>
                  <a:cubicBezTo>
                    <a:pt x="208" y="421"/>
                    <a:pt x="207" y="428"/>
                    <a:pt x="202" y="428"/>
                  </a:cubicBezTo>
                  <a:cubicBezTo>
                    <a:pt x="194" y="427"/>
                    <a:pt x="180" y="419"/>
                    <a:pt x="180" y="419"/>
                  </a:cubicBezTo>
                  <a:cubicBezTo>
                    <a:pt x="177" y="418"/>
                    <a:pt x="177" y="422"/>
                    <a:pt x="174" y="422"/>
                  </a:cubicBezTo>
                  <a:cubicBezTo>
                    <a:pt x="168" y="421"/>
                    <a:pt x="160" y="417"/>
                    <a:pt x="152" y="415"/>
                  </a:cubicBezTo>
                  <a:cubicBezTo>
                    <a:pt x="146" y="414"/>
                    <a:pt x="134" y="412"/>
                    <a:pt x="134" y="412"/>
                  </a:cubicBezTo>
                  <a:cubicBezTo>
                    <a:pt x="131" y="414"/>
                    <a:pt x="128" y="414"/>
                    <a:pt x="125" y="415"/>
                  </a:cubicBezTo>
                  <a:cubicBezTo>
                    <a:pt x="121" y="417"/>
                    <a:pt x="117" y="420"/>
                    <a:pt x="114" y="421"/>
                  </a:cubicBezTo>
                  <a:cubicBezTo>
                    <a:pt x="111" y="422"/>
                    <a:pt x="105" y="417"/>
                    <a:pt x="96" y="422"/>
                  </a:cubicBezTo>
                  <a:cubicBezTo>
                    <a:pt x="93" y="423"/>
                    <a:pt x="89" y="422"/>
                    <a:pt x="87" y="424"/>
                  </a:cubicBezTo>
                  <a:cubicBezTo>
                    <a:pt x="84" y="427"/>
                    <a:pt x="83" y="431"/>
                    <a:pt x="78" y="433"/>
                  </a:cubicBezTo>
                  <a:cubicBezTo>
                    <a:pt x="75" y="434"/>
                    <a:pt x="71" y="438"/>
                    <a:pt x="69" y="439"/>
                  </a:cubicBezTo>
                  <a:cubicBezTo>
                    <a:pt x="64" y="436"/>
                    <a:pt x="57" y="436"/>
                    <a:pt x="55" y="428"/>
                  </a:cubicBezTo>
                  <a:cubicBezTo>
                    <a:pt x="54" y="425"/>
                    <a:pt x="51" y="428"/>
                    <a:pt x="49" y="425"/>
                  </a:cubicBezTo>
                  <a:cubicBezTo>
                    <a:pt x="45" y="421"/>
                    <a:pt x="42" y="412"/>
                    <a:pt x="42" y="408"/>
                  </a:cubicBezTo>
                  <a:cubicBezTo>
                    <a:pt x="42" y="408"/>
                    <a:pt x="45" y="404"/>
                    <a:pt x="42" y="400"/>
                  </a:cubicBezTo>
                  <a:cubicBezTo>
                    <a:pt x="40" y="396"/>
                    <a:pt x="37" y="395"/>
                    <a:pt x="38" y="391"/>
                  </a:cubicBezTo>
                  <a:cubicBezTo>
                    <a:pt x="41" y="391"/>
                    <a:pt x="40" y="384"/>
                    <a:pt x="40" y="384"/>
                  </a:cubicBezTo>
                  <a:cubicBezTo>
                    <a:pt x="40" y="382"/>
                    <a:pt x="33" y="370"/>
                    <a:pt x="31" y="368"/>
                  </a:cubicBezTo>
                  <a:cubicBezTo>
                    <a:pt x="26" y="365"/>
                    <a:pt x="20" y="361"/>
                    <a:pt x="14" y="360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0" y="351"/>
                    <a:pt x="0" y="351"/>
                    <a:pt x="0" y="351"/>
                  </a:cubicBezTo>
                  <a:cubicBezTo>
                    <a:pt x="1" y="348"/>
                    <a:pt x="1" y="348"/>
                    <a:pt x="1" y="348"/>
                  </a:cubicBezTo>
                  <a:cubicBezTo>
                    <a:pt x="2" y="346"/>
                    <a:pt x="2" y="346"/>
                    <a:pt x="2" y="346"/>
                  </a:cubicBezTo>
                  <a:cubicBezTo>
                    <a:pt x="1" y="344"/>
                    <a:pt x="1" y="344"/>
                    <a:pt x="1" y="344"/>
                  </a:cubicBezTo>
                  <a:cubicBezTo>
                    <a:pt x="1" y="342"/>
                    <a:pt x="1" y="342"/>
                    <a:pt x="1" y="342"/>
                  </a:cubicBezTo>
                  <a:cubicBezTo>
                    <a:pt x="1" y="339"/>
                    <a:pt x="1" y="339"/>
                    <a:pt x="1" y="339"/>
                  </a:cubicBezTo>
                  <a:cubicBezTo>
                    <a:pt x="1" y="339"/>
                    <a:pt x="0" y="337"/>
                    <a:pt x="0" y="337"/>
                  </a:cubicBezTo>
                  <a:cubicBezTo>
                    <a:pt x="0" y="337"/>
                    <a:pt x="0" y="335"/>
                    <a:pt x="0" y="335"/>
                  </a:cubicBezTo>
                  <a:cubicBezTo>
                    <a:pt x="0" y="335"/>
                    <a:pt x="2" y="334"/>
                    <a:pt x="2" y="334"/>
                  </a:cubicBezTo>
                  <a:cubicBezTo>
                    <a:pt x="2" y="333"/>
                    <a:pt x="4" y="332"/>
                    <a:pt x="4" y="332"/>
                  </a:cubicBezTo>
                  <a:cubicBezTo>
                    <a:pt x="4" y="332"/>
                    <a:pt x="5" y="329"/>
                    <a:pt x="5" y="328"/>
                  </a:cubicBezTo>
                  <a:cubicBezTo>
                    <a:pt x="5" y="328"/>
                    <a:pt x="6" y="327"/>
                    <a:pt x="6" y="327"/>
                  </a:cubicBezTo>
                  <a:cubicBezTo>
                    <a:pt x="9" y="326"/>
                    <a:pt x="9" y="326"/>
                    <a:pt x="9" y="326"/>
                  </a:cubicBezTo>
                  <a:cubicBezTo>
                    <a:pt x="11" y="324"/>
                    <a:pt x="11" y="324"/>
                    <a:pt x="11" y="324"/>
                  </a:cubicBezTo>
                  <a:cubicBezTo>
                    <a:pt x="13" y="323"/>
                    <a:pt x="13" y="323"/>
                    <a:pt x="13" y="323"/>
                  </a:cubicBezTo>
                  <a:cubicBezTo>
                    <a:pt x="15" y="321"/>
                    <a:pt x="15" y="321"/>
                    <a:pt x="15" y="321"/>
                  </a:cubicBezTo>
                  <a:cubicBezTo>
                    <a:pt x="16" y="317"/>
                    <a:pt x="16" y="317"/>
                    <a:pt x="16" y="317"/>
                  </a:cubicBezTo>
                  <a:cubicBezTo>
                    <a:pt x="17" y="316"/>
                    <a:pt x="17" y="316"/>
                    <a:pt x="17" y="316"/>
                  </a:cubicBezTo>
                  <a:cubicBezTo>
                    <a:pt x="17" y="316"/>
                    <a:pt x="20" y="316"/>
                    <a:pt x="20" y="316"/>
                  </a:cubicBezTo>
                  <a:cubicBezTo>
                    <a:pt x="20" y="316"/>
                    <a:pt x="22" y="316"/>
                    <a:pt x="22" y="316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4" y="314"/>
                    <a:pt x="24" y="314"/>
                    <a:pt x="24" y="314"/>
                  </a:cubicBezTo>
                  <a:cubicBezTo>
                    <a:pt x="26" y="316"/>
                    <a:pt x="26" y="316"/>
                    <a:pt x="26" y="316"/>
                  </a:cubicBezTo>
                  <a:cubicBezTo>
                    <a:pt x="26" y="316"/>
                    <a:pt x="27" y="316"/>
                    <a:pt x="28" y="316"/>
                  </a:cubicBezTo>
                  <a:cubicBezTo>
                    <a:pt x="28" y="316"/>
                    <a:pt x="29" y="316"/>
                    <a:pt x="29" y="316"/>
                  </a:cubicBezTo>
                  <a:cubicBezTo>
                    <a:pt x="29" y="313"/>
                    <a:pt x="29" y="313"/>
                    <a:pt x="29" y="313"/>
                  </a:cubicBezTo>
                  <a:cubicBezTo>
                    <a:pt x="33" y="309"/>
                    <a:pt x="33" y="309"/>
                    <a:pt x="33" y="309"/>
                  </a:cubicBezTo>
                  <a:cubicBezTo>
                    <a:pt x="33" y="309"/>
                    <a:pt x="33" y="308"/>
                    <a:pt x="33" y="308"/>
                  </a:cubicBezTo>
                  <a:cubicBezTo>
                    <a:pt x="33" y="308"/>
                    <a:pt x="33" y="307"/>
                    <a:pt x="33" y="307"/>
                  </a:cubicBezTo>
                  <a:cubicBezTo>
                    <a:pt x="32" y="306"/>
                    <a:pt x="31" y="307"/>
                    <a:pt x="31" y="307"/>
                  </a:cubicBezTo>
                  <a:cubicBezTo>
                    <a:pt x="31" y="307"/>
                    <a:pt x="29" y="307"/>
                    <a:pt x="29" y="307"/>
                  </a:cubicBezTo>
                  <a:cubicBezTo>
                    <a:pt x="29" y="307"/>
                    <a:pt x="27" y="307"/>
                    <a:pt x="26" y="307"/>
                  </a:cubicBezTo>
                  <a:cubicBezTo>
                    <a:pt x="26" y="307"/>
                    <a:pt x="26" y="306"/>
                    <a:pt x="26" y="306"/>
                  </a:cubicBezTo>
                  <a:cubicBezTo>
                    <a:pt x="25" y="304"/>
                    <a:pt x="25" y="304"/>
                    <a:pt x="25" y="304"/>
                  </a:cubicBezTo>
                  <a:cubicBezTo>
                    <a:pt x="25" y="304"/>
                    <a:pt x="24" y="302"/>
                    <a:pt x="24" y="301"/>
                  </a:cubicBezTo>
                  <a:cubicBezTo>
                    <a:pt x="24" y="300"/>
                    <a:pt x="24" y="299"/>
                    <a:pt x="24" y="298"/>
                  </a:cubicBezTo>
                  <a:cubicBezTo>
                    <a:pt x="24" y="298"/>
                    <a:pt x="23" y="297"/>
                    <a:pt x="23" y="297"/>
                  </a:cubicBezTo>
                  <a:cubicBezTo>
                    <a:pt x="23" y="297"/>
                    <a:pt x="22" y="296"/>
                    <a:pt x="22" y="295"/>
                  </a:cubicBezTo>
                  <a:cubicBezTo>
                    <a:pt x="22" y="295"/>
                    <a:pt x="21" y="292"/>
                    <a:pt x="21" y="292"/>
                  </a:cubicBezTo>
                  <a:cubicBezTo>
                    <a:pt x="20" y="291"/>
                    <a:pt x="20" y="291"/>
                    <a:pt x="20" y="291"/>
                  </a:cubicBezTo>
                  <a:cubicBezTo>
                    <a:pt x="21" y="290"/>
                    <a:pt x="21" y="290"/>
                    <a:pt x="21" y="290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22" y="288"/>
                    <a:pt x="22" y="288"/>
                    <a:pt x="22" y="288"/>
                  </a:cubicBezTo>
                  <a:cubicBezTo>
                    <a:pt x="21" y="287"/>
                    <a:pt x="21" y="287"/>
                    <a:pt x="21" y="287"/>
                  </a:cubicBezTo>
                  <a:cubicBezTo>
                    <a:pt x="22" y="285"/>
                    <a:pt x="22" y="285"/>
                    <a:pt x="22" y="285"/>
                  </a:cubicBezTo>
                  <a:cubicBezTo>
                    <a:pt x="22" y="285"/>
                    <a:pt x="24" y="284"/>
                    <a:pt x="24" y="284"/>
                  </a:cubicBezTo>
                  <a:cubicBezTo>
                    <a:pt x="24" y="284"/>
                    <a:pt x="26" y="282"/>
                    <a:pt x="26" y="282"/>
                  </a:cubicBezTo>
                  <a:cubicBezTo>
                    <a:pt x="26" y="282"/>
                    <a:pt x="25" y="281"/>
                    <a:pt x="25" y="281"/>
                  </a:cubicBezTo>
                  <a:cubicBezTo>
                    <a:pt x="25" y="281"/>
                    <a:pt x="25" y="279"/>
                    <a:pt x="25" y="279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28" y="275"/>
                    <a:pt x="28" y="275"/>
                    <a:pt x="28" y="275"/>
                  </a:cubicBezTo>
                  <a:cubicBezTo>
                    <a:pt x="31" y="274"/>
                    <a:pt x="31" y="274"/>
                    <a:pt x="31" y="274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3" y="273"/>
                    <a:pt x="33" y="273"/>
                    <a:pt x="33" y="273"/>
                  </a:cubicBezTo>
                  <a:cubicBezTo>
                    <a:pt x="35" y="272"/>
                    <a:pt x="35" y="272"/>
                    <a:pt x="35" y="272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0"/>
                    <a:pt x="38" y="270"/>
                    <a:pt x="38" y="27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41" y="265"/>
                    <a:pt x="41" y="265"/>
                    <a:pt x="41" y="265"/>
                  </a:cubicBezTo>
                  <a:cubicBezTo>
                    <a:pt x="43" y="263"/>
                    <a:pt x="43" y="263"/>
                    <a:pt x="43" y="263"/>
                  </a:cubicBezTo>
                  <a:cubicBezTo>
                    <a:pt x="43" y="261"/>
                    <a:pt x="43" y="261"/>
                    <a:pt x="43" y="261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2" y="260"/>
                    <a:pt x="41" y="258"/>
                    <a:pt x="41" y="257"/>
                  </a:cubicBezTo>
                  <a:cubicBezTo>
                    <a:pt x="41" y="257"/>
                    <a:pt x="40" y="257"/>
                    <a:pt x="40" y="257"/>
                  </a:cubicBezTo>
                  <a:cubicBezTo>
                    <a:pt x="38" y="258"/>
                    <a:pt x="38" y="258"/>
                    <a:pt x="38" y="258"/>
                  </a:cubicBezTo>
                  <a:cubicBezTo>
                    <a:pt x="38" y="258"/>
                    <a:pt x="37" y="257"/>
                    <a:pt x="36" y="257"/>
                  </a:cubicBezTo>
                  <a:cubicBezTo>
                    <a:pt x="36" y="257"/>
                    <a:pt x="36" y="256"/>
                    <a:pt x="36" y="256"/>
                  </a:cubicBezTo>
                  <a:cubicBezTo>
                    <a:pt x="37" y="255"/>
                    <a:pt x="37" y="255"/>
                    <a:pt x="37" y="255"/>
                  </a:cubicBezTo>
                  <a:cubicBezTo>
                    <a:pt x="37" y="253"/>
                    <a:pt x="37" y="253"/>
                    <a:pt x="37" y="253"/>
                  </a:cubicBezTo>
                  <a:cubicBezTo>
                    <a:pt x="35" y="253"/>
                    <a:pt x="35" y="253"/>
                    <a:pt x="35" y="253"/>
                  </a:cubicBezTo>
                  <a:cubicBezTo>
                    <a:pt x="34" y="251"/>
                    <a:pt x="34" y="251"/>
                    <a:pt x="34" y="251"/>
                  </a:cubicBezTo>
                  <a:cubicBezTo>
                    <a:pt x="33" y="249"/>
                    <a:pt x="33" y="249"/>
                    <a:pt x="33" y="249"/>
                  </a:cubicBezTo>
                  <a:cubicBezTo>
                    <a:pt x="33" y="247"/>
                    <a:pt x="33" y="247"/>
                    <a:pt x="33" y="247"/>
                  </a:cubicBezTo>
                  <a:cubicBezTo>
                    <a:pt x="34" y="246"/>
                    <a:pt x="34" y="246"/>
                    <a:pt x="34" y="246"/>
                  </a:cubicBezTo>
                  <a:cubicBezTo>
                    <a:pt x="34" y="245"/>
                    <a:pt x="34" y="245"/>
                    <a:pt x="34" y="245"/>
                  </a:cubicBezTo>
                  <a:cubicBezTo>
                    <a:pt x="33" y="244"/>
                    <a:pt x="33" y="244"/>
                    <a:pt x="33" y="244"/>
                  </a:cubicBezTo>
                  <a:cubicBezTo>
                    <a:pt x="33" y="242"/>
                    <a:pt x="33" y="242"/>
                    <a:pt x="33" y="242"/>
                  </a:cubicBezTo>
                  <a:cubicBezTo>
                    <a:pt x="32" y="240"/>
                    <a:pt x="32" y="240"/>
                    <a:pt x="32" y="240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4" y="238"/>
                    <a:pt x="34" y="238"/>
                    <a:pt x="34" y="238"/>
                  </a:cubicBezTo>
                  <a:cubicBezTo>
                    <a:pt x="34" y="236"/>
                    <a:pt x="34" y="236"/>
                    <a:pt x="34" y="236"/>
                  </a:cubicBezTo>
                  <a:cubicBezTo>
                    <a:pt x="34" y="236"/>
                    <a:pt x="32" y="235"/>
                    <a:pt x="32" y="235"/>
                  </a:cubicBezTo>
                  <a:cubicBezTo>
                    <a:pt x="32" y="235"/>
                    <a:pt x="31" y="233"/>
                    <a:pt x="31" y="233"/>
                  </a:cubicBezTo>
                  <a:cubicBezTo>
                    <a:pt x="31" y="232"/>
                    <a:pt x="31" y="232"/>
                    <a:pt x="31" y="232"/>
                  </a:cubicBezTo>
                  <a:cubicBezTo>
                    <a:pt x="31" y="232"/>
                    <a:pt x="29" y="230"/>
                    <a:pt x="29" y="230"/>
                  </a:cubicBezTo>
                  <a:cubicBezTo>
                    <a:pt x="29" y="230"/>
                    <a:pt x="29" y="228"/>
                    <a:pt x="29" y="228"/>
                  </a:cubicBezTo>
                  <a:cubicBezTo>
                    <a:pt x="29" y="228"/>
                    <a:pt x="28" y="226"/>
                    <a:pt x="28" y="226"/>
                  </a:cubicBezTo>
                  <a:cubicBezTo>
                    <a:pt x="27" y="225"/>
                    <a:pt x="27" y="224"/>
                    <a:pt x="27" y="224"/>
                  </a:cubicBezTo>
                  <a:cubicBezTo>
                    <a:pt x="29" y="224"/>
                    <a:pt x="29" y="224"/>
                    <a:pt x="29" y="224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6"/>
                    <a:pt x="33" y="226"/>
                    <a:pt x="33" y="226"/>
                  </a:cubicBezTo>
                  <a:cubicBezTo>
                    <a:pt x="35" y="226"/>
                    <a:pt x="35" y="226"/>
                    <a:pt x="35" y="226"/>
                  </a:cubicBezTo>
                  <a:cubicBezTo>
                    <a:pt x="38" y="226"/>
                    <a:pt x="38" y="226"/>
                    <a:pt x="38" y="226"/>
                  </a:cubicBezTo>
                  <a:cubicBezTo>
                    <a:pt x="40" y="226"/>
                    <a:pt x="40" y="226"/>
                    <a:pt x="40" y="226"/>
                  </a:cubicBezTo>
                  <a:cubicBezTo>
                    <a:pt x="41" y="226"/>
                    <a:pt x="41" y="226"/>
                    <a:pt x="41" y="226"/>
                  </a:cubicBezTo>
                  <a:cubicBezTo>
                    <a:pt x="41" y="226"/>
                    <a:pt x="42" y="227"/>
                    <a:pt x="42" y="227"/>
                  </a:cubicBezTo>
                  <a:cubicBezTo>
                    <a:pt x="43" y="228"/>
                    <a:pt x="44" y="227"/>
                    <a:pt x="44" y="227"/>
                  </a:cubicBezTo>
                  <a:cubicBezTo>
                    <a:pt x="44" y="228"/>
                    <a:pt x="46" y="228"/>
                    <a:pt x="46" y="228"/>
                  </a:cubicBezTo>
                  <a:cubicBezTo>
                    <a:pt x="46" y="228"/>
                    <a:pt x="47" y="227"/>
                    <a:pt x="48" y="227"/>
                  </a:cubicBezTo>
                  <a:cubicBezTo>
                    <a:pt x="48" y="227"/>
                    <a:pt x="49" y="227"/>
                    <a:pt x="49" y="227"/>
                  </a:cubicBezTo>
                  <a:cubicBezTo>
                    <a:pt x="50" y="226"/>
                    <a:pt x="50" y="226"/>
                    <a:pt x="50" y="226"/>
                  </a:cubicBezTo>
                  <a:cubicBezTo>
                    <a:pt x="50" y="224"/>
                    <a:pt x="50" y="224"/>
                    <a:pt x="50" y="224"/>
                  </a:cubicBezTo>
                  <a:cubicBezTo>
                    <a:pt x="51" y="224"/>
                    <a:pt x="51" y="224"/>
                    <a:pt x="51" y="224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2" y="221"/>
                    <a:pt x="52" y="221"/>
                    <a:pt x="52" y="221"/>
                  </a:cubicBezTo>
                  <a:cubicBezTo>
                    <a:pt x="52" y="220"/>
                    <a:pt x="52" y="220"/>
                    <a:pt x="52" y="220"/>
                  </a:cubicBezTo>
                  <a:cubicBezTo>
                    <a:pt x="54" y="220"/>
                    <a:pt x="54" y="220"/>
                    <a:pt x="54" y="220"/>
                  </a:cubicBezTo>
                  <a:cubicBezTo>
                    <a:pt x="55" y="219"/>
                    <a:pt x="55" y="219"/>
                    <a:pt x="55" y="219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7" y="215"/>
                    <a:pt x="57" y="215"/>
                    <a:pt x="57" y="215"/>
                  </a:cubicBezTo>
                  <a:cubicBezTo>
                    <a:pt x="57" y="215"/>
                    <a:pt x="58" y="213"/>
                    <a:pt x="58" y="213"/>
                  </a:cubicBezTo>
                  <a:cubicBezTo>
                    <a:pt x="58" y="213"/>
                    <a:pt x="59" y="211"/>
                    <a:pt x="59" y="211"/>
                  </a:cubicBezTo>
                  <a:cubicBezTo>
                    <a:pt x="58" y="208"/>
                    <a:pt x="58" y="208"/>
                    <a:pt x="58" y="208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6" y="204"/>
                    <a:pt x="56" y="204"/>
                    <a:pt x="56" y="204"/>
                  </a:cubicBezTo>
                  <a:cubicBezTo>
                    <a:pt x="56" y="204"/>
                    <a:pt x="56" y="203"/>
                    <a:pt x="55" y="203"/>
                  </a:cubicBezTo>
                  <a:cubicBezTo>
                    <a:pt x="55" y="203"/>
                    <a:pt x="55" y="202"/>
                    <a:pt x="55" y="202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199"/>
                    <a:pt x="56" y="199"/>
                    <a:pt x="56" y="199"/>
                  </a:cubicBezTo>
                  <a:cubicBezTo>
                    <a:pt x="57" y="199"/>
                    <a:pt x="57" y="199"/>
                    <a:pt x="57" y="199"/>
                  </a:cubicBezTo>
                  <a:cubicBezTo>
                    <a:pt x="59" y="197"/>
                    <a:pt x="59" y="197"/>
                    <a:pt x="59" y="197"/>
                  </a:cubicBezTo>
                  <a:cubicBezTo>
                    <a:pt x="60" y="197"/>
                    <a:pt x="60" y="197"/>
                    <a:pt x="60" y="197"/>
                  </a:cubicBezTo>
                  <a:cubicBezTo>
                    <a:pt x="62" y="197"/>
                    <a:pt x="62" y="197"/>
                    <a:pt x="62" y="197"/>
                  </a:cubicBezTo>
                  <a:cubicBezTo>
                    <a:pt x="64" y="195"/>
                    <a:pt x="64" y="195"/>
                    <a:pt x="64" y="195"/>
                  </a:cubicBezTo>
                  <a:cubicBezTo>
                    <a:pt x="65" y="195"/>
                    <a:pt x="65" y="195"/>
                    <a:pt x="65" y="195"/>
                  </a:cubicBezTo>
                  <a:cubicBezTo>
                    <a:pt x="66" y="194"/>
                    <a:pt x="66" y="194"/>
                    <a:pt x="66" y="194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6" y="190"/>
                    <a:pt x="66" y="190"/>
                    <a:pt x="66" y="190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2"/>
                    <a:pt x="68" y="182"/>
                    <a:pt x="68" y="182"/>
                  </a:cubicBezTo>
                  <a:cubicBezTo>
                    <a:pt x="67" y="181"/>
                    <a:pt x="67" y="181"/>
                    <a:pt x="67" y="181"/>
                  </a:cubicBezTo>
                  <a:cubicBezTo>
                    <a:pt x="68" y="179"/>
                    <a:pt x="68" y="179"/>
                    <a:pt x="68" y="179"/>
                  </a:cubicBezTo>
                  <a:cubicBezTo>
                    <a:pt x="69" y="178"/>
                    <a:pt x="69" y="178"/>
                    <a:pt x="69" y="178"/>
                  </a:cubicBezTo>
                  <a:cubicBezTo>
                    <a:pt x="69" y="178"/>
                    <a:pt x="70" y="176"/>
                    <a:pt x="70" y="175"/>
                  </a:cubicBezTo>
                  <a:cubicBezTo>
                    <a:pt x="71" y="175"/>
                    <a:pt x="71" y="172"/>
                    <a:pt x="71" y="172"/>
                  </a:cubicBezTo>
                  <a:cubicBezTo>
                    <a:pt x="70" y="170"/>
                    <a:pt x="70" y="170"/>
                    <a:pt x="70" y="170"/>
                  </a:cubicBezTo>
                  <a:cubicBezTo>
                    <a:pt x="70" y="169"/>
                    <a:pt x="70" y="169"/>
                    <a:pt x="70" y="169"/>
                  </a:cubicBezTo>
                  <a:cubicBezTo>
                    <a:pt x="70" y="169"/>
                    <a:pt x="72" y="168"/>
                    <a:pt x="72" y="168"/>
                  </a:cubicBezTo>
                  <a:cubicBezTo>
                    <a:pt x="73" y="168"/>
                    <a:pt x="73" y="165"/>
                    <a:pt x="73" y="165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71" y="162"/>
                    <a:pt x="71" y="161"/>
                  </a:cubicBezTo>
                  <a:cubicBezTo>
                    <a:pt x="71" y="161"/>
                    <a:pt x="71" y="159"/>
                    <a:pt x="71" y="159"/>
                  </a:cubicBezTo>
                  <a:cubicBezTo>
                    <a:pt x="70" y="159"/>
                    <a:pt x="70" y="159"/>
                    <a:pt x="70" y="159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3" y="157"/>
                    <a:pt x="74" y="156"/>
                    <a:pt x="75" y="156"/>
                  </a:cubicBezTo>
                  <a:cubicBezTo>
                    <a:pt x="75" y="155"/>
                    <a:pt x="77" y="155"/>
                    <a:pt x="77" y="155"/>
                  </a:cubicBezTo>
                  <a:cubicBezTo>
                    <a:pt x="78" y="152"/>
                    <a:pt x="78" y="152"/>
                    <a:pt x="78" y="152"/>
                  </a:cubicBezTo>
                  <a:cubicBezTo>
                    <a:pt x="82" y="150"/>
                    <a:pt x="82" y="150"/>
                    <a:pt x="82" y="150"/>
                  </a:cubicBezTo>
                  <a:cubicBezTo>
                    <a:pt x="82" y="149"/>
                    <a:pt x="82" y="149"/>
                    <a:pt x="82" y="149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90" y="147"/>
                    <a:pt x="90" y="147"/>
                    <a:pt x="90" y="147"/>
                  </a:cubicBezTo>
                  <a:cubicBezTo>
                    <a:pt x="92" y="146"/>
                    <a:pt x="92" y="146"/>
                    <a:pt x="92" y="146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97" y="142"/>
                    <a:pt x="97" y="142"/>
                    <a:pt x="97" y="142"/>
                  </a:cubicBezTo>
                  <a:cubicBezTo>
                    <a:pt x="98" y="142"/>
                    <a:pt x="98" y="142"/>
                    <a:pt x="98" y="142"/>
                  </a:cubicBezTo>
                  <a:cubicBezTo>
                    <a:pt x="98" y="142"/>
                    <a:pt x="100" y="141"/>
                    <a:pt x="100" y="141"/>
                  </a:cubicBezTo>
                  <a:cubicBezTo>
                    <a:pt x="100" y="141"/>
                    <a:pt x="101" y="139"/>
                    <a:pt x="101" y="139"/>
                  </a:cubicBezTo>
                  <a:cubicBezTo>
                    <a:pt x="103" y="138"/>
                    <a:pt x="103" y="138"/>
                    <a:pt x="103" y="138"/>
                  </a:cubicBezTo>
                  <a:cubicBezTo>
                    <a:pt x="105" y="135"/>
                    <a:pt x="105" y="135"/>
                    <a:pt x="105" y="135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5" y="130"/>
                    <a:pt x="103" y="128"/>
                    <a:pt x="102" y="128"/>
                  </a:cubicBezTo>
                  <a:cubicBezTo>
                    <a:pt x="102" y="127"/>
                    <a:pt x="100" y="126"/>
                    <a:pt x="100" y="126"/>
                  </a:cubicBezTo>
                  <a:cubicBezTo>
                    <a:pt x="100" y="126"/>
                    <a:pt x="97" y="125"/>
                    <a:pt x="97" y="125"/>
                  </a:cubicBezTo>
                  <a:cubicBezTo>
                    <a:pt x="97" y="125"/>
                    <a:pt x="95" y="126"/>
                    <a:pt x="95" y="12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4" y="125"/>
                    <a:pt x="93" y="123"/>
                    <a:pt x="94" y="123"/>
                  </a:cubicBezTo>
                  <a:cubicBezTo>
                    <a:pt x="94" y="123"/>
                    <a:pt x="94" y="122"/>
                    <a:pt x="94" y="122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95" y="119"/>
                    <a:pt x="96" y="118"/>
                    <a:pt x="96" y="117"/>
                  </a:cubicBezTo>
                  <a:cubicBezTo>
                    <a:pt x="96" y="117"/>
                    <a:pt x="97" y="115"/>
                    <a:pt x="97" y="115"/>
                  </a:cubicBezTo>
                  <a:cubicBezTo>
                    <a:pt x="97" y="115"/>
                    <a:pt x="96" y="114"/>
                    <a:pt x="96" y="113"/>
                  </a:cubicBezTo>
                  <a:cubicBezTo>
                    <a:pt x="95" y="113"/>
                    <a:pt x="95" y="113"/>
                    <a:pt x="96" y="112"/>
                  </a:cubicBezTo>
                  <a:cubicBezTo>
                    <a:pt x="96" y="112"/>
                    <a:pt x="96" y="111"/>
                    <a:pt x="96" y="111"/>
                  </a:cubicBezTo>
                  <a:cubicBezTo>
                    <a:pt x="96" y="111"/>
                    <a:pt x="96" y="109"/>
                    <a:pt x="95" y="109"/>
                  </a:cubicBezTo>
                  <a:cubicBezTo>
                    <a:pt x="95" y="109"/>
                    <a:pt x="93" y="110"/>
                    <a:pt x="93" y="110"/>
                  </a:cubicBezTo>
                  <a:cubicBezTo>
                    <a:pt x="93" y="110"/>
                    <a:pt x="90" y="109"/>
                    <a:pt x="90" y="109"/>
                  </a:cubicBezTo>
                  <a:cubicBezTo>
                    <a:pt x="90" y="109"/>
                    <a:pt x="89" y="108"/>
                    <a:pt x="89" y="108"/>
                  </a:cubicBezTo>
                  <a:cubicBezTo>
                    <a:pt x="89" y="108"/>
                    <a:pt x="89" y="106"/>
                    <a:pt x="88" y="106"/>
                  </a:cubicBezTo>
                  <a:cubicBezTo>
                    <a:pt x="87" y="105"/>
                    <a:pt x="87" y="106"/>
                    <a:pt x="87" y="106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6" y="108"/>
                    <a:pt x="84" y="108"/>
                    <a:pt x="83" y="107"/>
                  </a:cubicBezTo>
                  <a:cubicBezTo>
                    <a:pt x="83" y="107"/>
                    <a:pt x="82" y="107"/>
                    <a:pt x="82" y="107"/>
                  </a:cubicBezTo>
                  <a:cubicBezTo>
                    <a:pt x="81" y="107"/>
                    <a:pt x="81" y="106"/>
                    <a:pt x="81" y="105"/>
                  </a:cubicBezTo>
                  <a:cubicBezTo>
                    <a:pt x="80" y="104"/>
                    <a:pt x="80" y="105"/>
                    <a:pt x="79" y="105"/>
                  </a:cubicBezTo>
                  <a:cubicBezTo>
                    <a:pt x="79" y="105"/>
                    <a:pt x="77" y="105"/>
                    <a:pt x="77" y="105"/>
                  </a:cubicBezTo>
                  <a:cubicBezTo>
                    <a:pt x="77" y="105"/>
                    <a:pt x="75" y="103"/>
                    <a:pt x="75" y="103"/>
                  </a:cubicBezTo>
                  <a:cubicBezTo>
                    <a:pt x="75" y="102"/>
                    <a:pt x="74" y="102"/>
                    <a:pt x="74" y="102"/>
                  </a:cubicBezTo>
                  <a:cubicBezTo>
                    <a:pt x="74" y="102"/>
                    <a:pt x="72" y="103"/>
                    <a:pt x="72" y="103"/>
                  </a:cubicBezTo>
                  <a:cubicBezTo>
                    <a:pt x="72" y="104"/>
                    <a:pt x="72" y="104"/>
                    <a:pt x="72" y="104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68" y="109"/>
                    <a:pt x="68" y="109"/>
                    <a:pt x="68" y="109"/>
                  </a:cubicBezTo>
                  <a:cubicBezTo>
                    <a:pt x="68" y="109"/>
                    <a:pt x="65" y="109"/>
                    <a:pt x="64" y="108"/>
                  </a:cubicBezTo>
                  <a:cubicBezTo>
                    <a:pt x="64" y="108"/>
                    <a:pt x="64" y="108"/>
                    <a:pt x="63" y="108"/>
                  </a:cubicBezTo>
                  <a:cubicBezTo>
                    <a:pt x="62" y="108"/>
                    <a:pt x="62" y="108"/>
                    <a:pt x="62" y="108"/>
                  </a:cubicBezTo>
                  <a:cubicBezTo>
                    <a:pt x="62" y="108"/>
                    <a:pt x="60" y="109"/>
                    <a:pt x="60" y="109"/>
                  </a:cubicBezTo>
                  <a:cubicBezTo>
                    <a:pt x="60" y="109"/>
                    <a:pt x="59" y="107"/>
                    <a:pt x="59" y="107"/>
                  </a:cubicBezTo>
                  <a:cubicBezTo>
                    <a:pt x="59" y="107"/>
                    <a:pt x="57" y="106"/>
                    <a:pt x="57" y="105"/>
                  </a:cubicBezTo>
                  <a:cubicBezTo>
                    <a:pt x="57" y="105"/>
                    <a:pt x="57" y="106"/>
                    <a:pt x="57" y="106"/>
                  </a:cubicBezTo>
                  <a:cubicBezTo>
                    <a:pt x="57" y="106"/>
                    <a:pt x="56" y="107"/>
                    <a:pt x="55" y="107"/>
                  </a:cubicBezTo>
                  <a:cubicBezTo>
                    <a:pt x="55" y="107"/>
                    <a:pt x="54" y="108"/>
                    <a:pt x="54" y="108"/>
                  </a:cubicBezTo>
                  <a:cubicBezTo>
                    <a:pt x="53" y="108"/>
                    <a:pt x="54" y="106"/>
                    <a:pt x="54" y="106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55" y="104"/>
                    <a:pt x="52" y="103"/>
                    <a:pt x="52" y="102"/>
                  </a:cubicBezTo>
                  <a:cubicBezTo>
                    <a:pt x="51" y="102"/>
                    <a:pt x="50" y="101"/>
                    <a:pt x="50" y="101"/>
                  </a:cubicBezTo>
                  <a:cubicBezTo>
                    <a:pt x="50" y="101"/>
                    <a:pt x="48" y="101"/>
                    <a:pt x="48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5" y="101"/>
                    <a:pt x="44" y="102"/>
                  </a:cubicBezTo>
                  <a:cubicBezTo>
                    <a:pt x="44" y="102"/>
                    <a:pt x="43" y="103"/>
                    <a:pt x="42" y="102"/>
                  </a:cubicBezTo>
                  <a:cubicBezTo>
                    <a:pt x="42" y="102"/>
                    <a:pt x="43" y="100"/>
                    <a:pt x="43" y="100"/>
                  </a:cubicBezTo>
                  <a:cubicBezTo>
                    <a:pt x="43" y="100"/>
                    <a:pt x="43" y="98"/>
                    <a:pt x="43" y="98"/>
                  </a:cubicBezTo>
                  <a:cubicBezTo>
                    <a:pt x="42" y="97"/>
                    <a:pt x="42" y="99"/>
                    <a:pt x="42" y="99"/>
                  </a:cubicBezTo>
                  <a:cubicBezTo>
                    <a:pt x="42" y="99"/>
                    <a:pt x="40" y="100"/>
                    <a:pt x="39" y="101"/>
                  </a:cubicBezTo>
                  <a:cubicBezTo>
                    <a:pt x="39" y="101"/>
                    <a:pt x="38" y="101"/>
                    <a:pt x="38" y="101"/>
                  </a:cubicBezTo>
                  <a:cubicBezTo>
                    <a:pt x="37" y="101"/>
                    <a:pt x="36" y="102"/>
                    <a:pt x="34" y="102"/>
                  </a:cubicBezTo>
                  <a:cubicBezTo>
                    <a:pt x="33" y="102"/>
                    <a:pt x="32" y="103"/>
                    <a:pt x="32" y="102"/>
                  </a:cubicBezTo>
                  <a:cubicBezTo>
                    <a:pt x="31" y="102"/>
                    <a:pt x="31" y="101"/>
                    <a:pt x="31" y="101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1" y="99"/>
                    <a:pt x="30" y="98"/>
                    <a:pt x="30" y="97"/>
                  </a:cubicBezTo>
                  <a:cubicBezTo>
                    <a:pt x="29" y="96"/>
                    <a:pt x="30" y="96"/>
                    <a:pt x="30" y="95"/>
                  </a:cubicBezTo>
                  <a:cubicBezTo>
                    <a:pt x="30" y="95"/>
                    <a:pt x="32" y="94"/>
                    <a:pt x="32" y="94"/>
                  </a:cubicBezTo>
                  <a:cubicBezTo>
                    <a:pt x="32" y="93"/>
                    <a:pt x="33" y="93"/>
                    <a:pt x="33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89"/>
                    <a:pt x="36" y="88"/>
                  </a:cubicBezTo>
                  <a:cubicBezTo>
                    <a:pt x="36" y="88"/>
                    <a:pt x="36" y="88"/>
                    <a:pt x="35" y="88"/>
                  </a:cubicBezTo>
                  <a:cubicBezTo>
                    <a:pt x="34" y="88"/>
                    <a:pt x="34" y="87"/>
                    <a:pt x="34" y="87"/>
                  </a:cubicBezTo>
                  <a:cubicBezTo>
                    <a:pt x="34" y="87"/>
                    <a:pt x="34" y="85"/>
                    <a:pt x="34" y="85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7" y="85"/>
                    <a:pt x="26" y="85"/>
                  </a:cubicBezTo>
                  <a:cubicBezTo>
                    <a:pt x="26" y="85"/>
                    <a:pt x="24" y="85"/>
                    <a:pt x="24" y="85"/>
                  </a:cubicBezTo>
                  <a:cubicBezTo>
                    <a:pt x="23" y="85"/>
                    <a:pt x="22" y="84"/>
                    <a:pt x="22" y="84"/>
                  </a:cubicBezTo>
                  <a:cubicBezTo>
                    <a:pt x="22" y="84"/>
                    <a:pt x="18" y="85"/>
                    <a:pt x="18" y="85"/>
                  </a:cubicBezTo>
                  <a:cubicBezTo>
                    <a:pt x="18" y="85"/>
                    <a:pt x="17" y="85"/>
                    <a:pt x="17" y="85"/>
                  </a:cubicBezTo>
                  <a:cubicBezTo>
                    <a:pt x="15" y="85"/>
                    <a:pt x="15" y="85"/>
                    <a:pt x="15" y="85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1" y="88"/>
                    <a:pt x="11" y="88"/>
                  </a:cubicBezTo>
                  <a:cubicBezTo>
                    <a:pt x="10" y="88"/>
                    <a:pt x="9" y="88"/>
                    <a:pt x="8" y="88"/>
                  </a:cubicBezTo>
                  <a:cubicBezTo>
                    <a:pt x="8" y="88"/>
                    <a:pt x="7" y="89"/>
                    <a:pt x="7" y="89"/>
                  </a:cubicBezTo>
                  <a:cubicBezTo>
                    <a:pt x="7" y="89"/>
                    <a:pt x="5" y="90"/>
                    <a:pt x="4" y="91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6" y="77"/>
                    <a:pt x="6" y="77"/>
                    <a:pt x="6" y="77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59"/>
                    <a:pt x="19" y="53"/>
                    <a:pt x="18" y="50"/>
                  </a:cubicBezTo>
                  <a:cubicBezTo>
                    <a:pt x="17" y="47"/>
                    <a:pt x="6" y="56"/>
                    <a:pt x="5" y="53"/>
                  </a:cubicBezTo>
                  <a:cubicBezTo>
                    <a:pt x="4" y="47"/>
                    <a:pt x="7" y="48"/>
                    <a:pt x="12" y="43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3" y="30"/>
                    <a:pt x="3" y="27"/>
                  </a:cubicBezTo>
                  <a:cubicBezTo>
                    <a:pt x="3" y="24"/>
                    <a:pt x="6" y="23"/>
                    <a:pt x="6" y="23"/>
                  </a:cubicBezTo>
                  <a:cubicBezTo>
                    <a:pt x="9" y="22"/>
                    <a:pt x="11" y="20"/>
                    <a:pt x="14" y="18"/>
                  </a:cubicBezTo>
                  <a:cubicBezTo>
                    <a:pt x="17" y="14"/>
                    <a:pt x="20" y="16"/>
                    <a:pt x="22" y="15"/>
                  </a:cubicBezTo>
                  <a:cubicBezTo>
                    <a:pt x="25" y="13"/>
                    <a:pt x="25" y="15"/>
                    <a:pt x="35" y="17"/>
                  </a:cubicBezTo>
                  <a:cubicBezTo>
                    <a:pt x="37" y="16"/>
                    <a:pt x="41" y="16"/>
                    <a:pt x="42" y="14"/>
                  </a:cubicBezTo>
                  <a:cubicBezTo>
                    <a:pt x="44" y="12"/>
                    <a:pt x="47" y="13"/>
                    <a:pt x="47" y="9"/>
                  </a:cubicBezTo>
                  <a:cubicBezTo>
                    <a:pt x="48" y="3"/>
                    <a:pt x="59" y="7"/>
                    <a:pt x="59" y="5"/>
                  </a:cubicBezTo>
                  <a:cubicBezTo>
                    <a:pt x="61" y="5"/>
                    <a:pt x="63" y="0"/>
                    <a:pt x="68" y="0"/>
                  </a:cubicBezTo>
                  <a:cubicBezTo>
                    <a:pt x="72" y="1"/>
                    <a:pt x="73" y="2"/>
                    <a:pt x="76" y="3"/>
                  </a:cubicBezTo>
                  <a:cubicBezTo>
                    <a:pt x="87" y="10"/>
                    <a:pt x="82" y="14"/>
                    <a:pt x="95" y="18"/>
                  </a:cubicBezTo>
                  <a:cubicBezTo>
                    <a:pt x="106" y="21"/>
                    <a:pt x="119" y="24"/>
                    <a:pt x="130" y="26"/>
                  </a:cubicBezTo>
                  <a:cubicBezTo>
                    <a:pt x="140" y="27"/>
                    <a:pt x="150" y="31"/>
                    <a:pt x="160" y="35"/>
                  </a:cubicBezTo>
                  <a:cubicBezTo>
                    <a:pt x="160" y="35"/>
                    <a:pt x="197" y="52"/>
                    <a:pt x="198" y="53"/>
                  </a:cubicBezTo>
                  <a:cubicBezTo>
                    <a:pt x="199" y="53"/>
                    <a:pt x="220" y="49"/>
                    <a:pt x="221" y="49"/>
                  </a:cubicBezTo>
                  <a:cubicBezTo>
                    <a:pt x="222" y="49"/>
                    <a:pt x="229" y="50"/>
                    <a:pt x="234" y="53"/>
                  </a:cubicBezTo>
                  <a:cubicBezTo>
                    <a:pt x="237" y="56"/>
                    <a:pt x="247" y="63"/>
                    <a:pt x="247" y="63"/>
                  </a:cubicBezTo>
                  <a:cubicBezTo>
                    <a:pt x="249" y="64"/>
                    <a:pt x="261" y="62"/>
                    <a:pt x="261" y="62"/>
                  </a:cubicBezTo>
                  <a:cubicBezTo>
                    <a:pt x="269" y="62"/>
                    <a:pt x="276" y="71"/>
                    <a:pt x="280" y="72"/>
                  </a:cubicBezTo>
                  <a:cubicBezTo>
                    <a:pt x="285" y="73"/>
                    <a:pt x="297" y="67"/>
                    <a:pt x="302" y="72"/>
                  </a:cubicBezTo>
                  <a:cubicBezTo>
                    <a:pt x="302" y="72"/>
                    <a:pt x="312" y="73"/>
                    <a:pt x="313" y="78"/>
                  </a:cubicBezTo>
                  <a:cubicBezTo>
                    <a:pt x="315" y="83"/>
                    <a:pt x="319" y="91"/>
                    <a:pt x="319" y="91"/>
                  </a:cubicBezTo>
                  <a:cubicBezTo>
                    <a:pt x="332" y="96"/>
                    <a:pt x="332" y="96"/>
                    <a:pt x="332" y="96"/>
                  </a:cubicBezTo>
                  <a:cubicBezTo>
                    <a:pt x="332" y="96"/>
                    <a:pt x="339" y="102"/>
                    <a:pt x="340" y="104"/>
                  </a:cubicBezTo>
                  <a:cubicBezTo>
                    <a:pt x="341" y="105"/>
                    <a:pt x="356" y="110"/>
                    <a:pt x="356" y="110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81" y="119"/>
                    <a:pt x="381" y="119"/>
                    <a:pt x="381" y="119"/>
                  </a:cubicBezTo>
                  <a:cubicBezTo>
                    <a:pt x="391" y="121"/>
                    <a:pt x="391" y="121"/>
                    <a:pt x="391" y="121"/>
                  </a:cubicBezTo>
                  <a:cubicBezTo>
                    <a:pt x="396" y="115"/>
                    <a:pt x="396" y="115"/>
                    <a:pt x="396" y="115"/>
                  </a:cubicBezTo>
                  <a:cubicBezTo>
                    <a:pt x="396" y="115"/>
                    <a:pt x="421" y="127"/>
                    <a:pt x="422" y="127"/>
                  </a:cubicBezTo>
                  <a:cubicBezTo>
                    <a:pt x="423" y="127"/>
                    <a:pt x="423" y="130"/>
                    <a:pt x="424" y="133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3" y="134"/>
                    <a:pt x="424" y="134"/>
                    <a:pt x="424" y="134"/>
                  </a:cubicBezTo>
                  <a:cubicBezTo>
                    <a:pt x="424" y="134"/>
                    <a:pt x="424" y="134"/>
                    <a:pt x="424" y="134"/>
                  </a:cubicBezTo>
                  <a:cubicBezTo>
                    <a:pt x="424" y="136"/>
                    <a:pt x="424" y="136"/>
                    <a:pt x="424" y="136"/>
                  </a:cubicBezTo>
                  <a:cubicBezTo>
                    <a:pt x="424" y="137"/>
                    <a:pt x="424" y="137"/>
                    <a:pt x="424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3" y="137"/>
                    <a:pt x="423" y="137"/>
                    <a:pt x="423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9"/>
                  </a:cubicBezTo>
                  <a:cubicBezTo>
                    <a:pt x="424" y="139"/>
                    <a:pt x="424" y="139"/>
                    <a:pt x="424" y="139"/>
                  </a:cubicBezTo>
                  <a:cubicBezTo>
                    <a:pt x="424" y="139"/>
                    <a:pt x="424" y="139"/>
                    <a:pt x="424" y="140"/>
                  </a:cubicBezTo>
                  <a:cubicBezTo>
                    <a:pt x="424" y="140"/>
                    <a:pt x="424" y="140"/>
                    <a:pt x="424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5" y="140"/>
                    <a:pt x="425" y="140"/>
                  </a:cubicBezTo>
                  <a:cubicBezTo>
                    <a:pt x="425" y="140"/>
                    <a:pt x="426" y="141"/>
                    <a:pt x="426" y="141"/>
                  </a:cubicBezTo>
                  <a:cubicBezTo>
                    <a:pt x="426" y="141"/>
                    <a:pt x="426" y="141"/>
                    <a:pt x="427" y="141"/>
                  </a:cubicBezTo>
                  <a:cubicBezTo>
                    <a:pt x="427" y="141"/>
                    <a:pt x="427" y="141"/>
                    <a:pt x="428" y="141"/>
                  </a:cubicBezTo>
                  <a:cubicBezTo>
                    <a:pt x="428" y="141"/>
                    <a:pt x="428" y="141"/>
                    <a:pt x="428" y="141"/>
                  </a:cubicBezTo>
                  <a:cubicBezTo>
                    <a:pt x="428" y="141"/>
                    <a:pt x="429" y="141"/>
                    <a:pt x="429" y="140"/>
                  </a:cubicBezTo>
                  <a:cubicBezTo>
                    <a:pt x="442" y="143"/>
                    <a:pt x="442" y="143"/>
                    <a:pt x="442" y="143"/>
                  </a:cubicBezTo>
                  <a:cubicBezTo>
                    <a:pt x="445" y="144"/>
                    <a:pt x="445" y="146"/>
                    <a:pt x="448" y="148"/>
                  </a:cubicBezTo>
                  <a:cubicBezTo>
                    <a:pt x="456" y="145"/>
                    <a:pt x="456" y="145"/>
                    <a:pt x="456" y="145"/>
                  </a:cubicBezTo>
                  <a:cubicBezTo>
                    <a:pt x="466" y="152"/>
                    <a:pt x="466" y="152"/>
                    <a:pt x="466" y="152"/>
                  </a:cubicBezTo>
                  <a:cubicBezTo>
                    <a:pt x="475" y="149"/>
                    <a:pt x="475" y="149"/>
                    <a:pt x="475" y="149"/>
                  </a:cubicBezTo>
                  <a:cubicBezTo>
                    <a:pt x="484" y="149"/>
                    <a:pt x="484" y="149"/>
                    <a:pt x="484" y="149"/>
                  </a:cubicBezTo>
                  <a:cubicBezTo>
                    <a:pt x="484" y="147"/>
                    <a:pt x="505" y="149"/>
                    <a:pt x="496" y="159"/>
                  </a:cubicBezTo>
                  <a:close/>
                  <a:moveTo>
                    <a:pt x="506" y="281"/>
                  </a:moveTo>
                  <a:cubicBezTo>
                    <a:pt x="506" y="281"/>
                    <a:pt x="506" y="281"/>
                    <a:pt x="506" y="281"/>
                  </a:cubicBezTo>
                  <a:cubicBezTo>
                    <a:pt x="506" y="287"/>
                    <a:pt x="516" y="285"/>
                    <a:pt x="521" y="289"/>
                  </a:cubicBezTo>
                  <a:cubicBezTo>
                    <a:pt x="523" y="291"/>
                    <a:pt x="521" y="296"/>
                    <a:pt x="524" y="297"/>
                  </a:cubicBezTo>
                  <a:cubicBezTo>
                    <a:pt x="531" y="303"/>
                    <a:pt x="534" y="292"/>
                    <a:pt x="528" y="281"/>
                  </a:cubicBezTo>
                  <a:cubicBezTo>
                    <a:pt x="526" y="279"/>
                    <a:pt x="523" y="279"/>
                    <a:pt x="520" y="279"/>
                  </a:cubicBezTo>
                  <a:cubicBezTo>
                    <a:pt x="515" y="279"/>
                    <a:pt x="505" y="276"/>
                    <a:pt x="506" y="281"/>
                  </a:cubicBezTo>
                  <a:close/>
                  <a:moveTo>
                    <a:pt x="448" y="300"/>
                  </a:moveTo>
                  <a:cubicBezTo>
                    <a:pt x="448" y="300"/>
                    <a:pt x="448" y="300"/>
                    <a:pt x="448" y="300"/>
                  </a:cubicBezTo>
                  <a:cubicBezTo>
                    <a:pt x="452" y="301"/>
                    <a:pt x="456" y="297"/>
                    <a:pt x="460" y="299"/>
                  </a:cubicBezTo>
                  <a:cubicBezTo>
                    <a:pt x="462" y="301"/>
                    <a:pt x="461" y="305"/>
                    <a:pt x="462" y="308"/>
                  </a:cubicBezTo>
                  <a:cubicBezTo>
                    <a:pt x="456" y="314"/>
                    <a:pt x="472" y="313"/>
                    <a:pt x="473" y="313"/>
                  </a:cubicBezTo>
                  <a:cubicBezTo>
                    <a:pt x="473" y="315"/>
                    <a:pt x="475" y="320"/>
                    <a:pt x="478" y="318"/>
                  </a:cubicBezTo>
                  <a:cubicBezTo>
                    <a:pt x="494" y="299"/>
                    <a:pt x="494" y="299"/>
                    <a:pt x="494" y="299"/>
                  </a:cubicBezTo>
                  <a:cubicBezTo>
                    <a:pt x="494" y="297"/>
                    <a:pt x="493" y="295"/>
                    <a:pt x="491" y="295"/>
                  </a:cubicBezTo>
                  <a:cubicBezTo>
                    <a:pt x="487" y="293"/>
                    <a:pt x="482" y="297"/>
                    <a:pt x="479" y="295"/>
                  </a:cubicBezTo>
                  <a:cubicBezTo>
                    <a:pt x="476" y="293"/>
                    <a:pt x="482" y="285"/>
                    <a:pt x="478" y="282"/>
                  </a:cubicBezTo>
                  <a:cubicBezTo>
                    <a:pt x="470" y="276"/>
                    <a:pt x="467" y="283"/>
                    <a:pt x="461" y="288"/>
                  </a:cubicBezTo>
                  <a:cubicBezTo>
                    <a:pt x="457" y="291"/>
                    <a:pt x="451" y="292"/>
                    <a:pt x="447" y="296"/>
                  </a:cubicBezTo>
                  <a:cubicBezTo>
                    <a:pt x="446" y="297"/>
                    <a:pt x="447" y="300"/>
                    <a:pt x="448" y="300"/>
                  </a:cubicBezTo>
                  <a:close/>
                  <a:moveTo>
                    <a:pt x="391" y="329"/>
                  </a:moveTo>
                  <a:cubicBezTo>
                    <a:pt x="391" y="329"/>
                    <a:pt x="391" y="329"/>
                    <a:pt x="391" y="329"/>
                  </a:cubicBezTo>
                  <a:cubicBezTo>
                    <a:pt x="387" y="332"/>
                    <a:pt x="395" y="337"/>
                    <a:pt x="397" y="337"/>
                  </a:cubicBezTo>
                  <a:cubicBezTo>
                    <a:pt x="399" y="337"/>
                    <a:pt x="411" y="329"/>
                    <a:pt x="411" y="326"/>
                  </a:cubicBezTo>
                  <a:cubicBezTo>
                    <a:pt x="410" y="322"/>
                    <a:pt x="405" y="321"/>
                    <a:pt x="402" y="321"/>
                  </a:cubicBezTo>
                  <a:cubicBezTo>
                    <a:pt x="398" y="322"/>
                    <a:pt x="394" y="326"/>
                    <a:pt x="391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3" name="Freeform 146"/>
            <p:cNvSpPr>
              <a:spLocks noEditPoints="1"/>
            </p:cNvSpPr>
            <p:nvPr/>
          </p:nvSpPr>
          <p:spPr bwMode="auto">
            <a:xfrm>
              <a:off x="5359964" y="5285104"/>
              <a:ext cx="969409" cy="875243"/>
            </a:xfrm>
            <a:custGeom>
              <a:avLst/>
              <a:gdLst>
                <a:gd name="T0" fmla="*/ 263 w 408"/>
                <a:gd name="T1" fmla="*/ 27 h 380"/>
                <a:gd name="T2" fmla="*/ 184 w 408"/>
                <a:gd name="T3" fmla="*/ 62 h 380"/>
                <a:gd name="T4" fmla="*/ 187 w 408"/>
                <a:gd name="T5" fmla="*/ 95 h 380"/>
                <a:gd name="T6" fmla="*/ 179 w 408"/>
                <a:gd name="T7" fmla="*/ 109 h 380"/>
                <a:gd name="T8" fmla="*/ 168 w 408"/>
                <a:gd name="T9" fmla="*/ 118 h 380"/>
                <a:gd name="T10" fmla="*/ 128 w 408"/>
                <a:gd name="T11" fmla="*/ 89 h 380"/>
                <a:gd name="T12" fmla="*/ 141 w 408"/>
                <a:gd name="T13" fmla="*/ 145 h 380"/>
                <a:gd name="T14" fmla="*/ 138 w 408"/>
                <a:gd name="T15" fmla="*/ 166 h 380"/>
                <a:gd name="T16" fmla="*/ 152 w 408"/>
                <a:gd name="T17" fmla="*/ 191 h 380"/>
                <a:gd name="T18" fmla="*/ 154 w 408"/>
                <a:gd name="T19" fmla="*/ 172 h 380"/>
                <a:gd name="T20" fmla="*/ 214 w 408"/>
                <a:gd name="T21" fmla="*/ 210 h 380"/>
                <a:gd name="T22" fmla="*/ 187 w 408"/>
                <a:gd name="T23" fmla="*/ 202 h 380"/>
                <a:gd name="T24" fmla="*/ 199 w 408"/>
                <a:gd name="T25" fmla="*/ 234 h 380"/>
                <a:gd name="T26" fmla="*/ 164 w 408"/>
                <a:gd name="T27" fmla="*/ 233 h 380"/>
                <a:gd name="T28" fmla="*/ 133 w 408"/>
                <a:gd name="T29" fmla="*/ 212 h 380"/>
                <a:gd name="T30" fmla="*/ 67 w 408"/>
                <a:gd name="T31" fmla="*/ 211 h 380"/>
                <a:gd name="T32" fmla="*/ 71 w 408"/>
                <a:gd name="T33" fmla="*/ 194 h 380"/>
                <a:gd name="T34" fmla="*/ 29 w 408"/>
                <a:gd name="T35" fmla="*/ 157 h 380"/>
                <a:gd name="T36" fmla="*/ 89 w 408"/>
                <a:gd name="T37" fmla="*/ 68 h 380"/>
                <a:gd name="T38" fmla="*/ 195 w 408"/>
                <a:gd name="T39" fmla="*/ 33 h 380"/>
                <a:gd name="T40" fmla="*/ 184 w 408"/>
                <a:gd name="T41" fmla="*/ 157 h 380"/>
                <a:gd name="T42" fmla="*/ 353 w 408"/>
                <a:gd name="T43" fmla="*/ 252 h 380"/>
                <a:gd name="T44" fmla="*/ 393 w 408"/>
                <a:gd name="T45" fmla="*/ 297 h 380"/>
                <a:gd name="T46" fmla="*/ 373 w 408"/>
                <a:gd name="T47" fmla="*/ 331 h 380"/>
                <a:gd name="T48" fmla="*/ 370 w 408"/>
                <a:gd name="T49" fmla="*/ 333 h 380"/>
                <a:gd name="T50" fmla="*/ 174 w 408"/>
                <a:gd name="T51" fmla="*/ 162 h 380"/>
                <a:gd name="T52" fmla="*/ 262 w 408"/>
                <a:gd name="T53" fmla="*/ 176 h 380"/>
                <a:gd name="T54" fmla="*/ 205 w 408"/>
                <a:gd name="T55" fmla="*/ 72 h 380"/>
                <a:gd name="T56" fmla="*/ 233 w 408"/>
                <a:gd name="T57" fmla="*/ 105 h 380"/>
                <a:gd name="T58" fmla="*/ 281 w 408"/>
                <a:gd name="T59" fmla="*/ 146 h 380"/>
                <a:gd name="T60" fmla="*/ 277 w 408"/>
                <a:gd name="T61" fmla="*/ 131 h 380"/>
                <a:gd name="T62" fmla="*/ 288 w 408"/>
                <a:gd name="T63" fmla="*/ 180 h 380"/>
                <a:gd name="T64" fmla="*/ 288 w 408"/>
                <a:gd name="T65" fmla="*/ 190 h 380"/>
                <a:gd name="T66" fmla="*/ 315 w 408"/>
                <a:gd name="T67" fmla="*/ 213 h 380"/>
                <a:gd name="T68" fmla="*/ 279 w 408"/>
                <a:gd name="T69" fmla="*/ 292 h 380"/>
                <a:gd name="T70" fmla="*/ 239 w 408"/>
                <a:gd name="T71" fmla="*/ 288 h 380"/>
                <a:gd name="T72" fmla="*/ 255 w 408"/>
                <a:gd name="T73" fmla="*/ 287 h 380"/>
                <a:gd name="T74" fmla="*/ 274 w 408"/>
                <a:gd name="T75" fmla="*/ 259 h 380"/>
                <a:gd name="T76" fmla="*/ 267 w 408"/>
                <a:gd name="T77" fmla="*/ 256 h 380"/>
                <a:gd name="T78" fmla="*/ 244 w 408"/>
                <a:gd name="T79" fmla="*/ 271 h 380"/>
                <a:gd name="T80" fmla="*/ 219 w 408"/>
                <a:gd name="T81" fmla="*/ 239 h 380"/>
                <a:gd name="T82" fmla="*/ 245 w 408"/>
                <a:gd name="T83" fmla="*/ 240 h 380"/>
                <a:gd name="T84" fmla="*/ 270 w 408"/>
                <a:gd name="T85" fmla="*/ 236 h 380"/>
                <a:gd name="T86" fmla="*/ 245 w 408"/>
                <a:gd name="T87" fmla="*/ 222 h 380"/>
                <a:gd name="T88" fmla="*/ 221 w 408"/>
                <a:gd name="T89" fmla="*/ 357 h 380"/>
                <a:gd name="T90" fmla="*/ 282 w 408"/>
                <a:gd name="T91" fmla="*/ 356 h 380"/>
                <a:gd name="T92" fmla="*/ 335 w 408"/>
                <a:gd name="T93" fmla="*/ 353 h 380"/>
                <a:gd name="T94" fmla="*/ 260 w 408"/>
                <a:gd name="T95" fmla="*/ 372 h 380"/>
                <a:gd name="T96" fmla="*/ 172 w 408"/>
                <a:gd name="T97" fmla="*/ 319 h 380"/>
                <a:gd name="T98" fmla="*/ 87 w 408"/>
                <a:gd name="T99" fmla="*/ 238 h 380"/>
                <a:gd name="T100" fmla="*/ 107 w 408"/>
                <a:gd name="T101" fmla="*/ 292 h 380"/>
                <a:gd name="T102" fmla="*/ 138 w 408"/>
                <a:gd name="T103" fmla="*/ 298 h 380"/>
                <a:gd name="T104" fmla="*/ 163 w 408"/>
                <a:gd name="T105" fmla="*/ 298 h 380"/>
                <a:gd name="T106" fmla="*/ 174 w 408"/>
                <a:gd name="T107" fmla="*/ 293 h 380"/>
                <a:gd name="T108" fmla="*/ 169 w 408"/>
                <a:gd name="T109" fmla="*/ 263 h 380"/>
                <a:gd name="T110" fmla="*/ 178 w 408"/>
                <a:gd name="T111" fmla="*/ 247 h 380"/>
                <a:gd name="T112" fmla="*/ 115 w 408"/>
                <a:gd name="T113" fmla="*/ 223 h 380"/>
                <a:gd name="T114" fmla="*/ 66 w 408"/>
                <a:gd name="T115" fmla="*/ 265 h 380"/>
                <a:gd name="T116" fmla="*/ 65 w 408"/>
                <a:gd name="T117" fmla="*/ 242 h 380"/>
                <a:gd name="T118" fmla="*/ 11 w 408"/>
                <a:gd name="T119" fmla="*/ 161 h 380"/>
                <a:gd name="T120" fmla="*/ 11 w 408"/>
                <a:gd name="T121" fmla="*/ 15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80">
                  <a:moveTo>
                    <a:pt x="222" y="32"/>
                  </a:moveTo>
                  <a:cubicBezTo>
                    <a:pt x="227" y="30"/>
                    <a:pt x="227" y="30"/>
                    <a:pt x="227" y="30"/>
                  </a:cubicBezTo>
                  <a:cubicBezTo>
                    <a:pt x="227" y="30"/>
                    <a:pt x="233" y="28"/>
                    <a:pt x="234" y="28"/>
                  </a:cubicBezTo>
                  <a:cubicBezTo>
                    <a:pt x="235" y="28"/>
                    <a:pt x="240" y="27"/>
                    <a:pt x="241" y="26"/>
                  </a:cubicBezTo>
                  <a:cubicBezTo>
                    <a:pt x="242" y="26"/>
                    <a:pt x="245" y="24"/>
                    <a:pt x="246" y="23"/>
                  </a:cubicBezTo>
                  <a:cubicBezTo>
                    <a:pt x="247" y="23"/>
                    <a:pt x="249" y="23"/>
                    <a:pt x="251" y="21"/>
                  </a:cubicBezTo>
                  <a:cubicBezTo>
                    <a:pt x="252" y="20"/>
                    <a:pt x="253" y="17"/>
                    <a:pt x="253" y="16"/>
                  </a:cubicBezTo>
                  <a:cubicBezTo>
                    <a:pt x="253" y="15"/>
                    <a:pt x="252" y="15"/>
                    <a:pt x="251" y="12"/>
                  </a:cubicBezTo>
                  <a:cubicBezTo>
                    <a:pt x="249" y="9"/>
                    <a:pt x="247" y="7"/>
                    <a:pt x="247" y="6"/>
                  </a:cubicBezTo>
                  <a:cubicBezTo>
                    <a:pt x="246" y="4"/>
                    <a:pt x="246" y="2"/>
                    <a:pt x="247" y="2"/>
                  </a:cubicBezTo>
                  <a:cubicBezTo>
                    <a:pt x="248" y="1"/>
                    <a:pt x="251" y="0"/>
                    <a:pt x="253" y="0"/>
                  </a:cubicBezTo>
                  <a:cubicBezTo>
                    <a:pt x="255" y="1"/>
                    <a:pt x="260" y="2"/>
                    <a:pt x="261" y="2"/>
                  </a:cubicBezTo>
                  <a:cubicBezTo>
                    <a:pt x="262" y="2"/>
                    <a:pt x="267" y="5"/>
                    <a:pt x="267" y="5"/>
                  </a:cubicBezTo>
                  <a:cubicBezTo>
                    <a:pt x="267" y="5"/>
                    <a:pt x="269" y="10"/>
                    <a:pt x="269" y="11"/>
                  </a:cubicBezTo>
                  <a:cubicBezTo>
                    <a:pt x="269" y="12"/>
                    <a:pt x="274" y="18"/>
                    <a:pt x="272" y="18"/>
                  </a:cubicBezTo>
                  <a:cubicBezTo>
                    <a:pt x="271" y="18"/>
                    <a:pt x="267" y="19"/>
                    <a:pt x="267" y="19"/>
                  </a:cubicBezTo>
                  <a:cubicBezTo>
                    <a:pt x="265" y="22"/>
                    <a:pt x="265" y="22"/>
                    <a:pt x="265" y="22"/>
                  </a:cubicBezTo>
                  <a:cubicBezTo>
                    <a:pt x="265" y="22"/>
                    <a:pt x="263" y="26"/>
                    <a:pt x="263" y="27"/>
                  </a:cubicBezTo>
                  <a:cubicBezTo>
                    <a:pt x="263" y="28"/>
                    <a:pt x="262" y="33"/>
                    <a:pt x="262" y="33"/>
                  </a:cubicBezTo>
                  <a:cubicBezTo>
                    <a:pt x="267" y="44"/>
                    <a:pt x="267" y="44"/>
                    <a:pt x="267" y="44"/>
                  </a:cubicBezTo>
                  <a:cubicBezTo>
                    <a:pt x="262" y="51"/>
                    <a:pt x="262" y="51"/>
                    <a:pt x="262" y="51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58" y="55"/>
                    <a:pt x="252" y="55"/>
                    <a:pt x="252" y="54"/>
                  </a:cubicBezTo>
                  <a:cubicBezTo>
                    <a:pt x="252" y="53"/>
                    <a:pt x="248" y="51"/>
                    <a:pt x="248" y="51"/>
                  </a:cubicBezTo>
                  <a:cubicBezTo>
                    <a:pt x="248" y="51"/>
                    <a:pt x="242" y="52"/>
                    <a:pt x="241" y="53"/>
                  </a:cubicBezTo>
                  <a:cubicBezTo>
                    <a:pt x="240" y="53"/>
                    <a:pt x="226" y="54"/>
                    <a:pt x="226" y="54"/>
                  </a:cubicBezTo>
                  <a:cubicBezTo>
                    <a:pt x="226" y="54"/>
                    <a:pt x="223" y="53"/>
                    <a:pt x="222" y="53"/>
                  </a:cubicBezTo>
                  <a:cubicBezTo>
                    <a:pt x="221" y="53"/>
                    <a:pt x="216" y="53"/>
                    <a:pt x="216" y="53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11" y="50"/>
                    <a:pt x="211" y="50"/>
                    <a:pt x="211" y="50"/>
                  </a:cubicBezTo>
                  <a:cubicBezTo>
                    <a:pt x="210" y="54"/>
                    <a:pt x="210" y="54"/>
                    <a:pt x="210" y="54"/>
                  </a:cubicBezTo>
                  <a:cubicBezTo>
                    <a:pt x="205" y="57"/>
                    <a:pt x="205" y="57"/>
                    <a:pt x="205" y="57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190" y="60"/>
                    <a:pt x="190" y="60"/>
                    <a:pt x="190" y="60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81" y="68"/>
                    <a:pt x="181" y="68"/>
                    <a:pt x="181" y="68"/>
                  </a:cubicBezTo>
                  <a:cubicBezTo>
                    <a:pt x="177" y="71"/>
                    <a:pt x="177" y="71"/>
                    <a:pt x="177" y="71"/>
                  </a:cubicBezTo>
                  <a:cubicBezTo>
                    <a:pt x="177" y="71"/>
                    <a:pt x="171" y="73"/>
                    <a:pt x="170" y="74"/>
                  </a:cubicBezTo>
                  <a:cubicBezTo>
                    <a:pt x="170" y="74"/>
                    <a:pt x="166" y="73"/>
                    <a:pt x="166" y="73"/>
                  </a:cubicBezTo>
                  <a:cubicBezTo>
                    <a:pt x="161" y="76"/>
                    <a:pt x="161" y="76"/>
                    <a:pt x="161" y="76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6" y="83"/>
                    <a:pt x="166" y="83"/>
                    <a:pt x="166" y="83"/>
                  </a:cubicBezTo>
                  <a:cubicBezTo>
                    <a:pt x="166" y="83"/>
                    <a:pt x="169" y="84"/>
                    <a:pt x="169" y="85"/>
                  </a:cubicBezTo>
                  <a:cubicBezTo>
                    <a:pt x="169" y="85"/>
                    <a:pt x="168" y="87"/>
                    <a:pt x="168" y="87"/>
                  </a:cubicBezTo>
                  <a:cubicBezTo>
                    <a:pt x="168" y="92"/>
                    <a:pt x="168" y="92"/>
                    <a:pt x="168" y="92"/>
                  </a:cubicBezTo>
                  <a:cubicBezTo>
                    <a:pt x="168" y="92"/>
                    <a:pt x="171" y="93"/>
                    <a:pt x="172" y="93"/>
                  </a:cubicBezTo>
                  <a:cubicBezTo>
                    <a:pt x="172" y="93"/>
                    <a:pt x="175" y="91"/>
                    <a:pt x="175" y="91"/>
                  </a:cubicBezTo>
                  <a:cubicBezTo>
                    <a:pt x="175" y="90"/>
                    <a:pt x="176" y="89"/>
                    <a:pt x="176" y="89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9" y="93"/>
                    <a:pt x="180" y="93"/>
                  </a:cubicBezTo>
                  <a:cubicBezTo>
                    <a:pt x="180" y="93"/>
                    <a:pt x="183" y="93"/>
                    <a:pt x="183" y="93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92" y="99"/>
                    <a:pt x="192" y="99"/>
                    <a:pt x="192" y="99"/>
                  </a:cubicBezTo>
                  <a:cubicBezTo>
                    <a:pt x="192" y="99"/>
                    <a:pt x="196" y="101"/>
                    <a:pt x="195" y="102"/>
                  </a:cubicBezTo>
                  <a:cubicBezTo>
                    <a:pt x="193" y="103"/>
                    <a:pt x="191" y="104"/>
                    <a:pt x="190" y="104"/>
                  </a:cubicBezTo>
                  <a:cubicBezTo>
                    <a:pt x="190" y="104"/>
                    <a:pt x="188" y="103"/>
                    <a:pt x="188" y="102"/>
                  </a:cubicBezTo>
                  <a:cubicBezTo>
                    <a:pt x="188" y="100"/>
                    <a:pt x="187" y="99"/>
                    <a:pt x="186" y="99"/>
                  </a:cubicBezTo>
                  <a:cubicBezTo>
                    <a:pt x="185" y="99"/>
                    <a:pt x="183" y="97"/>
                    <a:pt x="183" y="97"/>
                  </a:cubicBezTo>
                  <a:cubicBezTo>
                    <a:pt x="182" y="97"/>
                    <a:pt x="180" y="97"/>
                    <a:pt x="179" y="98"/>
                  </a:cubicBezTo>
                  <a:cubicBezTo>
                    <a:pt x="178" y="98"/>
                    <a:pt x="176" y="98"/>
                    <a:pt x="176" y="97"/>
                  </a:cubicBezTo>
                  <a:cubicBezTo>
                    <a:pt x="175" y="97"/>
                    <a:pt x="174" y="94"/>
                    <a:pt x="174" y="94"/>
                  </a:cubicBezTo>
                  <a:cubicBezTo>
                    <a:pt x="169" y="93"/>
                    <a:pt x="169" y="93"/>
                    <a:pt x="169" y="93"/>
                  </a:cubicBezTo>
                  <a:cubicBezTo>
                    <a:pt x="169" y="93"/>
                    <a:pt x="168" y="94"/>
                    <a:pt x="168" y="95"/>
                  </a:cubicBezTo>
                  <a:cubicBezTo>
                    <a:pt x="168" y="95"/>
                    <a:pt x="166" y="97"/>
                    <a:pt x="166" y="97"/>
                  </a:cubicBezTo>
                  <a:cubicBezTo>
                    <a:pt x="165" y="98"/>
                    <a:pt x="165" y="98"/>
                    <a:pt x="165" y="98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71" y="105"/>
                    <a:pt x="171" y="105"/>
                    <a:pt x="171" y="105"/>
                  </a:cubicBezTo>
                  <a:cubicBezTo>
                    <a:pt x="171" y="105"/>
                    <a:pt x="176" y="106"/>
                    <a:pt x="176" y="106"/>
                  </a:cubicBezTo>
                  <a:cubicBezTo>
                    <a:pt x="177" y="106"/>
                    <a:pt x="179" y="109"/>
                    <a:pt x="179" y="109"/>
                  </a:cubicBezTo>
                  <a:cubicBezTo>
                    <a:pt x="179" y="112"/>
                    <a:pt x="179" y="112"/>
                    <a:pt x="179" y="112"/>
                  </a:cubicBezTo>
                  <a:cubicBezTo>
                    <a:pt x="178" y="115"/>
                    <a:pt x="178" y="115"/>
                    <a:pt x="178" y="115"/>
                  </a:cubicBezTo>
                  <a:cubicBezTo>
                    <a:pt x="178" y="115"/>
                    <a:pt x="178" y="117"/>
                    <a:pt x="176" y="116"/>
                  </a:cubicBezTo>
                  <a:cubicBezTo>
                    <a:pt x="174" y="115"/>
                    <a:pt x="173" y="114"/>
                    <a:pt x="173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09"/>
                    <a:pt x="169" y="109"/>
                    <a:pt x="169" y="109"/>
                  </a:cubicBezTo>
                  <a:cubicBezTo>
                    <a:pt x="169" y="109"/>
                    <a:pt x="167" y="107"/>
                    <a:pt x="167" y="107"/>
                  </a:cubicBezTo>
                  <a:cubicBezTo>
                    <a:pt x="166" y="107"/>
                    <a:pt x="161" y="104"/>
                    <a:pt x="161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1" y="104"/>
                    <a:pt x="151" y="104"/>
                    <a:pt x="151" y="104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9"/>
                    <a:pt x="151" y="109"/>
                  </a:cubicBezTo>
                  <a:cubicBezTo>
                    <a:pt x="151" y="110"/>
                    <a:pt x="154" y="112"/>
                    <a:pt x="154" y="112"/>
                  </a:cubicBezTo>
                  <a:cubicBezTo>
                    <a:pt x="154" y="112"/>
                    <a:pt x="156" y="112"/>
                    <a:pt x="156" y="113"/>
                  </a:cubicBezTo>
                  <a:cubicBezTo>
                    <a:pt x="157" y="114"/>
                    <a:pt x="159" y="116"/>
                    <a:pt x="159" y="116"/>
                  </a:cubicBezTo>
                  <a:cubicBezTo>
                    <a:pt x="159" y="116"/>
                    <a:pt x="160" y="116"/>
                    <a:pt x="161" y="116"/>
                  </a:cubicBezTo>
                  <a:cubicBezTo>
                    <a:pt x="163" y="116"/>
                    <a:pt x="165" y="117"/>
                    <a:pt x="165" y="117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9"/>
                    <a:pt x="169" y="119"/>
                    <a:pt x="169" y="119"/>
                  </a:cubicBezTo>
                  <a:cubicBezTo>
                    <a:pt x="169" y="119"/>
                    <a:pt x="166" y="120"/>
                    <a:pt x="165" y="120"/>
                  </a:cubicBezTo>
                  <a:cubicBezTo>
                    <a:pt x="164" y="121"/>
                    <a:pt x="161" y="121"/>
                    <a:pt x="161" y="121"/>
                  </a:cubicBezTo>
                  <a:cubicBezTo>
                    <a:pt x="161" y="121"/>
                    <a:pt x="159" y="119"/>
                    <a:pt x="158" y="119"/>
                  </a:cubicBezTo>
                  <a:cubicBezTo>
                    <a:pt x="158" y="119"/>
                    <a:pt x="155" y="120"/>
                    <a:pt x="155" y="120"/>
                  </a:cubicBezTo>
                  <a:cubicBezTo>
                    <a:pt x="155" y="120"/>
                    <a:pt x="153" y="122"/>
                    <a:pt x="152" y="120"/>
                  </a:cubicBezTo>
                  <a:cubicBezTo>
                    <a:pt x="151" y="118"/>
                    <a:pt x="150" y="116"/>
                    <a:pt x="150" y="116"/>
                  </a:cubicBezTo>
                  <a:cubicBezTo>
                    <a:pt x="150" y="114"/>
                    <a:pt x="150" y="114"/>
                    <a:pt x="150" y="114"/>
                  </a:cubicBezTo>
                  <a:cubicBezTo>
                    <a:pt x="150" y="111"/>
                    <a:pt x="150" y="111"/>
                    <a:pt x="150" y="111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35" y="103"/>
                    <a:pt x="135" y="103"/>
                    <a:pt x="135" y="103"/>
                  </a:cubicBezTo>
                  <a:cubicBezTo>
                    <a:pt x="129" y="101"/>
                    <a:pt x="129" y="101"/>
                    <a:pt x="129" y="101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31" y="94"/>
                    <a:pt x="131" y="94"/>
                    <a:pt x="131" y="94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23" y="95"/>
                    <a:pt x="123" y="95"/>
                    <a:pt x="123" y="95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16" y="101"/>
                    <a:pt x="116" y="101"/>
                    <a:pt x="116" y="101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9"/>
                    <a:pt x="119" y="109"/>
                    <a:pt x="119" y="109"/>
                  </a:cubicBezTo>
                  <a:cubicBezTo>
                    <a:pt x="119" y="109"/>
                    <a:pt x="118" y="114"/>
                    <a:pt x="119" y="115"/>
                  </a:cubicBezTo>
                  <a:cubicBezTo>
                    <a:pt x="119" y="115"/>
                    <a:pt x="118" y="118"/>
                    <a:pt x="118" y="120"/>
                  </a:cubicBezTo>
                  <a:cubicBezTo>
                    <a:pt x="119" y="121"/>
                    <a:pt x="119" y="122"/>
                    <a:pt x="121" y="123"/>
                  </a:cubicBezTo>
                  <a:cubicBezTo>
                    <a:pt x="122" y="124"/>
                    <a:pt x="122" y="124"/>
                    <a:pt x="124" y="125"/>
                  </a:cubicBezTo>
                  <a:cubicBezTo>
                    <a:pt x="126" y="126"/>
                    <a:pt x="127" y="127"/>
                    <a:pt x="127" y="127"/>
                  </a:cubicBezTo>
                  <a:cubicBezTo>
                    <a:pt x="129" y="131"/>
                    <a:pt x="129" y="131"/>
                    <a:pt x="129" y="131"/>
                  </a:cubicBezTo>
                  <a:cubicBezTo>
                    <a:pt x="129" y="131"/>
                    <a:pt x="130" y="132"/>
                    <a:pt x="131" y="132"/>
                  </a:cubicBezTo>
                  <a:cubicBezTo>
                    <a:pt x="132" y="133"/>
                    <a:pt x="135" y="134"/>
                    <a:pt x="135" y="135"/>
                  </a:cubicBezTo>
                  <a:cubicBezTo>
                    <a:pt x="135" y="137"/>
                    <a:pt x="136" y="139"/>
                    <a:pt x="136" y="139"/>
                  </a:cubicBezTo>
                  <a:cubicBezTo>
                    <a:pt x="136" y="139"/>
                    <a:pt x="137" y="141"/>
                    <a:pt x="137" y="141"/>
                  </a:cubicBezTo>
                  <a:cubicBezTo>
                    <a:pt x="138" y="142"/>
                    <a:pt x="139" y="141"/>
                    <a:pt x="139" y="142"/>
                  </a:cubicBezTo>
                  <a:cubicBezTo>
                    <a:pt x="140" y="143"/>
                    <a:pt x="139" y="144"/>
                    <a:pt x="141" y="145"/>
                  </a:cubicBezTo>
                  <a:cubicBezTo>
                    <a:pt x="142" y="147"/>
                    <a:pt x="144" y="148"/>
                    <a:pt x="144" y="148"/>
                  </a:cubicBezTo>
                  <a:cubicBezTo>
                    <a:pt x="145" y="148"/>
                    <a:pt x="147" y="149"/>
                    <a:pt x="147" y="149"/>
                  </a:cubicBezTo>
                  <a:cubicBezTo>
                    <a:pt x="153" y="153"/>
                    <a:pt x="153" y="153"/>
                    <a:pt x="153" y="153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8" y="167"/>
                    <a:pt x="158" y="167"/>
                    <a:pt x="158" y="167"/>
                  </a:cubicBezTo>
                  <a:cubicBezTo>
                    <a:pt x="158" y="167"/>
                    <a:pt x="156" y="168"/>
                    <a:pt x="155" y="168"/>
                  </a:cubicBezTo>
                  <a:cubicBezTo>
                    <a:pt x="155" y="168"/>
                    <a:pt x="153" y="169"/>
                    <a:pt x="153" y="169"/>
                  </a:cubicBezTo>
                  <a:cubicBezTo>
                    <a:pt x="153" y="169"/>
                    <a:pt x="152" y="168"/>
                    <a:pt x="152" y="168"/>
                  </a:cubicBezTo>
                  <a:cubicBezTo>
                    <a:pt x="153" y="167"/>
                    <a:pt x="156" y="166"/>
                    <a:pt x="156" y="166"/>
                  </a:cubicBezTo>
                  <a:cubicBezTo>
                    <a:pt x="156" y="166"/>
                    <a:pt x="156" y="163"/>
                    <a:pt x="155" y="163"/>
                  </a:cubicBezTo>
                  <a:cubicBezTo>
                    <a:pt x="154" y="162"/>
                    <a:pt x="151" y="160"/>
                    <a:pt x="151" y="160"/>
                  </a:cubicBezTo>
                  <a:cubicBezTo>
                    <a:pt x="149" y="158"/>
                    <a:pt x="149" y="158"/>
                    <a:pt x="149" y="158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8"/>
                    <a:pt x="144" y="158"/>
                    <a:pt x="144" y="159"/>
                  </a:cubicBezTo>
                  <a:cubicBezTo>
                    <a:pt x="143" y="160"/>
                    <a:pt x="140" y="162"/>
                    <a:pt x="140" y="162"/>
                  </a:cubicBezTo>
                  <a:cubicBezTo>
                    <a:pt x="138" y="166"/>
                    <a:pt x="138" y="166"/>
                    <a:pt x="138" y="166"/>
                  </a:cubicBezTo>
                  <a:cubicBezTo>
                    <a:pt x="143" y="167"/>
                    <a:pt x="143" y="167"/>
                    <a:pt x="143" y="167"/>
                  </a:cubicBezTo>
                  <a:cubicBezTo>
                    <a:pt x="143" y="167"/>
                    <a:pt x="145" y="169"/>
                    <a:pt x="145" y="169"/>
                  </a:cubicBezTo>
                  <a:cubicBezTo>
                    <a:pt x="145" y="170"/>
                    <a:pt x="147" y="172"/>
                    <a:pt x="147" y="172"/>
                  </a:cubicBezTo>
                  <a:cubicBezTo>
                    <a:pt x="149" y="173"/>
                    <a:pt x="149" y="173"/>
                    <a:pt x="149" y="173"/>
                  </a:cubicBezTo>
                  <a:cubicBezTo>
                    <a:pt x="149" y="175"/>
                    <a:pt x="149" y="175"/>
                    <a:pt x="149" y="175"/>
                  </a:cubicBezTo>
                  <a:cubicBezTo>
                    <a:pt x="148" y="178"/>
                    <a:pt x="148" y="178"/>
                    <a:pt x="148" y="178"/>
                  </a:cubicBezTo>
                  <a:cubicBezTo>
                    <a:pt x="145" y="182"/>
                    <a:pt x="145" y="182"/>
                    <a:pt x="145" y="182"/>
                  </a:cubicBezTo>
                  <a:cubicBezTo>
                    <a:pt x="145" y="182"/>
                    <a:pt x="143" y="183"/>
                    <a:pt x="143" y="183"/>
                  </a:cubicBezTo>
                  <a:cubicBezTo>
                    <a:pt x="142" y="183"/>
                    <a:pt x="140" y="185"/>
                    <a:pt x="140" y="185"/>
                  </a:cubicBezTo>
                  <a:cubicBezTo>
                    <a:pt x="140" y="185"/>
                    <a:pt x="139" y="185"/>
                    <a:pt x="139" y="185"/>
                  </a:cubicBezTo>
                  <a:cubicBezTo>
                    <a:pt x="138" y="185"/>
                    <a:pt x="136" y="184"/>
                    <a:pt x="135" y="184"/>
                  </a:cubicBezTo>
                  <a:cubicBezTo>
                    <a:pt x="135" y="184"/>
                    <a:pt x="133" y="185"/>
                    <a:pt x="133" y="185"/>
                  </a:cubicBezTo>
                  <a:cubicBezTo>
                    <a:pt x="133" y="185"/>
                    <a:pt x="130" y="187"/>
                    <a:pt x="134" y="188"/>
                  </a:cubicBezTo>
                  <a:cubicBezTo>
                    <a:pt x="138" y="188"/>
                    <a:pt x="139" y="188"/>
                    <a:pt x="140" y="188"/>
                  </a:cubicBezTo>
                  <a:cubicBezTo>
                    <a:pt x="140" y="188"/>
                    <a:pt x="144" y="188"/>
                    <a:pt x="144" y="188"/>
                  </a:cubicBezTo>
                  <a:cubicBezTo>
                    <a:pt x="144" y="188"/>
                    <a:pt x="145" y="188"/>
                    <a:pt x="146" y="189"/>
                  </a:cubicBezTo>
                  <a:cubicBezTo>
                    <a:pt x="148" y="189"/>
                    <a:pt x="149" y="189"/>
                    <a:pt x="150" y="190"/>
                  </a:cubicBezTo>
                  <a:cubicBezTo>
                    <a:pt x="151" y="190"/>
                    <a:pt x="152" y="191"/>
                    <a:pt x="152" y="191"/>
                  </a:cubicBezTo>
                  <a:cubicBezTo>
                    <a:pt x="152" y="192"/>
                    <a:pt x="152" y="192"/>
                    <a:pt x="153" y="192"/>
                  </a:cubicBezTo>
                  <a:cubicBezTo>
                    <a:pt x="154" y="192"/>
                    <a:pt x="155" y="193"/>
                    <a:pt x="155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6" y="193"/>
                    <a:pt x="157" y="193"/>
                    <a:pt x="158" y="193"/>
                  </a:cubicBezTo>
                  <a:cubicBezTo>
                    <a:pt x="159" y="193"/>
                    <a:pt x="159" y="192"/>
                    <a:pt x="160" y="192"/>
                  </a:cubicBezTo>
                  <a:cubicBezTo>
                    <a:pt x="161" y="192"/>
                    <a:pt x="164" y="192"/>
                    <a:pt x="164" y="192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196"/>
                    <a:pt x="166" y="197"/>
                    <a:pt x="167" y="197"/>
                  </a:cubicBezTo>
                  <a:cubicBezTo>
                    <a:pt x="167" y="198"/>
                    <a:pt x="169" y="199"/>
                    <a:pt x="170" y="199"/>
                  </a:cubicBezTo>
                  <a:cubicBezTo>
                    <a:pt x="171" y="199"/>
                    <a:pt x="179" y="197"/>
                    <a:pt x="179" y="197"/>
                  </a:cubicBezTo>
                  <a:cubicBezTo>
                    <a:pt x="175" y="194"/>
                    <a:pt x="175" y="194"/>
                    <a:pt x="175" y="194"/>
                  </a:cubicBezTo>
                  <a:cubicBezTo>
                    <a:pt x="175" y="194"/>
                    <a:pt x="173" y="192"/>
                    <a:pt x="172" y="191"/>
                  </a:cubicBezTo>
                  <a:cubicBezTo>
                    <a:pt x="172" y="190"/>
                    <a:pt x="167" y="187"/>
                    <a:pt x="167" y="187"/>
                  </a:cubicBezTo>
                  <a:cubicBezTo>
                    <a:pt x="162" y="186"/>
                    <a:pt x="162" y="186"/>
                    <a:pt x="162" y="186"/>
                  </a:cubicBezTo>
                  <a:cubicBezTo>
                    <a:pt x="156" y="183"/>
                    <a:pt x="156" y="183"/>
                    <a:pt x="156" y="183"/>
                  </a:cubicBezTo>
                  <a:cubicBezTo>
                    <a:pt x="150" y="181"/>
                    <a:pt x="150" y="181"/>
                    <a:pt x="150" y="181"/>
                  </a:cubicBezTo>
                  <a:cubicBezTo>
                    <a:pt x="150" y="181"/>
                    <a:pt x="152" y="177"/>
                    <a:pt x="153" y="176"/>
                  </a:cubicBezTo>
                  <a:cubicBezTo>
                    <a:pt x="153" y="175"/>
                    <a:pt x="153" y="172"/>
                    <a:pt x="154" y="172"/>
                  </a:cubicBezTo>
                  <a:cubicBezTo>
                    <a:pt x="155" y="173"/>
                    <a:pt x="157" y="173"/>
                    <a:pt x="158" y="173"/>
                  </a:cubicBezTo>
                  <a:cubicBezTo>
                    <a:pt x="159" y="173"/>
                    <a:pt x="161" y="172"/>
                    <a:pt x="162" y="172"/>
                  </a:cubicBezTo>
                  <a:cubicBezTo>
                    <a:pt x="163" y="172"/>
                    <a:pt x="165" y="173"/>
                    <a:pt x="165" y="173"/>
                  </a:cubicBezTo>
                  <a:cubicBezTo>
                    <a:pt x="165" y="173"/>
                    <a:pt x="166" y="175"/>
                    <a:pt x="166" y="176"/>
                  </a:cubicBezTo>
                  <a:cubicBezTo>
                    <a:pt x="167" y="176"/>
                    <a:pt x="167" y="178"/>
                    <a:pt x="168" y="179"/>
                  </a:cubicBezTo>
                  <a:cubicBezTo>
                    <a:pt x="169" y="179"/>
                    <a:pt x="174" y="181"/>
                    <a:pt x="174" y="181"/>
                  </a:cubicBezTo>
                  <a:cubicBezTo>
                    <a:pt x="174" y="181"/>
                    <a:pt x="180" y="183"/>
                    <a:pt x="180" y="183"/>
                  </a:cubicBezTo>
                  <a:cubicBezTo>
                    <a:pt x="181" y="183"/>
                    <a:pt x="183" y="183"/>
                    <a:pt x="183" y="183"/>
                  </a:cubicBezTo>
                  <a:cubicBezTo>
                    <a:pt x="186" y="186"/>
                    <a:pt x="186" y="186"/>
                    <a:pt x="186" y="186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98" y="184"/>
                    <a:pt x="198" y="184"/>
                    <a:pt x="198" y="184"/>
                  </a:cubicBezTo>
                  <a:cubicBezTo>
                    <a:pt x="199" y="186"/>
                    <a:pt x="199" y="186"/>
                    <a:pt x="199" y="186"/>
                  </a:cubicBezTo>
                  <a:cubicBezTo>
                    <a:pt x="199" y="186"/>
                    <a:pt x="202" y="188"/>
                    <a:pt x="202" y="188"/>
                  </a:cubicBezTo>
                  <a:cubicBezTo>
                    <a:pt x="202" y="189"/>
                    <a:pt x="204" y="193"/>
                    <a:pt x="204" y="193"/>
                  </a:cubicBezTo>
                  <a:cubicBezTo>
                    <a:pt x="204" y="193"/>
                    <a:pt x="204" y="196"/>
                    <a:pt x="204" y="196"/>
                  </a:cubicBezTo>
                  <a:cubicBezTo>
                    <a:pt x="204" y="197"/>
                    <a:pt x="206" y="201"/>
                    <a:pt x="206" y="201"/>
                  </a:cubicBezTo>
                  <a:cubicBezTo>
                    <a:pt x="207" y="202"/>
                    <a:pt x="211" y="206"/>
                    <a:pt x="211" y="207"/>
                  </a:cubicBezTo>
                  <a:cubicBezTo>
                    <a:pt x="211" y="207"/>
                    <a:pt x="213" y="210"/>
                    <a:pt x="214" y="210"/>
                  </a:cubicBezTo>
                  <a:cubicBezTo>
                    <a:pt x="214" y="210"/>
                    <a:pt x="215" y="209"/>
                    <a:pt x="215" y="209"/>
                  </a:cubicBezTo>
                  <a:cubicBezTo>
                    <a:pt x="216" y="209"/>
                    <a:pt x="219" y="207"/>
                    <a:pt x="219" y="207"/>
                  </a:cubicBezTo>
                  <a:cubicBezTo>
                    <a:pt x="219" y="207"/>
                    <a:pt x="222" y="207"/>
                    <a:pt x="222" y="208"/>
                  </a:cubicBezTo>
                  <a:cubicBezTo>
                    <a:pt x="222" y="209"/>
                    <a:pt x="226" y="212"/>
                    <a:pt x="226" y="212"/>
                  </a:cubicBezTo>
                  <a:cubicBezTo>
                    <a:pt x="226" y="212"/>
                    <a:pt x="227" y="216"/>
                    <a:pt x="227" y="216"/>
                  </a:cubicBezTo>
                  <a:cubicBezTo>
                    <a:pt x="226" y="217"/>
                    <a:pt x="223" y="218"/>
                    <a:pt x="223" y="219"/>
                  </a:cubicBezTo>
                  <a:cubicBezTo>
                    <a:pt x="222" y="219"/>
                    <a:pt x="219" y="219"/>
                    <a:pt x="219" y="219"/>
                  </a:cubicBezTo>
                  <a:cubicBezTo>
                    <a:pt x="218" y="220"/>
                    <a:pt x="214" y="221"/>
                    <a:pt x="214" y="221"/>
                  </a:cubicBezTo>
                  <a:cubicBezTo>
                    <a:pt x="214" y="217"/>
                    <a:pt x="214" y="217"/>
                    <a:pt x="214" y="217"/>
                  </a:cubicBezTo>
                  <a:cubicBezTo>
                    <a:pt x="214" y="217"/>
                    <a:pt x="214" y="216"/>
                    <a:pt x="213" y="216"/>
                  </a:cubicBezTo>
                  <a:cubicBezTo>
                    <a:pt x="213" y="216"/>
                    <a:pt x="207" y="214"/>
                    <a:pt x="207" y="214"/>
                  </a:cubicBezTo>
                  <a:cubicBezTo>
                    <a:pt x="206" y="209"/>
                    <a:pt x="206" y="209"/>
                    <a:pt x="206" y="209"/>
                  </a:cubicBezTo>
                  <a:cubicBezTo>
                    <a:pt x="203" y="206"/>
                    <a:pt x="203" y="206"/>
                    <a:pt x="203" y="206"/>
                  </a:cubicBezTo>
                  <a:cubicBezTo>
                    <a:pt x="200" y="204"/>
                    <a:pt x="200" y="204"/>
                    <a:pt x="200" y="204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4" y="201"/>
                    <a:pt x="194" y="201"/>
                    <a:pt x="194" y="201"/>
                  </a:cubicBezTo>
                  <a:cubicBezTo>
                    <a:pt x="194" y="201"/>
                    <a:pt x="192" y="202"/>
                    <a:pt x="192" y="202"/>
                  </a:cubicBezTo>
                  <a:cubicBezTo>
                    <a:pt x="191" y="203"/>
                    <a:pt x="187" y="202"/>
                    <a:pt x="187" y="202"/>
                  </a:cubicBezTo>
                  <a:cubicBezTo>
                    <a:pt x="184" y="203"/>
                    <a:pt x="184" y="203"/>
                    <a:pt x="184" y="203"/>
                  </a:cubicBezTo>
                  <a:cubicBezTo>
                    <a:pt x="184" y="205"/>
                    <a:pt x="184" y="205"/>
                    <a:pt x="184" y="205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93" y="206"/>
                    <a:pt x="193" y="206"/>
                    <a:pt x="193" y="206"/>
                  </a:cubicBezTo>
                  <a:cubicBezTo>
                    <a:pt x="199" y="207"/>
                    <a:pt x="199" y="207"/>
                    <a:pt x="199" y="207"/>
                  </a:cubicBezTo>
                  <a:cubicBezTo>
                    <a:pt x="199" y="211"/>
                    <a:pt x="199" y="211"/>
                    <a:pt x="199" y="211"/>
                  </a:cubicBezTo>
                  <a:cubicBezTo>
                    <a:pt x="199" y="211"/>
                    <a:pt x="200" y="213"/>
                    <a:pt x="200" y="214"/>
                  </a:cubicBezTo>
                  <a:cubicBezTo>
                    <a:pt x="200" y="215"/>
                    <a:pt x="202" y="219"/>
                    <a:pt x="202" y="219"/>
                  </a:cubicBezTo>
                  <a:cubicBezTo>
                    <a:pt x="204" y="225"/>
                    <a:pt x="204" y="225"/>
                    <a:pt x="204" y="225"/>
                  </a:cubicBezTo>
                  <a:cubicBezTo>
                    <a:pt x="206" y="229"/>
                    <a:pt x="206" y="229"/>
                    <a:pt x="206" y="229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4"/>
                    <a:pt x="208" y="234"/>
                    <a:pt x="208" y="234"/>
                  </a:cubicBezTo>
                  <a:cubicBezTo>
                    <a:pt x="210" y="235"/>
                    <a:pt x="210" y="235"/>
                    <a:pt x="210" y="235"/>
                  </a:cubicBezTo>
                  <a:cubicBezTo>
                    <a:pt x="210" y="235"/>
                    <a:pt x="209" y="236"/>
                    <a:pt x="209" y="237"/>
                  </a:cubicBezTo>
                  <a:cubicBezTo>
                    <a:pt x="209" y="237"/>
                    <a:pt x="207" y="240"/>
                    <a:pt x="207" y="240"/>
                  </a:cubicBezTo>
                  <a:cubicBezTo>
                    <a:pt x="207" y="240"/>
                    <a:pt x="205" y="240"/>
                    <a:pt x="204" y="240"/>
                  </a:cubicBezTo>
                  <a:cubicBezTo>
                    <a:pt x="204" y="239"/>
                    <a:pt x="203" y="237"/>
                    <a:pt x="202" y="237"/>
                  </a:cubicBezTo>
                  <a:cubicBezTo>
                    <a:pt x="200" y="236"/>
                    <a:pt x="200" y="234"/>
                    <a:pt x="199" y="234"/>
                  </a:cubicBezTo>
                  <a:cubicBezTo>
                    <a:pt x="198" y="234"/>
                    <a:pt x="195" y="234"/>
                    <a:pt x="195" y="234"/>
                  </a:cubicBezTo>
                  <a:cubicBezTo>
                    <a:pt x="195" y="234"/>
                    <a:pt x="193" y="231"/>
                    <a:pt x="192" y="230"/>
                  </a:cubicBezTo>
                  <a:cubicBezTo>
                    <a:pt x="192" y="230"/>
                    <a:pt x="191" y="229"/>
                    <a:pt x="190" y="228"/>
                  </a:cubicBezTo>
                  <a:cubicBezTo>
                    <a:pt x="189" y="227"/>
                    <a:pt x="187" y="224"/>
                    <a:pt x="187" y="225"/>
                  </a:cubicBezTo>
                  <a:cubicBezTo>
                    <a:pt x="187" y="227"/>
                    <a:pt x="188" y="229"/>
                    <a:pt x="187" y="229"/>
                  </a:cubicBezTo>
                  <a:cubicBezTo>
                    <a:pt x="185" y="229"/>
                    <a:pt x="184" y="229"/>
                    <a:pt x="184" y="229"/>
                  </a:cubicBezTo>
                  <a:cubicBezTo>
                    <a:pt x="184" y="229"/>
                    <a:pt x="182" y="231"/>
                    <a:pt x="181" y="232"/>
                  </a:cubicBezTo>
                  <a:cubicBezTo>
                    <a:pt x="181" y="232"/>
                    <a:pt x="182" y="232"/>
                    <a:pt x="180" y="233"/>
                  </a:cubicBezTo>
                  <a:cubicBezTo>
                    <a:pt x="179" y="233"/>
                    <a:pt x="177" y="233"/>
                    <a:pt x="177" y="233"/>
                  </a:cubicBezTo>
                  <a:cubicBezTo>
                    <a:pt x="177" y="232"/>
                    <a:pt x="177" y="232"/>
                    <a:pt x="177" y="231"/>
                  </a:cubicBezTo>
                  <a:cubicBezTo>
                    <a:pt x="178" y="230"/>
                    <a:pt x="184" y="227"/>
                    <a:pt x="184" y="227"/>
                  </a:cubicBezTo>
                  <a:cubicBezTo>
                    <a:pt x="184" y="226"/>
                    <a:pt x="182" y="223"/>
                    <a:pt x="182" y="223"/>
                  </a:cubicBezTo>
                  <a:cubicBezTo>
                    <a:pt x="181" y="224"/>
                    <a:pt x="181" y="224"/>
                    <a:pt x="181" y="224"/>
                  </a:cubicBezTo>
                  <a:cubicBezTo>
                    <a:pt x="178" y="226"/>
                    <a:pt x="178" y="226"/>
                    <a:pt x="178" y="226"/>
                  </a:cubicBezTo>
                  <a:cubicBezTo>
                    <a:pt x="174" y="229"/>
                    <a:pt x="174" y="229"/>
                    <a:pt x="174" y="22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4" y="233"/>
                    <a:pt x="164" y="233"/>
                    <a:pt x="164" y="233"/>
                  </a:cubicBezTo>
                  <a:cubicBezTo>
                    <a:pt x="160" y="233"/>
                    <a:pt x="160" y="233"/>
                    <a:pt x="160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6" y="229"/>
                    <a:pt x="156" y="229"/>
                    <a:pt x="156" y="229"/>
                  </a:cubicBezTo>
                  <a:cubicBezTo>
                    <a:pt x="155" y="229"/>
                    <a:pt x="155" y="229"/>
                    <a:pt x="155" y="229"/>
                  </a:cubicBezTo>
                  <a:cubicBezTo>
                    <a:pt x="155" y="229"/>
                    <a:pt x="154" y="227"/>
                    <a:pt x="155" y="226"/>
                  </a:cubicBezTo>
                  <a:cubicBezTo>
                    <a:pt x="155" y="226"/>
                    <a:pt x="156" y="225"/>
                    <a:pt x="158" y="225"/>
                  </a:cubicBezTo>
                  <a:cubicBezTo>
                    <a:pt x="160" y="225"/>
                    <a:pt x="161" y="225"/>
                    <a:pt x="162" y="225"/>
                  </a:cubicBezTo>
                  <a:cubicBezTo>
                    <a:pt x="163" y="225"/>
                    <a:pt x="164" y="224"/>
                    <a:pt x="164" y="224"/>
                  </a:cubicBezTo>
                  <a:cubicBezTo>
                    <a:pt x="164" y="224"/>
                    <a:pt x="165" y="224"/>
                    <a:pt x="165" y="223"/>
                  </a:cubicBezTo>
                  <a:cubicBezTo>
                    <a:pt x="165" y="222"/>
                    <a:pt x="162" y="218"/>
                    <a:pt x="162" y="218"/>
                  </a:cubicBezTo>
                  <a:cubicBezTo>
                    <a:pt x="162" y="218"/>
                    <a:pt x="158" y="218"/>
                    <a:pt x="157" y="219"/>
                  </a:cubicBezTo>
                  <a:cubicBezTo>
                    <a:pt x="155" y="219"/>
                    <a:pt x="155" y="221"/>
                    <a:pt x="153" y="220"/>
                  </a:cubicBezTo>
                  <a:cubicBezTo>
                    <a:pt x="151" y="219"/>
                    <a:pt x="146" y="217"/>
                    <a:pt x="146" y="217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0" y="215"/>
                    <a:pt x="140" y="215"/>
                    <a:pt x="140" y="215"/>
                  </a:cubicBezTo>
                  <a:cubicBezTo>
                    <a:pt x="137" y="217"/>
                    <a:pt x="137" y="217"/>
                    <a:pt x="137" y="217"/>
                  </a:cubicBezTo>
                  <a:cubicBezTo>
                    <a:pt x="137" y="217"/>
                    <a:pt x="137" y="219"/>
                    <a:pt x="135" y="217"/>
                  </a:cubicBezTo>
                  <a:cubicBezTo>
                    <a:pt x="133" y="214"/>
                    <a:pt x="133" y="212"/>
                    <a:pt x="133" y="212"/>
                  </a:cubicBezTo>
                  <a:cubicBezTo>
                    <a:pt x="130" y="212"/>
                    <a:pt x="130" y="212"/>
                    <a:pt x="130" y="212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9" y="215"/>
                    <a:pt x="127" y="218"/>
                    <a:pt x="127" y="218"/>
                  </a:cubicBezTo>
                  <a:cubicBezTo>
                    <a:pt x="126" y="218"/>
                    <a:pt x="123" y="218"/>
                    <a:pt x="122" y="219"/>
                  </a:cubicBezTo>
                  <a:cubicBezTo>
                    <a:pt x="122" y="219"/>
                    <a:pt x="117" y="219"/>
                    <a:pt x="117" y="219"/>
                  </a:cubicBezTo>
                  <a:cubicBezTo>
                    <a:pt x="110" y="217"/>
                    <a:pt x="110" y="217"/>
                    <a:pt x="110" y="217"/>
                  </a:cubicBezTo>
                  <a:cubicBezTo>
                    <a:pt x="110" y="217"/>
                    <a:pt x="108" y="218"/>
                    <a:pt x="108" y="218"/>
                  </a:cubicBezTo>
                  <a:cubicBezTo>
                    <a:pt x="107" y="219"/>
                    <a:pt x="97" y="221"/>
                    <a:pt x="97" y="221"/>
                  </a:cubicBezTo>
                  <a:cubicBezTo>
                    <a:pt x="92" y="224"/>
                    <a:pt x="92" y="224"/>
                    <a:pt x="92" y="224"/>
                  </a:cubicBezTo>
                  <a:cubicBezTo>
                    <a:pt x="89" y="224"/>
                    <a:pt x="89" y="224"/>
                    <a:pt x="89" y="224"/>
                  </a:cubicBezTo>
                  <a:cubicBezTo>
                    <a:pt x="86" y="220"/>
                    <a:pt x="86" y="220"/>
                    <a:pt x="86" y="220"/>
                  </a:cubicBezTo>
                  <a:cubicBezTo>
                    <a:pt x="84" y="217"/>
                    <a:pt x="84" y="217"/>
                    <a:pt x="84" y="217"/>
                  </a:cubicBezTo>
                  <a:cubicBezTo>
                    <a:pt x="84" y="221"/>
                    <a:pt x="84" y="221"/>
                    <a:pt x="84" y="221"/>
                  </a:cubicBezTo>
                  <a:cubicBezTo>
                    <a:pt x="83" y="223"/>
                    <a:pt x="83" y="223"/>
                    <a:pt x="83" y="223"/>
                  </a:cubicBezTo>
                  <a:cubicBezTo>
                    <a:pt x="83" y="223"/>
                    <a:pt x="79" y="227"/>
                    <a:pt x="78" y="228"/>
                  </a:cubicBezTo>
                  <a:cubicBezTo>
                    <a:pt x="78" y="228"/>
                    <a:pt x="73" y="223"/>
                    <a:pt x="73" y="223"/>
                  </a:cubicBezTo>
                  <a:cubicBezTo>
                    <a:pt x="72" y="216"/>
                    <a:pt x="72" y="216"/>
                    <a:pt x="72" y="216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4" y="212"/>
                    <a:pt x="64" y="212"/>
                    <a:pt x="64" y="212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1" y="204"/>
                    <a:pt x="61" y="204"/>
                    <a:pt x="61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6" y="206"/>
                    <a:pt x="56" y="206"/>
                    <a:pt x="56" y="206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209"/>
                    <a:pt x="56" y="212"/>
                    <a:pt x="56" y="212"/>
                  </a:cubicBezTo>
                  <a:cubicBezTo>
                    <a:pt x="56" y="213"/>
                    <a:pt x="55" y="214"/>
                    <a:pt x="54" y="214"/>
                  </a:cubicBezTo>
                  <a:cubicBezTo>
                    <a:pt x="54" y="214"/>
                    <a:pt x="49" y="216"/>
                    <a:pt x="49" y="216"/>
                  </a:cubicBezTo>
                  <a:cubicBezTo>
                    <a:pt x="49" y="216"/>
                    <a:pt x="48" y="213"/>
                    <a:pt x="48" y="212"/>
                  </a:cubicBezTo>
                  <a:cubicBezTo>
                    <a:pt x="48" y="210"/>
                    <a:pt x="48" y="207"/>
                    <a:pt x="48" y="207"/>
                  </a:cubicBezTo>
                  <a:cubicBezTo>
                    <a:pt x="48" y="207"/>
                    <a:pt x="52" y="205"/>
                    <a:pt x="52" y="205"/>
                  </a:cubicBezTo>
                  <a:cubicBezTo>
                    <a:pt x="52" y="204"/>
                    <a:pt x="55" y="199"/>
                    <a:pt x="55" y="199"/>
                  </a:cubicBezTo>
                  <a:cubicBezTo>
                    <a:pt x="55" y="196"/>
                    <a:pt x="55" y="196"/>
                    <a:pt x="55" y="196"/>
                  </a:cubicBezTo>
                  <a:cubicBezTo>
                    <a:pt x="55" y="196"/>
                    <a:pt x="59" y="195"/>
                    <a:pt x="60" y="195"/>
                  </a:cubicBezTo>
                  <a:cubicBezTo>
                    <a:pt x="61" y="195"/>
                    <a:pt x="63" y="195"/>
                    <a:pt x="64" y="196"/>
                  </a:cubicBezTo>
                  <a:cubicBezTo>
                    <a:pt x="66" y="197"/>
                    <a:pt x="65" y="197"/>
                    <a:pt x="67" y="197"/>
                  </a:cubicBezTo>
                  <a:cubicBezTo>
                    <a:pt x="69" y="196"/>
                    <a:pt x="71" y="195"/>
                    <a:pt x="71" y="194"/>
                  </a:cubicBezTo>
                  <a:cubicBezTo>
                    <a:pt x="71" y="193"/>
                    <a:pt x="72" y="189"/>
                    <a:pt x="69" y="189"/>
                  </a:cubicBezTo>
                  <a:cubicBezTo>
                    <a:pt x="67" y="189"/>
                    <a:pt x="64" y="191"/>
                    <a:pt x="63" y="191"/>
                  </a:cubicBezTo>
                  <a:cubicBezTo>
                    <a:pt x="62" y="192"/>
                    <a:pt x="61" y="191"/>
                    <a:pt x="59" y="190"/>
                  </a:cubicBezTo>
                  <a:cubicBezTo>
                    <a:pt x="58" y="190"/>
                    <a:pt x="56" y="189"/>
                    <a:pt x="56" y="18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5" y="196"/>
                    <a:pt x="51" y="193"/>
                  </a:cubicBezTo>
                  <a:cubicBezTo>
                    <a:pt x="47" y="191"/>
                    <a:pt x="47" y="190"/>
                    <a:pt x="47" y="190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41" y="179"/>
                    <a:pt x="41" y="179"/>
                    <a:pt x="41" y="179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7" y="177"/>
                    <a:pt x="36" y="179"/>
                  </a:cubicBezTo>
                  <a:cubicBezTo>
                    <a:pt x="35" y="180"/>
                    <a:pt x="33" y="180"/>
                    <a:pt x="32" y="179"/>
                  </a:cubicBezTo>
                  <a:cubicBezTo>
                    <a:pt x="32" y="177"/>
                    <a:pt x="29" y="173"/>
                    <a:pt x="29" y="173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26" y="168"/>
                    <a:pt x="26" y="168"/>
                    <a:pt x="26" y="168"/>
                  </a:cubicBezTo>
                  <a:cubicBezTo>
                    <a:pt x="26" y="168"/>
                    <a:pt x="24" y="167"/>
                    <a:pt x="24" y="166"/>
                  </a:cubicBezTo>
                  <a:cubicBezTo>
                    <a:pt x="25" y="164"/>
                    <a:pt x="27" y="161"/>
                    <a:pt x="27" y="161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29" y="157"/>
                    <a:pt x="29" y="154"/>
                    <a:pt x="28" y="153"/>
                  </a:cubicBezTo>
                  <a:cubicBezTo>
                    <a:pt x="28" y="152"/>
                    <a:pt x="27" y="139"/>
                    <a:pt x="27" y="139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5" y="109"/>
                    <a:pt x="45" y="109"/>
                    <a:pt x="45" y="109"/>
                  </a:cubicBezTo>
                  <a:cubicBezTo>
                    <a:pt x="45" y="109"/>
                    <a:pt x="49" y="105"/>
                    <a:pt x="49" y="106"/>
                  </a:cubicBezTo>
                  <a:cubicBezTo>
                    <a:pt x="50" y="107"/>
                    <a:pt x="49" y="98"/>
                    <a:pt x="49" y="98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51" y="89"/>
                    <a:pt x="52" y="89"/>
                  </a:cubicBezTo>
                  <a:cubicBezTo>
                    <a:pt x="53" y="89"/>
                    <a:pt x="55" y="88"/>
                    <a:pt x="58" y="87"/>
                  </a:cubicBezTo>
                  <a:cubicBezTo>
                    <a:pt x="60" y="87"/>
                    <a:pt x="62" y="85"/>
                    <a:pt x="64" y="85"/>
                  </a:cubicBezTo>
                  <a:cubicBezTo>
                    <a:pt x="65" y="85"/>
                    <a:pt x="70" y="85"/>
                    <a:pt x="70" y="85"/>
                  </a:cubicBezTo>
                  <a:cubicBezTo>
                    <a:pt x="70" y="85"/>
                    <a:pt x="75" y="82"/>
                    <a:pt x="76" y="81"/>
                  </a:cubicBezTo>
                  <a:cubicBezTo>
                    <a:pt x="77" y="80"/>
                    <a:pt x="80" y="76"/>
                    <a:pt x="80" y="76"/>
                  </a:cubicBezTo>
                  <a:cubicBezTo>
                    <a:pt x="80" y="76"/>
                    <a:pt x="81" y="71"/>
                    <a:pt x="83" y="70"/>
                  </a:cubicBezTo>
                  <a:cubicBezTo>
                    <a:pt x="84" y="70"/>
                    <a:pt x="87" y="68"/>
                    <a:pt x="89" y="68"/>
                  </a:cubicBezTo>
                  <a:cubicBezTo>
                    <a:pt x="91" y="67"/>
                    <a:pt x="96" y="66"/>
                    <a:pt x="97" y="66"/>
                  </a:cubicBezTo>
                  <a:cubicBezTo>
                    <a:pt x="98" y="66"/>
                    <a:pt x="110" y="64"/>
                    <a:pt x="110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4" y="51"/>
                    <a:pt x="114" y="51"/>
                    <a:pt x="114" y="51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8" y="42"/>
                    <a:pt x="139" y="42"/>
                  </a:cubicBezTo>
                  <a:cubicBezTo>
                    <a:pt x="140" y="43"/>
                    <a:pt x="142" y="42"/>
                    <a:pt x="142" y="42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58" y="37"/>
                    <a:pt x="159" y="36"/>
                  </a:cubicBezTo>
                  <a:cubicBezTo>
                    <a:pt x="159" y="36"/>
                    <a:pt x="164" y="34"/>
                    <a:pt x="164" y="34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8" y="28"/>
                    <a:pt x="171" y="28"/>
                  </a:cubicBezTo>
                  <a:cubicBezTo>
                    <a:pt x="173" y="28"/>
                    <a:pt x="175" y="28"/>
                    <a:pt x="176" y="28"/>
                  </a:cubicBezTo>
                  <a:cubicBezTo>
                    <a:pt x="176" y="27"/>
                    <a:pt x="177" y="25"/>
                    <a:pt x="178" y="25"/>
                  </a:cubicBezTo>
                  <a:cubicBezTo>
                    <a:pt x="179" y="25"/>
                    <a:pt x="185" y="24"/>
                    <a:pt x="185" y="24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8" y="29"/>
                    <a:pt x="194" y="33"/>
                    <a:pt x="195" y="33"/>
                  </a:cubicBezTo>
                  <a:cubicBezTo>
                    <a:pt x="196" y="33"/>
                    <a:pt x="201" y="29"/>
                    <a:pt x="201" y="29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9" y="34"/>
                    <a:pt x="219" y="34"/>
                    <a:pt x="219" y="34"/>
                  </a:cubicBezTo>
                  <a:cubicBezTo>
                    <a:pt x="222" y="32"/>
                    <a:pt x="222" y="32"/>
                    <a:pt x="222" y="32"/>
                  </a:cubicBezTo>
                  <a:close/>
                  <a:moveTo>
                    <a:pt x="188" y="149"/>
                  </a:moveTo>
                  <a:cubicBezTo>
                    <a:pt x="188" y="149"/>
                    <a:pt x="188" y="149"/>
                    <a:pt x="188" y="149"/>
                  </a:cubicBezTo>
                  <a:cubicBezTo>
                    <a:pt x="189" y="150"/>
                    <a:pt x="189" y="150"/>
                    <a:pt x="189" y="150"/>
                  </a:cubicBezTo>
                  <a:cubicBezTo>
                    <a:pt x="189" y="150"/>
                    <a:pt x="191" y="150"/>
                    <a:pt x="192" y="149"/>
                  </a:cubicBezTo>
                  <a:cubicBezTo>
                    <a:pt x="193" y="149"/>
                    <a:pt x="191" y="148"/>
                    <a:pt x="191" y="148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9" y="148"/>
                    <a:pt x="188" y="149"/>
                    <a:pt x="188" y="149"/>
                  </a:cubicBezTo>
                  <a:close/>
                  <a:moveTo>
                    <a:pt x="184" y="157"/>
                  </a:moveTo>
                  <a:cubicBezTo>
                    <a:pt x="184" y="157"/>
                    <a:pt x="184" y="157"/>
                    <a:pt x="184" y="157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6" y="155"/>
                    <a:pt x="187" y="154"/>
                  </a:cubicBezTo>
                  <a:cubicBezTo>
                    <a:pt x="188" y="152"/>
                    <a:pt x="186" y="153"/>
                    <a:pt x="186" y="153"/>
                  </a:cubicBezTo>
                  <a:cubicBezTo>
                    <a:pt x="185" y="154"/>
                    <a:pt x="185" y="154"/>
                    <a:pt x="185" y="154"/>
                  </a:cubicBezTo>
                  <a:cubicBezTo>
                    <a:pt x="185" y="154"/>
                    <a:pt x="184" y="157"/>
                    <a:pt x="184" y="157"/>
                  </a:cubicBezTo>
                  <a:close/>
                  <a:moveTo>
                    <a:pt x="318" y="231"/>
                  </a:moveTo>
                  <a:cubicBezTo>
                    <a:pt x="318" y="231"/>
                    <a:pt x="318" y="231"/>
                    <a:pt x="318" y="231"/>
                  </a:cubicBezTo>
                  <a:cubicBezTo>
                    <a:pt x="318" y="231"/>
                    <a:pt x="321" y="233"/>
                    <a:pt x="321" y="233"/>
                  </a:cubicBezTo>
                  <a:cubicBezTo>
                    <a:pt x="319" y="237"/>
                    <a:pt x="319" y="237"/>
                    <a:pt x="319" y="237"/>
                  </a:cubicBezTo>
                  <a:cubicBezTo>
                    <a:pt x="316" y="235"/>
                    <a:pt x="316" y="235"/>
                    <a:pt x="316" y="235"/>
                  </a:cubicBezTo>
                  <a:cubicBezTo>
                    <a:pt x="318" y="231"/>
                    <a:pt x="318" y="231"/>
                    <a:pt x="318" y="231"/>
                  </a:cubicBezTo>
                  <a:close/>
                  <a:moveTo>
                    <a:pt x="342" y="250"/>
                  </a:moveTo>
                  <a:cubicBezTo>
                    <a:pt x="342" y="250"/>
                    <a:pt x="342" y="250"/>
                    <a:pt x="342" y="250"/>
                  </a:cubicBezTo>
                  <a:cubicBezTo>
                    <a:pt x="342" y="250"/>
                    <a:pt x="347" y="251"/>
                    <a:pt x="347" y="250"/>
                  </a:cubicBezTo>
                  <a:cubicBezTo>
                    <a:pt x="347" y="249"/>
                    <a:pt x="348" y="247"/>
                    <a:pt x="348" y="247"/>
                  </a:cubicBezTo>
                  <a:cubicBezTo>
                    <a:pt x="347" y="246"/>
                    <a:pt x="344" y="245"/>
                    <a:pt x="344" y="245"/>
                  </a:cubicBezTo>
                  <a:cubicBezTo>
                    <a:pt x="343" y="245"/>
                    <a:pt x="342" y="245"/>
                    <a:pt x="341" y="244"/>
                  </a:cubicBezTo>
                  <a:cubicBezTo>
                    <a:pt x="335" y="237"/>
                    <a:pt x="339" y="246"/>
                    <a:pt x="342" y="247"/>
                  </a:cubicBezTo>
                  <a:cubicBezTo>
                    <a:pt x="342" y="248"/>
                    <a:pt x="342" y="248"/>
                    <a:pt x="342" y="248"/>
                  </a:cubicBezTo>
                  <a:cubicBezTo>
                    <a:pt x="342" y="250"/>
                    <a:pt x="342" y="250"/>
                    <a:pt x="342" y="250"/>
                  </a:cubicBezTo>
                  <a:close/>
                  <a:moveTo>
                    <a:pt x="349" y="257"/>
                  </a:moveTo>
                  <a:cubicBezTo>
                    <a:pt x="349" y="257"/>
                    <a:pt x="349" y="257"/>
                    <a:pt x="349" y="257"/>
                  </a:cubicBezTo>
                  <a:cubicBezTo>
                    <a:pt x="353" y="252"/>
                    <a:pt x="353" y="252"/>
                    <a:pt x="353" y="252"/>
                  </a:cubicBezTo>
                  <a:cubicBezTo>
                    <a:pt x="353" y="252"/>
                    <a:pt x="355" y="250"/>
                    <a:pt x="356" y="250"/>
                  </a:cubicBezTo>
                  <a:cubicBezTo>
                    <a:pt x="357" y="250"/>
                    <a:pt x="361" y="249"/>
                    <a:pt x="361" y="249"/>
                  </a:cubicBezTo>
                  <a:cubicBezTo>
                    <a:pt x="361" y="249"/>
                    <a:pt x="364" y="250"/>
                    <a:pt x="362" y="251"/>
                  </a:cubicBezTo>
                  <a:cubicBezTo>
                    <a:pt x="361" y="252"/>
                    <a:pt x="358" y="254"/>
                    <a:pt x="357" y="254"/>
                  </a:cubicBezTo>
                  <a:cubicBezTo>
                    <a:pt x="356" y="255"/>
                    <a:pt x="354" y="258"/>
                    <a:pt x="354" y="258"/>
                  </a:cubicBezTo>
                  <a:cubicBezTo>
                    <a:pt x="350" y="259"/>
                    <a:pt x="350" y="259"/>
                    <a:pt x="350" y="259"/>
                  </a:cubicBezTo>
                  <a:cubicBezTo>
                    <a:pt x="346" y="261"/>
                    <a:pt x="346" y="261"/>
                    <a:pt x="346" y="261"/>
                  </a:cubicBezTo>
                  <a:cubicBezTo>
                    <a:pt x="347" y="265"/>
                    <a:pt x="347" y="265"/>
                    <a:pt x="347" y="265"/>
                  </a:cubicBezTo>
                  <a:cubicBezTo>
                    <a:pt x="347" y="265"/>
                    <a:pt x="346" y="266"/>
                    <a:pt x="345" y="266"/>
                  </a:cubicBezTo>
                  <a:cubicBezTo>
                    <a:pt x="345" y="265"/>
                    <a:pt x="342" y="263"/>
                    <a:pt x="342" y="263"/>
                  </a:cubicBezTo>
                  <a:cubicBezTo>
                    <a:pt x="343" y="258"/>
                    <a:pt x="343" y="258"/>
                    <a:pt x="343" y="258"/>
                  </a:cubicBezTo>
                  <a:cubicBezTo>
                    <a:pt x="347" y="258"/>
                    <a:pt x="347" y="258"/>
                    <a:pt x="347" y="258"/>
                  </a:cubicBezTo>
                  <a:cubicBezTo>
                    <a:pt x="349" y="257"/>
                    <a:pt x="349" y="257"/>
                    <a:pt x="349" y="257"/>
                  </a:cubicBezTo>
                  <a:close/>
                  <a:moveTo>
                    <a:pt x="388" y="286"/>
                  </a:moveTo>
                  <a:cubicBezTo>
                    <a:pt x="388" y="286"/>
                    <a:pt x="388" y="286"/>
                    <a:pt x="388" y="286"/>
                  </a:cubicBezTo>
                  <a:cubicBezTo>
                    <a:pt x="388" y="286"/>
                    <a:pt x="392" y="290"/>
                    <a:pt x="392" y="290"/>
                  </a:cubicBezTo>
                  <a:cubicBezTo>
                    <a:pt x="391" y="295"/>
                    <a:pt x="391" y="295"/>
                    <a:pt x="391" y="295"/>
                  </a:cubicBezTo>
                  <a:cubicBezTo>
                    <a:pt x="391" y="295"/>
                    <a:pt x="391" y="297"/>
                    <a:pt x="393" y="297"/>
                  </a:cubicBezTo>
                  <a:cubicBezTo>
                    <a:pt x="395" y="298"/>
                    <a:pt x="398" y="298"/>
                    <a:pt x="398" y="296"/>
                  </a:cubicBezTo>
                  <a:cubicBezTo>
                    <a:pt x="398" y="294"/>
                    <a:pt x="399" y="292"/>
                    <a:pt x="400" y="291"/>
                  </a:cubicBezTo>
                  <a:cubicBezTo>
                    <a:pt x="401" y="289"/>
                    <a:pt x="403" y="286"/>
                    <a:pt x="403" y="286"/>
                  </a:cubicBezTo>
                  <a:cubicBezTo>
                    <a:pt x="403" y="286"/>
                    <a:pt x="404" y="286"/>
                    <a:pt x="405" y="285"/>
                  </a:cubicBezTo>
                  <a:cubicBezTo>
                    <a:pt x="406" y="285"/>
                    <a:pt x="404" y="282"/>
                    <a:pt x="404" y="282"/>
                  </a:cubicBezTo>
                  <a:cubicBezTo>
                    <a:pt x="404" y="282"/>
                    <a:pt x="403" y="282"/>
                    <a:pt x="405" y="278"/>
                  </a:cubicBezTo>
                  <a:cubicBezTo>
                    <a:pt x="407" y="275"/>
                    <a:pt x="407" y="275"/>
                    <a:pt x="407" y="275"/>
                  </a:cubicBezTo>
                  <a:cubicBezTo>
                    <a:pt x="407" y="274"/>
                    <a:pt x="408" y="271"/>
                    <a:pt x="408" y="270"/>
                  </a:cubicBezTo>
                  <a:cubicBezTo>
                    <a:pt x="407" y="268"/>
                    <a:pt x="406" y="263"/>
                    <a:pt x="406" y="263"/>
                  </a:cubicBezTo>
                  <a:cubicBezTo>
                    <a:pt x="404" y="265"/>
                    <a:pt x="404" y="265"/>
                    <a:pt x="404" y="265"/>
                  </a:cubicBezTo>
                  <a:cubicBezTo>
                    <a:pt x="404" y="265"/>
                    <a:pt x="402" y="267"/>
                    <a:pt x="400" y="267"/>
                  </a:cubicBezTo>
                  <a:cubicBezTo>
                    <a:pt x="398" y="268"/>
                    <a:pt x="396" y="269"/>
                    <a:pt x="396" y="270"/>
                  </a:cubicBezTo>
                  <a:cubicBezTo>
                    <a:pt x="396" y="270"/>
                    <a:pt x="396" y="273"/>
                    <a:pt x="395" y="274"/>
                  </a:cubicBezTo>
                  <a:cubicBezTo>
                    <a:pt x="394" y="275"/>
                    <a:pt x="391" y="278"/>
                    <a:pt x="391" y="278"/>
                  </a:cubicBezTo>
                  <a:cubicBezTo>
                    <a:pt x="389" y="283"/>
                    <a:pt x="389" y="283"/>
                    <a:pt x="389" y="283"/>
                  </a:cubicBezTo>
                  <a:cubicBezTo>
                    <a:pt x="389" y="283"/>
                    <a:pt x="388" y="286"/>
                    <a:pt x="388" y="286"/>
                  </a:cubicBezTo>
                  <a:close/>
                  <a:moveTo>
                    <a:pt x="373" y="331"/>
                  </a:moveTo>
                  <a:cubicBezTo>
                    <a:pt x="373" y="331"/>
                    <a:pt x="373" y="331"/>
                    <a:pt x="373" y="331"/>
                  </a:cubicBezTo>
                  <a:cubicBezTo>
                    <a:pt x="371" y="330"/>
                    <a:pt x="369" y="328"/>
                    <a:pt x="369" y="326"/>
                  </a:cubicBezTo>
                  <a:cubicBezTo>
                    <a:pt x="369" y="325"/>
                    <a:pt x="370" y="323"/>
                    <a:pt x="370" y="323"/>
                  </a:cubicBezTo>
                  <a:cubicBezTo>
                    <a:pt x="370" y="323"/>
                    <a:pt x="368" y="322"/>
                    <a:pt x="368" y="321"/>
                  </a:cubicBezTo>
                  <a:cubicBezTo>
                    <a:pt x="368" y="321"/>
                    <a:pt x="370" y="317"/>
                    <a:pt x="370" y="315"/>
                  </a:cubicBezTo>
                  <a:cubicBezTo>
                    <a:pt x="369" y="314"/>
                    <a:pt x="370" y="308"/>
                    <a:pt x="370" y="308"/>
                  </a:cubicBezTo>
                  <a:cubicBezTo>
                    <a:pt x="370" y="308"/>
                    <a:pt x="373" y="307"/>
                    <a:pt x="373" y="308"/>
                  </a:cubicBezTo>
                  <a:cubicBezTo>
                    <a:pt x="373" y="309"/>
                    <a:pt x="372" y="312"/>
                    <a:pt x="372" y="313"/>
                  </a:cubicBezTo>
                  <a:cubicBezTo>
                    <a:pt x="372" y="314"/>
                    <a:pt x="371" y="318"/>
                    <a:pt x="371" y="319"/>
                  </a:cubicBezTo>
                  <a:cubicBezTo>
                    <a:pt x="371" y="319"/>
                    <a:pt x="372" y="318"/>
                    <a:pt x="374" y="320"/>
                  </a:cubicBezTo>
                  <a:cubicBezTo>
                    <a:pt x="376" y="322"/>
                    <a:pt x="376" y="325"/>
                    <a:pt x="376" y="325"/>
                  </a:cubicBezTo>
                  <a:cubicBezTo>
                    <a:pt x="374" y="327"/>
                    <a:pt x="374" y="327"/>
                    <a:pt x="374" y="327"/>
                  </a:cubicBezTo>
                  <a:cubicBezTo>
                    <a:pt x="373" y="331"/>
                    <a:pt x="373" y="331"/>
                    <a:pt x="373" y="331"/>
                  </a:cubicBezTo>
                  <a:close/>
                  <a:moveTo>
                    <a:pt x="361" y="333"/>
                  </a:moveTo>
                  <a:cubicBezTo>
                    <a:pt x="361" y="333"/>
                    <a:pt x="361" y="333"/>
                    <a:pt x="361" y="333"/>
                  </a:cubicBezTo>
                  <a:cubicBezTo>
                    <a:pt x="361" y="333"/>
                    <a:pt x="360" y="337"/>
                    <a:pt x="360" y="338"/>
                  </a:cubicBezTo>
                  <a:cubicBezTo>
                    <a:pt x="360" y="338"/>
                    <a:pt x="361" y="338"/>
                    <a:pt x="362" y="338"/>
                  </a:cubicBezTo>
                  <a:cubicBezTo>
                    <a:pt x="363" y="337"/>
                    <a:pt x="364" y="337"/>
                    <a:pt x="365" y="336"/>
                  </a:cubicBezTo>
                  <a:cubicBezTo>
                    <a:pt x="366" y="335"/>
                    <a:pt x="369" y="333"/>
                    <a:pt x="370" y="333"/>
                  </a:cubicBezTo>
                  <a:cubicBezTo>
                    <a:pt x="371" y="332"/>
                    <a:pt x="366" y="330"/>
                    <a:pt x="366" y="330"/>
                  </a:cubicBezTo>
                  <a:cubicBezTo>
                    <a:pt x="361" y="333"/>
                    <a:pt x="361" y="333"/>
                    <a:pt x="361" y="333"/>
                  </a:cubicBezTo>
                  <a:close/>
                  <a:moveTo>
                    <a:pt x="225" y="132"/>
                  </a:moveTo>
                  <a:cubicBezTo>
                    <a:pt x="225" y="132"/>
                    <a:pt x="225" y="132"/>
                    <a:pt x="225" y="132"/>
                  </a:cubicBezTo>
                  <a:cubicBezTo>
                    <a:pt x="227" y="133"/>
                    <a:pt x="227" y="133"/>
                    <a:pt x="227" y="133"/>
                  </a:cubicBezTo>
                  <a:cubicBezTo>
                    <a:pt x="227" y="133"/>
                    <a:pt x="228" y="132"/>
                    <a:pt x="229" y="131"/>
                  </a:cubicBezTo>
                  <a:cubicBezTo>
                    <a:pt x="230" y="130"/>
                    <a:pt x="228" y="129"/>
                    <a:pt x="228" y="129"/>
                  </a:cubicBezTo>
                  <a:cubicBezTo>
                    <a:pt x="227" y="130"/>
                    <a:pt x="227" y="130"/>
                    <a:pt x="227" y="130"/>
                  </a:cubicBezTo>
                  <a:cubicBezTo>
                    <a:pt x="227" y="130"/>
                    <a:pt x="225" y="132"/>
                    <a:pt x="225" y="132"/>
                  </a:cubicBezTo>
                  <a:close/>
                  <a:moveTo>
                    <a:pt x="164" y="164"/>
                  </a:moveTo>
                  <a:cubicBezTo>
                    <a:pt x="164" y="164"/>
                    <a:pt x="164" y="164"/>
                    <a:pt x="164" y="164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3"/>
                    <a:pt x="168" y="162"/>
                  </a:cubicBezTo>
                  <a:cubicBezTo>
                    <a:pt x="169" y="161"/>
                    <a:pt x="167" y="161"/>
                    <a:pt x="167" y="161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162"/>
                    <a:pt x="164" y="163"/>
                    <a:pt x="164" y="164"/>
                  </a:cubicBezTo>
                  <a:close/>
                  <a:moveTo>
                    <a:pt x="174" y="162"/>
                  </a:moveTo>
                  <a:cubicBezTo>
                    <a:pt x="174" y="162"/>
                    <a:pt x="174" y="162"/>
                    <a:pt x="174" y="162"/>
                  </a:cubicBezTo>
                  <a:cubicBezTo>
                    <a:pt x="174" y="164"/>
                    <a:pt x="174" y="164"/>
                    <a:pt x="174" y="164"/>
                  </a:cubicBezTo>
                  <a:cubicBezTo>
                    <a:pt x="174" y="164"/>
                    <a:pt x="177" y="165"/>
                    <a:pt x="179" y="166"/>
                  </a:cubicBezTo>
                  <a:cubicBezTo>
                    <a:pt x="182" y="167"/>
                    <a:pt x="180" y="164"/>
                    <a:pt x="180" y="164"/>
                  </a:cubicBezTo>
                  <a:cubicBezTo>
                    <a:pt x="178" y="162"/>
                    <a:pt x="178" y="162"/>
                    <a:pt x="178" y="162"/>
                  </a:cubicBezTo>
                  <a:cubicBezTo>
                    <a:pt x="178" y="162"/>
                    <a:pt x="175" y="161"/>
                    <a:pt x="174" y="162"/>
                  </a:cubicBezTo>
                  <a:close/>
                  <a:moveTo>
                    <a:pt x="211" y="164"/>
                  </a:moveTo>
                  <a:cubicBezTo>
                    <a:pt x="211" y="164"/>
                    <a:pt x="211" y="164"/>
                    <a:pt x="211" y="164"/>
                  </a:cubicBezTo>
                  <a:cubicBezTo>
                    <a:pt x="210" y="166"/>
                    <a:pt x="210" y="166"/>
                    <a:pt x="210" y="166"/>
                  </a:cubicBezTo>
                  <a:cubicBezTo>
                    <a:pt x="210" y="166"/>
                    <a:pt x="212" y="168"/>
                    <a:pt x="213" y="170"/>
                  </a:cubicBezTo>
                  <a:cubicBezTo>
                    <a:pt x="214" y="170"/>
                    <a:pt x="218" y="174"/>
                    <a:pt x="220" y="174"/>
                  </a:cubicBezTo>
                  <a:cubicBezTo>
                    <a:pt x="228" y="177"/>
                    <a:pt x="215" y="167"/>
                    <a:pt x="214" y="166"/>
                  </a:cubicBezTo>
                  <a:cubicBezTo>
                    <a:pt x="214" y="166"/>
                    <a:pt x="211" y="163"/>
                    <a:pt x="211" y="164"/>
                  </a:cubicBezTo>
                  <a:close/>
                  <a:moveTo>
                    <a:pt x="258" y="178"/>
                  </a:moveTo>
                  <a:cubicBezTo>
                    <a:pt x="258" y="178"/>
                    <a:pt x="258" y="178"/>
                    <a:pt x="258" y="178"/>
                  </a:cubicBezTo>
                  <a:cubicBezTo>
                    <a:pt x="260" y="180"/>
                    <a:pt x="260" y="180"/>
                    <a:pt x="260" y="180"/>
                  </a:cubicBezTo>
                  <a:cubicBezTo>
                    <a:pt x="260" y="180"/>
                    <a:pt x="263" y="179"/>
                    <a:pt x="265" y="178"/>
                  </a:cubicBezTo>
                  <a:cubicBezTo>
                    <a:pt x="267" y="178"/>
                    <a:pt x="265" y="176"/>
                    <a:pt x="265" y="176"/>
                  </a:cubicBezTo>
                  <a:cubicBezTo>
                    <a:pt x="262" y="176"/>
                    <a:pt x="262" y="176"/>
                    <a:pt x="262" y="176"/>
                  </a:cubicBezTo>
                  <a:cubicBezTo>
                    <a:pt x="262" y="176"/>
                    <a:pt x="258" y="177"/>
                    <a:pt x="258" y="178"/>
                  </a:cubicBezTo>
                  <a:close/>
                  <a:moveTo>
                    <a:pt x="238" y="73"/>
                  </a:moveTo>
                  <a:cubicBezTo>
                    <a:pt x="238" y="73"/>
                    <a:pt x="238" y="73"/>
                    <a:pt x="238" y="73"/>
                  </a:cubicBezTo>
                  <a:cubicBezTo>
                    <a:pt x="238" y="73"/>
                    <a:pt x="234" y="75"/>
                    <a:pt x="234" y="75"/>
                  </a:cubicBezTo>
                  <a:cubicBezTo>
                    <a:pt x="233" y="75"/>
                    <a:pt x="234" y="77"/>
                    <a:pt x="235" y="77"/>
                  </a:cubicBezTo>
                  <a:cubicBezTo>
                    <a:pt x="236" y="78"/>
                    <a:pt x="239" y="79"/>
                    <a:pt x="239" y="79"/>
                  </a:cubicBezTo>
                  <a:cubicBezTo>
                    <a:pt x="240" y="79"/>
                    <a:pt x="243" y="77"/>
                    <a:pt x="245" y="75"/>
                  </a:cubicBezTo>
                  <a:cubicBezTo>
                    <a:pt x="247" y="74"/>
                    <a:pt x="243" y="73"/>
                    <a:pt x="243" y="73"/>
                  </a:cubicBezTo>
                  <a:cubicBezTo>
                    <a:pt x="238" y="73"/>
                    <a:pt x="238" y="73"/>
                    <a:pt x="238" y="73"/>
                  </a:cubicBezTo>
                  <a:close/>
                  <a:moveTo>
                    <a:pt x="202" y="66"/>
                  </a:moveTo>
                  <a:cubicBezTo>
                    <a:pt x="202" y="66"/>
                    <a:pt x="202" y="66"/>
                    <a:pt x="202" y="66"/>
                  </a:cubicBezTo>
                  <a:cubicBezTo>
                    <a:pt x="202" y="66"/>
                    <a:pt x="198" y="66"/>
                    <a:pt x="197" y="66"/>
                  </a:cubicBezTo>
                  <a:cubicBezTo>
                    <a:pt x="197" y="66"/>
                    <a:pt x="196" y="67"/>
                    <a:pt x="195" y="68"/>
                  </a:cubicBezTo>
                  <a:cubicBezTo>
                    <a:pt x="194" y="69"/>
                    <a:pt x="194" y="71"/>
                    <a:pt x="193" y="73"/>
                  </a:cubicBezTo>
                  <a:cubicBezTo>
                    <a:pt x="193" y="75"/>
                    <a:pt x="194" y="75"/>
                    <a:pt x="194" y="75"/>
                  </a:cubicBezTo>
                  <a:cubicBezTo>
                    <a:pt x="195" y="76"/>
                    <a:pt x="195" y="76"/>
                    <a:pt x="197" y="78"/>
                  </a:cubicBezTo>
                  <a:cubicBezTo>
                    <a:pt x="199" y="79"/>
                    <a:pt x="201" y="77"/>
                    <a:pt x="203" y="76"/>
                  </a:cubicBezTo>
                  <a:cubicBezTo>
                    <a:pt x="206" y="75"/>
                    <a:pt x="204" y="74"/>
                    <a:pt x="205" y="72"/>
                  </a:cubicBezTo>
                  <a:cubicBezTo>
                    <a:pt x="205" y="71"/>
                    <a:pt x="204" y="68"/>
                    <a:pt x="204" y="68"/>
                  </a:cubicBezTo>
                  <a:cubicBezTo>
                    <a:pt x="204" y="67"/>
                    <a:pt x="202" y="66"/>
                    <a:pt x="202" y="66"/>
                  </a:cubicBezTo>
                  <a:close/>
                  <a:moveTo>
                    <a:pt x="236" y="103"/>
                  </a:moveTo>
                  <a:cubicBezTo>
                    <a:pt x="236" y="103"/>
                    <a:pt x="236" y="103"/>
                    <a:pt x="236" y="103"/>
                  </a:cubicBezTo>
                  <a:cubicBezTo>
                    <a:pt x="236" y="103"/>
                    <a:pt x="235" y="105"/>
                    <a:pt x="235" y="105"/>
                  </a:cubicBezTo>
                  <a:cubicBezTo>
                    <a:pt x="235" y="105"/>
                    <a:pt x="235" y="107"/>
                    <a:pt x="235" y="107"/>
                  </a:cubicBezTo>
                  <a:cubicBezTo>
                    <a:pt x="235" y="107"/>
                    <a:pt x="234" y="108"/>
                    <a:pt x="233" y="109"/>
                  </a:cubicBezTo>
                  <a:cubicBezTo>
                    <a:pt x="231" y="111"/>
                    <a:pt x="233" y="111"/>
                    <a:pt x="234" y="112"/>
                  </a:cubicBezTo>
                  <a:cubicBezTo>
                    <a:pt x="235" y="114"/>
                    <a:pt x="234" y="113"/>
                    <a:pt x="235" y="113"/>
                  </a:cubicBezTo>
                  <a:cubicBezTo>
                    <a:pt x="235" y="114"/>
                    <a:pt x="236" y="113"/>
                    <a:pt x="238" y="112"/>
                  </a:cubicBezTo>
                  <a:cubicBezTo>
                    <a:pt x="240" y="111"/>
                    <a:pt x="239" y="111"/>
                    <a:pt x="239" y="111"/>
                  </a:cubicBezTo>
                  <a:cubicBezTo>
                    <a:pt x="239" y="111"/>
                    <a:pt x="237" y="108"/>
                    <a:pt x="237" y="108"/>
                  </a:cubicBezTo>
                  <a:cubicBezTo>
                    <a:pt x="237" y="108"/>
                    <a:pt x="237" y="107"/>
                    <a:pt x="237" y="107"/>
                  </a:cubicBezTo>
                  <a:cubicBezTo>
                    <a:pt x="237" y="106"/>
                    <a:pt x="238" y="106"/>
                    <a:pt x="239" y="105"/>
                  </a:cubicBezTo>
                  <a:cubicBezTo>
                    <a:pt x="240" y="103"/>
                    <a:pt x="240" y="102"/>
                    <a:pt x="240" y="102"/>
                  </a:cubicBezTo>
                  <a:cubicBezTo>
                    <a:pt x="240" y="101"/>
                    <a:pt x="238" y="101"/>
                    <a:pt x="238" y="101"/>
                  </a:cubicBezTo>
                  <a:cubicBezTo>
                    <a:pt x="238" y="101"/>
                    <a:pt x="236" y="102"/>
                    <a:pt x="236" y="103"/>
                  </a:cubicBezTo>
                  <a:close/>
                  <a:moveTo>
                    <a:pt x="233" y="105"/>
                  </a:moveTo>
                  <a:cubicBezTo>
                    <a:pt x="233" y="105"/>
                    <a:pt x="233" y="105"/>
                    <a:pt x="233" y="105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1" y="102"/>
                    <a:pt x="228" y="102"/>
                  </a:cubicBezTo>
                  <a:cubicBezTo>
                    <a:pt x="226" y="102"/>
                    <a:pt x="226" y="103"/>
                    <a:pt x="224" y="103"/>
                  </a:cubicBezTo>
                  <a:cubicBezTo>
                    <a:pt x="222" y="103"/>
                    <a:pt x="222" y="105"/>
                    <a:pt x="222" y="106"/>
                  </a:cubicBezTo>
                  <a:cubicBezTo>
                    <a:pt x="221" y="108"/>
                    <a:pt x="222" y="107"/>
                    <a:pt x="223" y="108"/>
                  </a:cubicBezTo>
                  <a:cubicBezTo>
                    <a:pt x="224" y="109"/>
                    <a:pt x="223" y="109"/>
                    <a:pt x="224" y="112"/>
                  </a:cubicBezTo>
                  <a:cubicBezTo>
                    <a:pt x="224" y="114"/>
                    <a:pt x="225" y="113"/>
                    <a:pt x="225" y="113"/>
                  </a:cubicBezTo>
                  <a:cubicBezTo>
                    <a:pt x="226" y="114"/>
                    <a:pt x="227" y="113"/>
                    <a:pt x="229" y="112"/>
                  </a:cubicBezTo>
                  <a:cubicBezTo>
                    <a:pt x="231" y="110"/>
                    <a:pt x="229" y="110"/>
                    <a:pt x="229" y="110"/>
                  </a:cubicBezTo>
                  <a:cubicBezTo>
                    <a:pt x="229" y="110"/>
                    <a:pt x="231" y="109"/>
                    <a:pt x="233" y="107"/>
                  </a:cubicBezTo>
                  <a:cubicBezTo>
                    <a:pt x="234" y="105"/>
                    <a:pt x="233" y="105"/>
                    <a:pt x="233" y="105"/>
                  </a:cubicBezTo>
                  <a:close/>
                  <a:moveTo>
                    <a:pt x="284" y="139"/>
                  </a:moveTo>
                  <a:cubicBezTo>
                    <a:pt x="284" y="139"/>
                    <a:pt x="284" y="139"/>
                    <a:pt x="284" y="139"/>
                  </a:cubicBezTo>
                  <a:cubicBezTo>
                    <a:pt x="283" y="139"/>
                    <a:pt x="282" y="141"/>
                    <a:pt x="282" y="141"/>
                  </a:cubicBezTo>
                  <a:cubicBezTo>
                    <a:pt x="282" y="141"/>
                    <a:pt x="281" y="142"/>
                    <a:pt x="281" y="143"/>
                  </a:cubicBezTo>
                  <a:cubicBezTo>
                    <a:pt x="280" y="143"/>
                    <a:pt x="279" y="145"/>
                    <a:pt x="279" y="145"/>
                  </a:cubicBezTo>
                  <a:cubicBezTo>
                    <a:pt x="279" y="145"/>
                    <a:pt x="280" y="146"/>
                    <a:pt x="281" y="146"/>
                  </a:cubicBezTo>
                  <a:cubicBezTo>
                    <a:pt x="282" y="147"/>
                    <a:pt x="282" y="147"/>
                    <a:pt x="283" y="147"/>
                  </a:cubicBezTo>
                  <a:cubicBezTo>
                    <a:pt x="284" y="147"/>
                    <a:pt x="284" y="147"/>
                    <a:pt x="287" y="147"/>
                  </a:cubicBezTo>
                  <a:cubicBezTo>
                    <a:pt x="291" y="147"/>
                    <a:pt x="294" y="147"/>
                    <a:pt x="295" y="147"/>
                  </a:cubicBezTo>
                  <a:cubicBezTo>
                    <a:pt x="295" y="147"/>
                    <a:pt x="297" y="146"/>
                    <a:pt x="297" y="146"/>
                  </a:cubicBezTo>
                  <a:cubicBezTo>
                    <a:pt x="297" y="145"/>
                    <a:pt x="297" y="145"/>
                    <a:pt x="296" y="144"/>
                  </a:cubicBezTo>
                  <a:cubicBezTo>
                    <a:pt x="295" y="142"/>
                    <a:pt x="293" y="141"/>
                    <a:pt x="293" y="141"/>
                  </a:cubicBezTo>
                  <a:cubicBezTo>
                    <a:pt x="292" y="141"/>
                    <a:pt x="293" y="139"/>
                    <a:pt x="294" y="140"/>
                  </a:cubicBezTo>
                  <a:cubicBezTo>
                    <a:pt x="294" y="140"/>
                    <a:pt x="297" y="143"/>
                    <a:pt x="297" y="143"/>
                  </a:cubicBezTo>
                  <a:cubicBezTo>
                    <a:pt x="298" y="143"/>
                    <a:pt x="300" y="143"/>
                    <a:pt x="300" y="141"/>
                  </a:cubicBezTo>
                  <a:cubicBezTo>
                    <a:pt x="299" y="140"/>
                    <a:pt x="301" y="138"/>
                    <a:pt x="298" y="137"/>
                  </a:cubicBezTo>
                  <a:cubicBezTo>
                    <a:pt x="296" y="136"/>
                    <a:pt x="295" y="135"/>
                    <a:pt x="294" y="135"/>
                  </a:cubicBezTo>
                  <a:cubicBezTo>
                    <a:pt x="292" y="135"/>
                    <a:pt x="295" y="136"/>
                    <a:pt x="291" y="133"/>
                  </a:cubicBezTo>
                  <a:cubicBezTo>
                    <a:pt x="287" y="130"/>
                    <a:pt x="287" y="131"/>
                    <a:pt x="287" y="131"/>
                  </a:cubicBezTo>
                  <a:cubicBezTo>
                    <a:pt x="287" y="131"/>
                    <a:pt x="289" y="128"/>
                    <a:pt x="288" y="127"/>
                  </a:cubicBezTo>
                  <a:cubicBezTo>
                    <a:pt x="288" y="127"/>
                    <a:pt x="284" y="126"/>
                    <a:pt x="284" y="126"/>
                  </a:cubicBezTo>
                  <a:cubicBezTo>
                    <a:pt x="284" y="126"/>
                    <a:pt x="279" y="127"/>
                    <a:pt x="279" y="127"/>
                  </a:cubicBezTo>
                  <a:cubicBezTo>
                    <a:pt x="278" y="128"/>
                    <a:pt x="277" y="129"/>
                    <a:pt x="277" y="129"/>
                  </a:cubicBezTo>
                  <a:cubicBezTo>
                    <a:pt x="277" y="131"/>
                    <a:pt x="277" y="131"/>
                    <a:pt x="277" y="131"/>
                  </a:cubicBezTo>
                  <a:cubicBezTo>
                    <a:pt x="275" y="132"/>
                    <a:pt x="275" y="132"/>
                    <a:pt x="275" y="132"/>
                  </a:cubicBezTo>
                  <a:cubicBezTo>
                    <a:pt x="275" y="132"/>
                    <a:pt x="274" y="134"/>
                    <a:pt x="274" y="134"/>
                  </a:cubicBezTo>
                  <a:cubicBezTo>
                    <a:pt x="273" y="134"/>
                    <a:pt x="271" y="135"/>
                    <a:pt x="271" y="135"/>
                  </a:cubicBezTo>
                  <a:cubicBezTo>
                    <a:pt x="270" y="135"/>
                    <a:pt x="268" y="135"/>
                    <a:pt x="268" y="136"/>
                  </a:cubicBezTo>
                  <a:cubicBezTo>
                    <a:pt x="267" y="137"/>
                    <a:pt x="264" y="138"/>
                    <a:pt x="264" y="138"/>
                  </a:cubicBezTo>
                  <a:cubicBezTo>
                    <a:pt x="264" y="138"/>
                    <a:pt x="263" y="139"/>
                    <a:pt x="265" y="141"/>
                  </a:cubicBezTo>
                  <a:cubicBezTo>
                    <a:pt x="267" y="142"/>
                    <a:pt x="269" y="142"/>
                    <a:pt x="269" y="143"/>
                  </a:cubicBezTo>
                  <a:cubicBezTo>
                    <a:pt x="270" y="143"/>
                    <a:pt x="270" y="143"/>
                    <a:pt x="271" y="143"/>
                  </a:cubicBezTo>
                  <a:cubicBezTo>
                    <a:pt x="272" y="144"/>
                    <a:pt x="272" y="144"/>
                    <a:pt x="274" y="144"/>
                  </a:cubicBezTo>
                  <a:cubicBezTo>
                    <a:pt x="275" y="143"/>
                    <a:pt x="277" y="143"/>
                    <a:pt x="277" y="142"/>
                  </a:cubicBezTo>
                  <a:cubicBezTo>
                    <a:pt x="278" y="141"/>
                    <a:pt x="278" y="140"/>
                    <a:pt x="279" y="139"/>
                  </a:cubicBezTo>
                  <a:cubicBezTo>
                    <a:pt x="279" y="138"/>
                    <a:pt x="279" y="137"/>
                    <a:pt x="281" y="137"/>
                  </a:cubicBezTo>
                  <a:cubicBezTo>
                    <a:pt x="282" y="137"/>
                    <a:pt x="284" y="136"/>
                    <a:pt x="284" y="136"/>
                  </a:cubicBezTo>
                  <a:cubicBezTo>
                    <a:pt x="284" y="136"/>
                    <a:pt x="284" y="139"/>
                    <a:pt x="284" y="139"/>
                  </a:cubicBezTo>
                  <a:close/>
                  <a:moveTo>
                    <a:pt x="289" y="182"/>
                  </a:moveTo>
                  <a:cubicBezTo>
                    <a:pt x="289" y="182"/>
                    <a:pt x="289" y="182"/>
                    <a:pt x="289" y="182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0"/>
                    <a:pt x="288" y="180"/>
                    <a:pt x="288" y="180"/>
                  </a:cubicBezTo>
                  <a:cubicBezTo>
                    <a:pt x="285" y="177"/>
                    <a:pt x="285" y="177"/>
                    <a:pt x="285" y="177"/>
                  </a:cubicBezTo>
                  <a:cubicBezTo>
                    <a:pt x="285" y="177"/>
                    <a:pt x="289" y="176"/>
                    <a:pt x="291" y="175"/>
                  </a:cubicBezTo>
                  <a:cubicBezTo>
                    <a:pt x="294" y="174"/>
                    <a:pt x="291" y="173"/>
                    <a:pt x="291" y="172"/>
                  </a:cubicBezTo>
                  <a:cubicBezTo>
                    <a:pt x="291" y="172"/>
                    <a:pt x="290" y="172"/>
                    <a:pt x="288" y="172"/>
                  </a:cubicBezTo>
                  <a:cubicBezTo>
                    <a:pt x="287" y="172"/>
                    <a:pt x="286" y="172"/>
                    <a:pt x="284" y="173"/>
                  </a:cubicBezTo>
                  <a:cubicBezTo>
                    <a:pt x="283" y="173"/>
                    <a:pt x="282" y="171"/>
                    <a:pt x="282" y="171"/>
                  </a:cubicBezTo>
                  <a:cubicBezTo>
                    <a:pt x="281" y="171"/>
                    <a:pt x="277" y="171"/>
                    <a:pt x="276" y="171"/>
                  </a:cubicBezTo>
                  <a:cubicBezTo>
                    <a:pt x="276" y="171"/>
                    <a:pt x="275" y="173"/>
                    <a:pt x="274" y="174"/>
                  </a:cubicBezTo>
                  <a:cubicBezTo>
                    <a:pt x="273" y="175"/>
                    <a:pt x="272" y="176"/>
                    <a:pt x="271" y="176"/>
                  </a:cubicBezTo>
                  <a:cubicBezTo>
                    <a:pt x="270" y="177"/>
                    <a:pt x="274" y="179"/>
                    <a:pt x="275" y="179"/>
                  </a:cubicBezTo>
                  <a:cubicBezTo>
                    <a:pt x="275" y="180"/>
                    <a:pt x="278" y="180"/>
                    <a:pt x="278" y="181"/>
                  </a:cubicBezTo>
                  <a:cubicBezTo>
                    <a:pt x="279" y="181"/>
                    <a:pt x="282" y="183"/>
                    <a:pt x="283" y="183"/>
                  </a:cubicBezTo>
                  <a:cubicBezTo>
                    <a:pt x="284" y="184"/>
                    <a:pt x="282" y="185"/>
                    <a:pt x="281" y="187"/>
                  </a:cubicBezTo>
                  <a:cubicBezTo>
                    <a:pt x="280" y="189"/>
                    <a:pt x="279" y="189"/>
                    <a:pt x="278" y="190"/>
                  </a:cubicBezTo>
                  <a:cubicBezTo>
                    <a:pt x="277" y="191"/>
                    <a:pt x="279" y="192"/>
                    <a:pt x="280" y="193"/>
                  </a:cubicBezTo>
                  <a:cubicBezTo>
                    <a:pt x="281" y="194"/>
                    <a:pt x="283" y="195"/>
                    <a:pt x="283" y="195"/>
                  </a:cubicBezTo>
                  <a:cubicBezTo>
                    <a:pt x="284" y="195"/>
                    <a:pt x="287" y="193"/>
                    <a:pt x="287" y="193"/>
                  </a:cubicBezTo>
                  <a:cubicBezTo>
                    <a:pt x="287" y="193"/>
                    <a:pt x="288" y="190"/>
                    <a:pt x="288" y="190"/>
                  </a:cubicBezTo>
                  <a:cubicBezTo>
                    <a:pt x="288" y="189"/>
                    <a:pt x="289" y="187"/>
                    <a:pt x="289" y="187"/>
                  </a:cubicBezTo>
                  <a:cubicBezTo>
                    <a:pt x="290" y="186"/>
                    <a:pt x="290" y="186"/>
                    <a:pt x="290" y="186"/>
                  </a:cubicBezTo>
                  <a:cubicBezTo>
                    <a:pt x="289" y="182"/>
                    <a:pt x="289" y="182"/>
                    <a:pt x="289" y="182"/>
                  </a:cubicBezTo>
                  <a:close/>
                  <a:moveTo>
                    <a:pt x="316" y="209"/>
                  </a:moveTo>
                  <a:cubicBezTo>
                    <a:pt x="316" y="209"/>
                    <a:pt x="316" y="209"/>
                    <a:pt x="316" y="209"/>
                  </a:cubicBezTo>
                  <a:cubicBezTo>
                    <a:pt x="317" y="208"/>
                    <a:pt x="319" y="206"/>
                    <a:pt x="319" y="205"/>
                  </a:cubicBezTo>
                  <a:cubicBezTo>
                    <a:pt x="319" y="205"/>
                    <a:pt x="321" y="205"/>
                    <a:pt x="322" y="205"/>
                  </a:cubicBezTo>
                  <a:cubicBezTo>
                    <a:pt x="322" y="205"/>
                    <a:pt x="326" y="206"/>
                    <a:pt x="326" y="206"/>
                  </a:cubicBezTo>
                  <a:cubicBezTo>
                    <a:pt x="326" y="206"/>
                    <a:pt x="329" y="206"/>
                    <a:pt x="329" y="206"/>
                  </a:cubicBezTo>
                  <a:cubicBezTo>
                    <a:pt x="329" y="206"/>
                    <a:pt x="332" y="204"/>
                    <a:pt x="332" y="204"/>
                  </a:cubicBezTo>
                  <a:cubicBezTo>
                    <a:pt x="333" y="204"/>
                    <a:pt x="336" y="207"/>
                    <a:pt x="336" y="207"/>
                  </a:cubicBezTo>
                  <a:cubicBezTo>
                    <a:pt x="336" y="207"/>
                    <a:pt x="334" y="210"/>
                    <a:pt x="333" y="210"/>
                  </a:cubicBezTo>
                  <a:cubicBezTo>
                    <a:pt x="332" y="211"/>
                    <a:pt x="331" y="211"/>
                    <a:pt x="330" y="212"/>
                  </a:cubicBezTo>
                  <a:cubicBezTo>
                    <a:pt x="329" y="214"/>
                    <a:pt x="329" y="214"/>
                    <a:pt x="329" y="215"/>
                  </a:cubicBezTo>
                  <a:cubicBezTo>
                    <a:pt x="328" y="215"/>
                    <a:pt x="327" y="217"/>
                    <a:pt x="325" y="215"/>
                  </a:cubicBezTo>
                  <a:cubicBezTo>
                    <a:pt x="323" y="214"/>
                    <a:pt x="321" y="212"/>
                    <a:pt x="321" y="212"/>
                  </a:cubicBezTo>
                  <a:cubicBezTo>
                    <a:pt x="321" y="212"/>
                    <a:pt x="319" y="213"/>
                    <a:pt x="318" y="213"/>
                  </a:cubicBezTo>
                  <a:cubicBezTo>
                    <a:pt x="317" y="214"/>
                    <a:pt x="315" y="213"/>
                    <a:pt x="315" y="213"/>
                  </a:cubicBezTo>
                  <a:cubicBezTo>
                    <a:pt x="316" y="212"/>
                    <a:pt x="315" y="210"/>
                    <a:pt x="316" y="209"/>
                  </a:cubicBezTo>
                  <a:close/>
                  <a:moveTo>
                    <a:pt x="295" y="229"/>
                  </a:moveTo>
                  <a:cubicBezTo>
                    <a:pt x="295" y="229"/>
                    <a:pt x="295" y="229"/>
                    <a:pt x="295" y="229"/>
                  </a:cubicBezTo>
                  <a:cubicBezTo>
                    <a:pt x="295" y="229"/>
                    <a:pt x="291" y="227"/>
                    <a:pt x="292" y="226"/>
                  </a:cubicBezTo>
                  <a:cubicBezTo>
                    <a:pt x="293" y="224"/>
                    <a:pt x="297" y="220"/>
                    <a:pt x="298" y="219"/>
                  </a:cubicBezTo>
                  <a:cubicBezTo>
                    <a:pt x="298" y="219"/>
                    <a:pt x="301" y="220"/>
                    <a:pt x="301" y="220"/>
                  </a:cubicBezTo>
                  <a:cubicBezTo>
                    <a:pt x="302" y="220"/>
                    <a:pt x="303" y="217"/>
                    <a:pt x="304" y="217"/>
                  </a:cubicBezTo>
                  <a:cubicBezTo>
                    <a:pt x="304" y="217"/>
                    <a:pt x="308" y="217"/>
                    <a:pt x="308" y="217"/>
                  </a:cubicBezTo>
                  <a:cubicBezTo>
                    <a:pt x="308" y="217"/>
                    <a:pt x="306" y="221"/>
                    <a:pt x="304" y="222"/>
                  </a:cubicBezTo>
                  <a:cubicBezTo>
                    <a:pt x="302" y="223"/>
                    <a:pt x="301" y="223"/>
                    <a:pt x="301" y="224"/>
                  </a:cubicBezTo>
                  <a:cubicBezTo>
                    <a:pt x="300" y="225"/>
                    <a:pt x="299" y="226"/>
                    <a:pt x="299" y="227"/>
                  </a:cubicBezTo>
                  <a:cubicBezTo>
                    <a:pt x="298" y="227"/>
                    <a:pt x="295" y="229"/>
                    <a:pt x="295" y="229"/>
                  </a:cubicBezTo>
                  <a:close/>
                  <a:moveTo>
                    <a:pt x="282" y="268"/>
                  </a:moveTo>
                  <a:cubicBezTo>
                    <a:pt x="282" y="268"/>
                    <a:pt x="282" y="268"/>
                    <a:pt x="282" y="268"/>
                  </a:cubicBezTo>
                  <a:cubicBezTo>
                    <a:pt x="283" y="269"/>
                    <a:pt x="281" y="273"/>
                    <a:pt x="278" y="271"/>
                  </a:cubicBezTo>
                  <a:cubicBezTo>
                    <a:pt x="278" y="271"/>
                    <a:pt x="277" y="269"/>
                    <a:pt x="279" y="268"/>
                  </a:cubicBezTo>
                  <a:cubicBezTo>
                    <a:pt x="280" y="268"/>
                    <a:pt x="282" y="268"/>
                    <a:pt x="282" y="268"/>
                  </a:cubicBezTo>
                  <a:close/>
                  <a:moveTo>
                    <a:pt x="279" y="292"/>
                  </a:moveTo>
                  <a:cubicBezTo>
                    <a:pt x="279" y="292"/>
                    <a:pt x="279" y="292"/>
                    <a:pt x="279" y="292"/>
                  </a:cubicBezTo>
                  <a:cubicBezTo>
                    <a:pt x="279" y="292"/>
                    <a:pt x="281" y="290"/>
                    <a:pt x="281" y="290"/>
                  </a:cubicBezTo>
                  <a:cubicBezTo>
                    <a:pt x="282" y="290"/>
                    <a:pt x="283" y="291"/>
                    <a:pt x="283" y="291"/>
                  </a:cubicBezTo>
                  <a:cubicBezTo>
                    <a:pt x="283" y="291"/>
                    <a:pt x="286" y="293"/>
                    <a:pt x="286" y="293"/>
                  </a:cubicBezTo>
                  <a:cubicBezTo>
                    <a:pt x="286" y="294"/>
                    <a:pt x="287" y="296"/>
                    <a:pt x="286" y="296"/>
                  </a:cubicBezTo>
                  <a:cubicBezTo>
                    <a:pt x="285" y="297"/>
                    <a:pt x="284" y="298"/>
                    <a:pt x="283" y="297"/>
                  </a:cubicBezTo>
                  <a:cubicBezTo>
                    <a:pt x="282" y="297"/>
                    <a:pt x="281" y="297"/>
                    <a:pt x="281" y="296"/>
                  </a:cubicBezTo>
                  <a:cubicBezTo>
                    <a:pt x="281" y="295"/>
                    <a:pt x="281" y="295"/>
                    <a:pt x="281" y="294"/>
                  </a:cubicBezTo>
                  <a:cubicBezTo>
                    <a:pt x="281" y="294"/>
                    <a:pt x="279" y="294"/>
                    <a:pt x="279" y="294"/>
                  </a:cubicBezTo>
                  <a:cubicBezTo>
                    <a:pt x="279" y="292"/>
                    <a:pt x="279" y="292"/>
                    <a:pt x="279" y="292"/>
                  </a:cubicBezTo>
                  <a:close/>
                  <a:moveTo>
                    <a:pt x="238" y="279"/>
                  </a:moveTo>
                  <a:cubicBezTo>
                    <a:pt x="238" y="279"/>
                    <a:pt x="238" y="279"/>
                    <a:pt x="238" y="279"/>
                  </a:cubicBezTo>
                  <a:cubicBezTo>
                    <a:pt x="239" y="279"/>
                    <a:pt x="241" y="278"/>
                    <a:pt x="241" y="279"/>
                  </a:cubicBezTo>
                  <a:cubicBezTo>
                    <a:pt x="242" y="280"/>
                    <a:pt x="243" y="280"/>
                    <a:pt x="243" y="281"/>
                  </a:cubicBezTo>
                  <a:cubicBezTo>
                    <a:pt x="243" y="281"/>
                    <a:pt x="244" y="282"/>
                    <a:pt x="242" y="283"/>
                  </a:cubicBezTo>
                  <a:cubicBezTo>
                    <a:pt x="240" y="283"/>
                    <a:pt x="239" y="283"/>
                    <a:pt x="239" y="283"/>
                  </a:cubicBezTo>
                  <a:cubicBezTo>
                    <a:pt x="240" y="286"/>
                    <a:pt x="240" y="286"/>
                    <a:pt x="240" y="286"/>
                  </a:cubicBezTo>
                  <a:cubicBezTo>
                    <a:pt x="240" y="286"/>
                    <a:pt x="242" y="286"/>
                    <a:pt x="239" y="288"/>
                  </a:cubicBezTo>
                  <a:cubicBezTo>
                    <a:pt x="237" y="290"/>
                    <a:pt x="235" y="290"/>
                    <a:pt x="235" y="290"/>
                  </a:cubicBezTo>
                  <a:cubicBezTo>
                    <a:pt x="235" y="289"/>
                    <a:pt x="235" y="289"/>
                    <a:pt x="235" y="289"/>
                  </a:cubicBezTo>
                  <a:cubicBezTo>
                    <a:pt x="232" y="290"/>
                    <a:pt x="232" y="290"/>
                    <a:pt x="232" y="290"/>
                  </a:cubicBezTo>
                  <a:cubicBezTo>
                    <a:pt x="232" y="290"/>
                    <a:pt x="231" y="291"/>
                    <a:pt x="231" y="290"/>
                  </a:cubicBezTo>
                  <a:cubicBezTo>
                    <a:pt x="230" y="288"/>
                    <a:pt x="229" y="286"/>
                    <a:pt x="231" y="286"/>
                  </a:cubicBezTo>
                  <a:cubicBezTo>
                    <a:pt x="233" y="285"/>
                    <a:pt x="233" y="284"/>
                    <a:pt x="234" y="285"/>
                  </a:cubicBezTo>
                  <a:cubicBezTo>
                    <a:pt x="235" y="286"/>
                    <a:pt x="235" y="287"/>
                    <a:pt x="235" y="287"/>
                  </a:cubicBezTo>
                  <a:cubicBezTo>
                    <a:pt x="236" y="284"/>
                    <a:pt x="236" y="284"/>
                    <a:pt x="236" y="284"/>
                  </a:cubicBezTo>
                  <a:cubicBezTo>
                    <a:pt x="236" y="284"/>
                    <a:pt x="235" y="284"/>
                    <a:pt x="235" y="283"/>
                  </a:cubicBezTo>
                  <a:cubicBezTo>
                    <a:pt x="236" y="282"/>
                    <a:pt x="236" y="282"/>
                    <a:pt x="237" y="281"/>
                  </a:cubicBezTo>
                  <a:cubicBezTo>
                    <a:pt x="238" y="281"/>
                    <a:pt x="239" y="282"/>
                    <a:pt x="239" y="282"/>
                  </a:cubicBezTo>
                  <a:cubicBezTo>
                    <a:pt x="238" y="279"/>
                    <a:pt x="238" y="279"/>
                    <a:pt x="238" y="279"/>
                  </a:cubicBezTo>
                  <a:close/>
                  <a:moveTo>
                    <a:pt x="258" y="286"/>
                  </a:moveTo>
                  <a:cubicBezTo>
                    <a:pt x="258" y="286"/>
                    <a:pt x="258" y="286"/>
                    <a:pt x="258" y="286"/>
                  </a:cubicBezTo>
                  <a:cubicBezTo>
                    <a:pt x="258" y="286"/>
                    <a:pt x="259" y="286"/>
                    <a:pt x="259" y="287"/>
                  </a:cubicBezTo>
                  <a:cubicBezTo>
                    <a:pt x="260" y="288"/>
                    <a:pt x="260" y="288"/>
                    <a:pt x="259" y="288"/>
                  </a:cubicBezTo>
                  <a:cubicBezTo>
                    <a:pt x="259" y="288"/>
                    <a:pt x="256" y="288"/>
                    <a:pt x="256" y="288"/>
                  </a:cubicBezTo>
                  <a:cubicBezTo>
                    <a:pt x="256" y="288"/>
                    <a:pt x="255" y="289"/>
                    <a:pt x="255" y="287"/>
                  </a:cubicBezTo>
                  <a:cubicBezTo>
                    <a:pt x="255" y="286"/>
                    <a:pt x="255" y="285"/>
                    <a:pt x="255" y="285"/>
                  </a:cubicBezTo>
                  <a:cubicBezTo>
                    <a:pt x="258" y="286"/>
                    <a:pt x="258" y="286"/>
                    <a:pt x="258" y="286"/>
                  </a:cubicBezTo>
                  <a:close/>
                  <a:moveTo>
                    <a:pt x="265" y="282"/>
                  </a:moveTo>
                  <a:cubicBezTo>
                    <a:pt x="265" y="282"/>
                    <a:pt x="265" y="282"/>
                    <a:pt x="265" y="282"/>
                  </a:cubicBezTo>
                  <a:cubicBezTo>
                    <a:pt x="269" y="279"/>
                    <a:pt x="269" y="279"/>
                    <a:pt x="269" y="279"/>
                  </a:cubicBezTo>
                  <a:cubicBezTo>
                    <a:pt x="269" y="279"/>
                    <a:pt x="270" y="282"/>
                    <a:pt x="268" y="283"/>
                  </a:cubicBezTo>
                  <a:cubicBezTo>
                    <a:pt x="267" y="284"/>
                    <a:pt x="266" y="284"/>
                    <a:pt x="266" y="284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5" y="282"/>
                    <a:pt x="265" y="282"/>
                    <a:pt x="265" y="282"/>
                  </a:cubicBezTo>
                  <a:close/>
                  <a:moveTo>
                    <a:pt x="273" y="275"/>
                  </a:moveTo>
                  <a:cubicBezTo>
                    <a:pt x="273" y="275"/>
                    <a:pt x="273" y="275"/>
                    <a:pt x="273" y="275"/>
                  </a:cubicBezTo>
                  <a:cubicBezTo>
                    <a:pt x="273" y="275"/>
                    <a:pt x="272" y="278"/>
                    <a:pt x="273" y="280"/>
                  </a:cubicBezTo>
                  <a:cubicBezTo>
                    <a:pt x="273" y="281"/>
                    <a:pt x="273" y="281"/>
                    <a:pt x="274" y="281"/>
                  </a:cubicBezTo>
                  <a:cubicBezTo>
                    <a:pt x="275" y="282"/>
                    <a:pt x="276" y="282"/>
                    <a:pt x="277" y="281"/>
                  </a:cubicBezTo>
                  <a:cubicBezTo>
                    <a:pt x="278" y="281"/>
                    <a:pt x="278" y="278"/>
                    <a:pt x="278" y="278"/>
                  </a:cubicBezTo>
                  <a:cubicBezTo>
                    <a:pt x="278" y="278"/>
                    <a:pt x="278" y="277"/>
                    <a:pt x="277" y="275"/>
                  </a:cubicBezTo>
                  <a:cubicBezTo>
                    <a:pt x="276" y="272"/>
                    <a:pt x="274" y="275"/>
                    <a:pt x="273" y="275"/>
                  </a:cubicBezTo>
                  <a:close/>
                  <a:moveTo>
                    <a:pt x="274" y="259"/>
                  </a:moveTo>
                  <a:cubicBezTo>
                    <a:pt x="274" y="259"/>
                    <a:pt x="274" y="259"/>
                    <a:pt x="274" y="259"/>
                  </a:cubicBezTo>
                  <a:cubicBezTo>
                    <a:pt x="274" y="258"/>
                    <a:pt x="274" y="255"/>
                    <a:pt x="275" y="254"/>
                  </a:cubicBezTo>
                  <a:cubicBezTo>
                    <a:pt x="276" y="254"/>
                    <a:pt x="276" y="253"/>
                    <a:pt x="277" y="252"/>
                  </a:cubicBezTo>
                  <a:cubicBezTo>
                    <a:pt x="277" y="251"/>
                    <a:pt x="281" y="251"/>
                    <a:pt x="281" y="251"/>
                  </a:cubicBezTo>
                  <a:cubicBezTo>
                    <a:pt x="282" y="253"/>
                    <a:pt x="282" y="253"/>
                    <a:pt x="282" y="253"/>
                  </a:cubicBezTo>
                  <a:cubicBezTo>
                    <a:pt x="282" y="253"/>
                    <a:pt x="282" y="255"/>
                    <a:pt x="282" y="256"/>
                  </a:cubicBezTo>
                  <a:cubicBezTo>
                    <a:pt x="282" y="257"/>
                    <a:pt x="282" y="257"/>
                    <a:pt x="283" y="259"/>
                  </a:cubicBezTo>
                  <a:cubicBezTo>
                    <a:pt x="283" y="260"/>
                    <a:pt x="282" y="262"/>
                    <a:pt x="282" y="263"/>
                  </a:cubicBezTo>
                  <a:cubicBezTo>
                    <a:pt x="281" y="264"/>
                    <a:pt x="281" y="265"/>
                    <a:pt x="280" y="265"/>
                  </a:cubicBezTo>
                  <a:cubicBezTo>
                    <a:pt x="279" y="266"/>
                    <a:pt x="279" y="267"/>
                    <a:pt x="278" y="266"/>
                  </a:cubicBezTo>
                  <a:cubicBezTo>
                    <a:pt x="277" y="265"/>
                    <a:pt x="274" y="264"/>
                    <a:pt x="274" y="263"/>
                  </a:cubicBezTo>
                  <a:cubicBezTo>
                    <a:pt x="274" y="263"/>
                    <a:pt x="274" y="261"/>
                    <a:pt x="274" y="261"/>
                  </a:cubicBezTo>
                  <a:cubicBezTo>
                    <a:pt x="274" y="259"/>
                    <a:pt x="274" y="259"/>
                    <a:pt x="274" y="259"/>
                  </a:cubicBezTo>
                  <a:close/>
                  <a:moveTo>
                    <a:pt x="262" y="264"/>
                  </a:moveTo>
                  <a:cubicBezTo>
                    <a:pt x="262" y="264"/>
                    <a:pt x="262" y="264"/>
                    <a:pt x="262" y="264"/>
                  </a:cubicBezTo>
                  <a:cubicBezTo>
                    <a:pt x="262" y="263"/>
                    <a:pt x="263" y="259"/>
                    <a:pt x="263" y="259"/>
                  </a:cubicBezTo>
                  <a:cubicBezTo>
                    <a:pt x="263" y="259"/>
                    <a:pt x="263" y="257"/>
                    <a:pt x="265" y="256"/>
                  </a:cubicBezTo>
                  <a:cubicBezTo>
                    <a:pt x="266" y="256"/>
                    <a:pt x="266" y="255"/>
                    <a:pt x="267" y="256"/>
                  </a:cubicBezTo>
                  <a:cubicBezTo>
                    <a:pt x="268" y="257"/>
                    <a:pt x="269" y="258"/>
                    <a:pt x="269" y="258"/>
                  </a:cubicBezTo>
                  <a:cubicBezTo>
                    <a:pt x="269" y="258"/>
                    <a:pt x="268" y="258"/>
                    <a:pt x="268" y="259"/>
                  </a:cubicBezTo>
                  <a:cubicBezTo>
                    <a:pt x="268" y="259"/>
                    <a:pt x="269" y="261"/>
                    <a:pt x="269" y="261"/>
                  </a:cubicBezTo>
                  <a:cubicBezTo>
                    <a:pt x="268" y="262"/>
                    <a:pt x="267" y="263"/>
                    <a:pt x="266" y="264"/>
                  </a:cubicBezTo>
                  <a:cubicBezTo>
                    <a:pt x="266" y="265"/>
                    <a:pt x="264" y="266"/>
                    <a:pt x="264" y="266"/>
                  </a:cubicBezTo>
                  <a:cubicBezTo>
                    <a:pt x="261" y="268"/>
                    <a:pt x="261" y="268"/>
                    <a:pt x="261" y="268"/>
                  </a:cubicBezTo>
                  <a:cubicBezTo>
                    <a:pt x="261" y="269"/>
                    <a:pt x="261" y="269"/>
                    <a:pt x="261" y="269"/>
                  </a:cubicBezTo>
                  <a:cubicBezTo>
                    <a:pt x="260" y="269"/>
                    <a:pt x="260" y="269"/>
                    <a:pt x="260" y="269"/>
                  </a:cubicBezTo>
                  <a:cubicBezTo>
                    <a:pt x="258" y="266"/>
                    <a:pt x="258" y="266"/>
                    <a:pt x="258" y="266"/>
                  </a:cubicBezTo>
                  <a:cubicBezTo>
                    <a:pt x="261" y="264"/>
                    <a:pt x="261" y="264"/>
                    <a:pt x="261" y="264"/>
                  </a:cubicBezTo>
                  <a:cubicBezTo>
                    <a:pt x="262" y="264"/>
                    <a:pt x="262" y="264"/>
                    <a:pt x="262" y="264"/>
                  </a:cubicBezTo>
                  <a:close/>
                  <a:moveTo>
                    <a:pt x="242" y="268"/>
                  </a:moveTo>
                  <a:cubicBezTo>
                    <a:pt x="242" y="268"/>
                    <a:pt x="242" y="268"/>
                    <a:pt x="242" y="268"/>
                  </a:cubicBezTo>
                  <a:cubicBezTo>
                    <a:pt x="245" y="267"/>
                    <a:pt x="245" y="267"/>
                    <a:pt x="245" y="267"/>
                  </a:cubicBezTo>
                  <a:cubicBezTo>
                    <a:pt x="248" y="269"/>
                    <a:pt x="248" y="269"/>
                    <a:pt x="248" y="269"/>
                  </a:cubicBezTo>
                  <a:cubicBezTo>
                    <a:pt x="248" y="272"/>
                    <a:pt x="248" y="272"/>
                    <a:pt x="248" y="272"/>
                  </a:cubicBezTo>
                  <a:cubicBezTo>
                    <a:pt x="248" y="272"/>
                    <a:pt x="246" y="276"/>
                    <a:pt x="245" y="275"/>
                  </a:cubicBezTo>
                  <a:cubicBezTo>
                    <a:pt x="244" y="273"/>
                    <a:pt x="244" y="271"/>
                    <a:pt x="244" y="271"/>
                  </a:cubicBezTo>
                  <a:cubicBezTo>
                    <a:pt x="242" y="268"/>
                    <a:pt x="242" y="268"/>
                    <a:pt x="242" y="268"/>
                  </a:cubicBezTo>
                  <a:close/>
                  <a:moveTo>
                    <a:pt x="229" y="260"/>
                  </a:moveTo>
                  <a:cubicBezTo>
                    <a:pt x="229" y="260"/>
                    <a:pt x="229" y="260"/>
                    <a:pt x="229" y="260"/>
                  </a:cubicBezTo>
                  <a:cubicBezTo>
                    <a:pt x="229" y="260"/>
                    <a:pt x="234" y="259"/>
                    <a:pt x="234" y="260"/>
                  </a:cubicBezTo>
                  <a:cubicBezTo>
                    <a:pt x="234" y="260"/>
                    <a:pt x="234" y="262"/>
                    <a:pt x="235" y="262"/>
                  </a:cubicBezTo>
                  <a:cubicBezTo>
                    <a:pt x="235" y="263"/>
                    <a:pt x="232" y="266"/>
                    <a:pt x="231" y="266"/>
                  </a:cubicBezTo>
                  <a:cubicBezTo>
                    <a:pt x="231" y="266"/>
                    <a:pt x="230" y="265"/>
                    <a:pt x="230" y="265"/>
                  </a:cubicBezTo>
                  <a:cubicBezTo>
                    <a:pt x="229" y="260"/>
                    <a:pt x="229" y="260"/>
                    <a:pt x="229" y="260"/>
                  </a:cubicBezTo>
                  <a:close/>
                  <a:moveTo>
                    <a:pt x="225" y="247"/>
                  </a:moveTo>
                  <a:cubicBezTo>
                    <a:pt x="225" y="247"/>
                    <a:pt x="225" y="247"/>
                    <a:pt x="225" y="247"/>
                  </a:cubicBezTo>
                  <a:cubicBezTo>
                    <a:pt x="225" y="247"/>
                    <a:pt x="226" y="246"/>
                    <a:pt x="227" y="246"/>
                  </a:cubicBezTo>
                  <a:cubicBezTo>
                    <a:pt x="228" y="247"/>
                    <a:pt x="228" y="250"/>
                    <a:pt x="228" y="250"/>
                  </a:cubicBezTo>
                  <a:cubicBezTo>
                    <a:pt x="227" y="253"/>
                    <a:pt x="227" y="253"/>
                    <a:pt x="227" y="253"/>
                  </a:cubicBezTo>
                  <a:cubicBezTo>
                    <a:pt x="227" y="253"/>
                    <a:pt x="225" y="256"/>
                    <a:pt x="225" y="256"/>
                  </a:cubicBezTo>
                  <a:cubicBezTo>
                    <a:pt x="225" y="255"/>
                    <a:pt x="224" y="250"/>
                    <a:pt x="224" y="250"/>
                  </a:cubicBezTo>
                  <a:cubicBezTo>
                    <a:pt x="225" y="247"/>
                    <a:pt x="225" y="247"/>
                    <a:pt x="225" y="247"/>
                  </a:cubicBezTo>
                  <a:close/>
                  <a:moveTo>
                    <a:pt x="219" y="239"/>
                  </a:moveTo>
                  <a:cubicBezTo>
                    <a:pt x="219" y="239"/>
                    <a:pt x="219" y="239"/>
                    <a:pt x="219" y="239"/>
                  </a:cubicBezTo>
                  <a:cubicBezTo>
                    <a:pt x="219" y="239"/>
                    <a:pt x="218" y="242"/>
                    <a:pt x="218" y="243"/>
                  </a:cubicBezTo>
                  <a:cubicBezTo>
                    <a:pt x="218" y="243"/>
                    <a:pt x="219" y="245"/>
                    <a:pt x="219" y="245"/>
                  </a:cubicBezTo>
                  <a:cubicBezTo>
                    <a:pt x="219" y="246"/>
                    <a:pt x="219" y="245"/>
                    <a:pt x="220" y="244"/>
                  </a:cubicBezTo>
                  <a:cubicBezTo>
                    <a:pt x="221" y="243"/>
                    <a:pt x="221" y="242"/>
                    <a:pt x="221" y="242"/>
                  </a:cubicBezTo>
                  <a:cubicBezTo>
                    <a:pt x="221" y="242"/>
                    <a:pt x="223" y="241"/>
                    <a:pt x="223" y="240"/>
                  </a:cubicBezTo>
                  <a:cubicBezTo>
                    <a:pt x="224" y="240"/>
                    <a:pt x="224" y="237"/>
                    <a:pt x="224" y="237"/>
                  </a:cubicBezTo>
                  <a:cubicBezTo>
                    <a:pt x="224" y="237"/>
                    <a:pt x="221" y="235"/>
                    <a:pt x="221" y="236"/>
                  </a:cubicBezTo>
                  <a:cubicBezTo>
                    <a:pt x="220" y="236"/>
                    <a:pt x="219" y="239"/>
                    <a:pt x="219" y="239"/>
                  </a:cubicBezTo>
                  <a:close/>
                  <a:moveTo>
                    <a:pt x="233" y="237"/>
                  </a:moveTo>
                  <a:cubicBezTo>
                    <a:pt x="233" y="237"/>
                    <a:pt x="233" y="237"/>
                    <a:pt x="233" y="237"/>
                  </a:cubicBezTo>
                  <a:cubicBezTo>
                    <a:pt x="234" y="237"/>
                    <a:pt x="234" y="237"/>
                    <a:pt x="234" y="237"/>
                  </a:cubicBezTo>
                  <a:cubicBezTo>
                    <a:pt x="234" y="238"/>
                    <a:pt x="234" y="238"/>
                    <a:pt x="234" y="238"/>
                  </a:cubicBezTo>
                  <a:cubicBezTo>
                    <a:pt x="234" y="238"/>
                    <a:pt x="237" y="237"/>
                    <a:pt x="238" y="237"/>
                  </a:cubicBezTo>
                  <a:cubicBezTo>
                    <a:pt x="239" y="236"/>
                    <a:pt x="238" y="235"/>
                    <a:pt x="238" y="234"/>
                  </a:cubicBezTo>
                  <a:cubicBezTo>
                    <a:pt x="237" y="233"/>
                    <a:pt x="233" y="237"/>
                    <a:pt x="233" y="237"/>
                  </a:cubicBezTo>
                  <a:close/>
                  <a:moveTo>
                    <a:pt x="247" y="241"/>
                  </a:moveTo>
                  <a:cubicBezTo>
                    <a:pt x="247" y="241"/>
                    <a:pt x="247" y="241"/>
                    <a:pt x="247" y="241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2"/>
                    <a:pt x="245" y="242"/>
                    <a:pt x="245" y="242"/>
                  </a:cubicBezTo>
                  <a:cubicBezTo>
                    <a:pt x="245" y="242"/>
                    <a:pt x="246" y="244"/>
                    <a:pt x="247" y="245"/>
                  </a:cubicBezTo>
                  <a:cubicBezTo>
                    <a:pt x="247" y="245"/>
                    <a:pt x="245" y="247"/>
                    <a:pt x="245" y="247"/>
                  </a:cubicBezTo>
                  <a:cubicBezTo>
                    <a:pt x="247" y="250"/>
                    <a:pt x="247" y="250"/>
                    <a:pt x="247" y="250"/>
                  </a:cubicBezTo>
                  <a:cubicBezTo>
                    <a:pt x="250" y="245"/>
                    <a:pt x="250" y="245"/>
                    <a:pt x="250" y="245"/>
                  </a:cubicBezTo>
                  <a:cubicBezTo>
                    <a:pt x="250" y="245"/>
                    <a:pt x="249" y="243"/>
                    <a:pt x="249" y="243"/>
                  </a:cubicBezTo>
                  <a:cubicBezTo>
                    <a:pt x="249" y="242"/>
                    <a:pt x="247" y="241"/>
                    <a:pt x="247" y="241"/>
                  </a:cubicBezTo>
                  <a:close/>
                  <a:moveTo>
                    <a:pt x="261" y="241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2" y="243"/>
                    <a:pt x="262" y="243"/>
                    <a:pt x="262" y="243"/>
                  </a:cubicBezTo>
                  <a:cubicBezTo>
                    <a:pt x="262" y="243"/>
                    <a:pt x="261" y="245"/>
                    <a:pt x="260" y="245"/>
                  </a:cubicBezTo>
                  <a:cubicBezTo>
                    <a:pt x="260" y="245"/>
                    <a:pt x="259" y="244"/>
                    <a:pt x="259" y="244"/>
                  </a:cubicBezTo>
                  <a:cubicBezTo>
                    <a:pt x="261" y="241"/>
                    <a:pt x="261" y="241"/>
                    <a:pt x="261" y="241"/>
                  </a:cubicBezTo>
                  <a:close/>
                  <a:moveTo>
                    <a:pt x="264" y="238"/>
                  </a:moveTo>
                  <a:cubicBezTo>
                    <a:pt x="264" y="238"/>
                    <a:pt x="264" y="238"/>
                    <a:pt x="264" y="238"/>
                  </a:cubicBezTo>
                  <a:cubicBezTo>
                    <a:pt x="265" y="240"/>
                    <a:pt x="265" y="240"/>
                    <a:pt x="265" y="240"/>
                  </a:cubicBezTo>
                  <a:cubicBezTo>
                    <a:pt x="265" y="240"/>
                    <a:pt x="268" y="239"/>
                    <a:pt x="270" y="238"/>
                  </a:cubicBezTo>
                  <a:cubicBezTo>
                    <a:pt x="273" y="237"/>
                    <a:pt x="270" y="236"/>
                    <a:pt x="270" y="236"/>
                  </a:cubicBezTo>
                  <a:cubicBezTo>
                    <a:pt x="267" y="236"/>
                    <a:pt x="267" y="236"/>
                    <a:pt x="267" y="236"/>
                  </a:cubicBezTo>
                  <a:cubicBezTo>
                    <a:pt x="267" y="236"/>
                    <a:pt x="264" y="237"/>
                    <a:pt x="264" y="238"/>
                  </a:cubicBezTo>
                  <a:close/>
                  <a:moveTo>
                    <a:pt x="247" y="230"/>
                  </a:moveTo>
                  <a:cubicBezTo>
                    <a:pt x="247" y="230"/>
                    <a:pt x="247" y="230"/>
                    <a:pt x="247" y="230"/>
                  </a:cubicBezTo>
                  <a:cubicBezTo>
                    <a:pt x="250" y="233"/>
                    <a:pt x="250" y="233"/>
                    <a:pt x="250" y="233"/>
                  </a:cubicBezTo>
                  <a:cubicBezTo>
                    <a:pt x="250" y="233"/>
                    <a:pt x="254" y="235"/>
                    <a:pt x="255" y="235"/>
                  </a:cubicBezTo>
                  <a:cubicBezTo>
                    <a:pt x="255" y="236"/>
                    <a:pt x="257" y="235"/>
                    <a:pt x="259" y="235"/>
                  </a:cubicBezTo>
                  <a:cubicBezTo>
                    <a:pt x="260" y="234"/>
                    <a:pt x="260" y="234"/>
                    <a:pt x="260" y="233"/>
                  </a:cubicBezTo>
                  <a:cubicBezTo>
                    <a:pt x="260" y="233"/>
                    <a:pt x="259" y="232"/>
                    <a:pt x="259" y="232"/>
                  </a:cubicBezTo>
                  <a:cubicBezTo>
                    <a:pt x="259" y="232"/>
                    <a:pt x="258" y="230"/>
                    <a:pt x="255" y="230"/>
                  </a:cubicBezTo>
                  <a:cubicBezTo>
                    <a:pt x="253" y="231"/>
                    <a:pt x="253" y="230"/>
                    <a:pt x="253" y="230"/>
                  </a:cubicBezTo>
                  <a:cubicBezTo>
                    <a:pt x="253" y="230"/>
                    <a:pt x="252" y="230"/>
                    <a:pt x="249" y="229"/>
                  </a:cubicBezTo>
                  <a:cubicBezTo>
                    <a:pt x="247" y="229"/>
                    <a:pt x="248" y="230"/>
                    <a:pt x="247" y="230"/>
                  </a:cubicBezTo>
                  <a:close/>
                  <a:moveTo>
                    <a:pt x="245" y="229"/>
                  </a:moveTo>
                  <a:cubicBezTo>
                    <a:pt x="245" y="229"/>
                    <a:pt x="245" y="229"/>
                    <a:pt x="245" y="229"/>
                  </a:cubicBezTo>
                  <a:cubicBezTo>
                    <a:pt x="246" y="228"/>
                    <a:pt x="246" y="228"/>
                    <a:pt x="246" y="228"/>
                  </a:cubicBezTo>
                  <a:cubicBezTo>
                    <a:pt x="246" y="228"/>
                    <a:pt x="246" y="226"/>
                    <a:pt x="246" y="223"/>
                  </a:cubicBezTo>
                  <a:cubicBezTo>
                    <a:pt x="246" y="221"/>
                    <a:pt x="245" y="222"/>
                    <a:pt x="245" y="222"/>
                  </a:cubicBezTo>
                  <a:cubicBezTo>
                    <a:pt x="245" y="221"/>
                    <a:pt x="245" y="220"/>
                    <a:pt x="244" y="218"/>
                  </a:cubicBezTo>
                  <a:cubicBezTo>
                    <a:pt x="243" y="217"/>
                    <a:pt x="243" y="218"/>
                    <a:pt x="242" y="218"/>
                  </a:cubicBezTo>
                  <a:cubicBezTo>
                    <a:pt x="242" y="218"/>
                    <a:pt x="241" y="219"/>
                    <a:pt x="239" y="219"/>
                  </a:cubicBezTo>
                  <a:cubicBezTo>
                    <a:pt x="237" y="219"/>
                    <a:pt x="238" y="217"/>
                    <a:pt x="237" y="216"/>
                  </a:cubicBezTo>
                  <a:cubicBezTo>
                    <a:pt x="236" y="215"/>
                    <a:pt x="234" y="215"/>
                    <a:pt x="234" y="215"/>
                  </a:cubicBezTo>
                  <a:cubicBezTo>
                    <a:pt x="233" y="215"/>
                    <a:pt x="231" y="218"/>
                    <a:pt x="231" y="219"/>
                  </a:cubicBezTo>
                  <a:cubicBezTo>
                    <a:pt x="231" y="220"/>
                    <a:pt x="232" y="220"/>
                    <a:pt x="235" y="223"/>
                  </a:cubicBezTo>
                  <a:cubicBezTo>
                    <a:pt x="238" y="225"/>
                    <a:pt x="239" y="225"/>
                    <a:pt x="240" y="225"/>
                  </a:cubicBezTo>
                  <a:cubicBezTo>
                    <a:pt x="241" y="226"/>
                    <a:pt x="244" y="228"/>
                    <a:pt x="245" y="229"/>
                  </a:cubicBezTo>
                  <a:close/>
                  <a:moveTo>
                    <a:pt x="216" y="360"/>
                  </a:moveTo>
                  <a:cubicBezTo>
                    <a:pt x="216" y="360"/>
                    <a:pt x="216" y="360"/>
                    <a:pt x="216" y="360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5" y="354"/>
                    <a:pt x="215" y="354"/>
                    <a:pt x="215" y="354"/>
                  </a:cubicBezTo>
                  <a:cubicBezTo>
                    <a:pt x="215" y="350"/>
                    <a:pt x="215" y="350"/>
                    <a:pt x="215" y="350"/>
                  </a:cubicBezTo>
                  <a:cubicBezTo>
                    <a:pt x="216" y="349"/>
                    <a:pt x="216" y="349"/>
                    <a:pt x="216" y="349"/>
                  </a:cubicBezTo>
                  <a:cubicBezTo>
                    <a:pt x="216" y="349"/>
                    <a:pt x="218" y="351"/>
                    <a:pt x="218" y="352"/>
                  </a:cubicBezTo>
                  <a:cubicBezTo>
                    <a:pt x="218" y="353"/>
                    <a:pt x="218" y="355"/>
                    <a:pt x="218" y="355"/>
                  </a:cubicBezTo>
                  <a:cubicBezTo>
                    <a:pt x="218" y="355"/>
                    <a:pt x="221" y="357"/>
                    <a:pt x="221" y="357"/>
                  </a:cubicBezTo>
                  <a:cubicBezTo>
                    <a:pt x="222" y="357"/>
                    <a:pt x="228" y="356"/>
                    <a:pt x="228" y="356"/>
                  </a:cubicBezTo>
                  <a:cubicBezTo>
                    <a:pt x="228" y="356"/>
                    <a:pt x="230" y="353"/>
                    <a:pt x="230" y="353"/>
                  </a:cubicBezTo>
                  <a:cubicBezTo>
                    <a:pt x="231" y="352"/>
                    <a:pt x="234" y="350"/>
                    <a:pt x="234" y="350"/>
                  </a:cubicBezTo>
                  <a:cubicBezTo>
                    <a:pt x="234" y="350"/>
                    <a:pt x="234" y="349"/>
                    <a:pt x="236" y="351"/>
                  </a:cubicBezTo>
                  <a:cubicBezTo>
                    <a:pt x="238" y="352"/>
                    <a:pt x="236" y="355"/>
                    <a:pt x="236" y="355"/>
                  </a:cubicBezTo>
                  <a:cubicBezTo>
                    <a:pt x="235" y="355"/>
                    <a:pt x="235" y="356"/>
                    <a:pt x="235" y="356"/>
                  </a:cubicBezTo>
                  <a:cubicBezTo>
                    <a:pt x="237" y="358"/>
                    <a:pt x="237" y="358"/>
                    <a:pt x="237" y="358"/>
                  </a:cubicBezTo>
                  <a:cubicBezTo>
                    <a:pt x="237" y="358"/>
                    <a:pt x="237" y="356"/>
                    <a:pt x="238" y="356"/>
                  </a:cubicBezTo>
                  <a:cubicBezTo>
                    <a:pt x="239" y="356"/>
                    <a:pt x="239" y="355"/>
                    <a:pt x="240" y="355"/>
                  </a:cubicBezTo>
                  <a:cubicBezTo>
                    <a:pt x="240" y="356"/>
                    <a:pt x="242" y="358"/>
                    <a:pt x="242" y="358"/>
                  </a:cubicBezTo>
                  <a:cubicBezTo>
                    <a:pt x="242" y="358"/>
                    <a:pt x="242" y="361"/>
                    <a:pt x="243" y="361"/>
                  </a:cubicBezTo>
                  <a:cubicBezTo>
                    <a:pt x="244" y="360"/>
                    <a:pt x="246" y="361"/>
                    <a:pt x="247" y="360"/>
                  </a:cubicBezTo>
                  <a:cubicBezTo>
                    <a:pt x="248" y="360"/>
                    <a:pt x="258" y="357"/>
                    <a:pt x="258" y="357"/>
                  </a:cubicBezTo>
                  <a:cubicBezTo>
                    <a:pt x="261" y="355"/>
                    <a:pt x="261" y="355"/>
                    <a:pt x="261" y="355"/>
                  </a:cubicBezTo>
                  <a:cubicBezTo>
                    <a:pt x="261" y="355"/>
                    <a:pt x="263" y="354"/>
                    <a:pt x="265" y="354"/>
                  </a:cubicBezTo>
                  <a:cubicBezTo>
                    <a:pt x="266" y="354"/>
                    <a:pt x="272" y="352"/>
                    <a:pt x="272" y="352"/>
                  </a:cubicBezTo>
                  <a:cubicBezTo>
                    <a:pt x="272" y="352"/>
                    <a:pt x="275" y="350"/>
                    <a:pt x="277" y="351"/>
                  </a:cubicBezTo>
                  <a:cubicBezTo>
                    <a:pt x="278" y="353"/>
                    <a:pt x="282" y="356"/>
                    <a:pt x="282" y="356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88" y="355"/>
                    <a:pt x="290" y="354"/>
                    <a:pt x="290" y="354"/>
                  </a:cubicBezTo>
                  <a:cubicBezTo>
                    <a:pt x="291" y="355"/>
                    <a:pt x="297" y="354"/>
                    <a:pt x="297" y="354"/>
                  </a:cubicBezTo>
                  <a:cubicBezTo>
                    <a:pt x="297" y="354"/>
                    <a:pt x="300" y="351"/>
                    <a:pt x="301" y="351"/>
                  </a:cubicBezTo>
                  <a:cubicBezTo>
                    <a:pt x="301" y="351"/>
                    <a:pt x="308" y="349"/>
                    <a:pt x="308" y="349"/>
                  </a:cubicBezTo>
                  <a:cubicBezTo>
                    <a:pt x="308" y="349"/>
                    <a:pt x="309" y="349"/>
                    <a:pt x="309" y="351"/>
                  </a:cubicBezTo>
                  <a:cubicBezTo>
                    <a:pt x="309" y="353"/>
                    <a:pt x="309" y="356"/>
                    <a:pt x="309" y="357"/>
                  </a:cubicBezTo>
                  <a:cubicBezTo>
                    <a:pt x="310" y="358"/>
                    <a:pt x="309" y="360"/>
                    <a:pt x="311" y="360"/>
                  </a:cubicBezTo>
                  <a:cubicBezTo>
                    <a:pt x="313" y="359"/>
                    <a:pt x="315" y="358"/>
                    <a:pt x="315" y="358"/>
                  </a:cubicBezTo>
                  <a:cubicBezTo>
                    <a:pt x="315" y="358"/>
                    <a:pt x="313" y="358"/>
                    <a:pt x="317" y="356"/>
                  </a:cubicBezTo>
                  <a:cubicBezTo>
                    <a:pt x="320" y="354"/>
                    <a:pt x="321" y="353"/>
                    <a:pt x="322" y="353"/>
                  </a:cubicBezTo>
                  <a:cubicBezTo>
                    <a:pt x="323" y="353"/>
                    <a:pt x="323" y="352"/>
                    <a:pt x="324" y="352"/>
                  </a:cubicBezTo>
                  <a:cubicBezTo>
                    <a:pt x="326" y="352"/>
                    <a:pt x="326" y="352"/>
                    <a:pt x="327" y="352"/>
                  </a:cubicBezTo>
                  <a:cubicBezTo>
                    <a:pt x="328" y="351"/>
                    <a:pt x="330" y="348"/>
                    <a:pt x="330" y="348"/>
                  </a:cubicBezTo>
                  <a:cubicBezTo>
                    <a:pt x="330" y="348"/>
                    <a:pt x="331" y="346"/>
                    <a:pt x="332" y="346"/>
                  </a:cubicBezTo>
                  <a:cubicBezTo>
                    <a:pt x="332" y="346"/>
                    <a:pt x="334" y="345"/>
                    <a:pt x="334" y="345"/>
                  </a:cubicBezTo>
                  <a:cubicBezTo>
                    <a:pt x="333" y="348"/>
                    <a:pt x="333" y="348"/>
                    <a:pt x="333" y="348"/>
                  </a:cubicBezTo>
                  <a:cubicBezTo>
                    <a:pt x="333" y="348"/>
                    <a:pt x="335" y="352"/>
                    <a:pt x="335" y="353"/>
                  </a:cubicBezTo>
                  <a:cubicBezTo>
                    <a:pt x="335" y="353"/>
                    <a:pt x="335" y="354"/>
                    <a:pt x="334" y="355"/>
                  </a:cubicBezTo>
                  <a:cubicBezTo>
                    <a:pt x="334" y="357"/>
                    <a:pt x="334" y="358"/>
                    <a:pt x="334" y="358"/>
                  </a:cubicBezTo>
                  <a:cubicBezTo>
                    <a:pt x="333" y="359"/>
                    <a:pt x="333" y="360"/>
                    <a:pt x="333" y="361"/>
                  </a:cubicBezTo>
                  <a:cubicBezTo>
                    <a:pt x="332" y="361"/>
                    <a:pt x="329" y="363"/>
                    <a:pt x="329" y="363"/>
                  </a:cubicBezTo>
                  <a:cubicBezTo>
                    <a:pt x="324" y="362"/>
                    <a:pt x="324" y="362"/>
                    <a:pt x="324" y="362"/>
                  </a:cubicBezTo>
                  <a:cubicBezTo>
                    <a:pt x="324" y="362"/>
                    <a:pt x="322" y="363"/>
                    <a:pt x="321" y="364"/>
                  </a:cubicBezTo>
                  <a:cubicBezTo>
                    <a:pt x="319" y="364"/>
                    <a:pt x="316" y="367"/>
                    <a:pt x="315" y="367"/>
                  </a:cubicBezTo>
                  <a:cubicBezTo>
                    <a:pt x="314" y="367"/>
                    <a:pt x="311" y="367"/>
                    <a:pt x="308" y="367"/>
                  </a:cubicBezTo>
                  <a:cubicBezTo>
                    <a:pt x="305" y="368"/>
                    <a:pt x="297" y="370"/>
                    <a:pt x="297" y="370"/>
                  </a:cubicBezTo>
                  <a:cubicBezTo>
                    <a:pt x="297" y="370"/>
                    <a:pt x="296" y="371"/>
                    <a:pt x="295" y="372"/>
                  </a:cubicBezTo>
                  <a:cubicBezTo>
                    <a:pt x="293" y="372"/>
                    <a:pt x="289" y="374"/>
                    <a:pt x="288" y="374"/>
                  </a:cubicBezTo>
                  <a:cubicBezTo>
                    <a:pt x="287" y="375"/>
                    <a:pt x="284" y="377"/>
                    <a:pt x="283" y="377"/>
                  </a:cubicBezTo>
                  <a:cubicBezTo>
                    <a:pt x="282" y="377"/>
                    <a:pt x="281" y="378"/>
                    <a:pt x="277" y="378"/>
                  </a:cubicBezTo>
                  <a:cubicBezTo>
                    <a:pt x="272" y="379"/>
                    <a:pt x="271" y="380"/>
                    <a:pt x="271" y="380"/>
                  </a:cubicBezTo>
                  <a:cubicBezTo>
                    <a:pt x="268" y="380"/>
                    <a:pt x="268" y="380"/>
                    <a:pt x="268" y="380"/>
                  </a:cubicBezTo>
                  <a:cubicBezTo>
                    <a:pt x="268" y="373"/>
                    <a:pt x="268" y="373"/>
                    <a:pt x="268" y="373"/>
                  </a:cubicBezTo>
                  <a:cubicBezTo>
                    <a:pt x="268" y="373"/>
                    <a:pt x="268" y="370"/>
                    <a:pt x="265" y="371"/>
                  </a:cubicBezTo>
                  <a:cubicBezTo>
                    <a:pt x="262" y="372"/>
                    <a:pt x="266" y="371"/>
                    <a:pt x="260" y="372"/>
                  </a:cubicBezTo>
                  <a:cubicBezTo>
                    <a:pt x="255" y="373"/>
                    <a:pt x="252" y="370"/>
                    <a:pt x="252" y="370"/>
                  </a:cubicBezTo>
                  <a:cubicBezTo>
                    <a:pt x="252" y="370"/>
                    <a:pt x="247" y="370"/>
                    <a:pt x="245" y="371"/>
                  </a:cubicBezTo>
                  <a:cubicBezTo>
                    <a:pt x="243" y="371"/>
                    <a:pt x="240" y="371"/>
                    <a:pt x="239" y="371"/>
                  </a:cubicBezTo>
                  <a:cubicBezTo>
                    <a:pt x="238" y="372"/>
                    <a:pt x="238" y="371"/>
                    <a:pt x="235" y="372"/>
                  </a:cubicBezTo>
                  <a:cubicBezTo>
                    <a:pt x="232" y="372"/>
                    <a:pt x="229" y="373"/>
                    <a:pt x="229" y="373"/>
                  </a:cubicBezTo>
                  <a:cubicBezTo>
                    <a:pt x="226" y="371"/>
                    <a:pt x="226" y="371"/>
                    <a:pt x="226" y="371"/>
                  </a:cubicBezTo>
                  <a:cubicBezTo>
                    <a:pt x="226" y="371"/>
                    <a:pt x="223" y="371"/>
                    <a:pt x="222" y="372"/>
                  </a:cubicBezTo>
                  <a:cubicBezTo>
                    <a:pt x="220" y="373"/>
                    <a:pt x="221" y="374"/>
                    <a:pt x="219" y="374"/>
                  </a:cubicBezTo>
                  <a:cubicBezTo>
                    <a:pt x="217" y="374"/>
                    <a:pt x="218" y="375"/>
                    <a:pt x="216" y="374"/>
                  </a:cubicBezTo>
                  <a:cubicBezTo>
                    <a:pt x="213" y="373"/>
                    <a:pt x="211" y="372"/>
                    <a:pt x="211" y="372"/>
                  </a:cubicBezTo>
                  <a:cubicBezTo>
                    <a:pt x="210" y="366"/>
                    <a:pt x="210" y="366"/>
                    <a:pt x="210" y="366"/>
                  </a:cubicBezTo>
                  <a:cubicBezTo>
                    <a:pt x="210" y="366"/>
                    <a:pt x="210" y="366"/>
                    <a:pt x="210" y="363"/>
                  </a:cubicBezTo>
                  <a:cubicBezTo>
                    <a:pt x="209" y="361"/>
                    <a:pt x="208" y="357"/>
                    <a:pt x="208" y="357"/>
                  </a:cubicBezTo>
                  <a:cubicBezTo>
                    <a:pt x="210" y="354"/>
                    <a:pt x="210" y="354"/>
                    <a:pt x="210" y="354"/>
                  </a:cubicBezTo>
                  <a:cubicBezTo>
                    <a:pt x="210" y="354"/>
                    <a:pt x="211" y="356"/>
                    <a:pt x="211" y="357"/>
                  </a:cubicBezTo>
                  <a:cubicBezTo>
                    <a:pt x="211" y="357"/>
                    <a:pt x="211" y="360"/>
                    <a:pt x="212" y="360"/>
                  </a:cubicBezTo>
                  <a:cubicBezTo>
                    <a:pt x="214" y="360"/>
                    <a:pt x="216" y="360"/>
                    <a:pt x="216" y="360"/>
                  </a:cubicBezTo>
                  <a:close/>
                  <a:moveTo>
                    <a:pt x="172" y="319"/>
                  </a:moveTo>
                  <a:cubicBezTo>
                    <a:pt x="172" y="319"/>
                    <a:pt x="172" y="319"/>
                    <a:pt x="172" y="319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6" y="321"/>
                    <a:pt x="176" y="321"/>
                    <a:pt x="176" y="321"/>
                  </a:cubicBezTo>
                  <a:cubicBezTo>
                    <a:pt x="179" y="322"/>
                    <a:pt x="179" y="322"/>
                    <a:pt x="179" y="322"/>
                  </a:cubicBezTo>
                  <a:cubicBezTo>
                    <a:pt x="179" y="322"/>
                    <a:pt x="183" y="324"/>
                    <a:pt x="183" y="325"/>
                  </a:cubicBezTo>
                  <a:cubicBezTo>
                    <a:pt x="183" y="325"/>
                    <a:pt x="181" y="328"/>
                    <a:pt x="181" y="328"/>
                  </a:cubicBezTo>
                  <a:cubicBezTo>
                    <a:pt x="181" y="328"/>
                    <a:pt x="181" y="330"/>
                    <a:pt x="181" y="331"/>
                  </a:cubicBezTo>
                  <a:cubicBezTo>
                    <a:pt x="181" y="331"/>
                    <a:pt x="179" y="331"/>
                    <a:pt x="178" y="331"/>
                  </a:cubicBezTo>
                  <a:cubicBezTo>
                    <a:pt x="177" y="330"/>
                    <a:pt x="174" y="329"/>
                    <a:pt x="174" y="329"/>
                  </a:cubicBezTo>
                  <a:cubicBezTo>
                    <a:pt x="174" y="325"/>
                    <a:pt x="174" y="325"/>
                    <a:pt x="174" y="325"/>
                  </a:cubicBezTo>
                  <a:cubicBezTo>
                    <a:pt x="171" y="322"/>
                    <a:pt x="171" y="322"/>
                    <a:pt x="171" y="322"/>
                  </a:cubicBezTo>
                  <a:cubicBezTo>
                    <a:pt x="172" y="319"/>
                    <a:pt x="172" y="319"/>
                    <a:pt x="172" y="319"/>
                  </a:cubicBezTo>
                  <a:close/>
                  <a:moveTo>
                    <a:pt x="92" y="232"/>
                  </a:moveTo>
                  <a:cubicBezTo>
                    <a:pt x="92" y="232"/>
                    <a:pt x="92" y="232"/>
                    <a:pt x="92" y="232"/>
                  </a:cubicBezTo>
                  <a:cubicBezTo>
                    <a:pt x="92" y="232"/>
                    <a:pt x="90" y="232"/>
                    <a:pt x="90" y="232"/>
                  </a:cubicBezTo>
                  <a:cubicBezTo>
                    <a:pt x="89" y="232"/>
                    <a:pt x="88" y="232"/>
                    <a:pt x="87" y="232"/>
                  </a:cubicBezTo>
                  <a:cubicBezTo>
                    <a:pt x="86" y="232"/>
                    <a:pt x="87" y="234"/>
                    <a:pt x="87" y="235"/>
                  </a:cubicBezTo>
                  <a:cubicBezTo>
                    <a:pt x="87" y="235"/>
                    <a:pt x="87" y="237"/>
                    <a:pt x="87" y="238"/>
                  </a:cubicBezTo>
                  <a:cubicBezTo>
                    <a:pt x="86" y="239"/>
                    <a:pt x="85" y="240"/>
                    <a:pt x="85" y="241"/>
                  </a:cubicBezTo>
                  <a:cubicBezTo>
                    <a:pt x="85" y="241"/>
                    <a:pt x="85" y="243"/>
                    <a:pt x="85" y="244"/>
                  </a:cubicBezTo>
                  <a:cubicBezTo>
                    <a:pt x="84" y="244"/>
                    <a:pt x="82" y="246"/>
                    <a:pt x="81" y="246"/>
                  </a:cubicBezTo>
                  <a:cubicBezTo>
                    <a:pt x="80" y="247"/>
                    <a:pt x="78" y="248"/>
                    <a:pt x="78" y="248"/>
                  </a:cubicBezTo>
                  <a:cubicBezTo>
                    <a:pt x="80" y="253"/>
                    <a:pt x="80" y="253"/>
                    <a:pt x="80" y="253"/>
                  </a:cubicBezTo>
                  <a:cubicBezTo>
                    <a:pt x="80" y="253"/>
                    <a:pt x="82" y="252"/>
                    <a:pt x="83" y="253"/>
                  </a:cubicBezTo>
                  <a:cubicBezTo>
                    <a:pt x="84" y="254"/>
                    <a:pt x="87" y="256"/>
                    <a:pt x="88" y="256"/>
                  </a:cubicBezTo>
                  <a:cubicBezTo>
                    <a:pt x="88" y="256"/>
                    <a:pt x="90" y="262"/>
                    <a:pt x="90" y="262"/>
                  </a:cubicBezTo>
                  <a:cubicBezTo>
                    <a:pt x="91" y="263"/>
                    <a:pt x="92" y="262"/>
                    <a:pt x="92" y="262"/>
                  </a:cubicBezTo>
                  <a:cubicBezTo>
                    <a:pt x="92" y="262"/>
                    <a:pt x="94" y="263"/>
                    <a:pt x="95" y="264"/>
                  </a:cubicBezTo>
                  <a:cubicBezTo>
                    <a:pt x="96" y="264"/>
                    <a:pt x="98" y="265"/>
                    <a:pt x="99" y="266"/>
                  </a:cubicBezTo>
                  <a:cubicBezTo>
                    <a:pt x="100" y="266"/>
                    <a:pt x="102" y="269"/>
                    <a:pt x="103" y="269"/>
                  </a:cubicBezTo>
                  <a:cubicBezTo>
                    <a:pt x="104" y="270"/>
                    <a:pt x="106" y="272"/>
                    <a:pt x="106" y="272"/>
                  </a:cubicBezTo>
                  <a:cubicBezTo>
                    <a:pt x="106" y="272"/>
                    <a:pt x="108" y="275"/>
                    <a:pt x="109" y="277"/>
                  </a:cubicBezTo>
                  <a:cubicBezTo>
                    <a:pt x="109" y="278"/>
                    <a:pt x="109" y="278"/>
                    <a:pt x="108" y="279"/>
                  </a:cubicBezTo>
                  <a:cubicBezTo>
                    <a:pt x="107" y="280"/>
                    <a:pt x="107" y="281"/>
                    <a:pt x="106" y="283"/>
                  </a:cubicBezTo>
                  <a:cubicBezTo>
                    <a:pt x="105" y="285"/>
                    <a:pt x="107" y="287"/>
                    <a:pt x="107" y="287"/>
                  </a:cubicBezTo>
                  <a:cubicBezTo>
                    <a:pt x="107" y="292"/>
                    <a:pt x="107" y="292"/>
                    <a:pt x="107" y="292"/>
                  </a:cubicBezTo>
                  <a:cubicBezTo>
                    <a:pt x="108" y="294"/>
                    <a:pt x="108" y="294"/>
                    <a:pt x="108" y="294"/>
                  </a:cubicBezTo>
                  <a:cubicBezTo>
                    <a:pt x="108" y="294"/>
                    <a:pt x="109" y="295"/>
                    <a:pt x="110" y="295"/>
                  </a:cubicBezTo>
                  <a:cubicBezTo>
                    <a:pt x="111" y="296"/>
                    <a:pt x="111" y="296"/>
                    <a:pt x="111" y="296"/>
                  </a:cubicBezTo>
                  <a:cubicBezTo>
                    <a:pt x="111" y="296"/>
                    <a:pt x="113" y="298"/>
                    <a:pt x="114" y="299"/>
                  </a:cubicBezTo>
                  <a:cubicBezTo>
                    <a:pt x="114" y="300"/>
                    <a:pt x="113" y="301"/>
                    <a:pt x="113" y="302"/>
                  </a:cubicBezTo>
                  <a:cubicBezTo>
                    <a:pt x="113" y="303"/>
                    <a:pt x="114" y="307"/>
                    <a:pt x="114" y="307"/>
                  </a:cubicBezTo>
                  <a:cubicBezTo>
                    <a:pt x="114" y="307"/>
                    <a:pt x="116" y="306"/>
                    <a:pt x="118" y="305"/>
                  </a:cubicBezTo>
                  <a:cubicBezTo>
                    <a:pt x="119" y="305"/>
                    <a:pt x="120" y="306"/>
                    <a:pt x="121" y="306"/>
                  </a:cubicBezTo>
                  <a:cubicBezTo>
                    <a:pt x="122" y="307"/>
                    <a:pt x="122" y="308"/>
                    <a:pt x="122" y="308"/>
                  </a:cubicBezTo>
                  <a:cubicBezTo>
                    <a:pt x="122" y="308"/>
                    <a:pt x="125" y="306"/>
                    <a:pt x="125" y="305"/>
                  </a:cubicBezTo>
                  <a:cubicBezTo>
                    <a:pt x="125" y="305"/>
                    <a:pt x="125" y="303"/>
                    <a:pt x="125" y="303"/>
                  </a:cubicBezTo>
                  <a:cubicBezTo>
                    <a:pt x="125" y="303"/>
                    <a:pt x="125" y="299"/>
                    <a:pt x="125" y="298"/>
                  </a:cubicBezTo>
                  <a:cubicBezTo>
                    <a:pt x="125" y="297"/>
                    <a:pt x="124" y="294"/>
                    <a:pt x="124" y="293"/>
                  </a:cubicBezTo>
                  <a:cubicBezTo>
                    <a:pt x="124" y="293"/>
                    <a:pt x="125" y="291"/>
                    <a:pt x="125" y="291"/>
                  </a:cubicBezTo>
                  <a:cubicBezTo>
                    <a:pt x="125" y="291"/>
                    <a:pt x="128" y="290"/>
                    <a:pt x="129" y="290"/>
                  </a:cubicBezTo>
                  <a:cubicBezTo>
                    <a:pt x="130" y="290"/>
                    <a:pt x="131" y="291"/>
                    <a:pt x="132" y="292"/>
                  </a:cubicBezTo>
                  <a:cubicBezTo>
                    <a:pt x="132" y="293"/>
                    <a:pt x="132" y="297"/>
                    <a:pt x="132" y="297"/>
                  </a:cubicBezTo>
                  <a:cubicBezTo>
                    <a:pt x="138" y="298"/>
                    <a:pt x="138" y="298"/>
                    <a:pt x="138" y="298"/>
                  </a:cubicBezTo>
                  <a:cubicBezTo>
                    <a:pt x="138" y="298"/>
                    <a:pt x="140" y="299"/>
                    <a:pt x="140" y="299"/>
                  </a:cubicBezTo>
                  <a:cubicBezTo>
                    <a:pt x="140" y="300"/>
                    <a:pt x="141" y="302"/>
                    <a:pt x="142" y="303"/>
                  </a:cubicBezTo>
                  <a:cubicBezTo>
                    <a:pt x="143" y="304"/>
                    <a:pt x="144" y="305"/>
                    <a:pt x="144" y="305"/>
                  </a:cubicBezTo>
                  <a:cubicBezTo>
                    <a:pt x="144" y="305"/>
                    <a:pt x="146" y="310"/>
                    <a:pt x="147" y="311"/>
                  </a:cubicBezTo>
                  <a:cubicBezTo>
                    <a:pt x="147" y="312"/>
                    <a:pt x="147" y="314"/>
                    <a:pt x="147" y="316"/>
                  </a:cubicBezTo>
                  <a:cubicBezTo>
                    <a:pt x="147" y="318"/>
                    <a:pt x="147" y="318"/>
                    <a:pt x="147" y="318"/>
                  </a:cubicBezTo>
                  <a:cubicBezTo>
                    <a:pt x="147" y="318"/>
                    <a:pt x="150" y="319"/>
                    <a:pt x="151" y="320"/>
                  </a:cubicBezTo>
                  <a:cubicBezTo>
                    <a:pt x="153" y="321"/>
                    <a:pt x="152" y="320"/>
                    <a:pt x="153" y="319"/>
                  </a:cubicBezTo>
                  <a:cubicBezTo>
                    <a:pt x="154" y="318"/>
                    <a:pt x="153" y="317"/>
                    <a:pt x="153" y="316"/>
                  </a:cubicBezTo>
                  <a:cubicBezTo>
                    <a:pt x="153" y="315"/>
                    <a:pt x="153" y="313"/>
                    <a:pt x="152" y="311"/>
                  </a:cubicBezTo>
                  <a:cubicBezTo>
                    <a:pt x="152" y="310"/>
                    <a:pt x="152" y="309"/>
                    <a:pt x="152" y="309"/>
                  </a:cubicBezTo>
                  <a:cubicBezTo>
                    <a:pt x="152" y="309"/>
                    <a:pt x="153" y="307"/>
                    <a:pt x="153" y="306"/>
                  </a:cubicBezTo>
                  <a:cubicBezTo>
                    <a:pt x="153" y="306"/>
                    <a:pt x="153" y="304"/>
                    <a:pt x="153" y="303"/>
                  </a:cubicBezTo>
                  <a:cubicBezTo>
                    <a:pt x="153" y="302"/>
                    <a:pt x="155" y="301"/>
                    <a:pt x="155" y="301"/>
                  </a:cubicBezTo>
                  <a:cubicBezTo>
                    <a:pt x="155" y="301"/>
                    <a:pt x="155" y="300"/>
                    <a:pt x="156" y="298"/>
                  </a:cubicBezTo>
                  <a:cubicBezTo>
                    <a:pt x="157" y="297"/>
                    <a:pt x="156" y="298"/>
                    <a:pt x="157" y="298"/>
                  </a:cubicBezTo>
                  <a:cubicBezTo>
                    <a:pt x="158" y="297"/>
                    <a:pt x="159" y="297"/>
                    <a:pt x="161" y="297"/>
                  </a:cubicBezTo>
                  <a:cubicBezTo>
                    <a:pt x="162" y="297"/>
                    <a:pt x="163" y="298"/>
                    <a:pt x="163" y="298"/>
                  </a:cubicBezTo>
                  <a:cubicBezTo>
                    <a:pt x="165" y="301"/>
                    <a:pt x="165" y="301"/>
                    <a:pt x="165" y="301"/>
                  </a:cubicBezTo>
                  <a:cubicBezTo>
                    <a:pt x="165" y="301"/>
                    <a:pt x="165" y="301"/>
                    <a:pt x="165" y="302"/>
                  </a:cubicBezTo>
                  <a:cubicBezTo>
                    <a:pt x="165" y="303"/>
                    <a:pt x="167" y="305"/>
                    <a:pt x="167" y="305"/>
                  </a:cubicBezTo>
                  <a:cubicBezTo>
                    <a:pt x="171" y="308"/>
                    <a:pt x="171" y="308"/>
                    <a:pt x="171" y="308"/>
                  </a:cubicBezTo>
                  <a:cubicBezTo>
                    <a:pt x="171" y="308"/>
                    <a:pt x="171" y="309"/>
                    <a:pt x="171" y="309"/>
                  </a:cubicBezTo>
                  <a:cubicBezTo>
                    <a:pt x="171" y="310"/>
                    <a:pt x="172" y="312"/>
                    <a:pt x="173" y="313"/>
                  </a:cubicBezTo>
                  <a:cubicBezTo>
                    <a:pt x="174" y="315"/>
                    <a:pt x="173" y="312"/>
                    <a:pt x="174" y="312"/>
                  </a:cubicBezTo>
                  <a:cubicBezTo>
                    <a:pt x="174" y="311"/>
                    <a:pt x="175" y="310"/>
                    <a:pt x="175" y="310"/>
                  </a:cubicBezTo>
                  <a:cubicBezTo>
                    <a:pt x="177" y="313"/>
                    <a:pt x="177" y="313"/>
                    <a:pt x="177" y="313"/>
                  </a:cubicBezTo>
                  <a:cubicBezTo>
                    <a:pt x="177" y="313"/>
                    <a:pt x="181" y="314"/>
                    <a:pt x="182" y="314"/>
                  </a:cubicBezTo>
                  <a:cubicBezTo>
                    <a:pt x="183" y="313"/>
                    <a:pt x="184" y="312"/>
                    <a:pt x="184" y="312"/>
                  </a:cubicBezTo>
                  <a:cubicBezTo>
                    <a:pt x="182" y="310"/>
                    <a:pt x="182" y="310"/>
                    <a:pt x="182" y="310"/>
                  </a:cubicBezTo>
                  <a:cubicBezTo>
                    <a:pt x="180" y="307"/>
                    <a:pt x="180" y="307"/>
                    <a:pt x="180" y="307"/>
                  </a:cubicBezTo>
                  <a:cubicBezTo>
                    <a:pt x="180" y="307"/>
                    <a:pt x="177" y="304"/>
                    <a:pt x="176" y="304"/>
                  </a:cubicBezTo>
                  <a:cubicBezTo>
                    <a:pt x="175" y="303"/>
                    <a:pt x="174" y="302"/>
                    <a:pt x="174" y="301"/>
                  </a:cubicBezTo>
                  <a:cubicBezTo>
                    <a:pt x="173" y="300"/>
                    <a:pt x="173" y="298"/>
                    <a:pt x="173" y="298"/>
                  </a:cubicBezTo>
                  <a:cubicBezTo>
                    <a:pt x="174" y="297"/>
                    <a:pt x="174" y="295"/>
                    <a:pt x="175" y="293"/>
                  </a:cubicBezTo>
                  <a:cubicBezTo>
                    <a:pt x="176" y="291"/>
                    <a:pt x="174" y="293"/>
                    <a:pt x="174" y="293"/>
                  </a:cubicBezTo>
                  <a:cubicBezTo>
                    <a:pt x="174" y="293"/>
                    <a:pt x="172" y="290"/>
                    <a:pt x="173" y="289"/>
                  </a:cubicBezTo>
                  <a:cubicBezTo>
                    <a:pt x="173" y="289"/>
                    <a:pt x="169" y="283"/>
                    <a:pt x="169" y="283"/>
                  </a:cubicBezTo>
                  <a:cubicBezTo>
                    <a:pt x="169" y="283"/>
                    <a:pt x="168" y="281"/>
                    <a:pt x="168" y="281"/>
                  </a:cubicBezTo>
                  <a:cubicBezTo>
                    <a:pt x="168" y="281"/>
                    <a:pt x="165" y="279"/>
                    <a:pt x="164" y="279"/>
                  </a:cubicBezTo>
                  <a:cubicBezTo>
                    <a:pt x="163" y="278"/>
                    <a:pt x="162" y="277"/>
                    <a:pt x="162" y="277"/>
                  </a:cubicBezTo>
                  <a:cubicBezTo>
                    <a:pt x="162" y="276"/>
                    <a:pt x="162" y="274"/>
                    <a:pt x="162" y="273"/>
                  </a:cubicBezTo>
                  <a:cubicBezTo>
                    <a:pt x="161" y="272"/>
                    <a:pt x="160" y="270"/>
                    <a:pt x="159" y="269"/>
                  </a:cubicBezTo>
                  <a:cubicBezTo>
                    <a:pt x="158" y="268"/>
                    <a:pt x="157" y="266"/>
                    <a:pt x="156" y="264"/>
                  </a:cubicBezTo>
                  <a:cubicBezTo>
                    <a:pt x="155" y="263"/>
                    <a:pt x="154" y="261"/>
                    <a:pt x="154" y="261"/>
                  </a:cubicBezTo>
                  <a:cubicBezTo>
                    <a:pt x="153" y="257"/>
                    <a:pt x="153" y="257"/>
                    <a:pt x="153" y="257"/>
                  </a:cubicBezTo>
                  <a:cubicBezTo>
                    <a:pt x="153" y="255"/>
                    <a:pt x="153" y="255"/>
                    <a:pt x="153" y="255"/>
                  </a:cubicBezTo>
                  <a:cubicBezTo>
                    <a:pt x="156" y="257"/>
                    <a:pt x="156" y="257"/>
                    <a:pt x="156" y="257"/>
                  </a:cubicBezTo>
                  <a:cubicBezTo>
                    <a:pt x="156" y="257"/>
                    <a:pt x="158" y="256"/>
                    <a:pt x="159" y="256"/>
                  </a:cubicBezTo>
                  <a:cubicBezTo>
                    <a:pt x="160" y="256"/>
                    <a:pt x="163" y="257"/>
                    <a:pt x="163" y="257"/>
                  </a:cubicBezTo>
                  <a:cubicBezTo>
                    <a:pt x="163" y="257"/>
                    <a:pt x="165" y="258"/>
                    <a:pt x="166" y="258"/>
                  </a:cubicBezTo>
                  <a:cubicBezTo>
                    <a:pt x="166" y="258"/>
                    <a:pt x="167" y="259"/>
                    <a:pt x="168" y="258"/>
                  </a:cubicBezTo>
                  <a:cubicBezTo>
                    <a:pt x="169" y="258"/>
                    <a:pt x="170" y="260"/>
                    <a:pt x="170" y="261"/>
                  </a:cubicBezTo>
                  <a:cubicBezTo>
                    <a:pt x="170" y="262"/>
                    <a:pt x="169" y="263"/>
                    <a:pt x="169" y="263"/>
                  </a:cubicBezTo>
                  <a:cubicBezTo>
                    <a:pt x="169" y="264"/>
                    <a:pt x="169" y="265"/>
                    <a:pt x="169" y="265"/>
                  </a:cubicBezTo>
                  <a:cubicBezTo>
                    <a:pt x="169" y="265"/>
                    <a:pt x="171" y="266"/>
                    <a:pt x="172" y="266"/>
                  </a:cubicBezTo>
                  <a:cubicBezTo>
                    <a:pt x="172" y="267"/>
                    <a:pt x="171" y="268"/>
                    <a:pt x="171" y="268"/>
                  </a:cubicBezTo>
                  <a:cubicBezTo>
                    <a:pt x="171" y="268"/>
                    <a:pt x="171" y="270"/>
                    <a:pt x="171" y="271"/>
                  </a:cubicBezTo>
                  <a:cubicBezTo>
                    <a:pt x="172" y="271"/>
                    <a:pt x="173" y="269"/>
                    <a:pt x="173" y="269"/>
                  </a:cubicBezTo>
                  <a:cubicBezTo>
                    <a:pt x="173" y="269"/>
                    <a:pt x="174" y="267"/>
                    <a:pt x="174" y="266"/>
                  </a:cubicBezTo>
                  <a:cubicBezTo>
                    <a:pt x="174" y="265"/>
                    <a:pt x="176" y="264"/>
                    <a:pt x="176" y="264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0" y="258"/>
                    <a:pt x="180" y="258"/>
                    <a:pt x="180" y="258"/>
                  </a:cubicBezTo>
                  <a:cubicBezTo>
                    <a:pt x="180" y="258"/>
                    <a:pt x="184" y="257"/>
                    <a:pt x="185" y="256"/>
                  </a:cubicBezTo>
                  <a:cubicBezTo>
                    <a:pt x="186" y="255"/>
                    <a:pt x="186" y="256"/>
                    <a:pt x="186" y="255"/>
                  </a:cubicBezTo>
                  <a:cubicBezTo>
                    <a:pt x="187" y="255"/>
                    <a:pt x="187" y="253"/>
                    <a:pt x="187" y="253"/>
                  </a:cubicBezTo>
                  <a:cubicBezTo>
                    <a:pt x="185" y="251"/>
                    <a:pt x="185" y="251"/>
                    <a:pt x="185" y="251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80" y="250"/>
                    <a:pt x="180" y="250"/>
                    <a:pt x="180" y="250"/>
                  </a:cubicBezTo>
                  <a:cubicBezTo>
                    <a:pt x="180" y="250"/>
                    <a:pt x="180" y="250"/>
                    <a:pt x="181" y="250"/>
                  </a:cubicBezTo>
                  <a:cubicBezTo>
                    <a:pt x="181" y="250"/>
                    <a:pt x="181" y="246"/>
                    <a:pt x="181" y="246"/>
                  </a:cubicBezTo>
                  <a:cubicBezTo>
                    <a:pt x="181" y="246"/>
                    <a:pt x="179" y="247"/>
                    <a:pt x="178" y="247"/>
                  </a:cubicBezTo>
                  <a:cubicBezTo>
                    <a:pt x="177" y="247"/>
                    <a:pt x="178" y="250"/>
                    <a:pt x="178" y="250"/>
                  </a:cubicBezTo>
                  <a:cubicBezTo>
                    <a:pt x="178" y="250"/>
                    <a:pt x="173" y="249"/>
                    <a:pt x="172" y="249"/>
                  </a:cubicBezTo>
                  <a:cubicBezTo>
                    <a:pt x="171" y="248"/>
                    <a:pt x="171" y="247"/>
                    <a:pt x="171" y="247"/>
                  </a:cubicBezTo>
                  <a:cubicBezTo>
                    <a:pt x="170" y="246"/>
                    <a:pt x="172" y="243"/>
                    <a:pt x="172" y="243"/>
                  </a:cubicBezTo>
                  <a:cubicBezTo>
                    <a:pt x="173" y="239"/>
                    <a:pt x="173" y="239"/>
                    <a:pt x="173" y="239"/>
                  </a:cubicBezTo>
                  <a:cubicBezTo>
                    <a:pt x="173" y="239"/>
                    <a:pt x="168" y="238"/>
                    <a:pt x="168" y="237"/>
                  </a:cubicBezTo>
                  <a:cubicBezTo>
                    <a:pt x="168" y="236"/>
                    <a:pt x="163" y="239"/>
                    <a:pt x="161" y="237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58" y="233"/>
                    <a:pt x="158" y="233"/>
                    <a:pt x="158" y="233"/>
                  </a:cubicBezTo>
                  <a:cubicBezTo>
                    <a:pt x="156" y="233"/>
                    <a:pt x="156" y="233"/>
                    <a:pt x="156" y="233"/>
                  </a:cubicBezTo>
                  <a:cubicBezTo>
                    <a:pt x="156" y="233"/>
                    <a:pt x="153" y="234"/>
                    <a:pt x="152" y="234"/>
                  </a:cubicBezTo>
                  <a:cubicBezTo>
                    <a:pt x="151" y="234"/>
                    <a:pt x="151" y="232"/>
                    <a:pt x="151" y="232"/>
                  </a:cubicBezTo>
                  <a:cubicBezTo>
                    <a:pt x="146" y="230"/>
                    <a:pt x="146" y="230"/>
                    <a:pt x="146" y="230"/>
                  </a:cubicBezTo>
                  <a:cubicBezTo>
                    <a:pt x="141" y="229"/>
                    <a:pt x="141" y="229"/>
                    <a:pt x="141" y="229"/>
                  </a:cubicBezTo>
                  <a:cubicBezTo>
                    <a:pt x="141" y="229"/>
                    <a:pt x="135" y="228"/>
                    <a:pt x="133" y="227"/>
                  </a:cubicBezTo>
                  <a:cubicBezTo>
                    <a:pt x="132" y="227"/>
                    <a:pt x="127" y="226"/>
                    <a:pt x="125" y="226"/>
                  </a:cubicBezTo>
                  <a:cubicBezTo>
                    <a:pt x="123" y="226"/>
                    <a:pt x="121" y="226"/>
                    <a:pt x="119" y="225"/>
                  </a:cubicBezTo>
                  <a:cubicBezTo>
                    <a:pt x="118" y="224"/>
                    <a:pt x="115" y="223"/>
                    <a:pt x="115" y="223"/>
                  </a:cubicBezTo>
                  <a:cubicBezTo>
                    <a:pt x="115" y="223"/>
                    <a:pt x="109" y="221"/>
                    <a:pt x="109" y="221"/>
                  </a:cubicBezTo>
                  <a:cubicBezTo>
                    <a:pt x="108" y="221"/>
                    <a:pt x="107" y="221"/>
                    <a:pt x="107" y="221"/>
                  </a:cubicBezTo>
                  <a:cubicBezTo>
                    <a:pt x="106" y="221"/>
                    <a:pt x="104" y="224"/>
                    <a:pt x="102" y="225"/>
                  </a:cubicBezTo>
                  <a:cubicBezTo>
                    <a:pt x="101" y="225"/>
                    <a:pt x="101" y="228"/>
                    <a:pt x="100" y="229"/>
                  </a:cubicBezTo>
                  <a:cubicBezTo>
                    <a:pt x="100" y="231"/>
                    <a:pt x="99" y="232"/>
                    <a:pt x="98" y="232"/>
                  </a:cubicBezTo>
                  <a:cubicBezTo>
                    <a:pt x="98" y="233"/>
                    <a:pt x="92" y="231"/>
                    <a:pt x="92" y="232"/>
                  </a:cubicBezTo>
                  <a:close/>
                  <a:moveTo>
                    <a:pt x="60" y="252"/>
                  </a:moveTo>
                  <a:cubicBezTo>
                    <a:pt x="60" y="252"/>
                    <a:pt x="60" y="252"/>
                    <a:pt x="60" y="252"/>
                  </a:cubicBezTo>
                  <a:cubicBezTo>
                    <a:pt x="60" y="252"/>
                    <a:pt x="62" y="251"/>
                    <a:pt x="62" y="252"/>
                  </a:cubicBezTo>
                  <a:cubicBezTo>
                    <a:pt x="62" y="252"/>
                    <a:pt x="63" y="253"/>
                    <a:pt x="63" y="254"/>
                  </a:cubicBezTo>
                  <a:cubicBezTo>
                    <a:pt x="64" y="254"/>
                    <a:pt x="66" y="256"/>
                    <a:pt x="67" y="256"/>
                  </a:cubicBezTo>
                  <a:cubicBezTo>
                    <a:pt x="68" y="256"/>
                    <a:pt x="71" y="256"/>
                    <a:pt x="71" y="256"/>
                  </a:cubicBezTo>
                  <a:cubicBezTo>
                    <a:pt x="74" y="259"/>
                    <a:pt x="74" y="259"/>
                    <a:pt x="74" y="259"/>
                  </a:cubicBezTo>
                  <a:cubicBezTo>
                    <a:pt x="74" y="259"/>
                    <a:pt x="77" y="260"/>
                    <a:pt x="77" y="261"/>
                  </a:cubicBezTo>
                  <a:cubicBezTo>
                    <a:pt x="77" y="261"/>
                    <a:pt x="72" y="264"/>
                    <a:pt x="72" y="264"/>
                  </a:cubicBezTo>
                  <a:cubicBezTo>
                    <a:pt x="71" y="265"/>
                    <a:pt x="71" y="265"/>
                    <a:pt x="71" y="265"/>
                  </a:cubicBezTo>
                  <a:cubicBezTo>
                    <a:pt x="71" y="265"/>
                    <a:pt x="71" y="267"/>
                    <a:pt x="69" y="266"/>
                  </a:cubicBezTo>
                  <a:cubicBezTo>
                    <a:pt x="68" y="266"/>
                    <a:pt x="67" y="266"/>
                    <a:pt x="66" y="265"/>
                  </a:cubicBezTo>
                  <a:cubicBezTo>
                    <a:pt x="66" y="264"/>
                    <a:pt x="66" y="264"/>
                    <a:pt x="65" y="263"/>
                  </a:cubicBezTo>
                  <a:cubicBezTo>
                    <a:pt x="63" y="262"/>
                    <a:pt x="59" y="259"/>
                    <a:pt x="59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59" y="254"/>
                    <a:pt x="59" y="254"/>
                    <a:pt x="59" y="254"/>
                  </a:cubicBezTo>
                  <a:cubicBezTo>
                    <a:pt x="60" y="252"/>
                    <a:pt x="60" y="252"/>
                    <a:pt x="60" y="252"/>
                  </a:cubicBezTo>
                  <a:close/>
                  <a:moveTo>
                    <a:pt x="48" y="234"/>
                  </a:moveTo>
                  <a:cubicBezTo>
                    <a:pt x="48" y="234"/>
                    <a:pt x="48" y="234"/>
                    <a:pt x="48" y="234"/>
                  </a:cubicBezTo>
                  <a:cubicBezTo>
                    <a:pt x="45" y="230"/>
                    <a:pt x="45" y="230"/>
                    <a:pt x="45" y="230"/>
                  </a:cubicBezTo>
                  <a:cubicBezTo>
                    <a:pt x="43" y="234"/>
                    <a:pt x="43" y="234"/>
                    <a:pt x="43" y="234"/>
                  </a:cubicBezTo>
                  <a:cubicBezTo>
                    <a:pt x="42" y="238"/>
                    <a:pt x="42" y="238"/>
                    <a:pt x="42" y="238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46" y="240"/>
                    <a:pt x="46" y="240"/>
                    <a:pt x="46" y="240"/>
                  </a:cubicBezTo>
                  <a:cubicBezTo>
                    <a:pt x="48" y="237"/>
                    <a:pt x="48" y="237"/>
                    <a:pt x="48" y="237"/>
                  </a:cubicBezTo>
                  <a:cubicBezTo>
                    <a:pt x="50" y="240"/>
                    <a:pt x="50" y="240"/>
                    <a:pt x="50" y="240"/>
                  </a:cubicBezTo>
                  <a:cubicBezTo>
                    <a:pt x="52" y="244"/>
                    <a:pt x="52" y="244"/>
                    <a:pt x="52" y="244"/>
                  </a:cubicBezTo>
                  <a:cubicBezTo>
                    <a:pt x="52" y="244"/>
                    <a:pt x="54" y="242"/>
                    <a:pt x="55" y="241"/>
                  </a:cubicBezTo>
                  <a:cubicBezTo>
                    <a:pt x="56" y="241"/>
                    <a:pt x="60" y="244"/>
                    <a:pt x="60" y="244"/>
                  </a:cubicBezTo>
                  <a:cubicBezTo>
                    <a:pt x="60" y="244"/>
                    <a:pt x="64" y="242"/>
                    <a:pt x="65" y="242"/>
                  </a:cubicBezTo>
                  <a:cubicBezTo>
                    <a:pt x="66" y="242"/>
                    <a:pt x="63" y="239"/>
                    <a:pt x="63" y="239"/>
                  </a:cubicBezTo>
                  <a:cubicBezTo>
                    <a:pt x="60" y="236"/>
                    <a:pt x="60" y="236"/>
                    <a:pt x="60" y="236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4" y="231"/>
                    <a:pt x="54" y="231"/>
                    <a:pt x="54" y="231"/>
                  </a:cubicBezTo>
                  <a:cubicBezTo>
                    <a:pt x="55" y="229"/>
                    <a:pt x="55" y="229"/>
                    <a:pt x="55" y="229"/>
                  </a:cubicBezTo>
                  <a:cubicBezTo>
                    <a:pt x="55" y="229"/>
                    <a:pt x="55" y="231"/>
                    <a:pt x="57" y="230"/>
                  </a:cubicBezTo>
                  <a:cubicBezTo>
                    <a:pt x="59" y="230"/>
                    <a:pt x="59" y="230"/>
                    <a:pt x="59" y="229"/>
                  </a:cubicBezTo>
                  <a:cubicBezTo>
                    <a:pt x="60" y="229"/>
                    <a:pt x="59" y="228"/>
                    <a:pt x="59" y="228"/>
                  </a:cubicBezTo>
                  <a:cubicBezTo>
                    <a:pt x="56" y="226"/>
                    <a:pt x="56" y="226"/>
                    <a:pt x="56" y="226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0" y="223"/>
                    <a:pt x="50" y="223"/>
                    <a:pt x="50" y="223"/>
                  </a:cubicBezTo>
                  <a:cubicBezTo>
                    <a:pt x="50" y="223"/>
                    <a:pt x="49" y="225"/>
                    <a:pt x="49" y="225"/>
                  </a:cubicBezTo>
                  <a:cubicBezTo>
                    <a:pt x="49" y="226"/>
                    <a:pt x="50" y="229"/>
                    <a:pt x="50" y="229"/>
                  </a:cubicBezTo>
                  <a:cubicBezTo>
                    <a:pt x="48" y="234"/>
                    <a:pt x="48" y="234"/>
                    <a:pt x="48" y="234"/>
                  </a:cubicBezTo>
                  <a:close/>
                  <a:moveTo>
                    <a:pt x="11" y="161"/>
                  </a:moveTo>
                  <a:cubicBezTo>
                    <a:pt x="11" y="161"/>
                    <a:pt x="11" y="161"/>
                    <a:pt x="11" y="161"/>
                  </a:cubicBezTo>
                  <a:cubicBezTo>
                    <a:pt x="9" y="161"/>
                    <a:pt x="9" y="161"/>
                    <a:pt x="9" y="161"/>
                  </a:cubicBezTo>
                  <a:cubicBezTo>
                    <a:pt x="9" y="161"/>
                    <a:pt x="9" y="162"/>
                    <a:pt x="10" y="163"/>
                  </a:cubicBezTo>
                  <a:cubicBezTo>
                    <a:pt x="11" y="164"/>
                    <a:pt x="13" y="170"/>
                    <a:pt x="13" y="170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9" y="173"/>
                    <a:pt x="19" y="173"/>
                    <a:pt x="19" y="173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4" y="179"/>
                    <a:pt x="21" y="178"/>
                  </a:cubicBezTo>
                  <a:cubicBezTo>
                    <a:pt x="18" y="177"/>
                    <a:pt x="15" y="175"/>
                    <a:pt x="14" y="174"/>
                  </a:cubicBezTo>
                  <a:cubicBezTo>
                    <a:pt x="12" y="174"/>
                    <a:pt x="10" y="173"/>
                    <a:pt x="10" y="173"/>
                  </a:cubicBezTo>
                  <a:cubicBezTo>
                    <a:pt x="10" y="173"/>
                    <a:pt x="9" y="168"/>
                    <a:pt x="9" y="167"/>
                  </a:cubicBezTo>
                  <a:cubicBezTo>
                    <a:pt x="8" y="167"/>
                    <a:pt x="6" y="166"/>
                    <a:pt x="6" y="166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0" y="163"/>
                    <a:pt x="0" y="159"/>
                    <a:pt x="1" y="158"/>
                  </a:cubicBezTo>
                  <a:cubicBezTo>
                    <a:pt x="1" y="158"/>
                    <a:pt x="1" y="156"/>
                    <a:pt x="3" y="156"/>
                  </a:cubicBezTo>
                  <a:cubicBezTo>
                    <a:pt x="4" y="155"/>
                    <a:pt x="7" y="155"/>
                    <a:pt x="7" y="155"/>
                  </a:cubicBezTo>
                  <a:cubicBezTo>
                    <a:pt x="7" y="155"/>
                    <a:pt x="7" y="152"/>
                    <a:pt x="8" y="153"/>
                  </a:cubicBezTo>
                  <a:cubicBezTo>
                    <a:pt x="9" y="154"/>
                    <a:pt x="11" y="157"/>
                    <a:pt x="11" y="157"/>
                  </a:cubicBezTo>
                  <a:lnTo>
                    <a:pt x="11" y="1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4" name="Freeform 210"/>
            <p:cNvSpPr>
              <a:spLocks noEditPoints="1"/>
            </p:cNvSpPr>
            <p:nvPr/>
          </p:nvSpPr>
          <p:spPr bwMode="auto">
            <a:xfrm>
              <a:off x="5956964" y="4906351"/>
              <a:ext cx="1887255" cy="984093"/>
            </a:xfrm>
            <a:custGeom>
              <a:avLst/>
              <a:gdLst>
                <a:gd name="T0" fmla="*/ 742 w 794"/>
                <a:gd name="T1" fmla="*/ 116 h 427"/>
                <a:gd name="T2" fmla="*/ 780 w 794"/>
                <a:gd name="T3" fmla="*/ 173 h 427"/>
                <a:gd name="T4" fmla="*/ 770 w 794"/>
                <a:gd name="T5" fmla="*/ 188 h 427"/>
                <a:gd name="T6" fmla="*/ 699 w 794"/>
                <a:gd name="T7" fmla="*/ 222 h 427"/>
                <a:gd name="T8" fmla="*/ 627 w 794"/>
                <a:gd name="T9" fmla="*/ 256 h 427"/>
                <a:gd name="T10" fmla="*/ 498 w 794"/>
                <a:gd name="T11" fmla="*/ 320 h 427"/>
                <a:gd name="T12" fmla="*/ 472 w 794"/>
                <a:gd name="T13" fmla="*/ 373 h 427"/>
                <a:gd name="T14" fmla="*/ 438 w 794"/>
                <a:gd name="T15" fmla="*/ 333 h 427"/>
                <a:gd name="T16" fmla="*/ 374 w 794"/>
                <a:gd name="T17" fmla="*/ 377 h 427"/>
                <a:gd name="T18" fmla="*/ 261 w 794"/>
                <a:gd name="T19" fmla="*/ 378 h 427"/>
                <a:gd name="T20" fmla="*/ 178 w 794"/>
                <a:gd name="T21" fmla="*/ 417 h 427"/>
                <a:gd name="T22" fmla="*/ 129 w 794"/>
                <a:gd name="T23" fmla="*/ 413 h 427"/>
                <a:gd name="T24" fmla="*/ 100 w 794"/>
                <a:gd name="T25" fmla="*/ 401 h 427"/>
                <a:gd name="T26" fmla="*/ 84 w 794"/>
                <a:gd name="T27" fmla="*/ 373 h 427"/>
                <a:gd name="T28" fmla="*/ 94 w 794"/>
                <a:gd name="T29" fmla="*/ 369 h 427"/>
                <a:gd name="T30" fmla="*/ 66 w 794"/>
                <a:gd name="T31" fmla="*/ 348 h 427"/>
                <a:gd name="T32" fmla="*/ 45 w 794"/>
                <a:gd name="T33" fmla="*/ 343 h 427"/>
                <a:gd name="T34" fmla="*/ 49 w 794"/>
                <a:gd name="T35" fmla="*/ 326 h 427"/>
                <a:gd name="T36" fmla="*/ 70 w 794"/>
                <a:gd name="T37" fmla="*/ 333 h 427"/>
                <a:gd name="T38" fmla="*/ 65 w 794"/>
                <a:gd name="T39" fmla="*/ 316 h 427"/>
                <a:gd name="T40" fmla="*/ 55 w 794"/>
                <a:gd name="T41" fmla="*/ 299 h 427"/>
                <a:gd name="T42" fmla="*/ 43 w 794"/>
                <a:gd name="T43" fmla="*/ 278 h 427"/>
                <a:gd name="T44" fmla="*/ 22 w 794"/>
                <a:gd name="T45" fmla="*/ 277 h 427"/>
                <a:gd name="T46" fmla="*/ 22 w 794"/>
                <a:gd name="T47" fmla="*/ 246 h 427"/>
                <a:gd name="T48" fmla="*/ 47 w 794"/>
                <a:gd name="T49" fmla="*/ 225 h 427"/>
                <a:gd name="T50" fmla="*/ 79 w 794"/>
                <a:gd name="T51" fmla="*/ 220 h 427"/>
                <a:gd name="T52" fmla="*/ 83 w 794"/>
                <a:gd name="T53" fmla="*/ 218 h 427"/>
                <a:gd name="T54" fmla="*/ 123 w 794"/>
                <a:gd name="T55" fmla="*/ 207 h 427"/>
                <a:gd name="T56" fmla="*/ 120 w 794"/>
                <a:gd name="T57" fmla="*/ 197 h 427"/>
                <a:gd name="T58" fmla="*/ 154 w 794"/>
                <a:gd name="T59" fmla="*/ 177 h 427"/>
                <a:gd name="T60" fmla="*/ 88 w 794"/>
                <a:gd name="T61" fmla="*/ 179 h 427"/>
                <a:gd name="T62" fmla="*/ 48 w 794"/>
                <a:gd name="T63" fmla="*/ 214 h 427"/>
                <a:gd name="T64" fmla="*/ 18 w 794"/>
                <a:gd name="T65" fmla="*/ 248 h 427"/>
                <a:gd name="T66" fmla="*/ 15 w 794"/>
                <a:gd name="T67" fmla="*/ 240 h 427"/>
                <a:gd name="T68" fmla="*/ 33 w 794"/>
                <a:gd name="T69" fmla="*/ 217 h 427"/>
                <a:gd name="T70" fmla="*/ 0 w 794"/>
                <a:gd name="T71" fmla="*/ 217 h 427"/>
                <a:gd name="T72" fmla="*/ 11 w 794"/>
                <a:gd name="T73" fmla="*/ 197 h 427"/>
                <a:gd name="T74" fmla="*/ 18 w 794"/>
                <a:gd name="T75" fmla="*/ 175 h 427"/>
                <a:gd name="T76" fmla="*/ 1 w 794"/>
                <a:gd name="T77" fmla="*/ 162 h 427"/>
                <a:gd name="T78" fmla="*/ 5 w 794"/>
                <a:gd name="T79" fmla="*/ 158 h 427"/>
                <a:gd name="T80" fmla="*/ 32 w 794"/>
                <a:gd name="T81" fmla="*/ 135 h 427"/>
                <a:gd name="T82" fmla="*/ 65 w 794"/>
                <a:gd name="T83" fmla="*/ 131 h 427"/>
                <a:gd name="T84" fmla="*/ 106 w 794"/>
                <a:gd name="T85" fmla="*/ 157 h 427"/>
                <a:gd name="T86" fmla="*/ 159 w 794"/>
                <a:gd name="T87" fmla="*/ 154 h 427"/>
                <a:gd name="T88" fmla="*/ 203 w 794"/>
                <a:gd name="T89" fmla="*/ 143 h 427"/>
                <a:gd name="T90" fmla="*/ 235 w 794"/>
                <a:gd name="T91" fmla="*/ 107 h 427"/>
                <a:gd name="T92" fmla="*/ 325 w 794"/>
                <a:gd name="T93" fmla="*/ 69 h 427"/>
                <a:gd name="T94" fmla="*/ 358 w 794"/>
                <a:gd name="T95" fmla="*/ 81 h 427"/>
                <a:gd name="T96" fmla="*/ 390 w 794"/>
                <a:gd name="T97" fmla="*/ 93 h 427"/>
                <a:gd name="T98" fmla="*/ 427 w 794"/>
                <a:gd name="T99" fmla="*/ 89 h 427"/>
                <a:gd name="T100" fmla="*/ 454 w 794"/>
                <a:gd name="T101" fmla="*/ 87 h 427"/>
                <a:gd name="T102" fmla="*/ 490 w 794"/>
                <a:gd name="T103" fmla="*/ 75 h 427"/>
                <a:gd name="T104" fmla="*/ 516 w 794"/>
                <a:gd name="T105" fmla="*/ 67 h 427"/>
                <a:gd name="T106" fmla="*/ 554 w 794"/>
                <a:gd name="T107" fmla="*/ 51 h 427"/>
                <a:gd name="T108" fmla="*/ 575 w 794"/>
                <a:gd name="T109" fmla="*/ 27 h 427"/>
                <a:gd name="T110" fmla="*/ 606 w 794"/>
                <a:gd name="T111" fmla="*/ 14 h 427"/>
                <a:gd name="T112" fmla="*/ 642 w 794"/>
                <a:gd name="T113" fmla="*/ 9 h 427"/>
                <a:gd name="T114" fmla="*/ 671 w 794"/>
                <a:gd name="T115" fmla="*/ 16 h 427"/>
                <a:gd name="T116" fmla="*/ 674 w 794"/>
                <a:gd name="T117" fmla="*/ 40 h 427"/>
                <a:gd name="T118" fmla="*/ 685 w 794"/>
                <a:gd name="T119" fmla="*/ 59 h 427"/>
                <a:gd name="T120" fmla="*/ 708 w 794"/>
                <a:gd name="T121" fmla="*/ 58 h 427"/>
                <a:gd name="T122" fmla="*/ 727 w 794"/>
                <a:gd name="T123" fmla="*/ 8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4" h="427">
                  <a:moveTo>
                    <a:pt x="727" y="80"/>
                  </a:moveTo>
                  <a:cubicBezTo>
                    <a:pt x="717" y="84"/>
                    <a:pt x="717" y="84"/>
                    <a:pt x="717" y="84"/>
                  </a:cubicBezTo>
                  <a:cubicBezTo>
                    <a:pt x="717" y="86"/>
                    <a:pt x="717" y="86"/>
                    <a:pt x="717" y="86"/>
                  </a:cubicBezTo>
                  <a:cubicBezTo>
                    <a:pt x="723" y="93"/>
                    <a:pt x="723" y="93"/>
                    <a:pt x="723" y="93"/>
                  </a:cubicBezTo>
                  <a:cubicBezTo>
                    <a:pt x="729" y="95"/>
                    <a:pt x="729" y="95"/>
                    <a:pt x="729" y="95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42" y="116"/>
                    <a:pt x="742" y="116"/>
                    <a:pt x="742" y="116"/>
                  </a:cubicBezTo>
                  <a:cubicBezTo>
                    <a:pt x="748" y="129"/>
                    <a:pt x="748" y="129"/>
                    <a:pt x="748" y="129"/>
                  </a:cubicBezTo>
                  <a:cubicBezTo>
                    <a:pt x="756" y="130"/>
                    <a:pt x="756" y="130"/>
                    <a:pt x="756" y="130"/>
                  </a:cubicBezTo>
                  <a:cubicBezTo>
                    <a:pt x="758" y="135"/>
                    <a:pt x="756" y="128"/>
                    <a:pt x="756" y="136"/>
                  </a:cubicBezTo>
                  <a:cubicBezTo>
                    <a:pt x="754" y="148"/>
                    <a:pt x="753" y="140"/>
                    <a:pt x="756" y="154"/>
                  </a:cubicBezTo>
                  <a:cubicBezTo>
                    <a:pt x="756" y="158"/>
                    <a:pt x="771" y="156"/>
                    <a:pt x="772" y="156"/>
                  </a:cubicBezTo>
                  <a:cubicBezTo>
                    <a:pt x="771" y="157"/>
                    <a:pt x="777" y="160"/>
                    <a:pt x="775" y="165"/>
                  </a:cubicBezTo>
                  <a:cubicBezTo>
                    <a:pt x="773" y="169"/>
                    <a:pt x="783" y="167"/>
                    <a:pt x="780" y="173"/>
                  </a:cubicBezTo>
                  <a:cubicBezTo>
                    <a:pt x="779" y="175"/>
                    <a:pt x="787" y="173"/>
                    <a:pt x="791" y="175"/>
                  </a:cubicBezTo>
                  <a:cubicBezTo>
                    <a:pt x="794" y="176"/>
                    <a:pt x="794" y="181"/>
                    <a:pt x="793" y="182"/>
                  </a:cubicBezTo>
                  <a:cubicBezTo>
                    <a:pt x="791" y="185"/>
                    <a:pt x="790" y="183"/>
                    <a:pt x="786" y="187"/>
                  </a:cubicBezTo>
                  <a:cubicBezTo>
                    <a:pt x="780" y="191"/>
                    <a:pt x="783" y="194"/>
                    <a:pt x="783" y="195"/>
                  </a:cubicBezTo>
                  <a:cubicBezTo>
                    <a:pt x="782" y="198"/>
                    <a:pt x="780" y="199"/>
                    <a:pt x="779" y="200"/>
                  </a:cubicBezTo>
                  <a:cubicBezTo>
                    <a:pt x="772" y="196"/>
                    <a:pt x="772" y="196"/>
                    <a:pt x="772" y="196"/>
                  </a:cubicBezTo>
                  <a:cubicBezTo>
                    <a:pt x="770" y="188"/>
                    <a:pt x="770" y="188"/>
                    <a:pt x="770" y="188"/>
                  </a:cubicBezTo>
                  <a:cubicBezTo>
                    <a:pt x="761" y="188"/>
                    <a:pt x="761" y="188"/>
                    <a:pt x="761" y="188"/>
                  </a:cubicBezTo>
                  <a:cubicBezTo>
                    <a:pt x="757" y="196"/>
                    <a:pt x="757" y="196"/>
                    <a:pt x="757" y="196"/>
                  </a:cubicBezTo>
                  <a:cubicBezTo>
                    <a:pt x="737" y="198"/>
                    <a:pt x="737" y="198"/>
                    <a:pt x="737" y="198"/>
                  </a:cubicBezTo>
                  <a:cubicBezTo>
                    <a:pt x="730" y="203"/>
                    <a:pt x="726" y="194"/>
                    <a:pt x="722" y="202"/>
                  </a:cubicBezTo>
                  <a:cubicBezTo>
                    <a:pt x="713" y="203"/>
                    <a:pt x="721" y="205"/>
                    <a:pt x="712" y="204"/>
                  </a:cubicBezTo>
                  <a:cubicBezTo>
                    <a:pt x="710" y="204"/>
                    <a:pt x="711" y="216"/>
                    <a:pt x="706" y="219"/>
                  </a:cubicBezTo>
                  <a:cubicBezTo>
                    <a:pt x="703" y="220"/>
                    <a:pt x="703" y="222"/>
                    <a:pt x="699" y="222"/>
                  </a:cubicBezTo>
                  <a:cubicBezTo>
                    <a:pt x="693" y="221"/>
                    <a:pt x="697" y="217"/>
                    <a:pt x="696" y="217"/>
                  </a:cubicBezTo>
                  <a:cubicBezTo>
                    <a:pt x="690" y="216"/>
                    <a:pt x="690" y="216"/>
                    <a:pt x="690" y="216"/>
                  </a:cubicBezTo>
                  <a:cubicBezTo>
                    <a:pt x="685" y="228"/>
                    <a:pt x="685" y="228"/>
                    <a:pt x="685" y="228"/>
                  </a:cubicBezTo>
                  <a:cubicBezTo>
                    <a:pt x="670" y="234"/>
                    <a:pt x="670" y="234"/>
                    <a:pt x="670" y="234"/>
                  </a:cubicBezTo>
                  <a:cubicBezTo>
                    <a:pt x="659" y="240"/>
                    <a:pt x="659" y="240"/>
                    <a:pt x="659" y="240"/>
                  </a:cubicBezTo>
                  <a:cubicBezTo>
                    <a:pt x="638" y="246"/>
                    <a:pt x="638" y="246"/>
                    <a:pt x="638" y="246"/>
                  </a:cubicBezTo>
                  <a:cubicBezTo>
                    <a:pt x="627" y="256"/>
                    <a:pt x="627" y="256"/>
                    <a:pt x="627" y="256"/>
                  </a:cubicBezTo>
                  <a:cubicBezTo>
                    <a:pt x="610" y="261"/>
                    <a:pt x="625" y="261"/>
                    <a:pt x="609" y="276"/>
                  </a:cubicBezTo>
                  <a:cubicBezTo>
                    <a:pt x="598" y="287"/>
                    <a:pt x="580" y="290"/>
                    <a:pt x="564" y="295"/>
                  </a:cubicBezTo>
                  <a:cubicBezTo>
                    <a:pt x="551" y="288"/>
                    <a:pt x="551" y="288"/>
                    <a:pt x="551" y="288"/>
                  </a:cubicBezTo>
                  <a:cubicBezTo>
                    <a:pt x="551" y="288"/>
                    <a:pt x="545" y="290"/>
                    <a:pt x="542" y="290"/>
                  </a:cubicBezTo>
                  <a:cubicBezTo>
                    <a:pt x="539" y="291"/>
                    <a:pt x="529" y="302"/>
                    <a:pt x="529" y="302"/>
                  </a:cubicBezTo>
                  <a:cubicBezTo>
                    <a:pt x="516" y="314"/>
                    <a:pt x="516" y="314"/>
                    <a:pt x="516" y="314"/>
                  </a:cubicBezTo>
                  <a:cubicBezTo>
                    <a:pt x="511" y="317"/>
                    <a:pt x="505" y="320"/>
                    <a:pt x="498" y="320"/>
                  </a:cubicBezTo>
                  <a:cubicBezTo>
                    <a:pt x="489" y="314"/>
                    <a:pt x="489" y="314"/>
                    <a:pt x="489" y="314"/>
                  </a:cubicBezTo>
                  <a:cubicBezTo>
                    <a:pt x="480" y="314"/>
                    <a:pt x="476" y="319"/>
                    <a:pt x="481" y="326"/>
                  </a:cubicBezTo>
                  <a:cubicBezTo>
                    <a:pt x="483" y="329"/>
                    <a:pt x="481" y="331"/>
                    <a:pt x="482" y="334"/>
                  </a:cubicBezTo>
                  <a:cubicBezTo>
                    <a:pt x="482" y="339"/>
                    <a:pt x="491" y="341"/>
                    <a:pt x="490" y="345"/>
                  </a:cubicBezTo>
                  <a:cubicBezTo>
                    <a:pt x="489" y="347"/>
                    <a:pt x="484" y="347"/>
                    <a:pt x="480" y="350"/>
                  </a:cubicBezTo>
                  <a:cubicBezTo>
                    <a:pt x="477" y="352"/>
                    <a:pt x="483" y="363"/>
                    <a:pt x="481" y="363"/>
                  </a:cubicBezTo>
                  <a:cubicBezTo>
                    <a:pt x="481" y="363"/>
                    <a:pt x="476" y="375"/>
                    <a:pt x="472" y="373"/>
                  </a:cubicBezTo>
                  <a:cubicBezTo>
                    <a:pt x="470" y="371"/>
                    <a:pt x="467" y="368"/>
                    <a:pt x="465" y="364"/>
                  </a:cubicBezTo>
                  <a:cubicBezTo>
                    <a:pt x="463" y="361"/>
                    <a:pt x="456" y="358"/>
                    <a:pt x="455" y="354"/>
                  </a:cubicBezTo>
                  <a:cubicBezTo>
                    <a:pt x="452" y="350"/>
                    <a:pt x="465" y="334"/>
                    <a:pt x="464" y="333"/>
                  </a:cubicBezTo>
                  <a:cubicBezTo>
                    <a:pt x="465" y="330"/>
                    <a:pt x="465" y="330"/>
                    <a:pt x="463" y="324"/>
                  </a:cubicBezTo>
                  <a:cubicBezTo>
                    <a:pt x="463" y="321"/>
                    <a:pt x="454" y="320"/>
                    <a:pt x="452" y="317"/>
                  </a:cubicBezTo>
                  <a:cubicBezTo>
                    <a:pt x="446" y="328"/>
                    <a:pt x="446" y="328"/>
                    <a:pt x="446" y="328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430" y="334"/>
                    <a:pt x="443" y="343"/>
                    <a:pt x="437" y="342"/>
                  </a:cubicBezTo>
                  <a:cubicBezTo>
                    <a:pt x="436" y="341"/>
                    <a:pt x="429" y="347"/>
                    <a:pt x="423" y="344"/>
                  </a:cubicBezTo>
                  <a:cubicBezTo>
                    <a:pt x="416" y="340"/>
                    <a:pt x="407" y="339"/>
                    <a:pt x="404" y="339"/>
                  </a:cubicBezTo>
                  <a:cubicBezTo>
                    <a:pt x="395" y="343"/>
                    <a:pt x="395" y="343"/>
                    <a:pt x="395" y="343"/>
                  </a:cubicBezTo>
                  <a:cubicBezTo>
                    <a:pt x="392" y="348"/>
                    <a:pt x="391" y="354"/>
                    <a:pt x="389" y="357"/>
                  </a:cubicBezTo>
                  <a:cubicBezTo>
                    <a:pt x="381" y="368"/>
                    <a:pt x="381" y="368"/>
                    <a:pt x="381" y="368"/>
                  </a:cubicBezTo>
                  <a:cubicBezTo>
                    <a:pt x="370" y="372"/>
                    <a:pt x="379" y="375"/>
                    <a:pt x="374" y="377"/>
                  </a:cubicBezTo>
                  <a:cubicBezTo>
                    <a:pt x="372" y="378"/>
                    <a:pt x="369" y="385"/>
                    <a:pt x="362" y="387"/>
                  </a:cubicBezTo>
                  <a:cubicBezTo>
                    <a:pt x="358" y="388"/>
                    <a:pt x="352" y="393"/>
                    <a:pt x="347" y="393"/>
                  </a:cubicBezTo>
                  <a:cubicBezTo>
                    <a:pt x="345" y="393"/>
                    <a:pt x="334" y="401"/>
                    <a:pt x="333" y="403"/>
                  </a:cubicBezTo>
                  <a:cubicBezTo>
                    <a:pt x="325" y="401"/>
                    <a:pt x="303" y="395"/>
                    <a:pt x="301" y="387"/>
                  </a:cubicBezTo>
                  <a:cubicBezTo>
                    <a:pt x="299" y="380"/>
                    <a:pt x="292" y="390"/>
                    <a:pt x="286" y="383"/>
                  </a:cubicBezTo>
                  <a:cubicBezTo>
                    <a:pt x="271" y="378"/>
                    <a:pt x="271" y="378"/>
                    <a:pt x="271" y="378"/>
                  </a:cubicBezTo>
                  <a:cubicBezTo>
                    <a:pt x="261" y="378"/>
                    <a:pt x="261" y="378"/>
                    <a:pt x="261" y="378"/>
                  </a:cubicBezTo>
                  <a:cubicBezTo>
                    <a:pt x="257" y="378"/>
                    <a:pt x="239" y="380"/>
                    <a:pt x="235" y="382"/>
                  </a:cubicBezTo>
                  <a:cubicBezTo>
                    <a:pt x="238" y="393"/>
                    <a:pt x="237" y="385"/>
                    <a:pt x="237" y="398"/>
                  </a:cubicBezTo>
                  <a:cubicBezTo>
                    <a:pt x="231" y="399"/>
                    <a:pt x="238" y="412"/>
                    <a:pt x="233" y="416"/>
                  </a:cubicBezTo>
                  <a:cubicBezTo>
                    <a:pt x="216" y="420"/>
                    <a:pt x="216" y="420"/>
                    <a:pt x="216" y="420"/>
                  </a:cubicBezTo>
                  <a:cubicBezTo>
                    <a:pt x="206" y="426"/>
                    <a:pt x="206" y="426"/>
                    <a:pt x="206" y="426"/>
                  </a:cubicBezTo>
                  <a:cubicBezTo>
                    <a:pt x="188" y="426"/>
                    <a:pt x="188" y="426"/>
                    <a:pt x="188" y="426"/>
                  </a:cubicBezTo>
                  <a:cubicBezTo>
                    <a:pt x="188" y="427"/>
                    <a:pt x="179" y="421"/>
                    <a:pt x="178" y="417"/>
                  </a:cubicBezTo>
                  <a:cubicBezTo>
                    <a:pt x="173" y="404"/>
                    <a:pt x="176" y="406"/>
                    <a:pt x="172" y="404"/>
                  </a:cubicBezTo>
                  <a:cubicBezTo>
                    <a:pt x="165" y="402"/>
                    <a:pt x="165" y="405"/>
                    <a:pt x="163" y="404"/>
                  </a:cubicBezTo>
                  <a:cubicBezTo>
                    <a:pt x="163" y="403"/>
                    <a:pt x="159" y="404"/>
                    <a:pt x="153" y="409"/>
                  </a:cubicBezTo>
                  <a:cubicBezTo>
                    <a:pt x="151" y="412"/>
                    <a:pt x="147" y="420"/>
                    <a:pt x="145" y="421"/>
                  </a:cubicBezTo>
                  <a:cubicBezTo>
                    <a:pt x="143" y="423"/>
                    <a:pt x="143" y="416"/>
                    <a:pt x="141" y="417"/>
                  </a:cubicBezTo>
                  <a:cubicBezTo>
                    <a:pt x="137" y="419"/>
                    <a:pt x="138" y="413"/>
                    <a:pt x="130" y="418"/>
                  </a:cubicBezTo>
                  <a:cubicBezTo>
                    <a:pt x="127" y="420"/>
                    <a:pt x="117" y="417"/>
                    <a:pt x="129" y="413"/>
                  </a:cubicBezTo>
                  <a:cubicBezTo>
                    <a:pt x="131" y="413"/>
                    <a:pt x="147" y="401"/>
                    <a:pt x="147" y="400"/>
                  </a:cubicBezTo>
                  <a:cubicBezTo>
                    <a:pt x="148" y="398"/>
                    <a:pt x="137" y="393"/>
                    <a:pt x="136" y="393"/>
                  </a:cubicBezTo>
                  <a:cubicBezTo>
                    <a:pt x="135" y="393"/>
                    <a:pt x="130" y="401"/>
                    <a:pt x="125" y="403"/>
                  </a:cubicBezTo>
                  <a:cubicBezTo>
                    <a:pt x="117" y="405"/>
                    <a:pt x="117" y="406"/>
                    <a:pt x="113" y="407"/>
                  </a:cubicBezTo>
                  <a:cubicBezTo>
                    <a:pt x="110" y="408"/>
                    <a:pt x="109" y="404"/>
                    <a:pt x="107" y="405"/>
                  </a:cubicBezTo>
                  <a:cubicBezTo>
                    <a:pt x="104" y="406"/>
                    <a:pt x="104" y="408"/>
                    <a:pt x="102" y="408"/>
                  </a:cubicBezTo>
                  <a:cubicBezTo>
                    <a:pt x="97" y="408"/>
                    <a:pt x="100" y="401"/>
                    <a:pt x="100" y="401"/>
                  </a:cubicBezTo>
                  <a:cubicBezTo>
                    <a:pt x="104" y="399"/>
                    <a:pt x="103" y="401"/>
                    <a:pt x="109" y="399"/>
                  </a:cubicBezTo>
                  <a:cubicBezTo>
                    <a:pt x="111" y="398"/>
                    <a:pt x="117" y="396"/>
                    <a:pt x="117" y="393"/>
                  </a:cubicBezTo>
                  <a:cubicBezTo>
                    <a:pt x="114" y="382"/>
                    <a:pt x="109" y="392"/>
                    <a:pt x="107" y="388"/>
                  </a:cubicBezTo>
                  <a:cubicBezTo>
                    <a:pt x="105" y="384"/>
                    <a:pt x="102" y="386"/>
                    <a:pt x="101" y="384"/>
                  </a:cubicBezTo>
                  <a:cubicBezTo>
                    <a:pt x="99" y="379"/>
                    <a:pt x="99" y="398"/>
                    <a:pt x="95" y="384"/>
                  </a:cubicBezTo>
                  <a:cubicBezTo>
                    <a:pt x="93" y="377"/>
                    <a:pt x="98" y="377"/>
                    <a:pt x="87" y="374"/>
                  </a:cubicBezTo>
                  <a:cubicBezTo>
                    <a:pt x="87" y="374"/>
                    <a:pt x="85" y="373"/>
                    <a:pt x="84" y="373"/>
                  </a:cubicBezTo>
                  <a:cubicBezTo>
                    <a:pt x="84" y="372"/>
                    <a:pt x="85" y="371"/>
                    <a:pt x="85" y="371"/>
                  </a:cubicBezTo>
                  <a:cubicBezTo>
                    <a:pt x="85" y="371"/>
                    <a:pt x="82" y="368"/>
                    <a:pt x="81" y="368"/>
                  </a:cubicBezTo>
                  <a:cubicBezTo>
                    <a:pt x="81" y="368"/>
                    <a:pt x="78" y="370"/>
                    <a:pt x="78" y="370"/>
                  </a:cubicBezTo>
                  <a:cubicBezTo>
                    <a:pt x="78" y="370"/>
                    <a:pt x="77" y="370"/>
                    <a:pt x="76" y="370"/>
                  </a:cubicBezTo>
                  <a:cubicBezTo>
                    <a:pt x="76" y="369"/>
                    <a:pt x="79" y="369"/>
                    <a:pt x="83" y="367"/>
                  </a:cubicBezTo>
                  <a:cubicBezTo>
                    <a:pt x="85" y="367"/>
                    <a:pt x="86" y="370"/>
                    <a:pt x="88" y="370"/>
                  </a:cubicBezTo>
                  <a:cubicBezTo>
                    <a:pt x="90" y="371"/>
                    <a:pt x="94" y="370"/>
                    <a:pt x="94" y="369"/>
                  </a:cubicBezTo>
                  <a:cubicBezTo>
                    <a:pt x="95" y="368"/>
                    <a:pt x="90" y="365"/>
                    <a:pt x="91" y="360"/>
                  </a:cubicBezTo>
                  <a:cubicBezTo>
                    <a:pt x="91" y="358"/>
                    <a:pt x="93" y="358"/>
                    <a:pt x="91" y="357"/>
                  </a:cubicBezTo>
                  <a:cubicBezTo>
                    <a:pt x="89" y="356"/>
                    <a:pt x="89" y="355"/>
                    <a:pt x="89" y="355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76" y="354"/>
                    <a:pt x="76" y="354"/>
                    <a:pt x="74" y="353"/>
                  </a:cubicBezTo>
                  <a:cubicBezTo>
                    <a:pt x="72" y="352"/>
                    <a:pt x="70" y="351"/>
                    <a:pt x="70" y="351"/>
                  </a:cubicBezTo>
                  <a:cubicBezTo>
                    <a:pt x="66" y="348"/>
                    <a:pt x="66" y="348"/>
                    <a:pt x="66" y="348"/>
                  </a:cubicBezTo>
                  <a:cubicBezTo>
                    <a:pt x="66" y="348"/>
                    <a:pt x="62" y="349"/>
                    <a:pt x="61" y="349"/>
                  </a:cubicBezTo>
                  <a:cubicBezTo>
                    <a:pt x="61" y="349"/>
                    <a:pt x="62" y="353"/>
                    <a:pt x="62" y="353"/>
                  </a:cubicBezTo>
                  <a:cubicBezTo>
                    <a:pt x="61" y="354"/>
                    <a:pt x="61" y="358"/>
                    <a:pt x="57" y="355"/>
                  </a:cubicBezTo>
                  <a:cubicBezTo>
                    <a:pt x="56" y="354"/>
                    <a:pt x="53" y="351"/>
                    <a:pt x="52" y="351"/>
                  </a:cubicBezTo>
                  <a:cubicBezTo>
                    <a:pt x="51" y="352"/>
                    <a:pt x="47" y="351"/>
                    <a:pt x="47" y="350"/>
                  </a:cubicBezTo>
                  <a:cubicBezTo>
                    <a:pt x="46" y="349"/>
                    <a:pt x="43" y="348"/>
                    <a:pt x="43" y="348"/>
                  </a:cubicBezTo>
                  <a:cubicBezTo>
                    <a:pt x="43" y="348"/>
                    <a:pt x="46" y="344"/>
                    <a:pt x="45" y="343"/>
                  </a:cubicBezTo>
                  <a:cubicBezTo>
                    <a:pt x="44" y="343"/>
                    <a:pt x="50" y="345"/>
                    <a:pt x="50" y="345"/>
                  </a:cubicBezTo>
                  <a:cubicBezTo>
                    <a:pt x="50" y="345"/>
                    <a:pt x="50" y="340"/>
                    <a:pt x="51" y="340"/>
                  </a:cubicBezTo>
                  <a:cubicBezTo>
                    <a:pt x="52" y="339"/>
                    <a:pt x="49" y="339"/>
                    <a:pt x="48" y="338"/>
                  </a:cubicBezTo>
                  <a:cubicBezTo>
                    <a:pt x="47" y="337"/>
                    <a:pt x="46" y="334"/>
                    <a:pt x="46" y="334"/>
                  </a:cubicBezTo>
                  <a:cubicBezTo>
                    <a:pt x="46" y="334"/>
                    <a:pt x="44" y="333"/>
                    <a:pt x="44" y="332"/>
                  </a:cubicBezTo>
                  <a:cubicBezTo>
                    <a:pt x="43" y="328"/>
                    <a:pt x="46" y="325"/>
                    <a:pt x="47" y="325"/>
                  </a:cubicBezTo>
                  <a:cubicBezTo>
                    <a:pt x="48" y="326"/>
                    <a:pt x="48" y="326"/>
                    <a:pt x="49" y="326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1" y="327"/>
                    <a:pt x="53" y="330"/>
                    <a:pt x="53" y="330"/>
                  </a:cubicBezTo>
                  <a:cubicBezTo>
                    <a:pt x="54" y="330"/>
                    <a:pt x="57" y="333"/>
                    <a:pt x="57" y="333"/>
                  </a:cubicBezTo>
                  <a:cubicBezTo>
                    <a:pt x="57" y="333"/>
                    <a:pt x="59" y="337"/>
                    <a:pt x="60" y="338"/>
                  </a:cubicBezTo>
                  <a:cubicBezTo>
                    <a:pt x="61" y="338"/>
                    <a:pt x="61" y="336"/>
                    <a:pt x="63" y="336"/>
                  </a:cubicBezTo>
                  <a:cubicBezTo>
                    <a:pt x="65" y="337"/>
                    <a:pt x="67" y="339"/>
                    <a:pt x="68" y="338"/>
                  </a:cubicBezTo>
                  <a:cubicBezTo>
                    <a:pt x="69" y="338"/>
                    <a:pt x="70" y="333"/>
                    <a:pt x="70" y="333"/>
                  </a:cubicBezTo>
                  <a:cubicBezTo>
                    <a:pt x="70" y="333"/>
                    <a:pt x="64" y="329"/>
                    <a:pt x="63" y="329"/>
                  </a:cubicBezTo>
                  <a:cubicBezTo>
                    <a:pt x="63" y="328"/>
                    <a:pt x="61" y="327"/>
                    <a:pt x="61" y="326"/>
                  </a:cubicBezTo>
                  <a:cubicBezTo>
                    <a:pt x="60" y="326"/>
                    <a:pt x="58" y="325"/>
                    <a:pt x="58" y="325"/>
                  </a:cubicBezTo>
                  <a:cubicBezTo>
                    <a:pt x="58" y="325"/>
                    <a:pt x="57" y="322"/>
                    <a:pt x="57" y="322"/>
                  </a:cubicBezTo>
                  <a:cubicBezTo>
                    <a:pt x="56" y="321"/>
                    <a:pt x="57" y="319"/>
                    <a:pt x="57" y="319"/>
                  </a:cubicBezTo>
                  <a:cubicBezTo>
                    <a:pt x="58" y="318"/>
                    <a:pt x="60" y="317"/>
                    <a:pt x="61" y="317"/>
                  </a:cubicBezTo>
                  <a:cubicBezTo>
                    <a:pt x="62" y="317"/>
                    <a:pt x="65" y="316"/>
                    <a:pt x="65" y="316"/>
                  </a:cubicBezTo>
                  <a:cubicBezTo>
                    <a:pt x="66" y="311"/>
                    <a:pt x="66" y="311"/>
                    <a:pt x="66" y="311"/>
                  </a:cubicBezTo>
                  <a:cubicBezTo>
                    <a:pt x="66" y="311"/>
                    <a:pt x="68" y="307"/>
                    <a:pt x="68" y="307"/>
                  </a:cubicBezTo>
                  <a:cubicBezTo>
                    <a:pt x="67" y="307"/>
                    <a:pt x="60" y="310"/>
                    <a:pt x="60" y="309"/>
                  </a:cubicBezTo>
                  <a:cubicBezTo>
                    <a:pt x="59" y="309"/>
                    <a:pt x="57" y="309"/>
                    <a:pt x="57" y="308"/>
                  </a:cubicBezTo>
                  <a:cubicBezTo>
                    <a:pt x="56" y="307"/>
                    <a:pt x="56" y="305"/>
                    <a:pt x="56" y="304"/>
                  </a:cubicBezTo>
                  <a:cubicBezTo>
                    <a:pt x="56" y="303"/>
                    <a:pt x="57" y="301"/>
                    <a:pt x="57" y="301"/>
                  </a:cubicBezTo>
                  <a:cubicBezTo>
                    <a:pt x="57" y="301"/>
                    <a:pt x="56" y="299"/>
                    <a:pt x="55" y="299"/>
                  </a:cubicBezTo>
                  <a:cubicBezTo>
                    <a:pt x="55" y="298"/>
                    <a:pt x="54" y="296"/>
                    <a:pt x="54" y="296"/>
                  </a:cubicBezTo>
                  <a:cubicBezTo>
                    <a:pt x="54" y="296"/>
                    <a:pt x="47" y="292"/>
                    <a:pt x="47" y="292"/>
                  </a:cubicBezTo>
                  <a:cubicBezTo>
                    <a:pt x="47" y="291"/>
                    <a:pt x="47" y="288"/>
                    <a:pt x="48" y="288"/>
                  </a:cubicBezTo>
                  <a:cubicBezTo>
                    <a:pt x="48" y="287"/>
                    <a:pt x="47" y="285"/>
                    <a:pt x="49" y="283"/>
                  </a:cubicBezTo>
                  <a:cubicBezTo>
                    <a:pt x="52" y="281"/>
                    <a:pt x="54" y="275"/>
                    <a:pt x="54" y="275"/>
                  </a:cubicBezTo>
                  <a:cubicBezTo>
                    <a:pt x="54" y="275"/>
                    <a:pt x="47" y="274"/>
                    <a:pt x="47" y="274"/>
                  </a:cubicBezTo>
                  <a:cubicBezTo>
                    <a:pt x="46" y="274"/>
                    <a:pt x="43" y="278"/>
                    <a:pt x="43" y="278"/>
                  </a:cubicBezTo>
                  <a:cubicBezTo>
                    <a:pt x="43" y="278"/>
                    <a:pt x="39" y="279"/>
                    <a:pt x="39" y="280"/>
                  </a:cubicBezTo>
                  <a:cubicBezTo>
                    <a:pt x="38" y="280"/>
                    <a:pt x="33" y="281"/>
                    <a:pt x="33" y="282"/>
                  </a:cubicBezTo>
                  <a:cubicBezTo>
                    <a:pt x="32" y="282"/>
                    <a:pt x="30" y="284"/>
                    <a:pt x="29" y="284"/>
                  </a:cubicBezTo>
                  <a:cubicBezTo>
                    <a:pt x="28" y="285"/>
                    <a:pt x="24" y="287"/>
                    <a:pt x="24" y="287"/>
                  </a:cubicBezTo>
                  <a:cubicBezTo>
                    <a:pt x="24" y="287"/>
                    <a:pt x="20" y="287"/>
                    <a:pt x="20" y="287"/>
                  </a:cubicBezTo>
                  <a:cubicBezTo>
                    <a:pt x="20" y="286"/>
                    <a:pt x="20" y="279"/>
                    <a:pt x="20" y="279"/>
                  </a:cubicBezTo>
                  <a:cubicBezTo>
                    <a:pt x="20" y="279"/>
                    <a:pt x="22" y="278"/>
                    <a:pt x="22" y="277"/>
                  </a:cubicBezTo>
                  <a:cubicBezTo>
                    <a:pt x="22" y="277"/>
                    <a:pt x="21" y="273"/>
                    <a:pt x="20" y="272"/>
                  </a:cubicBezTo>
                  <a:cubicBezTo>
                    <a:pt x="20" y="272"/>
                    <a:pt x="20" y="267"/>
                    <a:pt x="20" y="266"/>
                  </a:cubicBezTo>
                  <a:cubicBezTo>
                    <a:pt x="20" y="264"/>
                    <a:pt x="19" y="261"/>
                    <a:pt x="19" y="261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20" y="250"/>
                    <a:pt x="22" y="246"/>
                    <a:pt x="22" y="246"/>
                  </a:cubicBezTo>
                  <a:cubicBezTo>
                    <a:pt x="22" y="245"/>
                    <a:pt x="24" y="241"/>
                    <a:pt x="24" y="241"/>
                  </a:cubicBezTo>
                  <a:cubicBezTo>
                    <a:pt x="25" y="240"/>
                    <a:pt x="31" y="234"/>
                    <a:pt x="31" y="234"/>
                  </a:cubicBezTo>
                  <a:cubicBezTo>
                    <a:pt x="34" y="230"/>
                    <a:pt x="34" y="230"/>
                    <a:pt x="34" y="230"/>
                  </a:cubicBezTo>
                  <a:cubicBezTo>
                    <a:pt x="34" y="230"/>
                    <a:pt x="38" y="230"/>
                    <a:pt x="39" y="230"/>
                  </a:cubicBezTo>
                  <a:cubicBezTo>
                    <a:pt x="39" y="230"/>
                    <a:pt x="43" y="227"/>
                    <a:pt x="43" y="227"/>
                  </a:cubicBezTo>
                  <a:cubicBezTo>
                    <a:pt x="44" y="225"/>
                    <a:pt x="44" y="225"/>
                    <a:pt x="44" y="225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47" y="225"/>
                    <a:pt x="49" y="223"/>
                    <a:pt x="50" y="223"/>
                  </a:cubicBezTo>
                  <a:cubicBezTo>
                    <a:pt x="50" y="223"/>
                    <a:pt x="52" y="223"/>
                    <a:pt x="54" y="223"/>
                  </a:cubicBezTo>
                  <a:cubicBezTo>
                    <a:pt x="56" y="223"/>
                    <a:pt x="57" y="222"/>
                    <a:pt x="58" y="222"/>
                  </a:cubicBezTo>
                  <a:cubicBezTo>
                    <a:pt x="58" y="223"/>
                    <a:pt x="62" y="227"/>
                    <a:pt x="62" y="227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79" y="223"/>
                    <a:pt x="79" y="223"/>
                    <a:pt x="79" y="223"/>
                  </a:cubicBezTo>
                  <a:cubicBezTo>
                    <a:pt x="79" y="223"/>
                    <a:pt x="79" y="220"/>
                    <a:pt x="79" y="220"/>
                  </a:cubicBezTo>
                  <a:cubicBezTo>
                    <a:pt x="78" y="219"/>
                    <a:pt x="73" y="218"/>
                    <a:pt x="73" y="218"/>
                  </a:cubicBezTo>
                  <a:cubicBezTo>
                    <a:pt x="73" y="218"/>
                    <a:pt x="72" y="218"/>
                    <a:pt x="73" y="218"/>
                  </a:cubicBezTo>
                  <a:cubicBezTo>
                    <a:pt x="73" y="217"/>
                    <a:pt x="75" y="213"/>
                    <a:pt x="75" y="213"/>
                  </a:cubicBezTo>
                  <a:cubicBezTo>
                    <a:pt x="76" y="213"/>
                    <a:pt x="77" y="213"/>
                    <a:pt x="79" y="213"/>
                  </a:cubicBezTo>
                  <a:cubicBezTo>
                    <a:pt x="81" y="213"/>
                    <a:pt x="85" y="213"/>
                    <a:pt x="85" y="213"/>
                  </a:cubicBezTo>
                  <a:cubicBezTo>
                    <a:pt x="85" y="213"/>
                    <a:pt x="87" y="215"/>
                    <a:pt x="85" y="216"/>
                  </a:cubicBezTo>
                  <a:cubicBezTo>
                    <a:pt x="84" y="217"/>
                    <a:pt x="83" y="217"/>
                    <a:pt x="83" y="218"/>
                  </a:cubicBezTo>
                  <a:cubicBezTo>
                    <a:pt x="83" y="218"/>
                    <a:pt x="83" y="220"/>
                    <a:pt x="84" y="220"/>
                  </a:cubicBezTo>
                  <a:cubicBezTo>
                    <a:pt x="84" y="220"/>
                    <a:pt x="89" y="219"/>
                    <a:pt x="89" y="219"/>
                  </a:cubicBezTo>
                  <a:cubicBezTo>
                    <a:pt x="89" y="219"/>
                    <a:pt x="90" y="217"/>
                    <a:pt x="92" y="217"/>
                  </a:cubicBezTo>
                  <a:cubicBezTo>
                    <a:pt x="93" y="216"/>
                    <a:pt x="96" y="215"/>
                    <a:pt x="96" y="215"/>
                  </a:cubicBezTo>
                  <a:cubicBezTo>
                    <a:pt x="106" y="214"/>
                    <a:pt x="106" y="214"/>
                    <a:pt x="106" y="214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21" y="207"/>
                    <a:pt x="123" y="207"/>
                  </a:cubicBezTo>
                  <a:cubicBezTo>
                    <a:pt x="126" y="208"/>
                    <a:pt x="128" y="208"/>
                    <a:pt x="129" y="207"/>
                  </a:cubicBezTo>
                  <a:cubicBezTo>
                    <a:pt x="130" y="206"/>
                    <a:pt x="132" y="203"/>
                    <a:pt x="132" y="203"/>
                  </a:cubicBezTo>
                  <a:cubicBezTo>
                    <a:pt x="130" y="202"/>
                    <a:pt x="130" y="202"/>
                    <a:pt x="130" y="202"/>
                  </a:cubicBezTo>
                  <a:cubicBezTo>
                    <a:pt x="125" y="202"/>
                    <a:pt x="125" y="202"/>
                    <a:pt x="125" y="202"/>
                  </a:cubicBezTo>
                  <a:cubicBezTo>
                    <a:pt x="125" y="202"/>
                    <a:pt x="120" y="203"/>
                    <a:pt x="120" y="203"/>
                  </a:cubicBezTo>
                  <a:cubicBezTo>
                    <a:pt x="119" y="202"/>
                    <a:pt x="116" y="202"/>
                    <a:pt x="117" y="201"/>
                  </a:cubicBezTo>
                  <a:cubicBezTo>
                    <a:pt x="118" y="199"/>
                    <a:pt x="118" y="199"/>
                    <a:pt x="120" y="197"/>
                  </a:cubicBezTo>
                  <a:cubicBezTo>
                    <a:pt x="121" y="196"/>
                    <a:pt x="122" y="195"/>
                    <a:pt x="123" y="194"/>
                  </a:cubicBezTo>
                  <a:cubicBezTo>
                    <a:pt x="125" y="194"/>
                    <a:pt x="125" y="193"/>
                    <a:pt x="127" y="192"/>
                  </a:cubicBezTo>
                  <a:cubicBezTo>
                    <a:pt x="129" y="191"/>
                    <a:pt x="129" y="191"/>
                    <a:pt x="133" y="189"/>
                  </a:cubicBezTo>
                  <a:cubicBezTo>
                    <a:pt x="137" y="188"/>
                    <a:pt x="145" y="182"/>
                    <a:pt x="146" y="182"/>
                  </a:cubicBezTo>
                  <a:cubicBezTo>
                    <a:pt x="147" y="182"/>
                    <a:pt x="148" y="183"/>
                    <a:pt x="152" y="181"/>
                  </a:cubicBezTo>
                  <a:cubicBezTo>
                    <a:pt x="157" y="180"/>
                    <a:pt x="160" y="177"/>
                    <a:pt x="159" y="177"/>
                  </a:cubicBezTo>
                  <a:cubicBezTo>
                    <a:pt x="158" y="177"/>
                    <a:pt x="156" y="176"/>
                    <a:pt x="154" y="177"/>
                  </a:cubicBezTo>
                  <a:cubicBezTo>
                    <a:pt x="151" y="178"/>
                    <a:pt x="153" y="176"/>
                    <a:pt x="149" y="178"/>
                  </a:cubicBezTo>
                  <a:cubicBezTo>
                    <a:pt x="144" y="181"/>
                    <a:pt x="137" y="183"/>
                    <a:pt x="135" y="183"/>
                  </a:cubicBezTo>
                  <a:cubicBezTo>
                    <a:pt x="133" y="182"/>
                    <a:pt x="131" y="181"/>
                    <a:pt x="129" y="179"/>
                  </a:cubicBezTo>
                  <a:cubicBezTo>
                    <a:pt x="126" y="177"/>
                    <a:pt x="120" y="177"/>
                    <a:pt x="120" y="176"/>
                  </a:cubicBezTo>
                  <a:cubicBezTo>
                    <a:pt x="119" y="176"/>
                    <a:pt x="111" y="179"/>
                    <a:pt x="111" y="179"/>
                  </a:cubicBezTo>
                  <a:cubicBezTo>
                    <a:pt x="111" y="179"/>
                    <a:pt x="100" y="180"/>
                    <a:pt x="97" y="180"/>
                  </a:cubicBezTo>
                  <a:cubicBezTo>
                    <a:pt x="95" y="180"/>
                    <a:pt x="89" y="179"/>
                    <a:pt x="88" y="179"/>
                  </a:cubicBezTo>
                  <a:cubicBezTo>
                    <a:pt x="88" y="179"/>
                    <a:pt x="82" y="181"/>
                    <a:pt x="82" y="181"/>
                  </a:cubicBezTo>
                  <a:cubicBezTo>
                    <a:pt x="81" y="181"/>
                    <a:pt x="77" y="187"/>
                    <a:pt x="75" y="188"/>
                  </a:cubicBezTo>
                  <a:cubicBezTo>
                    <a:pt x="73" y="189"/>
                    <a:pt x="68" y="188"/>
                    <a:pt x="68" y="188"/>
                  </a:cubicBezTo>
                  <a:cubicBezTo>
                    <a:pt x="68" y="188"/>
                    <a:pt x="66" y="190"/>
                    <a:pt x="64" y="191"/>
                  </a:cubicBezTo>
                  <a:cubicBezTo>
                    <a:pt x="62" y="192"/>
                    <a:pt x="59" y="194"/>
                    <a:pt x="57" y="195"/>
                  </a:cubicBezTo>
                  <a:cubicBezTo>
                    <a:pt x="55" y="196"/>
                    <a:pt x="54" y="204"/>
                    <a:pt x="54" y="205"/>
                  </a:cubicBezTo>
                  <a:cubicBezTo>
                    <a:pt x="53" y="207"/>
                    <a:pt x="48" y="214"/>
                    <a:pt x="48" y="214"/>
                  </a:cubicBezTo>
                  <a:cubicBezTo>
                    <a:pt x="43" y="219"/>
                    <a:pt x="43" y="219"/>
                    <a:pt x="43" y="219"/>
                  </a:cubicBezTo>
                  <a:cubicBezTo>
                    <a:pt x="43" y="219"/>
                    <a:pt x="39" y="223"/>
                    <a:pt x="38" y="223"/>
                  </a:cubicBezTo>
                  <a:cubicBezTo>
                    <a:pt x="37" y="224"/>
                    <a:pt x="31" y="230"/>
                    <a:pt x="31" y="230"/>
                  </a:cubicBezTo>
                  <a:cubicBezTo>
                    <a:pt x="31" y="230"/>
                    <a:pt x="29" y="229"/>
                    <a:pt x="29" y="229"/>
                  </a:cubicBezTo>
                  <a:cubicBezTo>
                    <a:pt x="29" y="229"/>
                    <a:pt x="25" y="235"/>
                    <a:pt x="25" y="235"/>
                  </a:cubicBezTo>
                  <a:cubicBezTo>
                    <a:pt x="25" y="235"/>
                    <a:pt x="23" y="240"/>
                    <a:pt x="22" y="241"/>
                  </a:cubicBezTo>
                  <a:cubicBezTo>
                    <a:pt x="22" y="242"/>
                    <a:pt x="18" y="248"/>
                    <a:pt x="18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6" y="254"/>
                    <a:pt x="16" y="254"/>
                    <a:pt x="16" y="254"/>
                  </a:cubicBezTo>
                  <a:cubicBezTo>
                    <a:pt x="16" y="254"/>
                    <a:pt x="14" y="256"/>
                    <a:pt x="14" y="255"/>
                  </a:cubicBezTo>
                  <a:cubicBezTo>
                    <a:pt x="14" y="254"/>
                    <a:pt x="14" y="250"/>
                    <a:pt x="15" y="249"/>
                  </a:cubicBezTo>
                  <a:cubicBezTo>
                    <a:pt x="16" y="248"/>
                    <a:pt x="16" y="246"/>
                    <a:pt x="16" y="246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5" y="241"/>
                    <a:pt x="14" y="243"/>
                    <a:pt x="15" y="240"/>
                  </a:cubicBezTo>
                  <a:cubicBezTo>
                    <a:pt x="16" y="237"/>
                    <a:pt x="15" y="237"/>
                    <a:pt x="16" y="236"/>
                  </a:cubicBezTo>
                  <a:cubicBezTo>
                    <a:pt x="18" y="235"/>
                    <a:pt x="17" y="235"/>
                    <a:pt x="20" y="233"/>
                  </a:cubicBezTo>
                  <a:cubicBezTo>
                    <a:pt x="22" y="231"/>
                    <a:pt x="21" y="230"/>
                    <a:pt x="22" y="230"/>
                  </a:cubicBezTo>
                  <a:cubicBezTo>
                    <a:pt x="24" y="229"/>
                    <a:pt x="24" y="229"/>
                    <a:pt x="26" y="228"/>
                  </a:cubicBezTo>
                  <a:cubicBezTo>
                    <a:pt x="29" y="226"/>
                    <a:pt x="30" y="225"/>
                    <a:pt x="31" y="224"/>
                  </a:cubicBezTo>
                  <a:cubicBezTo>
                    <a:pt x="31" y="223"/>
                    <a:pt x="36" y="221"/>
                    <a:pt x="35" y="220"/>
                  </a:cubicBezTo>
                  <a:cubicBezTo>
                    <a:pt x="35" y="219"/>
                    <a:pt x="36" y="217"/>
                    <a:pt x="33" y="217"/>
                  </a:cubicBezTo>
                  <a:cubicBezTo>
                    <a:pt x="31" y="217"/>
                    <a:pt x="27" y="219"/>
                    <a:pt x="25" y="220"/>
                  </a:cubicBezTo>
                  <a:cubicBezTo>
                    <a:pt x="22" y="221"/>
                    <a:pt x="19" y="223"/>
                    <a:pt x="19" y="223"/>
                  </a:cubicBezTo>
                  <a:cubicBezTo>
                    <a:pt x="19" y="223"/>
                    <a:pt x="12" y="225"/>
                    <a:pt x="11" y="225"/>
                  </a:cubicBezTo>
                  <a:cubicBezTo>
                    <a:pt x="10" y="224"/>
                    <a:pt x="8" y="225"/>
                    <a:pt x="7" y="225"/>
                  </a:cubicBezTo>
                  <a:cubicBezTo>
                    <a:pt x="5" y="226"/>
                    <a:pt x="1" y="224"/>
                    <a:pt x="1" y="224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" y="217"/>
                    <a:pt x="1" y="218"/>
                    <a:pt x="1" y="218"/>
                  </a:cubicBezTo>
                  <a:cubicBezTo>
                    <a:pt x="1" y="218"/>
                    <a:pt x="1" y="218"/>
                    <a:pt x="1" y="218"/>
                  </a:cubicBezTo>
                  <a:cubicBezTo>
                    <a:pt x="2" y="219"/>
                    <a:pt x="7" y="219"/>
                    <a:pt x="7" y="219"/>
                  </a:cubicBezTo>
                  <a:cubicBezTo>
                    <a:pt x="11" y="215"/>
                    <a:pt x="11" y="215"/>
                    <a:pt x="11" y="215"/>
                  </a:cubicBezTo>
                  <a:cubicBezTo>
                    <a:pt x="16" y="208"/>
                    <a:pt x="16" y="208"/>
                    <a:pt x="16" y="208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7"/>
                    <a:pt x="11" y="197"/>
                    <a:pt x="11" y="197"/>
                  </a:cubicBezTo>
                  <a:cubicBezTo>
                    <a:pt x="11" y="196"/>
                    <a:pt x="12" y="192"/>
                    <a:pt x="12" y="191"/>
                  </a:cubicBezTo>
                  <a:cubicBezTo>
                    <a:pt x="12" y="190"/>
                    <a:pt x="14" y="186"/>
                    <a:pt x="14" y="186"/>
                  </a:cubicBezTo>
                  <a:cubicBezTo>
                    <a:pt x="16" y="183"/>
                    <a:pt x="16" y="183"/>
                    <a:pt x="16" y="183"/>
                  </a:cubicBezTo>
                  <a:cubicBezTo>
                    <a:pt x="16" y="183"/>
                    <a:pt x="20" y="182"/>
                    <a:pt x="21" y="182"/>
                  </a:cubicBezTo>
                  <a:cubicBezTo>
                    <a:pt x="23" y="182"/>
                    <a:pt x="18" y="176"/>
                    <a:pt x="18" y="175"/>
                  </a:cubicBezTo>
                  <a:cubicBezTo>
                    <a:pt x="18" y="174"/>
                    <a:pt x="16" y="169"/>
                    <a:pt x="16" y="169"/>
                  </a:cubicBezTo>
                  <a:cubicBezTo>
                    <a:pt x="16" y="169"/>
                    <a:pt x="11" y="166"/>
                    <a:pt x="10" y="166"/>
                  </a:cubicBezTo>
                  <a:cubicBezTo>
                    <a:pt x="9" y="166"/>
                    <a:pt x="4" y="165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1" y="163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2"/>
                    <a:pt x="1" y="162"/>
                    <a:pt x="1" y="162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1" y="161"/>
                    <a:pt x="1" y="161"/>
                    <a:pt x="1" y="161"/>
                  </a:cubicBezTo>
                  <a:cubicBezTo>
                    <a:pt x="2" y="159"/>
                    <a:pt x="5" y="158"/>
                    <a:pt x="5" y="158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12" y="148"/>
                    <a:pt x="13" y="147"/>
                  </a:cubicBezTo>
                  <a:cubicBezTo>
                    <a:pt x="15" y="146"/>
                    <a:pt x="22" y="144"/>
                    <a:pt x="22" y="144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30" y="138"/>
                    <a:pt x="30" y="138"/>
                    <a:pt x="30" y="138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5" y="141"/>
                    <a:pt x="45" y="141"/>
                    <a:pt x="45" y="141"/>
                  </a:cubicBezTo>
                  <a:cubicBezTo>
                    <a:pt x="45" y="141"/>
                    <a:pt x="51" y="138"/>
                    <a:pt x="52" y="137"/>
                  </a:cubicBezTo>
                  <a:cubicBezTo>
                    <a:pt x="54" y="136"/>
                    <a:pt x="56" y="136"/>
                    <a:pt x="56" y="136"/>
                  </a:cubicBezTo>
                  <a:cubicBezTo>
                    <a:pt x="59" y="134"/>
                    <a:pt x="59" y="134"/>
                    <a:pt x="59" y="134"/>
                  </a:cubicBezTo>
                  <a:cubicBezTo>
                    <a:pt x="59" y="134"/>
                    <a:pt x="64" y="132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5" y="131"/>
                    <a:pt x="65" y="131"/>
                    <a:pt x="65" y="131"/>
                  </a:cubicBezTo>
                  <a:cubicBezTo>
                    <a:pt x="67" y="150"/>
                    <a:pt x="62" y="140"/>
                    <a:pt x="72" y="147"/>
                  </a:cubicBezTo>
                  <a:cubicBezTo>
                    <a:pt x="73" y="148"/>
                    <a:pt x="72" y="149"/>
                    <a:pt x="73" y="150"/>
                  </a:cubicBezTo>
                  <a:cubicBezTo>
                    <a:pt x="73" y="152"/>
                    <a:pt x="80" y="155"/>
                    <a:pt x="80" y="155"/>
                  </a:cubicBezTo>
                  <a:cubicBezTo>
                    <a:pt x="80" y="155"/>
                    <a:pt x="86" y="155"/>
                    <a:pt x="86" y="156"/>
                  </a:cubicBezTo>
                  <a:cubicBezTo>
                    <a:pt x="87" y="157"/>
                    <a:pt x="93" y="160"/>
                    <a:pt x="93" y="160"/>
                  </a:cubicBezTo>
                  <a:cubicBezTo>
                    <a:pt x="106" y="157"/>
                    <a:pt x="106" y="157"/>
                    <a:pt x="106" y="157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9" y="161"/>
                    <a:pt x="119" y="161"/>
                    <a:pt x="119" y="161"/>
                  </a:cubicBezTo>
                  <a:cubicBezTo>
                    <a:pt x="119" y="161"/>
                    <a:pt x="122" y="162"/>
                    <a:pt x="124" y="163"/>
                  </a:cubicBezTo>
                  <a:cubicBezTo>
                    <a:pt x="126" y="164"/>
                    <a:pt x="132" y="163"/>
                    <a:pt x="134" y="162"/>
                  </a:cubicBezTo>
                  <a:cubicBezTo>
                    <a:pt x="136" y="162"/>
                    <a:pt x="141" y="159"/>
                    <a:pt x="143" y="160"/>
                  </a:cubicBezTo>
                  <a:cubicBezTo>
                    <a:pt x="145" y="160"/>
                    <a:pt x="154" y="158"/>
                    <a:pt x="154" y="158"/>
                  </a:cubicBezTo>
                  <a:cubicBezTo>
                    <a:pt x="159" y="154"/>
                    <a:pt x="159" y="154"/>
                    <a:pt x="159" y="154"/>
                  </a:cubicBezTo>
                  <a:cubicBezTo>
                    <a:pt x="169" y="149"/>
                    <a:pt x="169" y="149"/>
                    <a:pt x="169" y="149"/>
                  </a:cubicBezTo>
                  <a:cubicBezTo>
                    <a:pt x="180" y="161"/>
                    <a:pt x="180" y="161"/>
                    <a:pt x="180" y="161"/>
                  </a:cubicBezTo>
                  <a:cubicBezTo>
                    <a:pt x="180" y="161"/>
                    <a:pt x="191" y="159"/>
                    <a:pt x="192" y="159"/>
                  </a:cubicBezTo>
                  <a:cubicBezTo>
                    <a:pt x="194" y="159"/>
                    <a:pt x="202" y="156"/>
                    <a:pt x="202" y="156"/>
                  </a:cubicBezTo>
                  <a:cubicBezTo>
                    <a:pt x="202" y="156"/>
                    <a:pt x="204" y="153"/>
                    <a:pt x="203" y="150"/>
                  </a:cubicBezTo>
                  <a:cubicBezTo>
                    <a:pt x="203" y="148"/>
                    <a:pt x="202" y="146"/>
                    <a:pt x="202" y="146"/>
                  </a:cubicBezTo>
                  <a:cubicBezTo>
                    <a:pt x="202" y="146"/>
                    <a:pt x="200" y="144"/>
                    <a:pt x="203" y="143"/>
                  </a:cubicBezTo>
                  <a:cubicBezTo>
                    <a:pt x="206" y="142"/>
                    <a:pt x="207" y="140"/>
                    <a:pt x="209" y="139"/>
                  </a:cubicBezTo>
                  <a:cubicBezTo>
                    <a:pt x="212" y="137"/>
                    <a:pt x="214" y="134"/>
                    <a:pt x="215" y="133"/>
                  </a:cubicBezTo>
                  <a:cubicBezTo>
                    <a:pt x="216" y="133"/>
                    <a:pt x="218" y="129"/>
                    <a:pt x="219" y="129"/>
                  </a:cubicBezTo>
                  <a:cubicBezTo>
                    <a:pt x="219" y="128"/>
                    <a:pt x="221" y="125"/>
                    <a:pt x="221" y="124"/>
                  </a:cubicBezTo>
                  <a:cubicBezTo>
                    <a:pt x="222" y="124"/>
                    <a:pt x="227" y="119"/>
                    <a:pt x="227" y="119"/>
                  </a:cubicBezTo>
                  <a:cubicBezTo>
                    <a:pt x="229" y="116"/>
                    <a:pt x="229" y="116"/>
                    <a:pt x="229" y="116"/>
                  </a:cubicBezTo>
                  <a:cubicBezTo>
                    <a:pt x="229" y="116"/>
                    <a:pt x="233" y="108"/>
                    <a:pt x="235" y="107"/>
                  </a:cubicBezTo>
                  <a:cubicBezTo>
                    <a:pt x="237" y="107"/>
                    <a:pt x="248" y="98"/>
                    <a:pt x="250" y="99"/>
                  </a:cubicBezTo>
                  <a:cubicBezTo>
                    <a:pt x="252" y="99"/>
                    <a:pt x="259" y="93"/>
                    <a:pt x="261" y="91"/>
                  </a:cubicBezTo>
                  <a:cubicBezTo>
                    <a:pt x="263" y="90"/>
                    <a:pt x="263" y="88"/>
                    <a:pt x="268" y="87"/>
                  </a:cubicBezTo>
                  <a:cubicBezTo>
                    <a:pt x="272" y="87"/>
                    <a:pt x="300" y="83"/>
                    <a:pt x="300" y="83"/>
                  </a:cubicBezTo>
                  <a:cubicBezTo>
                    <a:pt x="316" y="78"/>
                    <a:pt x="316" y="78"/>
                    <a:pt x="316" y="78"/>
                  </a:cubicBezTo>
                  <a:cubicBezTo>
                    <a:pt x="324" y="72"/>
                    <a:pt x="324" y="72"/>
                    <a:pt x="324" y="72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34" y="69"/>
                    <a:pt x="334" y="69"/>
                    <a:pt x="334" y="69"/>
                  </a:cubicBezTo>
                  <a:cubicBezTo>
                    <a:pt x="334" y="69"/>
                    <a:pt x="333" y="73"/>
                    <a:pt x="333" y="73"/>
                  </a:cubicBezTo>
                  <a:cubicBezTo>
                    <a:pt x="333" y="74"/>
                    <a:pt x="332" y="75"/>
                    <a:pt x="335" y="76"/>
                  </a:cubicBezTo>
                  <a:cubicBezTo>
                    <a:pt x="338" y="78"/>
                    <a:pt x="341" y="80"/>
                    <a:pt x="342" y="80"/>
                  </a:cubicBezTo>
                  <a:cubicBezTo>
                    <a:pt x="343" y="80"/>
                    <a:pt x="345" y="81"/>
                    <a:pt x="346" y="81"/>
                  </a:cubicBezTo>
                  <a:cubicBezTo>
                    <a:pt x="347" y="82"/>
                    <a:pt x="352" y="83"/>
                    <a:pt x="352" y="83"/>
                  </a:cubicBezTo>
                  <a:cubicBezTo>
                    <a:pt x="352" y="83"/>
                    <a:pt x="358" y="81"/>
                    <a:pt x="358" y="81"/>
                  </a:cubicBezTo>
                  <a:cubicBezTo>
                    <a:pt x="358" y="80"/>
                    <a:pt x="361" y="79"/>
                    <a:pt x="363" y="78"/>
                  </a:cubicBezTo>
                  <a:cubicBezTo>
                    <a:pt x="365" y="77"/>
                    <a:pt x="373" y="75"/>
                    <a:pt x="373" y="75"/>
                  </a:cubicBezTo>
                  <a:cubicBezTo>
                    <a:pt x="373" y="75"/>
                    <a:pt x="375" y="78"/>
                    <a:pt x="376" y="78"/>
                  </a:cubicBezTo>
                  <a:cubicBezTo>
                    <a:pt x="376" y="79"/>
                    <a:pt x="380" y="81"/>
                    <a:pt x="379" y="83"/>
                  </a:cubicBezTo>
                  <a:cubicBezTo>
                    <a:pt x="379" y="84"/>
                    <a:pt x="379" y="87"/>
                    <a:pt x="379" y="87"/>
                  </a:cubicBezTo>
                  <a:cubicBezTo>
                    <a:pt x="385" y="90"/>
                    <a:pt x="385" y="90"/>
                    <a:pt x="385" y="90"/>
                  </a:cubicBezTo>
                  <a:cubicBezTo>
                    <a:pt x="385" y="90"/>
                    <a:pt x="389" y="92"/>
                    <a:pt x="390" y="93"/>
                  </a:cubicBezTo>
                  <a:cubicBezTo>
                    <a:pt x="391" y="93"/>
                    <a:pt x="397" y="94"/>
                    <a:pt x="397" y="94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98" y="87"/>
                    <a:pt x="400" y="85"/>
                    <a:pt x="403" y="85"/>
                  </a:cubicBezTo>
                  <a:cubicBezTo>
                    <a:pt x="406" y="85"/>
                    <a:pt x="411" y="85"/>
                    <a:pt x="411" y="85"/>
                  </a:cubicBezTo>
                  <a:cubicBezTo>
                    <a:pt x="411" y="85"/>
                    <a:pt x="415" y="86"/>
                    <a:pt x="415" y="87"/>
                  </a:cubicBezTo>
                  <a:cubicBezTo>
                    <a:pt x="415" y="88"/>
                    <a:pt x="420" y="91"/>
                    <a:pt x="420" y="91"/>
                  </a:cubicBezTo>
                  <a:cubicBezTo>
                    <a:pt x="427" y="89"/>
                    <a:pt x="427" y="89"/>
                    <a:pt x="427" y="89"/>
                  </a:cubicBezTo>
                  <a:cubicBezTo>
                    <a:pt x="430" y="90"/>
                    <a:pt x="430" y="90"/>
                    <a:pt x="430" y="90"/>
                  </a:cubicBezTo>
                  <a:cubicBezTo>
                    <a:pt x="439" y="91"/>
                    <a:pt x="439" y="91"/>
                    <a:pt x="439" y="91"/>
                  </a:cubicBezTo>
                  <a:cubicBezTo>
                    <a:pt x="439" y="91"/>
                    <a:pt x="441" y="91"/>
                    <a:pt x="441" y="90"/>
                  </a:cubicBezTo>
                  <a:cubicBezTo>
                    <a:pt x="442" y="89"/>
                    <a:pt x="442" y="86"/>
                    <a:pt x="442" y="86"/>
                  </a:cubicBezTo>
                  <a:cubicBezTo>
                    <a:pt x="442" y="86"/>
                    <a:pt x="441" y="86"/>
                    <a:pt x="444" y="85"/>
                  </a:cubicBezTo>
                  <a:cubicBezTo>
                    <a:pt x="447" y="85"/>
                    <a:pt x="446" y="84"/>
                    <a:pt x="447" y="85"/>
                  </a:cubicBezTo>
                  <a:cubicBezTo>
                    <a:pt x="448" y="86"/>
                    <a:pt x="452" y="86"/>
                    <a:pt x="454" y="87"/>
                  </a:cubicBezTo>
                  <a:cubicBezTo>
                    <a:pt x="455" y="87"/>
                    <a:pt x="459" y="88"/>
                    <a:pt x="460" y="88"/>
                  </a:cubicBezTo>
                  <a:cubicBezTo>
                    <a:pt x="461" y="88"/>
                    <a:pt x="471" y="87"/>
                    <a:pt x="471" y="87"/>
                  </a:cubicBezTo>
                  <a:cubicBezTo>
                    <a:pt x="471" y="87"/>
                    <a:pt x="469" y="88"/>
                    <a:pt x="473" y="86"/>
                  </a:cubicBezTo>
                  <a:cubicBezTo>
                    <a:pt x="477" y="84"/>
                    <a:pt x="482" y="81"/>
                    <a:pt x="482" y="81"/>
                  </a:cubicBezTo>
                  <a:cubicBezTo>
                    <a:pt x="482" y="81"/>
                    <a:pt x="482" y="81"/>
                    <a:pt x="485" y="80"/>
                  </a:cubicBezTo>
                  <a:cubicBezTo>
                    <a:pt x="488" y="79"/>
                    <a:pt x="488" y="75"/>
                    <a:pt x="488" y="75"/>
                  </a:cubicBezTo>
                  <a:cubicBezTo>
                    <a:pt x="488" y="75"/>
                    <a:pt x="488" y="75"/>
                    <a:pt x="490" y="75"/>
                  </a:cubicBezTo>
                  <a:cubicBezTo>
                    <a:pt x="491" y="74"/>
                    <a:pt x="497" y="73"/>
                    <a:pt x="497" y="73"/>
                  </a:cubicBezTo>
                  <a:cubicBezTo>
                    <a:pt x="497" y="73"/>
                    <a:pt x="498" y="71"/>
                    <a:pt x="499" y="70"/>
                  </a:cubicBezTo>
                  <a:cubicBezTo>
                    <a:pt x="500" y="70"/>
                    <a:pt x="502" y="68"/>
                    <a:pt x="502" y="68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7" y="67"/>
                    <a:pt x="507" y="67"/>
                    <a:pt x="507" y="67"/>
                  </a:cubicBezTo>
                  <a:cubicBezTo>
                    <a:pt x="508" y="65"/>
                    <a:pt x="508" y="65"/>
                    <a:pt x="508" y="65"/>
                  </a:cubicBezTo>
                  <a:cubicBezTo>
                    <a:pt x="516" y="67"/>
                    <a:pt x="516" y="67"/>
                    <a:pt x="516" y="67"/>
                  </a:cubicBezTo>
                  <a:cubicBezTo>
                    <a:pt x="516" y="67"/>
                    <a:pt x="523" y="68"/>
                    <a:pt x="524" y="67"/>
                  </a:cubicBezTo>
                  <a:cubicBezTo>
                    <a:pt x="526" y="67"/>
                    <a:pt x="529" y="62"/>
                    <a:pt x="531" y="63"/>
                  </a:cubicBezTo>
                  <a:cubicBezTo>
                    <a:pt x="532" y="63"/>
                    <a:pt x="534" y="65"/>
                    <a:pt x="535" y="64"/>
                  </a:cubicBezTo>
                  <a:cubicBezTo>
                    <a:pt x="536" y="64"/>
                    <a:pt x="537" y="66"/>
                    <a:pt x="540" y="64"/>
                  </a:cubicBezTo>
                  <a:cubicBezTo>
                    <a:pt x="544" y="61"/>
                    <a:pt x="547" y="57"/>
                    <a:pt x="547" y="57"/>
                  </a:cubicBezTo>
                  <a:cubicBezTo>
                    <a:pt x="547" y="57"/>
                    <a:pt x="546" y="55"/>
                    <a:pt x="549" y="54"/>
                  </a:cubicBezTo>
                  <a:cubicBezTo>
                    <a:pt x="552" y="52"/>
                    <a:pt x="552" y="51"/>
                    <a:pt x="554" y="51"/>
                  </a:cubicBezTo>
                  <a:cubicBezTo>
                    <a:pt x="556" y="50"/>
                    <a:pt x="556" y="51"/>
                    <a:pt x="557" y="49"/>
                  </a:cubicBezTo>
                  <a:cubicBezTo>
                    <a:pt x="557" y="47"/>
                    <a:pt x="557" y="45"/>
                    <a:pt x="558" y="44"/>
                  </a:cubicBezTo>
                  <a:cubicBezTo>
                    <a:pt x="559" y="44"/>
                    <a:pt x="560" y="42"/>
                    <a:pt x="562" y="42"/>
                  </a:cubicBezTo>
                  <a:cubicBezTo>
                    <a:pt x="563" y="41"/>
                    <a:pt x="565" y="40"/>
                    <a:pt x="565" y="38"/>
                  </a:cubicBezTo>
                  <a:cubicBezTo>
                    <a:pt x="566" y="36"/>
                    <a:pt x="564" y="37"/>
                    <a:pt x="566" y="36"/>
                  </a:cubicBezTo>
                  <a:cubicBezTo>
                    <a:pt x="568" y="34"/>
                    <a:pt x="569" y="33"/>
                    <a:pt x="571" y="31"/>
                  </a:cubicBezTo>
                  <a:cubicBezTo>
                    <a:pt x="573" y="30"/>
                    <a:pt x="574" y="29"/>
                    <a:pt x="575" y="27"/>
                  </a:cubicBezTo>
                  <a:cubicBezTo>
                    <a:pt x="575" y="25"/>
                    <a:pt x="575" y="24"/>
                    <a:pt x="576" y="21"/>
                  </a:cubicBezTo>
                  <a:cubicBezTo>
                    <a:pt x="578" y="18"/>
                    <a:pt x="576" y="16"/>
                    <a:pt x="579" y="16"/>
                  </a:cubicBezTo>
                  <a:cubicBezTo>
                    <a:pt x="580" y="16"/>
                    <a:pt x="580" y="16"/>
                    <a:pt x="581" y="16"/>
                  </a:cubicBezTo>
                  <a:cubicBezTo>
                    <a:pt x="581" y="18"/>
                    <a:pt x="583" y="19"/>
                    <a:pt x="585" y="20"/>
                  </a:cubicBezTo>
                  <a:cubicBezTo>
                    <a:pt x="588" y="21"/>
                    <a:pt x="596" y="17"/>
                    <a:pt x="596" y="17"/>
                  </a:cubicBezTo>
                  <a:cubicBezTo>
                    <a:pt x="601" y="15"/>
                    <a:pt x="601" y="15"/>
                    <a:pt x="601" y="15"/>
                  </a:cubicBezTo>
                  <a:cubicBezTo>
                    <a:pt x="606" y="14"/>
                    <a:pt x="606" y="14"/>
                    <a:pt x="606" y="14"/>
                  </a:cubicBezTo>
                  <a:cubicBezTo>
                    <a:pt x="606" y="14"/>
                    <a:pt x="618" y="13"/>
                    <a:pt x="620" y="12"/>
                  </a:cubicBezTo>
                  <a:cubicBezTo>
                    <a:pt x="623" y="10"/>
                    <a:pt x="623" y="8"/>
                    <a:pt x="623" y="8"/>
                  </a:cubicBezTo>
                  <a:cubicBezTo>
                    <a:pt x="622" y="5"/>
                    <a:pt x="622" y="5"/>
                    <a:pt x="622" y="5"/>
                  </a:cubicBezTo>
                  <a:cubicBezTo>
                    <a:pt x="622" y="5"/>
                    <a:pt x="628" y="2"/>
                    <a:pt x="631" y="1"/>
                  </a:cubicBezTo>
                  <a:cubicBezTo>
                    <a:pt x="633" y="0"/>
                    <a:pt x="635" y="2"/>
                    <a:pt x="635" y="2"/>
                  </a:cubicBezTo>
                  <a:cubicBezTo>
                    <a:pt x="638" y="5"/>
                    <a:pt x="638" y="5"/>
                    <a:pt x="638" y="5"/>
                  </a:cubicBezTo>
                  <a:cubicBezTo>
                    <a:pt x="642" y="9"/>
                    <a:pt x="642" y="9"/>
                    <a:pt x="642" y="9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47" y="10"/>
                    <a:pt x="650" y="13"/>
                    <a:pt x="651" y="14"/>
                  </a:cubicBezTo>
                  <a:cubicBezTo>
                    <a:pt x="651" y="16"/>
                    <a:pt x="651" y="16"/>
                    <a:pt x="651" y="16"/>
                  </a:cubicBezTo>
                  <a:cubicBezTo>
                    <a:pt x="657" y="16"/>
                    <a:pt x="657" y="16"/>
                    <a:pt x="657" y="16"/>
                  </a:cubicBezTo>
                  <a:cubicBezTo>
                    <a:pt x="662" y="14"/>
                    <a:pt x="662" y="14"/>
                    <a:pt x="662" y="14"/>
                  </a:cubicBezTo>
                  <a:cubicBezTo>
                    <a:pt x="667" y="17"/>
                    <a:pt x="667" y="17"/>
                    <a:pt x="667" y="17"/>
                  </a:cubicBezTo>
                  <a:cubicBezTo>
                    <a:pt x="671" y="16"/>
                    <a:pt x="671" y="16"/>
                    <a:pt x="671" y="16"/>
                  </a:cubicBezTo>
                  <a:cubicBezTo>
                    <a:pt x="672" y="16"/>
                    <a:pt x="672" y="17"/>
                    <a:pt x="673" y="17"/>
                  </a:cubicBezTo>
                  <a:cubicBezTo>
                    <a:pt x="673" y="18"/>
                    <a:pt x="673" y="19"/>
                    <a:pt x="673" y="20"/>
                  </a:cubicBezTo>
                  <a:cubicBezTo>
                    <a:pt x="674" y="22"/>
                    <a:pt x="675" y="22"/>
                    <a:pt x="675" y="22"/>
                  </a:cubicBezTo>
                  <a:cubicBezTo>
                    <a:pt x="677" y="25"/>
                    <a:pt x="677" y="25"/>
                    <a:pt x="677" y="25"/>
                  </a:cubicBezTo>
                  <a:cubicBezTo>
                    <a:pt x="678" y="28"/>
                    <a:pt x="678" y="28"/>
                    <a:pt x="678" y="28"/>
                  </a:cubicBezTo>
                  <a:cubicBezTo>
                    <a:pt x="677" y="33"/>
                    <a:pt x="677" y="33"/>
                    <a:pt x="677" y="33"/>
                  </a:cubicBezTo>
                  <a:cubicBezTo>
                    <a:pt x="677" y="33"/>
                    <a:pt x="675" y="38"/>
                    <a:pt x="674" y="40"/>
                  </a:cubicBezTo>
                  <a:cubicBezTo>
                    <a:pt x="673" y="42"/>
                    <a:pt x="676" y="44"/>
                    <a:pt x="676" y="44"/>
                  </a:cubicBezTo>
                  <a:cubicBezTo>
                    <a:pt x="677" y="46"/>
                    <a:pt x="677" y="46"/>
                    <a:pt x="677" y="46"/>
                  </a:cubicBezTo>
                  <a:cubicBezTo>
                    <a:pt x="677" y="46"/>
                    <a:pt x="678" y="49"/>
                    <a:pt x="679" y="50"/>
                  </a:cubicBezTo>
                  <a:cubicBezTo>
                    <a:pt x="679" y="51"/>
                    <a:pt x="679" y="51"/>
                    <a:pt x="679" y="51"/>
                  </a:cubicBezTo>
                  <a:cubicBezTo>
                    <a:pt x="679" y="51"/>
                    <a:pt x="682" y="53"/>
                    <a:pt x="683" y="54"/>
                  </a:cubicBezTo>
                  <a:cubicBezTo>
                    <a:pt x="684" y="54"/>
                    <a:pt x="684" y="55"/>
                    <a:pt x="685" y="56"/>
                  </a:cubicBezTo>
                  <a:cubicBezTo>
                    <a:pt x="686" y="57"/>
                    <a:pt x="685" y="59"/>
                    <a:pt x="685" y="59"/>
                  </a:cubicBezTo>
                  <a:cubicBezTo>
                    <a:pt x="682" y="62"/>
                    <a:pt x="682" y="62"/>
                    <a:pt x="682" y="62"/>
                  </a:cubicBezTo>
                  <a:cubicBezTo>
                    <a:pt x="682" y="62"/>
                    <a:pt x="687" y="62"/>
                    <a:pt x="689" y="62"/>
                  </a:cubicBezTo>
                  <a:cubicBezTo>
                    <a:pt x="691" y="62"/>
                    <a:pt x="691" y="62"/>
                    <a:pt x="692" y="62"/>
                  </a:cubicBezTo>
                  <a:cubicBezTo>
                    <a:pt x="693" y="62"/>
                    <a:pt x="697" y="63"/>
                    <a:pt x="697" y="63"/>
                  </a:cubicBezTo>
                  <a:cubicBezTo>
                    <a:pt x="697" y="63"/>
                    <a:pt x="699" y="62"/>
                    <a:pt x="700" y="62"/>
                  </a:cubicBezTo>
                  <a:cubicBezTo>
                    <a:pt x="702" y="61"/>
                    <a:pt x="704" y="61"/>
                    <a:pt x="704" y="61"/>
                  </a:cubicBezTo>
                  <a:cubicBezTo>
                    <a:pt x="708" y="58"/>
                    <a:pt x="708" y="58"/>
                    <a:pt x="708" y="58"/>
                  </a:cubicBezTo>
                  <a:cubicBezTo>
                    <a:pt x="708" y="58"/>
                    <a:pt x="713" y="59"/>
                    <a:pt x="715" y="59"/>
                  </a:cubicBezTo>
                  <a:cubicBezTo>
                    <a:pt x="716" y="59"/>
                    <a:pt x="719" y="59"/>
                    <a:pt x="720" y="58"/>
                  </a:cubicBezTo>
                  <a:cubicBezTo>
                    <a:pt x="721" y="58"/>
                    <a:pt x="725" y="60"/>
                    <a:pt x="725" y="60"/>
                  </a:cubicBezTo>
                  <a:cubicBezTo>
                    <a:pt x="725" y="60"/>
                    <a:pt x="727" y="62"/>
                    <a:pt x="728" y="63"/>
                  </a:cubicBezTo>
                  <a:cubicBezTo>
                    <a:pt x="727" y="66"/>
                    <a:pt x="726" y="68"/>
                    <a:pt x="726" y="69"/>
                  </a:cubicBezTo>
                  <a:cubicBezTo>
                    <a:pt x="727" y="70"/>
                    <a:pt x="730" y="72"/>
                    <a:pt x="731" y="74"/>
                  </a:cubicBezTo>
                  <a:cubicBezTo>
                    <a:pt x="731" y="75"/>
                    <a:pt x="727" y="80"/>
                    <a:pt x="727" y="80"/>
                  </a:cubicBezTo>
                  <a:close/>
                  <a:moveTo>
                    <a:pt x="0" y="164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0" y="164"/>
                    <a:pt x="0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5" name="Freeform 223"/>
            <p:cNvSpPr>
              <a:spLocks noEditPoints="1"/>
            </p:cNvSpPr>
            <p:nvPr/>
          </p:nvSpPr>
          <p:spPr bwMode="auto">
            <a:xfrm>
              <a:off x="4837446" y="1831893"/>
              <a:ext cx="752839" cy="1332857"/>
            </a:xfrm>
            <a:custGeom>
              <a:avLst/>
              <a:gdLst>
                <a:gd name="T0" fmla="*/ 7 w 317"/>
                <a:gd name="T1" fmla="*/ 80 h 578"/>
                <a:gd name="T2" fmla="*/ 20 w 317"/>
                <a:gd name="T3" fmla="*/ 69 h 578"/>
                <a:gd name="T4" fmla="*/ 69 w 317"/>
                <a:gd name="T5" fmla="*/ 84 h 578"/>
                <a:gd name="T6" fmla="*/ 91 w 317"/>
                <a:gd name="T7" fmla="*/ 90 h 578"/>
                <a:gd name="T8" fmla="*/ 100 w 317"/>
                <a:gd name="T9" fmla="*/ 68 h 578"/>
                <a:gd name="T10" fmla="*/ 102 w 317"/>
                <a:gd name="T11" fmla="*/ 13 h 578"/>
                <a:gd name="T12" fmla="*/ 154 w 317"/>
                <a:gd name="T13" fmla="*/ 12 h 578"/>
                <a:gd name="T14" fmla="*/ 158 w 317"/>
                <a:gd name="T15" fmla="*/ 43 h 578"/>
                <a:gd name="T16" fmla="*/ 157 w 317"/>
                <a:gd name="T17" fmla="*/ 78 h 578"/>
                <a:gd name="T18" fmla="*/ 203 w 317"/>
                <a:gd name="T19" fmla="*/ 116 h 578"/>
                <a:gd name="T20" fmla="*/ 216 w 317"/>
                <a:gd name="T21" fmla="*/ 184 h 578"/>
                <a:gd name="T22" fmla="*/ 233 w 317"/>
                <a:gd name="T23" fmla="*/ 227 h 578"/>
                <a:gd name="T24" fmla="*/ 248 w 317"/>
                <a:gd name="T25" fmla="*/ 263 h 578"/>
                <a:gd name="T26" fmla="*/ 270 w 317"/>
                <a:gd name="T27" fmla="*/ 292 h 578"/>
                <a:gd name="T28" fmla="*/ 295 w 317"/>
                <a:gd name="T29" fmla="*/ 333 h 578"/>
                <a:gd name="T30" fmla="*/ 303 w 317"/>
                <a:gd name="T31" fmla="*/ 407 h 578"/>
                <a:gd name="T32" fmla="*/ 266 w 317"/>
                <a:gd name="T33" fmla="*/ 493 h 578"/>
                <a:gd name="T34" fmla="*/ 242 w 317"/>
                <a:gd name="T35" fmla="*/ 508 h 578"/>
                <a:gd name="T36" fmla="*/ 224 w 317"/>
                <a:gd name="T37" fmla="*/ 519 h 578"/>
                <a:gd name="T38" fmla="*/ 210 w 317"/>
                <a:gd name="T39" fmla="*/ 527 h 578"/>
                <a:gd name="T40" fmla="*/ 191 w 317"/>
                <a:gd name="T41" fmla="*/ 544 h 578"/>
                <a:gd name="T42" fmla="*/ 173 w 317"/>
                <a:gd name="T43" fmla="*/ 551 h 578"/>
                <a:gd name="T44" fmla="*/ 155 w 317"/>
                <a:gd name="T45" fmla="*/ 561 h 578"/>
                <a:gd name="T46" fmla="*/ 147 w 317"/>
                <a:gd name="T47" fmla="*/ 567 h 578"/>
                <a:gd name="T48" fmla="*/ 143 w 317"/>
                <a:gd name="T49" fmla="*/ 560 h 578"/>
                <a:gd name="T50" fmla="*/ 132 w 317"/>
                <a:gd name="T51" fmla="*/ 561 h 578"/>
                <a:gd name="T52" fmla="*/ 126 w 317"/>
                <a:gd name="T53" fmla="*/ 559 h 578"/>
                <a:gd name="T54" fmla="*/ 120 w 317"/>
                <a:gd name="T55" fmla="*/ 552 h 578"/>
                <a:gd name="T56" fmla="*/ 118 w 317"/>
                <a:gd name="T57" fmla="*/ 542 h 578"/>
                <a:gd name="T58" fmla="*/ 110 w 317"/>
                <a:gd name="T59" fmla="*/ 541 h 578"/>
                <a:gd name="T60" fmla="*/ 98 w 317"/>
                <a:gd name="T61" fmla="*/ 540 h 578"/>
                <a:gd name="T62" fmla="*/ 94 w 317"/>
                <a:gd name="T63" fmla="*/ 529 h 578"/>
                <a:gd name="T64" fmla="*/ 87 w 317"/>
                <a:gd name="T65" fmla="*/ 521 h 578"/>
                <a:gd name="T66" fmla="*/ 89 w 317"/>
                <a:gd name="T67" fmla="*/ 502 h 578"/>
                <a:gd name="T68" fmla="*/ 89 w 317"/>
                <a:gd name="T69" fmla="*/ 485 h 578"/>
                <a:gd name="T70" fmla="*/ 81 w 317"/>
                <a:gd name="T71" fmla="*/ 459 h 578"/>
                <a:gd name="T72" fmla="*/ 72 w 317"/>
                <a:gd name="T73" fmla="*/ 430 h 578"/>
                <a:gd name="T74" fmla="*/ 75 w 317"/>
                <a:gd name="T75" fmla="*/ 399 h 578"/>
                <a:gd name="T76" fmla="*/ 73 w 317"/>
                <a:gd name="T77" fmla="*/ 393 h 578"/>
                <a:gd name="T78" fmla="*/ 89 w 317"/>
                <a:gd name="T79" fmla="*/ 386 h 578"/>
                <a:gd name="T80" fmla="*/ 95 w 317"/>
                <a:gd name="T81" fmla="*/ 365 h 578"/>
                <a:gd name="T82" fmla="*/ 106 w 317"/>
                <a:gd name="T83" fmla="*/ 351 h 578"/>
                <a:gd name="T84" fmla="*/ 126 w 317"/>
                <a:gd name="T85" fmla="*/ 306 h 578"/>
                <a:gd name="T86" fmla="*/ 143 w 317"/>
                <a:gd name="T87" fmla="*/ 280 h 578"/>
                <a:gd name="T88" fmla="*/ 123 w 317"/>
                <a:gd name="T89" fmla="*/ 248 h 578"/>
                <a:gd name="T90" fmla="*/ 91 w 317"/>
                <a:gd name="T91" fmla="*/ 217 h 578"/>
                <a:gd name="T92" fmla="*/ 80 w 317"/>
                <a:gd name="T93" fmla="*/ 167 h 578"/>
                <a:gd name="T94" fmla="*/ 73 w 317"/>
                <a:gd name="T95" fmla="*/ 132 h 578"/>
                <a:gd name="T96" fmla="*/ 35 w 317"/>
                <a:gd name="T97" fmla="*/ 109 h 578"/>
                <a:gd name="T98" fmla="*/ 142 w 317"/>
                <a:gd name="T99" fmla="*/ 570 h 578"/>
                <a:gd name="T100" fmla="*/ 129 w 317"/>
                <a:gd name="T101" fmla="*/ 570 h 578"/>
                <a:gd name="T102" fmla="*/ 104 w 317"/>
                <a:gd name="T103" fmla="*/ 557 h 578"/>
                <a:gd name="T104" fmla="*/ 114 w 317"/>
                <a:gd name="T105" fmla="*/ 553 h 578"/>
                <a:gd name="T106" fmla="*/ 97 w 317"/>
                <a:gd name="T107" fmla="*/ 556 h 578"/>
                <a:gd name="T108" fmla="*/ 92 w 317"/>
                <a:gd name="T109" fmla="*/ 544 h 578"/>
                <a:gd name="T110" fmla="*/ 83 w 317"/>
                <a:gd name="T111" fmla="*/ 558 h 578"/>
                <a:gd name="T112" fmla="*/ 80 w 317"/>
                <a:gd name="T113" fmla="*/ 563 h 578"/>
                <a:gd name="T114" fmla="*/ 79 w 317"/>
                <a:gd name="T115" fmla="*/ 570 h 578"/>
                <a:gd name="T116" fmla="*/ 48 w 317"/>
                <a:gd name="T117" fmla="*/ 577 h 578"/>
                <a:gd name="T118" fmla="*/ 53 w 317"/>
                <a:gd name="T119" fmla="*/ 558 h 578"/>
                <a:gd name="T120" fmla="*/ 65 w 317"/>
                <a:gd name="T121" fmla="*/ 573 h 578"/>
                <a:gd name="T122" fmla="*/ 68 w 317"/>
                <a:gd name="T123" fmla="*/ 561 h 578"/>
                <a:gd name="T124" fmla="*/ 57 w 317"/>
                <a:gd name="T125" fmla="*/ 553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7" h="578">
                  <a:moveTo>
                    <a:pt x="20" y="100"/>
                  </a:moveTo>
                  <a:cubicBezTo>
                    <a:pt x="17" y="95"/>
                    <a:pt x="17" y="95"/>
                    <a:pt x="17" y="95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1"/>
                    <a:pt x="1" y="81"/>
                  </a:cubicBezTo>
                  <a:cubicBezTo>
                    <a:pt x="2" y="80"/>
                    <a:pt x="6" y="80"/>
                    <a:pt x="7" y="80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79"/>
                    <a:pt x="9" y="78"/>
                    <a:pt x="9" y="78"/>
                  </a:cubicBezTo>
                  <a:cubicBezTo>
                    <a:pt x="9" y="78"/>
                    <a:pt x="6" y="72"/>
                    <a:pt x="8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0" y="66"/>
                    <a:pt x="14" y="66"/>
                    <a:pt x="16" y="68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33" y="84"/>
                    <a:pt x="33" y="84"/>
                    <a:pt x="33" y="84"/>
                  </a:cubicBezTo>
                  <a:cubicBezTo>
                    <a:pt x="33" y="84"/>
                    <a:pt x="42" y="91"/>
                    <a:pt x="44" y="92"/>
                  </a:cubicBezTo>
                  <a:cubicBezTo>
                    <a:pt x="46" y="93"/>
                    <a:pt x="57" y="95"/>
                    <a:pt x="58" y="96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9" y="84"/>
                    <a:pt x="69" y="84"/>
                    <a:pt x="69" y="84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7" y="92"/>
                    <a:pt x="88" y="92"/>
                    <a:pt x="89" y="91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0" y="91"/>
                    <a:pt x="90" y="91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1" y="88"/>
                    <a:pt x="91" y="82"/>
                    <a:pt x="91" y="82"/>
                  </a:cubicBezTo>
                  <a:cubicBezTo>
                    <a:pt x="91" y="82"/>
                    <a:pt x="88" y="80"/>
                    <a:pt x="91" y="78"/>
                  </a:cubicBezTo>
                  <a:cubicBezTo>
                    <a:pt x="94" y="75"/>
                    <a:pt x="98" y="72"/>
                    <a:pt x="98" y="72"/>
                  </a:cubicBezTo>
                  <a:cubicBezTo>
                    <a:pt x="98" y="72"/>
                    <a:pt x="100" y="71"/>
                    <a:pt x="100" y="68"/>
                  </a:cubicBezTo>
                  <a:cubicBezTo>
                    <a:pt x="100" y="65"/>
                    <a:pt x="98" y="57"/>
                    <a:pt x="98" y="57"/>
                  </a:cubicBezTo>
                  <a:cubicBezTo>
                    <a:pt x="98" y="57"/>
                    <a:pt x="96" y="52"/>
                    <a:pt x="96" y="50"/>
                  </a:cubicBezTo>
                  <a:cubicBezTo>
                    <a:pt x="98" y="38"/>
                    <a:pt x="93" y="29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1" y="25"/>
                    <a:pt x="101" y="24"/>
                    <a:pt x="101" y="24"/>
                  </a:cubicBezTo>
                  <a:cubicBezTo>
                    <a:pt x="101" y="19"/>
                    <a:pt x="95" y="14"/>
                    <a:pt x="102" y="13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14" y="11"/>
                    <a:pt x="114" y="11"/>
                    <a:pt x="114" y="11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20" y="1"/>
                    <a:pt x="120" y="1"/>
                    <a:pt x="120" y="1"/>
                  </a:cubicBezTo>
                  <a:cubicBezTo>
                    <a:pt x="123" y="1"/>
                    <a:pt x="127" y="0"/>
                    <a:pt x="129" y="1"/>
                  </a:cubicBezTo>
                  <a:cubicBezTo>
                    <a:pt x="131" y="4"/>
                    <a:pt x="131" y="6"/>
                    <a:pt x="135" y="7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4" y="12"/>
                    <a:pt x="154" y="12"/>
                    <a:pt x="154" y="1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16"/>
                    <a:pt x="156" y="18"/>
                    <a:pt x="157" y="19"/>
                  </a:cubicBezTo>
                  <a:cubicBezTo>
                    <a:pt x="157" y="21"/>
                    <a:pt x="158" y="24"/>
                    <a:pt x="158" y="24"/>
                  </a:cubicBezTo>
                  <a:cubicBezTo>
                    <a:pt x="158" y="24"/>
                    <a:pt x="157" y="27"/>
                    <a:pt x="157" y="29"/>
                  </a:cubicBezTo>
                  <a:cubicBezTo>
                    <a:pt x="156" y="30"/>
                    <a:pt x="156" y="33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9"/>
                    <a:pt x="157" y="42"/>
                    <a:pt x="158" y="43"/>
                  </a:cubicBezTo>
                  <a:cubicBezTo>
                    <a:pt x="158" y="44"/>
                    <a:pt x="163" y="47"/>
                    <a:pt x="163" y="47"/>
                  </a:cubicBezTo>
                  <a:cubicBezTo>
                    <a:pt x="163" y="47"/>
                    <a:pt x="163" y="48"/>
                    <a:pt x="158" y="52"/>
                  </a:cubicBezTo>
                  <a:cubicBezTo>
                    <a:pt x="154" y="57"/>
                    <a:pt x="154" y="57"/>
                    <a:pt x="154" y="57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61" y="68"/>
                    <a:pt x="161" y="68"/>
                    <a:pt x="161" y="68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57" y="78"/>
                    <a:pt x="157" y="78"/>
                    <a:pt x="157" y="78"/>
                  </a:cubicBezTo>
                  <a:cubicBezTo>
                    <a:pt x="161" y="84"/>
                    <a:pt x="161" y="84"/>
                    <a:pt x="161" y="84"/>
                  </a:cubicBezTo>
                  <a:cubicBezTo>
                    <a:pt x="166" y="92"/>
                    <a:pt x="166" y="92"/>
                    <a:pt x="166" y="92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4" y="95"/>
                    <a:pt x="181" y="96"/>
                  </a:cubicBezTo>
                  <a:cubicBezTo>
                    <a:pt x="188" y="98"/>
                    <a:pt x="190" y="104"/>
                    <a:pt x="190" y="104"/>
                  </a:cubicBezTo>
                  <a:cubicBezTo>
                    <a:pt x="194" y="109"/>
                    <a:pt x="194" y="109"/>
                    <a:pt x="194" y="109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3" y="116"/>
                    <a:pt x="203" y="116"/>
                    <a:pt x="203" y="116"/>
                  </a:cubicBezTo>
                  <a:cubicBezTo>
                    <a:pt x="202" y="125"/>
                    <a:pt x="202" y="125"/>
                    <a:pt x="202" y="125"/>
                  </a:cubicBezTo>
                  <a:cubicBezTo>
                    <a:pt x="202" y="125"/>
                    <a:pt x="199" y="130"/>
                    <a:pt x="200" y="134"/>
                  </a:cubicBezTo>
                  <a:cubicBezTo>
                    <a:pt x="200" y="139"/>
                    <a:pt x="197" y="146"/>
                    <a:pt x="197" y="148"/>
                  </a:cubicBezTo>
                  <a:cubicBezTo>
                    <a:pt x="197" y="149"/>
                    <a:pt x="195" y="157"/>
                    <a:pt x="195" y="157"/>
                  </a:cubicBezTo>
                  <a:cubicBezTo>
                    <a:pt x="198" y="164"/>
                    <a:pt x="198" y="164"/>
                    <a:pt x="198" y="164"/>
                  </a:cubicBezTo>
                  <a:cubicBezTo>
                    <a:pt x="202" y="168"/>
                    <a:pt x="202" y="168"/>
                    <a:pt x="202" y="168"/>
                  </a:cubicBezTo>
                  <a:cubicBezTo>
                    <a:pt x="208" y="175"/>
                    <a:pt x="208" y="175"/>
                    <a:pt x="208" y="175"/>
                  </a:cubicBezTo>
                  <a:cubicBezTo>
                    <a:pt x="216" y="184"/>
                    <a:pt x="216" y="184"/>
                    <a:pt x="216" y="184"/>
                  </a:cubicBezTo>
                  <a:cubicBezTo>
                    <a:pt x="219" y="191"/>
                    <a:pt x="219" y="191"/>
                    <a:pt x="219" y="191"/>
                  </a:cubicBezTo>
                  <a:cubicBezTo>
                    <a:pt x="219" y="191"/>
                    <a:pt x="227" y="196"/>
                    <a:pt x="227" y="197"/>
                  </a:cubicBezTo>
                  <a:cubicBezTo>
                    <a:pt x="227" y="198"/>
                    <a:pt x="230" y="203"/>
                    <a:pt x="230" y="203"/>
                  </a:cubicBezTo>
                  <a:cubicBezTo>
                    <a:pt x="234" y="210"/>
                    <a:pt x="234" y="210"/>
                    <a:pt x="234" y="210"/>
                  </a:cubicBezTo>
                  <a:cubicBezTo>
                    <a:pt x="233" y="215"/>
                    <a:pt x="233" y="215"/>
                    <a:pt x="233" y="215"/>
                  </a:cubicBezTo>
                  <a:cubicBezTo>
                    <a:pt x="230" y="220"/>
                    <a:pt x="230" y="220"/>
                    <a:pt x="230" y="220"/>
                  </a:cubicBezTo>
                  <a:cubicBezTo>
                    <a:pt x="230" y="223"/>
                    <a:pt x="230" y="223"/>
                    <a:pt x="230" y="223"/>
                  </a:cubicBezTo>
                  <a:cubicBezTo>
                    <a:pt x="233" y="227"/>
                    <a:pt x="233" y="227"/>
                    <a:pt x="233" y="227"/>
                  </a:cubicBezTo>
                  <a:cubicBezTo>
                    <a:pt x="232" y="231"/>
                    <a:pt x="232" y="231"/>
                    <a:pt x="232" y="231"/>
                  </a:cubicBezTo>
                  <a:cubicBezTo>
                    <a:pt x="235" y="237"/>
                    <a:pt x="235" y="237"/>
                    <a:pt x="235" y="237"/>
                  </a:cubicBezTo>
                  <a:cubicBezTo>
                    <a:pt x="233" y="241"/>
                    <a:pt x="233" y="241"/>
                    <a:pt x="233" y="241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38" y="243"/>
                    <a:pt x="239" y="244"/>
                    <a:pt x="238" y="246"/>
                  </a:cubicBezTo>
                  <a:cubicBezTo>
                    <a:pt x="237" y="247"/>
                    <a:pt x="236" y="254"/>
                    <a:pt x="236" y="254"/>
                  </a:cubicBezTo>
                  <a:cubicBezTo>
                    <a:pt x="241" y="262"/>
                    <a:pt x="241" y="262"/>
                    <a:pt x="241" y="262"/>
                  </a:cubicBezTo>
                  <a:cubicBezTo>
                    <a:pt x="248" y="263"/>
                    <a:pt x="248" y="263"/>
                    <a:pt x="248" y="263"/>
                  </a:cubicBezTo>
                  <a:cubicBezTo>
                    <a:pt x="248" y="263"/>
                    <a:pt x="252" y="263"/>
                    <a:pt x="252" y="264"/>
                  </a:cubicBezTo>
                  <a:cubicBezTo>
                    <a:pt x="253" y="265"/>
                    <a:pt x="254" y="268"/>
                    <a:pt x="254" y="268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251" y="274"/>
                    <a:pt x="252" y="277"/>
                    <a:pt x="255" y="279"/>
                  </a:cubicBezTo>
                  <a:cubicBezTo>
                    <a:pt x="257" y="280"/>
                    <a:pt x="259" y="280"/>
                    <a:pt x="259" y="282"/>
                  </a:cubicBezTo>
                  <a:cubicBezTo>
                    <a:pt x="260" y="284"/>
                    <a:pt x="260" y="287"/>
                    <a:pt x="261" y="286"/>
                  </a:cubicBezTo>
                  <a:cubicBezTo>
                    <a:pt x="263" y="286"/>
                    <a:pt x="267" y="287"/>
                    <a:pt x="267" y="287"/>
                  </a:cubicBezTo>
                  <a:cubicBezTo>
                    <a:pt x="270" y="292"/>
                    <a:pt x="270" y="292"/>
                    <a:pt x="270" y="292"/>
                  </a:cubicBezTo>
                  <a:cubicBezTo>
                    <a:pt x="272" y="296"/>
                    <a:pt x="272" y="296"/>
                    <a:pt x="272" y="296"/>
                  </a:cubicBezTo>
                  <a:cubicBezTo>
                    <a:pt x="272" y="296"/>
                    <a:pt x="272" y="299"/>
                    <a:pt x="272" y="300"/>
                  </a:cubicBezTo>
                  <a:cubicBezTo>
                    <a:pt x="272" y="302"/>
                    <a:pt x="271" y="308"/>
                    <a:pt x="271" y="308"/>
                  </a:cubicBezTo>
                  <a:cubicBezTo>
                    <a:pt x="266" y="316"/>
                    <a:pt x="266" y="316"/>
                    <a:pt x="266" y="316"/>
                  </a:cubicBezTo>
                  <a:cubicBezTo>
                    <a:pt x="266" y="316"/>
                    <a:pt x="270" y="321"/>
                    <a:pt x="273" y="323"/>
                  </a:cubicBezTo>
                  <a:cubicBezTo>
                    <a:pt x="276" y="325"/>
                    <a:pt x="280" y="328"/>
                    <a:pt x="281" y="328"/>
                  </a:cubicBezTo>
                  <a:cubicBezTo>
                    <a:pt x="282" y="328"/>
                    <a:pt x="287" y="329"/>
                    <a:pt x="289" y="330"/>
                  </a:cubicBezTo>
                  <a:cubicBezTo>
                    <a:pt x="290" y="330"/>
                    <a:pt x="294" y="332"/>
                    <a:pt x="295" y="333"/>
                  </a:cubicBezTo>
                  <a:cubicBezTo>
                    <a:pt x="296" y="334"/>
                    <a:pt x="303" y="338"/>
                    <a:pt x="303" y="338"/>
                  </a:cubicBezTo>
                  <a:cubicBezTo>
                    <a:pt x="309" y="341"/>
                    <a:pt x="309" y="341"/>
                    <a:pt x="309" y="341"/>
                  </a:cubicBezTo>
                  <a:cubicBezTo>
                    <a:pt x="315" y="346"/>
                    <a:pt x="315" y="346"/>
                    <a:pt x="315" y="346"/>
                  </a:cubicBezTo>
                  <a:cubicBezTo>
                    <a:pt x="317" y="358"/>
                    <a:pt x="317" y="358"/>
                    <a:pt x="317" y="358"/>
                  </a:cubicBezTo>
                  <a:cubicBezTo>
                    <a:pt x="317" y="358"/>
                    <a:pt x="315" y="376"/>
                    <a:pt x="314" y="378"/>
                  </a:cubicBezTo>
                  <a:cubicBezTo>
                    <a:pt x="314" y="380"/>
                    <a:pt x="311" y="389"/>
                    <a:pt x="310" y="390"/>
                  </a:cubicBezTo>
                  <a:cubicBezTo>
                    <a:pt x="308" y="391"/>
                    <a:pt x="306" y="392"/>
                    <a:pt x="306" y="394"/>
                  </a:cubicBezTo>
                  <a:cubicBezTo>
                    <a:pt x="306" y="396"/>
                    <a:pt x="303" y="407"/>
                    <a:pt x="303" y="407"/>
                  </a:cubicBezTo>
                  <a:cubicBezTo>
                    <a:pt x="303" y="407"/>
                    <a:pt x="300" y="414"/>
                    <a:pt x="300" y="416"/>
                  </a:cubicBezTo>
                  <a:cubicBezTo>
                    <a:pt x="300" y="418"/>
                    <a:pt x="297" y="424"/>
                    <a:pt x="297" y="426"/>
                  </a:cubicBezTo>
                  <a:cubicBezTo>
                    <a:pt x="296" y="427"/>
                    <a:pt x="294" y="435"/>
                    <a:pt x="294" y="435"/>
                  </a:cubicBezTo>
                  <a:cubicBezTo>
                    <a:pt x="281" y="461"/>
                    <a:pt x="281" y="461"/>
                    <a:pt x="281" y="461"/>
                  </a:cubicBezTo>
                  <a:cubicBezTo>
                    <a:pt x="278" y="471"/>
                    <a:pt x="278" y="471"/>
                    <a:pt x="278" y="471"/>
                  </a:cubicBezTo>
                  <a:cubicBezTo>
                    <a:pt x="278" y="471"/>
                    <a:pt x="275" y="472"/>
                    <a:pt x="274" y="474"/>
                  </a:cubicBezTo>
                  <a:cubicBezTo>
                    <a:pt x="273" y="477"/>
                    <a:pt x="272" y="479"/>
                    <a:pt x="271" y="482"/>
                  </a:cubicBezTo>
                  <a:cubicBezTo>
                    <a:pt x="271" y="484"/>
                    <a:pt x="266" y="493"/>
                    <a:pt x="266" y="493"/>
                  </a:cubicBezTo>
                  <a:cubicBezTo>
                    <a:pt x="264" y="498"/>
                    <a:pt x="264" y="498"/>
                    <a:pt x="264" y="498"/>
                  </a:cubicBezTo>
                  <a:cubicBezTo>
                    <a:pt x="260" y="503"/>
                    <a:pt x="260" y="503"/>
                    <a:pt x="260" y="503"/>
                  </a:cubicBezTo>
                  <a:cubicBezTo>
                    <a:pt x="260" y="503"/>
                    <a:pt x="257" y="505"/>
                    <a:pt x="257" y="505"/>
                  </a:cubicBezTo>
                  <a:cubicBezTo>
                    <a:pt x="257" y="505"/>
                    <a:pt x="255" y="505"/>
                    <a:pt x="255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7" y="503"/>
                    <a:pt x="247" y="503"/>
                    <a:pt x="247" y="503"/>
                  </a:cubicBezTo>
                  <a:cubicBezTo>
                    <a:pt x="247" y="503"/>
                    <a:pt x="244" y="505"/>
                    <a:pt x="244" y="505"/>
                  </a:cubicBezTo>
                  <a:cubicBezTo>
                    <a:pt x="244" y="506"/>
                    <a:pt x="242" y="507"/>
                    <a:pt x="242" y="508"/>
                  </a:cubicBezTo>
                  <a:cubicBezTo>
                    <a:pt x="242" y="508"/>
                    <a:pt x="241" y="510"/>
                    <a:pt x="240" y="510"/>
                  </a:cubicBezTo>
                  <a:cubicBezTo>
                    <a:pt x="239" y="511"/>
                    <a:pt x="238" y="512"/>
                    <a:pt x="237" y="512"/>
                  </a:cubicBezTo>
                  <a:cubicBezTo>
                    <a:pt x="237" y="513"/>
                    <a:pt x="235" y="513"/>
                    <a:pt x="235" y="513"/>
                  </a:cubicBezTo>
                  <a:cubicBezTo>
                    <a:pt x="235" y="513"/>
                    <a:pt x="235" y="514"/>
                    <a:pt x="234" y="515"/>
                  </a:cubicBezTo>
                  <a:cubicBezTo>
                    <a:pt x="234" y="515"/>
                    <a:pt x="231" y="515"/>
                    <a:pt x="230" y="514"/>
                  </a:cubicBezTo>
                  <a:cubicBezTo>
                    <a:pt x="229" y="513"/>
                    <a:pt x="227" y="512"/>
                    <a:pt x="228" y="512"/>
                  </a:cubicBezTo>
                  <a:cubicBezTo>
                    <a:pt x="228" y="513"/>
                    <a:pt x="227" y="515"/>
                    <a:pt x="227" y="515"/>
                  </a:cubicBezTo>
                  <a:cubicBezTo>
                    <a:pt x="227" y="516"/>
                    <a:pt x="225" y="519"/>
                    <a:pt x="224" y="519"/>
                  </a:cubicBezTo>
                  <a:cubicBezTo>
                    <a:pt x="223" y="519"/>
                    <a:pt x="221" y="518"/>
                    <a:pt x="220" y="517"/>
                  </a:cubicBezTo>
                  <a:cubicBezTo>
                    <a:pt x="219" y="517"/>
                    <a:pt x="218" y="517"/>
                    <a:pt x="218" y="517"/>
                  </a:cubicBezTo>
                  <a:cubicBezTo>
                    <a:pt x="218" y="518"/>
                    <a:pt x="218" y="521"/>
                    <a:pt x="218" y="522"/>
                  </a:cubicBezTo>
                  <a:cubicBezTo>
                    <a:pt x="218" y="522"/>
                    <a:pt x="218" y="523"/>
                    <a:pt x="218" y="524"/>
                  </a:cubicBezTo>
                  <a:cubicBezTo>
                    <a:pt x="217" y="524"/>
                    <a:pt x="215" y="525"/>
                    <a:pt x="215" y="525"/>
                  </a:cubicBezTo>
                  <a:cubicBezTo>
                    <a:pt x="215" y="525"/>
                    <a:pt x="216" y="527"/>
                    <a:pt x="215" y="527"/>
                  </a:cubicBezTo>
                  <a:cubicBezTo>
                    <a:pt x="214" y="528"/>
                    <a:pt x="213" y="529"/>
                    <a:pt x="212" y="529"/>
                  </a:cubicBezTo>
                  <a:cubicBezTo>
                    <a:pt x="212" y="528"/>
                    <a:pt x="210" y="527"/>
                    <a:pt x="210" y="527"/>
                  </a:cubicBezTo>
                  <a:cubicBezTo>
                    <a:pt x="209" y="528"/>
                    <a:pt x="208" y="530"/>
                    <a:pt x="208" y="530"/>
                  </a:cubicBezTo>
                  <a:cubicBezTo>
                    <a:pt x="208" y="531"/>
                    <a:pt x="207" y="532"/>
                    <a:pt x="207" y="532"/>
                  </a:cubicBezTo>
                  <a:cubicBezTo>
                    <a:pt x="207" y="532"/>
                    <a:pt x="200" y="540"/>
                    <a:pt x="200" y="540"/>
                  </a:cubicBezTo>
                  <a:cubicBezTo>
                    <a:pt x="199" y="540"/>
                    <a:pt x="197" y="537"/>
                    <a:pt x="197" y="537"/>
                  </a:cubicBezTo>
                  <a:cubicBezTo>
                    <a:pt x="197" y="538"/>
                    <a:pt x="197" y="540"/>
                    <a:pt x="197" y="540"/>
                  </a:cubicBezTo>
                  <a:cubicBezTo>
                    <a:pt x="196" y="541"/>
                    <a:pt x="194" y="542"/>
                    <a:pt x="194" y="542"/>
                  </a:cubicBezTo>
                  <a:cubicBezTo>
                    <a:pt x="194" y="543"/>
                    <a:pt x="193" y="542"/>
                    <a:pt x="192" y="542"/>
                  </a:cubicBezTo>
                  <a:cubicBezTo>
                    <a:pt x="192" y="543"/>
                    <a:pt x="191" y="543"/>
                    <a:pt x="191" y="544"/>
                  </a:cubicBezTo>
                  <a:cubicBezTo>
                    <a:pt x="191" y="545"/>
                    <a:pt x="190" y="546"/>
                    <a:pt x="190" y="546"/>
                  </a:cubicBezTo>
                  <a:cubicBezTo>
                    <a:pt x="190" y="546"/>
                    <a:pt x="188" y="547"/>
                    <a:pt x="188" y="548"/>
                  </a:cubicBezTo>
                  <a:cubicBezTo>
                    <a:pt x="187" y="549"/>
                    <a:pt x="185" y="550"/>
                    <a:pt x="185" y="550"/>
                  </a:cubicBezTo>
                  <a:cubicBezTo>
                    <a:pt x="185" y="550"/>
                    <a:pt x="184" y="551"/>
                    <a:pt x="183" y="550"/>
                  </a:cubicBezTo>
                  <a:cubicBezTo>
                    <a:pt x="182" y="550"/>
                    <a:pt x="180" y="547"/>
                    <a:pt x="180" y="547"/>
                  </a:cubicBezTo>
                  <a:cubicBezTo>
                    <a:pt x="180" y="547"/>
                    <a:pt x="178" y="547"/>
                    <a:pt x="178" y="548"/>
                  </a:cubicBezTo>
                  <a:cubicBezTo>
                    <a:pt x="177" y="549"/>
                    <a:pt x="177" y="550"/>
                    <a:pt x="176" y="550"/>
                  </a:cubicBezTo>
                  <a:cubicBezTo>
                    <a:pt x="175" y="551"/>
                    <a:pt x="174" y="551"/>
                    <a:pt x="173" y="551"/>
                  </a:cubicBezTo>
                  <a:cubicBezTo>
                    <a:pt x="172" y="552"/>
                    <a:pt x="170" y="552"/>
                    <a:pt x="170" y="553"/>
                  </a:cubicBezTo>
                  <a:cubicBezTo>
                    <a:pt x="169" y="553"/>
                    <a:pt x="168" y="555"/>
                    <a:pt x="168" y="556"/>
                  </a:cubicBezTo>
                  <a:cubicBezTo>
                    <a:pt x="168" y="557"/>
                    <a:pt x="170" y="557"/>
                    <a:pt x="168" y="557"/>
                  </a:cubicBezTo>
                  <a:cubicBezTo>
                    <a:pt x="166" y="558"/>
                    <a:pt x="163" y="558"/>
                    <a:pt x="163" y="558"/>
                  </a:cubicBezTo>
                  <a:cubicBezTo>
                    <a:pt x="163" y="558"/>
                    <a:pt x="161" y="559"/>
                    <a:pt x="161" y="560"/>
                  </a:cubicBezTo>
                  <a:cubicBezTo>
                    <a:pt x="160" y="561"/>
                    <a:pt x="161" y="561"/>
                    <a:pt x="159" y="562"/>
                  </a:cubicBezTo>
                  <a:cubicBezTo>
                    <a:pt x="158" y="562"/>
                    <a:pt x="157" y="563"/>
                    <a:pt x="157" y="563"/>
                  </a:cubicBezTo>
                  <a:cubicBezTo>
                    <a:pt x="155" y="561"/>
                    <a:pt x="155" y="561"/>
                    <a:pt x="155" y="561"/>
                  </a:cubicBezTo>
                  <a:cubicBezTo>
                    <a:pt x="156" y="559"/>
                    <a:pt x="156" y="559"/>
                    <a:pt x="156" y="559"/>
                  </a:cubicBezTo>
                  <a:cubicBezTo>
                    <a:pt x="156" y="559"/>
                    <a:pt x="155" y="557"/>
                    <a:pt x="155" y="558"/>
                  </a:cubicBezTo>
                  <a:cubicBezTo>
                    <a:pt x="154" y="560"/>
                    <a:pt x="155" y="561"/>
                    <a:pt x="155" y="561"/>
                  </a:cubicBezTo>
                  <a:cubicBezTo>
                    <a:pt x="155" y="561"/>
                    <a:pt x="154" y="561"/>
                    <a:pt x="154" y="562"/>
                  </a:cubicBezTo>
                  <a:cubicBezTo>
                    <a:pt x="153" y="563"/>
                    <a:pt x="154" y="563"/>
                    <a:pt x="153" y="564"/>
                  </a:cubicBezTo>
                  <a:cubicBezTo>
                    <a:pt x="153" y="565"/>
                    <a:pt x="152" y="566"/>
                    <a:pt x="151" y="566"/>
                  </a:cubicBezTo>
                  <a:cubicBezTo>
                    <a:pt x="151" y="567"/>
                    <a:pt x="150" y="567"/>
                    <a:pt x="149" y="567"/>
                  </a:cubicBezTo>
                  <a:cubicBezTo>
                    <a:pt x="149" y="567"/>
                    <a:pt x="147" y="567"/>
                    <a:pt x="147" y="567"/>
                  </a:cubicBezTo>
                  <a:cubicBezTo>
                    <a:pt x="146" y="567"/>
                    <a:pt x="145" y="566"/>
                    <a:pt x="146" y="566"/>
                  </a:cubicBezTo>
                  <a:cubicBezTo>
                    <a:pt x="146" y="566"/>
                    <a:pt x="148" y="565"/>
                    <a:pt x="148" y="565"/>
                  </a:cubicBezTo>
                  <a:cubicBezTo>
                    <a:pt x="148" y="565"/>
                    <a:pt x="149" y="564"/>
                    <a:pt x="148" y="564"/>
                  </a:cubicBezTo>
                  <a:cubicBezTo>
                    <a:pt x="147" y="563"/>
                    <a:pt x="146" y="562"/>
                    <a:pt x="146" y="562"/>
                  </a:cubicBezTo>
                  <a:cubicBezTo>
                    <a:pt x="146" y="562"/>
                    <a:pt x="147" y="563"/>
                    <a:pt x="144" y="563"/>
                  </a:cubicBezTo>
                  <a:cubicBezTo>
                    <a:pt x="142" y="564"/>
                    <a:pt x="141" y="564"/>
                    <a:pt x="141" y="563"/>
                  </a:cubicBezTo>
                  <a:cubicBezTo>
                    <a:pt x="141" y="563"/>
                    <a:pt x="139" y="563"/>
                    <a:pt x="140" y="562"/>
                  </a:cubicBezTo>
                  <a:cubicBezTo>
                    <a:pt x="142" y="561"/>
                    <a:pt x="142" y="560"/>
                    <a:pt x="143" y="560"/>
                  </a:cubicBezTo>
                  <a:cubicBezTo>
                    <a:pt x="144" y="560"/>
                    <a:pt x="144" y="558"/>
                    <a:pt x="144" y="557"/>
                  </a:cubicBezTo>
                  <a:cubicBezTo>
                    <a:pt x="144" y="557"/>
                    <a:pt x="146" y="559"/>
                    <a:pt x="143" y="557"/>
                  </a:cubicBezTo>
                  <a:cubicBezTo>
                    <a:pt x="141" y="554"/>
                    <a:pt x="141" y="554"/>
                    <a:pt x="141" y="554"/>
                  </a:cubicBezTo>
                  <a:cubicBezTo>
                    <a:pt x="141" y="554"/>
                    <a:pt x="140" y="555"/>
                    <a:pt x="140" y="556"/>
                  </a:cubicBezTo>
                  <a:cubicBezTo>
                    <a:pt x="141" y="557"/>
                    <a:pt x="143" y="558"/>
                    <a:pt x="140" y="559"/>
                  </a:cubicBezTo>
                  <a:cubicBezTo>
                    <a:pt x="137" y="559"/>
                    <a:pt x="137" y="559"/>
                    <a:pt x="137" y="559"/>
                  </a:cubicBezTo>
                  <a:cubicBezTo>
                    <a:pt x="136" y="560"/>
                    <a:pt x="133" y="560"/>
                    <a:pt x="133" y="560"/>
                  </a:cubicBezTo>
                  <a:cubicBezTo>
                    <a:pt x="133" y="560"/>
                    <a:pt x="131" y="560"/>
                    <a:pt x="132" y="561"/>
                  </a:cubicBezTo>
                  <a:cubicBezTo>
                    <a:pt x="132" y="562"/>
                    <a:pt x="134" y="563"/>
                    <a:pt x="134" y="563"/>
                  </a:cubicBezTo>
                  <a:cubicBezTo>
                    <a:pt x="134" y="563"/>
                    <a:pt x="134" y="564"/>
                    <a:pt x="132" y="564"/>
                  </a:cubicBezTo>
                  <a:cubicBezTo>
                    <a:pt x="131" y="565"/>
                    <a:pt x="129" y="565"/>
                    <a:pt x="129" y="565"/>
                  </a:cubicBezTo>
                  <a:cubicBezTo>
                    <a:pt x="128" y="566"/>
                    <a:pt x="128" y="566"/>
                    <a:pt x="128" y="566"/>
                  </a:cubicBezTo>
                  <a:cubicBezTo>
                    <a:pt x="128" y="566"/>
                    <a:pt x="127" y="566"/>
                    <a:pt x="127" y="565"/>
                  </a:cubicBezTo>
                  <a:cubicBezTo>
                    <a:pt x="127" y="565"/>
                    <a:pt x="128" y="564"/>
                    <a:pt x="128" y="563"/>
                  </a:cubicBezTo>
                  <a:cubicBezTo>
                    <a:pt x="128" y="562"/>
                    <a:pt x="129" y="563"/>
                    <a:pt x="128" y="562"/>
                  </a:cubicBezTo>
                  <a:cubicBezTo>
                    <a:pt x="127" y="560"/>
                    <a:pt x="126" y="560"/>
                    <a:pt x="126" y="559"/>
                  </a:cubicBezTo>
                  <a:cubicBezTo>
                    <a:pt x="127" y="558"/>
                    <a:pt x="129" y="557"/>
                    <a:pt x="129" y="557"/>
                  </a:cubicBezTo>
                  <a:cubicBezTo>
                    <a:pt x="129" y="556"/>
                    <a:pt x="129" y="555"/>
                    <a:pt x="129" y="555"/>
                  </a:cubicBezTo>
                  <a:cubicBezTo>
                    <a:pt x="129" y="555"/>
                    <a:pt x="128" y="555"/>
                    <a:pt x="129" y="554"/>
                  </a:cubicBezTo>
                  <a:cubicBezTo>
                    <a:pt x="130" y="552"/>
                    <a:pt x="131" y="551"/>
                    <a:pt x="131" y="551"/>
                  </a:cubicBezTo>
                  <a:cubicBezTo>
                    <a:pt x="131" y="550"/>
                    <a:pt x="130" y="549"/>
                    <a:pt x="129" y="549"/>
                  </a:cubicBezTo>
                  <a:cubicBezTo>
                    <a:pt x="129" y="549"/>
                    <a:pt x="128" y="551"/>
                    <a:pt x="128" y="552"/>
                  </a:cubicBezTo>
                  <a:cubicBezTo>
                    <a:pt x="128" y="552"/>
                    <a:pt x="129" y="554"/>
                    <a:pt x="126" y="553"/>
                  </a:cubicBezTo>
                  <a:cubicBezTo>
                    <a:pt x="123" y="553"/>
                    <a:pt x="121" y="553"/>
                    <a:pt x="120" y="552"/>
                  </a:cubicBezTo>
                  <a:cubicBezTo>
                    <a:pt x="120" y="551"/>
                    <a:pt x="118" y="550"/>
                    <a:pt x="121" y="550"/>
                  </a:cubicBezTo>
                  <a:cubicBezTo>
                    <a:pt x="124" y="549"/>
                    <a:pt x="124" y="549"/>
                    <a:pt x="124" y="549"/>
                  </a:cubicBezTo>
                  <a:cubicBezTo>
                    <a:pt x="125" y="548"/>
                    <a:pt x="125" y="547"/>
                    <a:pt x="125" y="546"/>
                  </a:cubicBezTo>
                  <a:cubicBezTo>
                    <a:pt x="124" y="546"/>
                    <a:pt x="123" y="544"/>
                    <a:pt x="123" y="545"/>
                  </a:cubicBezTo>
                  <a:cubicBezTo>
                    <a:pt x="122" y="547"/>
                    <a:pt x="122" y="548"/>
                    <a:pt x="122" y="548"/>
                  </a:cubicBezTo>
                  <a:cubicBezTo>
                    <a:pt x="122" y="548"/>
                    <a:pt x="118" y="548"/>
                    <a:pt x="118" y="548"/>
                  </a:cubicBezTo>
                  <a:cubicBezTo>
                    <a:pt x="118" y="548"/>
                    <a:pt x="117" y="547"/>
                    <a:pt x="117" y="546"/>
                  </a:cubicBezTo>
                  <a:cubicBezTo>
                    <a:pt x="117" y="546"/>
                    <a:pt x="118" y="542"/>
                    <a:pt x="118" y="542"/>
                  </a:cubicBezTo>
                  <a:cubicBezTo>
                    <a:pt x="118" y="542"/>
                    <a:pt x="120" y="541"/>
                    <a:pt x="119" y="541"/>
                  </a:cubicBezTo>
                  <a:cubicBezTo>
                    <a:pt x="119" y="541"/>
                    <a:pt x="117" y="540"/>
                    <a:pt x="117" y="541"/>
                  </a:cubicBezTo>
                  <a:cubicBezTo>
                    <a:pt x="116" y="541"/>
                    <a:pt x="117" y="542"/>
                    <a:pt x="117" y="543"/>
                  </a:cubicBezTo>
                  <a:cubicBezTo>
                    <a:pt x="117" y="544"/>
                    <a:pt x="117" y="545"/>
                    <a:pt x="116" y="545"/>
                  </a:cubicBezTo>
                  <a:cubicBezTo>
                    <a:pt x="115" y="546"/>
                    <a:pt x="111" y="546"/>
                    <a:pt x="111" y="546"/>
                  </a:cubicBezTo>
                  <a:cubicBezTo>
                    <a:pt x="111" y="545"/>
                    <a:pt x="110" y="545"/>
                    <a:pt x="111" y="544"/>
                  </a:cubicBezTo>
                  <a:cubicBezTo>
                    <a:pt x="111" y="543"/>
                    <a:pt x="111" y="542"/>
                    <a:pt x="111" y="542"/>
                  </a:cubicBezTo>
                  <a:cubicBezTo>
                    <a:pt x="111" y="542"/>
                    <a:pt x="110" y="540"/>
                    <a:pt x="110" y="541"/>
                  </a:cubicBezTo>
                  <a:cubicBezTo>
                    <a:pt x="109" y="541"/>
                    <a:pt x="108" y="541"/>
                    <a:pt x="108" y="541"/>
                  </a:cubicBezTo>
                  <a:cubicBezTo>
                    <a:pt x="108" y="539"/>
                    <a:pt x="108" y="539"/>
                    <a:pt x="108" y="539"/>
                  </a:cubicBezTo>
                  <a:cubicBezTo>
                    <a:pt x="106" y="539"/>
                    <a:pt x="106" y="539"/>
                    <a:pt x="106" y="539"/>
                  </a:cubicBezTo>
                  <a:cubicBezTo>
                    <a:pt x="105" y="539"/>
                    <a:pt x="105" y="539"/>
                    <a:pt x="105" y="539"/>
                  </a:cubicBezTo>
                  <a:cubicBezTo>
                    <a:pt x="105" y="539"/>
                    <a:pt x="104" y="538"/>
                    <a:pt x="104" y="538"/>
                  </a:cubicBezTo>
                  <a:cubicBezTo>
                    <a:pt x="103" y="538"/>
                    <a:pt x="103" y="538"/>
                    <a:pt x="103" y="539"/>
                  </a:cubicBezTo>
                  <a:cubicBezTo>
                    <a:pt x="102" y="539"/>
                    <a:pt x="99" y="540"/>
                    <a:pt x="99" y="540"/>
                  </a:cubicBezTo>
                  <a:cubicBezTo>
                    <a:pt x="99" y="540"/>
                    <a:pt x="99" y="538"/>
                    <a:pt x="98" y="540"/>
                  </a:cubicBezTo>
                  <a:cubicBezTo>
                    <a:pt x="98" y="541"/>
                    <a:pt x="93" y="541"/>
                    <a:pt x="93" y="541"/>
                  </a:cubicBezTo>
                  <a:cubicBezTo>
                    <a:pt x="93" y="541"/>
                    <a:pt x="92" y="539"/>
                    <a:pt x="92" y="538"/>
                  </a:cubicBezTo>
                  <a:cubicBezTo>
                    <a:pt x="92" y="538"/>
                    <a:pt x="93" y="535"/>
                    <a:pt x="93" y="535"/>
                  </a:cubicBezTo>
                  <a:cubicBezTo>
                    <a:pt x="94" y="534"/>
                    <a:pt x="94" y="534"/>
                    <a:pt x="94" y="534"/>
                  </a:cubicBezTo>
                  <a:cubicBezTo>
                    <a:pt x="93" y="533"/>
                    <a:pt x="93" y="533"/>
                    <a:pt x="93" y="533"/>
                  </a:cubicBezTo>
                  <a:cubicBezTo>
                    <a:pt x="93" y="533"/>
                    <a:pt x="90" y="533"/>
                    <a:pt x="91" y="533"/>
                  </a:cubicBezTo>
                  <a:cubicBezTo>
                    <a:pt x="91" y="532"/>
                    <a:pt x="93" y="530"/>
                    <a:pt x="93" y="530"/>
                  </a:cubicBezTo>
                  <a:cubicBezTo>
                    <a:pt x="93" y="530"/>
                    <a:pt x="94" y="529"/>
                    <a:pt x="94" y="529"/>
                  </a:cubicBezTo>
                  <a:cubicBezTo>
                    <a:pt x="95" y="528"/>
                    <a:pt x="97" y="528"/>
                    <a:pt x="96" y="527"/>
                  </a:cubicBezTo>
                  <a:cubicBezTo>
                    <a:pt x="95" y="527"/>
                    <a:pt x="94" y="526"/>
                    <a:pt x="94" y="526"/>
                  </a:cubicBezTo>
                  <a:cubicBezTo>
                    <a:pt x="94" y="526"/>
                    <a:pt x="93" y="526"/>
                    <a:pt x="93" y="525"/>
                  </a:cubicBezTo>
                  <a:cubicBezTo>
                    <a:pt x="93" y="525"/>
                    <a:pt x="94" y="523"/>
                    <a:pt x="94" y="522"/>
                  </a:cubicBezTo>
                  <a:cubicBezTo>
                    <a:pt x="94" y="521"/>
                    <a:pt x="93" y="520"/>
                    <a:pt x="93" y="520"/>
                  </a:cubicBezTo>
                  <a:cubicBezTo>
                    <a:pt x="92" y="520"/>
                    <a:pt x="93" y="521"/>
                    <a:pt x="91" y="521"/>
                  </a:cubicBezTo>
                  <a:cubicBezTo>
                    <a:pt x="90" y="522"/>
                    <a:pt x="87" y="524"/>
                    <a:pt x="87" y="524"/>
                  </a:cubicBezTo>
                  <a:cubicBezTo>
                    <a:pt x="87" y="523"/>
                    <a:pt x="87" y="522"/>
                    <a:pt x="87" y="521"/>
                  </a:cubicBezTo>
                  <a:cubicBezTo>
                    <a:pt x="88" y="520"/>
                    <a:pt x="91" y="520"/>
                    <a:pt x="92" y="519"/>
                  </a:cubicBezTo>
                  <a:cubicBezTo>
                    <a:pt x="92" y="518"/>
                    <a:pt x="90" y="515"/>
                    <a:pt x="90" y="515"/>
                  </a:cubicBezTo>
                  <a:cubicBezTo>
                    <a:pt x="90" y="515"/>
                    <a:pt x="92" y="516"/>
                    <a:pt x="91" y="514"/>
                  </a:cubicBezTo>
                  <a:cubicBezTo>
                    <a:pt x="89" y="513"/>
                    <a:pt x="89" y="513"/>
                    <a:pt x="89" y="513"/>
                  </a:cubicBezTo>
                  <a:cubicBezTo>
                    <a:pt x="89" y="512"/>
                    <a:pt x="89" y="511"/>
                    <a:pt x="90" y="510"/>
                  </a:cubicBezTo>
                  <a:cubicBezTo>
                    <a:pt x="91" y="508"/>
                    <a:pt x="92" y="508"/>
                    <a:pt x="92" y="507"/>
                  </a:cubicBezTo>
                  <a:cubicBezTo>
                    <a:pt x="92" y="507"/>
                    <a:pt x="89" y="506"/>
                    <a:pt x="89" y="505"/>
                  </a:cubicBezTo>
                  <a:cubicBezTo>
                    <a:pt x="89" y="504"/>
                    <a:pt x="87" y="504"/>
                    <a:pt x="89" y="502"/>
                  </a:cubicBezTo>
                  <a:cubicBezTo>
                    <a:pt x="90" y="501"/>
                    <a:pt x="91" y="501"/>
                    <a:pt x="91" y="501"/>
                  </a:cubicBezTo>
                  <a:cubicBezTo>
                    <a:pt x="91" y="501"/>
                    <a:pt x="91" y="498"/>
                    <a:pt x="91" y="497"/>
                  </a:cubicBezTo>
                  <a:cubicBezTo>
                    <a:pt x="91" y="496"/>
                    <a:pt x="92" y="496"/>
                    <a:pt x="92" y="495"/>
                  </a:cubicBezTo>
                  <a:cubicBezTo>
                    <a:pt x="91" y="494"/>
                    <a:pt x="90" y="494"/>
                    <a:pt x="89" y="492"/>
                  </a:cubicBezTo>
                  <a:cubicBezTo>
                    <a:pt x="89" y="491"/>
                    <a:pt x="89" y="491"/>
                    <a:pt x="89" y="490"/>
                  </a:cubicBezTo>
                  <a:cubicBezTo>
                    <a:pt x="90" y="490"/>
                    <a:pt x="91" y="489"/>
                    <a:pt x="90" y="489"/>
                  </a:cubicBezTo>
                  <a:cubicBezTo>
                    <a:pt x="90" y="488"/>
                    <a:pt x="90" y="487"/>
                    <a:pt x="90" y="487"/>
                  </a:cubicBezTo>
                  <a:cubicBezTo>
                    <a:pt x="90" y="487"/>
                    <a:pt x="90" y="487"/>
                    <a:pt x="89" y="485"/>
                  </a:cubicBezTo>
                  <a:cubicBezTo>
                    <a:pt x="88" y="484"/>
                    <a:pt x="88" y="482"/>
                    <a:pt x="88" y="481"/>
                  </a:cubicBezTo>
                  <a:cubicBezTo>
                    <a:pt x="88" y="480"/>
                    <a:pt x="89" y="476"/>
                    <a:pt x="89" y="476"/>
                  </a:cubicBezTo>
                  <a:cubicBezTo>
                    <a:pt x="89" y="476"/>
                    <a:pt x="89" y="473"/>
                    <a:pt x="87" y="472"/>
                  </a:cubicBezTo>
                  <a:cubicBezTo>
                    <a:pt x="86" y="470"/>
                    <a:pt x="84" y="469"/>
                    <a:pt x="84" y="469"/>
                  </a:cubicBezTo>
                  <a:cubicBezTo>
                    <a:pt x="84" y="469"/>
                    <a:pt x="84" y="467"/>
                    <a:pt x="84" y="466"/>
                  </a:cubicBezTo>
                  <a:cubicBezTo>
                    <a:pt x="84" y="466"/>
                    <a:pt x="82" y="465"/>
                    <a:pt x="82" y="464"/>
                  </a:cubicBezTo>
                  <a:cubicBezTo>
                    <a:pt x="82" y="463"/>
                    <a:pt x="81" y="461"/>
                    <a:pt x="81" y="461"/>
                  </a:cubicBezTo>
                  <a:cubicBezTo>
                    <a:pt x="81" y="461"/>
                    <a:pt x="80" y="461"/>
                    <a:pt x="81" y="459"/>
                  </a:cubicBezTo>
                  <a:cubicBezTo>
                    <a:pt x="81" y="456"/>
                    <a:pt x="81" y="455"/>
                    <a:pt x="81" y="454"/>
                  </a:cubicBezTo>
                  <a:cubicBezTo>
                    <a:pt x="80" y="453"/>
                    <a:pt x="79" y="451"/>
                    <a:pt x="79" y="450"/>
                  </a:cubicBezTo>
                  <a:cubicBezTo>
                    <a:pt x="79" y="449"/>
                    <a:pt x="79" y="447"/>
                    <a:pt x="79" y="447"/>
                  </a:cubicBezTo>
                  <a:cubicBezTo>
                    <a:pt x="79" y="447"/>
                    <a:pt x="79" y="446"/>
                    <a:pt x="78" y="445"/>
                  </a:cubicBezTo>
                  <a:cubicBezTo>
                    <a:pt x="77" y="444"/>
                    <a:pt x="74" y="439"/>
                    <a:pt x="74" y="439"/>
                  </a:cubicBezTo>
                  <a:cubicBezTo>
                    <a:pt x="74" y="439"/>
                    <a:pt x="73" y="439"/>
                    <a:pt x="73" y="437"/>
                  </a:cubicBezTo>
                  <a:cubicBezTo>
                    <a:pt x="72" y="435"/>
                    <a:pt x="72" y="433"/>
                    <a:pt x="72" y="433"/>
                  </a:cubicBezTo>
                  <a:cubicBezTo>
                    <a:pt x="72" y="433"/>
                    <a:pt x="72" y="430"/>
                    <a:pt x="72" y="430"/>
                  </a:cubicBezTo>
                  <a:cubicBezTo>
                    <a:pt x="69" y="427"/>
                    <a:pt x="69" y="427"/>
                    <a:pt x="69" y="427"/>
                  </a:cubicBezTo>
                  <a:cubicBezTo>
                    <a:pt x="70" y="423"/>
                    <a:pt x="70" y="423"/>
                    <a:pt x="70" y="423"/>
                  </a:cubicBezTo>
                  <a:cubicBezTo>
                    <a:pt x="70" y="419"/>
                    <a:pt x="70" y="419"/>
                    <a:pt x="70" y="419"/>
                  </a:cubicBezTo>
                  <a:cubicBezTo>
                    <a:pt x="70" y="419"/>
                    <a:pt x="70" y="414"/>
                    <a:pt x="71" y="414"/>
                  </a:cubicBezTo>
                  <a:cubicBezTo>
                    <a:pt x="72" y="414"/>
                    <a:pt x="74" y="411"/>
                    <a:pt x="74" y="411"/>
                  </a:cubicBezTo>
                  <a:cubicBezTo>
                    <a:pt x="74" y="411"/>
                    <a:pt x="76" y="408"/>
                    <a:pt x="75" y="407"/>
                  </a:cubicBezTo>
                  <a:cubicBezTo>
                    <a:pt x="75" y="406"/>
                    <a:pt x="74" y="402"/>
                    <a:pt x="74" y="402"/>
                  </a:cubicBezTo>
                  <a:cubicBezTo>
                    <a:pt x="74" y="402"/>
                    <a:pt x="76" y="399"/>
                    <a:pt x="75" y="399"/>
                  </a:cubicBezTo>
                  <a:cubicBezTo>
                    <a:pt x="75" y="398"/>
                    <a:pt x="73" y="394"/>
                    <a:pt x="73" y="394"/>
                  </a:cubicBezTo>
                  <a:cubicBezTo>
                    <a:pt x="70" y="397"/>
                    <a:pt x="70" y="397"/>
                    <a:pt x="70" y="397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9" y="392"/>
                    <a:pt x="69" y="392"/>
                    <a:pt x="69" y="392"/>
                  </a:cubicBezTo>
                  <a:cubicBezTo>
                    <a:pt x="69" y="392"/>
                    <a:pt x="67" y="390"/>
                    <a:pt x="67" y="389"/>
                  </a:cubicBezTo>
                  <a:cubicBezTo>
                    <a:pt x="67" y="388"/>
                    <a:pt x="69" y="386"/>
                    <a:pt x="69" y="386"/>
                  </a:cubicBezTo>
                  <a:cubicBezTo>
                    <a:pt x="69" y="386"/>
                    <a:pt x="71" y="390"/>
                    <a:pt x="71" y="391"/>
                  </a:cubicBezTo>
                  <a:cubicBezTo>
                    <a:pt x="71" y="392"/>
                    <a:pt x="73" y="393"/>
                    <a:pt x="73" y="393"/>
                  </a:cubicBezTo>
                  <a:cubicBezTo>
                    <a:pt x="74" y="392"/>
                    <a:pt x="74" y="390"/>
                    <a:pt x="75" y="390"/>
                  </a:cubicBezTo>
                  <a:cubicBezTo>
                    <a:pt x="76" y="390"/>
                    <a:pt x="77" y="391"/>
                    <a:pt x="77" y="392"/>
                  </a:cubicBezTo>
                  <a:cubicBezTo>
                    <a:pt x="77" y="392"/>
                    <a:pt x="81" y="391"/>
                    <a:pt x="81" y="391"/>
                  </a:cubicBezTo>
                  <a:cubicBezTo>
                    <a:pt x="81" y="391"/>
                    <a:pt x="80" y="390"/>
                    <a:pt x="83" y="390"/>
                  </a:cubicBezTo>
                  <a:cubicBezTo>
                    <a:pt x="86" y="391"/>
                    <a:pt x="86" y="390"/>
                    <a:pt x="86" y="388"/>
                  </a:cubicBezTo>
                  <a:cubicBezTo>
                    <a:pt x="86" y="387"/>
                    <a:pt x="83" y="383"/>
                    <a:pt x="85" y="383"/>
                  </a:cubicBezTo>
                  <a:cubicBezTo>
                    <a:pt x="88" y="383"/>
                    <a:pt x="89" y="384"/>
                    <a:pt x="89" y="384"/>
                  </a:cubicBezTo>
                  <a:cubicBezTo>
                    <a:pt x="89" y="384"/>
                    <a:pt x="89" y="385"/>
                    <a:pt x="89" y="386"/>
                  </a:cubicBezTo>
                  <a:cubicBezTo>
                    <a:pt x="89" y="388"/>
                    <a:pt x="92" y="390"/>
                    <a:pt x="92" y="388"/>
                  </a:cubicBezTo>
                  <a:cubicBezTo>
                    <a:pt x="93" y="386"/>
                    <a:pt x="93" y="387"/>
                    <a:pt x="93" y="385"/>
                  </a:cubicBezTo>
                  <a:cubicBezTo>
                    <a:pt x="93" y="383"/>
                    <a:pt x="91" y="383"/>
                    <a:pt x="90" y="381"/>
                  </a:cubicBezTo>
                  <a:cubicBezTo>
                    <a:pt x="90" y="380"/>
                    <a:pt x="89" y="382"/>
                    <a:pt x="89" y="379"/>
                  </a:cubicBezTo>
                  <a:cubicBezTo>
                    <a:pt x="90" y="376"/>
                    <a:pt x="90" y="375"/>
                    <a:pt x="91" y="375"/>
                  </a:cubicBezTo>
                  <a:cubicBezTo>
                    <a:pt x="93" y="374"/>
                    <a:pt x="91" y="375"/>
                    <a:pt x="93" y="374"/>
                  </a:cubicBezTo>
                  <a:cubicBezTo>
                    <a:pt x="95" y="374"/>
                    <a:pt x="96" y="372"/>
                    <a:pt x="95" y="369"/>
                  </a:cubicBezTo>
                  <a:cubicBezTo>
                    <a:pt x="95" y="367"/>
                    <a:pt x="94" y="366"/>
                    <a:pt x="95" y="365"/>
                  </a:cubicBezTo>
                  <a:cubicBezTo>
                    <a:pt x="97" y="364"/>
                    <a:pt x="96" y="363"/>
                    <a:pt x="98" y="364"/>
                  </a:cubicBezTo>
                  <a:cubicBezTo>
                    <a:pt x="100" y="365"/>
                    <a:pt x="99" y="365"/>
                    <a:pt x="101" y="365"/>
                  </a:cubicBezTo>
                  <a:cubicBezTo>
                    <a:pt x="102" y="364"/>
                    <a:pt x="102" y="359"/>
                    <a:pt x="102" y="359"/>
                  </a:cubicBezTo>
                  <a:cubicBezTo>
                    <a:pt x="101" y="360"/>
                    <a:pt x="99" y="358"/>
                    <a:pt x="99" y="358"/>
                  </a:cubicBezTo>
                  <a:cubicBezTo>
                    <a:pt x="98" y="358"/>
                    <a:pt x="98" y="356"/>
                    <a:pt x="99" y="355"/>
                  </a:cubicBezTo>
                  <a:cubicBezTo>
                    <a:pt x="99" y="355"/>
                    <a:pt x="99" y="353"/>
                    <a:pt x="100" y="353"/>
                  </a:cubicBezTo>
                  <a:cubicBezTo>
                    <a:pt x="102" y="353"/>
                    <a:pt x="102" y="354"/>
                    <a:pt x="104" y="353"/>
                  </a:cubicBezTo>
                  <a:cubicBezTo>
                    <a:pt x="105" y="352"/>
                    <a:pt x="105" y="352"/>
                    <a:pt x="106" y="351"/>
                  </a:cubicBezTo>
                  <a:cubicBezTo>
                    <a:pt x="107" y="350"/>
                    <a:pt x="108" y="350"/>
                    <a:pt x="109" y="348"/>
                  </a:cubicBezTo>
                  <a:cubicBezTo>
                    <a:pt x="109" y="347"/>
                    <a:pt x="110" y="341"/>
                    <a:pt x="110" y="341"/>
                  </a:cubicBezTo>
                  <a:cubicBezTo>
                    <a:pt x="109" y="340"/>
                    <a:pt x="111" y="341"/>
                    <a:pt x="113" y="340"/>
                  </a:cubicBezTo>
                  <a:cubicBezTo>
                    <a:pt x="114" y="339"/>
                    <a:pt x="115" y="333"/>
                    <a:pt x="116" y="332"/>
                  </a:cubicBezTo>
                  <a:cubicBezTo>
                    <a:pt x="117" y="330"/>
                    <a:pt x="120" y="326"/>
                    <a:pt x="120" y="325"/>
                  </a:cubicBezTo>
                  <a:cubicBezTo>
                    <a:pt x="120" y="324"/>
                    <a:pt x="123" y="317"/>
                    <a:pt x="123" y="317"/>
                  </a:cubicBezTo>
                  <a:cubicBezTo>
                    <a:pt x="127" y="310"/>
                    <a:pt x="127" y="310"/>
                    <a:pt x="127" y="310"/>
                  </a:cubicBezTo>
                  <a:cubicBezTo>
                    <a:pt x="127" y="310"/>
                    <a:pt x="127" y="308"/>
                    <a:pt x="126" y="306"/>
                  </a:cubicBezTo>
                  <a:cubicBezTo>
                    <a:pt x="126" y="305"/>
                    <a:pt x="125" y="301"/>
                    <a:pt x="126" y="300"/>
                  </a:cubicBezTo>
                  <a:cubicBezTo>
                    <a:pt x="127" y="300"/>
                    <a:pt x="128" y="297"/>
                    <a:pt x="128" y="297"/>
                  </a:cubicBezTo>
                  <a:cubicBezTo>
                    <a:pt x="128" y="293"/>
                    <a:pt x="128" y="293"/>
                    <a:pt x="128" y="293"/>
                  </a:cubicBezTo>
                  <a:cubicBezTo>
                    <a:pt x="128" y="293"/>
                    <a:pt x="133" y="290"/>
                    <a:pt x="133" y="290"/>
                  </a:cubicBezTo>
                  <a:cubicBezTo>
                    <a:pt x="139" y="289"/>
                    <a:pt x="135" y="286"/>
                    <a:pt x="142" y="289"/>
                  </a:cubicBezTo>
                  <a:cubicBezTo>
                    <a:pt x="142" y="289"/>
                    <a:pt x="146" y="288"/>
                    <a:pt x="145" y="287"/>
                  </a:cubicBezTo>
                  <a:cubicBezTo>
                    <a:pt x="145" y="287"/>
                    <a:pt x="141" y="283"/>
                    <a:pt x="141" y="28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43" y="280"/>
                    <a:pt x="146" y="278"/>
                    <a:pt x="143" y="277"/>
                  </a:cubicBezTo>
                  <a:cubicBezTo>
                    <a:pt x="141" y="276"/>
                    <a:pt x="139" y="275"/>
                    <a:pt x="139" y="274"/>
                  </a:cubicBezTo>
                  <a:cubicBezTo>
                    <a:pt x="139" y="274"/>
                    <a:pt x="138" y="270"/>
                    <a:pt x="138" y="269"/>
                  </a:cubicBezTo>
                  <a:cubicBezTo>
                    <a:pt x="138" y="268"/>
                    <a:pt x="137" y="265"/>
                    <a:pt x="137" y="265"/>
                  </a:cubicBezTo>
                  <a:cubicBezTo>
                    <a:pt x="137" y="265"/>
                    <a:pt x="137" y="261"/>
                    <a:pt x="137" y="260"/>
                  </a:cubicBezTo>
                  <a:cubicBezTo>
                    <a:pt x="137" y="259"/>
                    <a:pt x="136" y="256"/>
                    <a:pt x="135" y="255"/>
                  </a:cubicBezTo>
                  <a:cubicBezTo>
                    <a:pt x="134" y="254"/>
                    <a:pt x="130" y="251"/>
                    <a:pt x="130" y="251"/>
                  </a:cubicBezTo>
                  <a:cubicBezTo>
                    <a:pt x="123" y="248"/>
                    <a:pt x="123" y="248"/>
                    <a:pt x="123" y="248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2" y="244"/>
                    <a:pt x="112" y="244"/>
                    <a:pt x="112" y="244"/>
                  </a:cubicBezTo>
                  <a:cubicBezTo>
                    <a:pt x="108" y="244"/>
                    <a:pt x="108" y="244"/>
                    <a:pt x="108" y="244"/>
                  </a:cubicBezTo>
                  <a:cubicBezTo>
                    <a:pt x="101" y="229"/>
                    <a:pt x="101" y="229"/>
                    <a:pt x="101" y="229"/>
                  </a:cubicBezTo>
                  <a:cubicBezTo>
                    <a:pt x="95" y="226"/>
                    <a:pt x="95" y="226"/>
                    <a:pt x="95" y="226"/>
                  </a:cubicBezTo>
                  <a:cubicBezTo>
                    <a:pt x="91" y="222"/>
                    <a:pt x="91" y="222"/>
                    <a:pt x="91" y="222"/>
                  </a:cubicBezTo>
                  <a:cubicBezTo>
                    <a:pt x="91" y="217"/>
                    <a:pt x="91" y="217"/>
                    <a:pt x="91" y="217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88" y="213"/>
                    <a:pt x="89" y="210"/>
                    <a:pt x="89" y="209"/>
                  </a:cubicBezTo>
                  <a:cubicBezTo>
                    <a:pt x="90" y="208"/>
                    <a:pt x="92" y="203"/>
                    <a:pt x="92" y="203"/>
                  </a:cubicBezTo>
                  <a:cubicBezTo>
                    <a:pt x="92" y="203"/>
                    <a:pt x="91" y="199"/>
                    <a:pt x="91" y="198"/>
                  </a:cubicBezTo>
                  <a:cubicBezTo>
                    <a:pt x="91" y="197"/>
                    <a:pt x="92" y="192"/>
                    <a:pt x="92" y="192"/>
                  </a:cubicBezTo>
                  <a:cubicBezTo>
                    <a:pt x="91" y="187"/>
                    <a:pt x="91" y="187"/>
                    <a:pt x="91" y="18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67"/>
                    <a:pt x="80" y="167"/>
                    <a:pt x="80" y="167"/>
                  </a:cubicBezTo>
                  <a:cubicBezTo>
                    <a:pt x="79" y="164"/>
                    <a:pt x="79" y="164"/>
                    <a:pt x="79" y="164"/>
                  </a:cubicBezTo>
                  <a:cubicBezTo>
                    <a:pt x="78" y="161"/>
                    <a:pt x="78" y="161"/>
                    <a:pt x="79" y="159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72" y="155"/>
                    <a:pt x="72" y="155"/>
                    <a:pt x="72" y="155"/>
                  </a:cubicBezTo>
                  <a:cubicBezTo>
                    <a:pt x="73" y="150"/>
                    <a:pt x="73" y="150"/>
                    <a:pt x="73" y="150"/>
                  </a:cubicBezTo>
                  <a:cubicBezTo>
                    <a:pt x="71" y="138"/>
                    <a:pt x="71" y="138"/>
                    <a:pt x="71" y="138"/>
                  </a:cubicBezTo>
                  <a:cubicBezTo>
                    <a:pt x="73" y="132"/>
                    <a:pt x="73" y="132"/>
                    <a:pt x="73" y="132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3" y="123"/>
                    <a:pt x="62" y="125"/>
                    <a:pt x="61" y="124"/>
                  </a:cubicBezTo>
                  <a:cubicBezTo>
                    <a:pt x="60" y="123"/>
                    <a:pt x="55" y="115"/>
                    <a:pt x="55" y="115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6" y="111"/>
                    <a:pt x="35" y="109"/>
                  </a:cubicBezTo>
                  <a:cubicBezTo>
                    <a:pt x="34" y="107"/>
                    <a:pt x="32" y="105"/>
                    <a:pt x="32" y="105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5" y="102"/>
                    <a:pt x="24" y="102"/>
                    <a:pt x="23" y="102"/>
                  </a:cubicBezTo>
                  <a:cubicBezTo>
                    <a:pt x="22" y="101"/>
                    <a:pt x="20" y="100"/>
                    <a:pt x="20" y="100"/>
                  </a:cubicBezTo>
                  <a:close/>
                  <a:moveTo>
                    <a:pt x="142" y="568"/>
                  </a:moveTo>
                  <a:cubicBezTo>
                    <a:pt x="142" y="568"/>
                    <a:pt x="142" y="568"/>
                    <a:pt x="142" y="568"/>
                  </a:cubicBezTo>
                  <a:cubicBezTo>
                    <a:pt x="142" y="568"/>
                    <a:pt x="142" y="569"/>
                    <a:pt x="142" y="570"/>
                  </a:cubicBezTo>
                  <a:cubicBezTo>
                    <a:pt x="142" y="570"/>
                    <a:pt x="143" y="571"/>
                    <a:pt x="144" y="571"/>
                  </a:cubicBezTo>
                  <a:cubicBezTo>
                    <a:pt x="144" y="571"/>
                    <a:pt x="146" y="570"/>
                    <a:pt x="147" y="569"/>
                  </a:cubicBezTo>
                  <a:cubicBezTo>
                    <a:pt x="149" y="568"/>
                    <a:pt x="147" y="569"/>
                    <a:pt x="147" y="569"/>
                  </a:cubicBezTo>
                  <a:cubicBezTo>
                    <a:pt x="145" y="567"/>
                    <a:pt x="145" y="567"/>
                    <a:pt x="145" y="567"/>
                  </a:cubicBezTo>
                  <a:cubicBezTo>
                    <a:pt x="145" y="567"/>
                    <a:pt x="143" y="568"/>
                    <a:pt x="142" y="568"/>
                  </a:cubicBezTo>
                  <a:close/>
                  <a:moveTo>
                    <a:pt x="129" y="568"/>
                  </a:moveTo>
                  <a:cubicBezTo>
                    <a:pt x="129" y="568"/>
                    <a:pt x="129" y="568"/>
                    <a:pt x="129" y="568"/>
                  </a:cubicBezTo>
                  <a:cubicBezTo>
                    <a:pt x="129" y="568"/>
                    <a:pt x="129" y="570"/>
                    <a:pt x="129" y="570"/>
                  </a:cubicBezTo>
                  <a:cubicBezTo>
                    <a:pt x="129" y="571"/>
                    <a:pt x="130" y="571"/>
                    <a:pt x="131" y="570"/>
                  </a:cubicBezTo>
                  <a:cubicBezTo>
                    <a:pt x="131" y="570"/>
                    <a:pt x="132" y="570"/>
                    <a:pt x="133" y="569"/>
                  </a:cubicBezTo>
                  <a:cubicBezTo>
                    <a:pt x="134" y="568"/>
                    <a:pt x="133" y="567"/>
                    <a:pt x="132" y="567"/>
                  </a:cubicBezTo>
                  <a:cubicBezTo>
                    <a:pt x="132" y="566"/>
                    <a:pt x="131" y="567"/>
                    <a:pt x="131" y="567"/>
                  </a:cubicBezTo>
                  <a:cubicBezTo>
                    <a:pt x="130" y="567"/>
                    <a:pt x="129" y="568"/>
                    <a:pt x="129" y="568"/>
                  </a:cubicBezTo>
                  <a:close/>
                  <a:moveTo>
                    <a:pt x="105" y="556"/>
                  </a:moveTo>
                  <a:cubicBezTo>
                    <a:pt x="105" y="556"/>
                    <a:pt x="105" y="556"/>
                    <a:pt x="105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3" y="558"/>
                    <a:pt x="104" y="559"/>
                  </a:cubicBezTo>
                  <a:cubicBezTo>
                    <a:pt x="104" y="561"/>
                    <a:pt x="105" y="561"/>
                    <a:pt x="105" y="561"/>
                  </a:cubicBezTo>
                  <a:cubicBezTo>
                    <a:pt x="105" y="561"/>
                    <a:pt x="106" y="560"/>
                    <a:pt x="108" y="560"/>
                  </a:cubicBezTo>
                  <a:cubicBezTo>
                    <a:pt x="109" y="560"/>
                    <a:pt x="111" y="558"/>
                    <a:pt x="111" y="557"/>
                  </a:cubicBezTo>
                  <a:cubicBezTo>
                    <a:pt x="112" y="557"/>
                    <a:pt x="112" y="555"/>
                    <a:pt x="113" y="555"/>
                  </a:cubicBezTo>
                  <a:cubicBezTo>
                    <a:pt x="114" y="555"/>
                    <a:pt x="117" y="556"/>
                    <a:pt x="118" y="556"/>
                  </a:cubicBezTo>
                  <a:cubicBezTo>
                    <a:pt x="119" y="556"/>
                    <a:pt x="117" y="553"/>
                    <a:pt x="117" y="553"/>
                  </a:cubicBezTo>
                  <a:cubicBezTo>
                    <a:pt x="117" y="552"/>
                    <a:pt x="114" y="553"/>
                    <a:pt x="114" y="553"/>
                  </a:cubicBezTo>
                  <a:cubicBezTo>
                    <a:pt x="114" y="553"/>
                    <a:pt x="112" y="553"/>
                    <a:pt x="111" y="552"/>
                  </a:cubicBezTo>
                  <a:cubicBezTo>
                    <a:pt x="110" y="552"/>
                    <a:pt x="110" y="552"/>
                    <a:pt x="110" y="552"/>
                  </a:cubicBezTo>
                  <a:cubicBezTo>
                    <a:pt x="109" y="553"/>
                    <a:pt x="109" y="554"/>
                    <a:pt x="108" y="555"/>
                  </a:cubicBezTo>
                  <a:cubicBezTo>
                    <a:pt x="107" y="556"/>
                    <a:pt x="107" y="555"/>
                    <a:pt x="107" y="554"/>
                  </a:cubicBezTo>
                  <a:cubicBezTo>
                    <a:pt x="107" y="554"/>
                    <a:pt x="105" y="553"/>
                    <a:pt x="104" y="554"/>
                  </a:cubicBezTo>
                  <a:cubicBezTo>
                    <a:pt x="104" y="554"/>
                    <a:pt x="105" y="555"/>
                    <a:pt x="105" y="556"/>
                  </a:cubicBezTo>
                  <a:close/>
                  <a:moveTo>
                    <a:pt x="97" y="556"/>
                  </a:moveTo>
                  <a:cubicBezTo>
                    <a:pt x="97" y="556"/>
                    <a:pt x="97" y="556"/>
                    <a:pt x="97" y="556"/>
                  </a:cubicBezTo>
                  <a:cubicBezTo>
                    <a:pt x="97" y="556"/>
                    <a:pt x="99" y="557"/>
                    <a:pt x="101" y="557"/>
                  </a:cubicBezTo>
                  <a:cubicBezTo>
                    <a:pt x="102" y="557"/>
                    <a:pt x="101" y="556"/>
                    <a:pt x="102" y="555"/>
                  </a:cubicBezTo>
                  <a:cubicBezTo>
                    <a:pt x="102" y="554"/>
                    <a:pt x="101" y="555"/>
                    <a:pt x="100" y="554"/>
                  </a:cubicBezTo>
                  <a:cubicBezTo>
                    <a:pt x="99" y="554"/>
                    <a:pt x="99" y="554"/>
                    <a:pt x="98" y="554"/>
                  </a:cubicBezTo>
                  <a:cubicBezTo>
                    <a:pt x="96" y="554"/>
                    <a:pt x="97" y="556"/>
                    <a:pt x="97" y="556"/>
                  </a:cubicBezTo>
                  <a:close/>
                  <a:moveTo>
                    <a:pt x="88" y="545"/>
                  </a:moveTo>
                  <a:cubicBezTo>
                    <a:pt x="88" y="545"/>
                    <a:pt x="88" y="545"/>
                    <a:pt x="88" y="545"/>
                  </a:cubicBezTo>
                  <a:cubicBezTo>
                    <a:pt x="87" y="550"/>
                    <a:pt x="92" y="547"/>
                    <a:pt x="92" y="544"/>
                  </a:cubicBezTo>
                  <a:cubicBezTo>
                    <a:pt x="91" y="542"/>
                    <a:pt x="92" y="542"/>
                    <a:pt x="90" y="540"/>
                  </a:cubicBezTo>
                  <a:cubicBezTo>
                    <a:pt x="89" y="537"/>
                    <a:pt x="89" y="540"/>
                    <a:pt x="88" y="541"/>
                  </a:cubicBezTo>
                  <a:cubicBezTo>
                    <a:pt x="87" y="543"/>
                    <a:pt x="89" y="543"/>
                    <a:pt x="89" y="544"/>
                  </a:cubicBezTo>
                  <a:cubicBezTo>
                    <a:pt x="89" y="545"/>
                    <a:pt x="88" y="544"/>
                    <a:pt x="88" y="545"/>
                  </a:cubicBezTo>
                  <a:close/>
                  <a:moveTo>
                    <a:pt x="80" y="557"/>
                  </a:moveTo>
                  <a:cubicBezTo>
                    <a:pt x="80" y="557"/>
                    <a:pt x="80" y="557"/>
                    <a:pt x="80" y="557"/>
                  </a:cubicBezTo>
                  <a:cubicBezTo>
                    <a:pt x="80" y="557"/>
                    <a:pt x="79" y="558"/>
                    <a:pt x="80" y="560"/>
                  </a:cubicBezTo>
                  <a:cubicBezTo>
                    <a:pt x="80" y="561"/>
                    <a:pt x="80" y="560"/>
                    <a:pt x="83" y="558"/>
                  </a:cubicBezTo>
                  <a:cubicBezTo>
                    <a:pt x="85" y="556"/>
                    <a:pt x="82" y="557"/>
                    <a:pt x="82" y="557"/>
                  </a:cubicBezTo>
                  <a:cubicBezTo>
                    <a:pt x="82" y="556"/>
                    <a:pt x="81" y="557"/>
                    <a:pt x="80" y="557"/>
                  </a:cubicBezTo>
                  <a:close/>
                  <a:moveTo>
                    <a:pt x="80" y="563"/>
                  </a:moveTo>
                  <a:cubicBezTo>
                    <a:pt x="80" y="563"/>
                    <a:pt x="80" y="563"/>
                    <a:pt x="80" y="563"/>
                  </a:cubicBezTo>
                  <a:cubicBezTo>
                    <a:pt x="80" y="563"/>
                    <a:pt x="80" y="565"/>
                    <a:pt x="81" y="565"/>
                  </a:cubicBezTo>
                  <a:cubicBezTo>
                    <a:pt x="82" y="565"/>
                    <a:pt x="82" y="564"/>
                    <a:pt x="83" y="563"/>
                  </a:cubicBezTo>
                  <a:cubicBezTo>
                    <a:pt x="83" y="562"/>
                    <a:pt x="82" y="562"/>
                    <a:pt x="82" y="561"/>
                  </a:cubicBezTo>
                  <a:cubicBezTo>
                    <a:pt x="81" y="561"/>
                    <a:pt x="80" y="562"/>
                    <a:pt x="80" y="563"/>
                  </a:cubicBezTo>
                  <a:close/>
                  <a:moveTo>
                    <a:pt x="77" y="568"/>
                  </a:moveTo>
                  <a:cubicBezTo>
                    <a:pt x="77" y="568"/>
                    <a:pt x="77" y="568"/>
                    <a:pt x="77" y="568"/>
                  </a:cubicBezTo>
                  <a:cubicBezTo>
                    <a:pt x="75" y="568"/>
                    <a:pt x="75" y="568"/>
                    <a:pt x="75" y="568"/>
                  </a:cubicBezTo>
                  <a:cubicBezTo>
                    <a:pt x="75" y="568"/>
                    <a:pt x="75" y="568"/>
                    <a:pt x="72" y="570"/>
                  </a:cubicBezTo>
                  <a:cubicBezTo>
                    <a:pt x="69" y="571"/>
                    <a:pt x="71" y="572"/>
                    <a:pt x="71" y="573"/>
                  </a:cubicBezTo>
                  <a:cubicBezTo>
                    <a:pt x="71" y="575"/>
                    <a:pt x="74" y="573"/>
                    <a:pt x="76" y="572"/>
                  </a:cubicBezTo>
                  <a:cubicBezTo>
                    <a:pt x="77" y="572"/>
                    <a:pt x="76" y="571"/>
                    <a:pt x="77" y="571"/>
                  </a:cubicBezTo>
                  <a:cubicBezTo>
                    <a:pt x="77" y="571"/>
                    <a:pt x="77" y="571"/>
                    <a:pt x="79" y="570"/>
                  </a:cubicBezTo>
                  <a:cubicBezTo>
                    <a:pt x="81" y="569"/>
                    <a:pt x="80" y="569"/>
                    <a:pt x="80" y="568"/>
                  </a:cubicBezTo>
                  <a:cubicBezTo>
                    <a:pt x="80" y="568"/>
                    <a:pt x="78" y="567"/>
                    <a:pt x="77" y="568"/>
                  </a:cubicBezTo>
                  <a:close/>
                  <a:moveTo>
                    <a:pt x="51" y="573"/>
                  </a:moveTo>
                  <a:cubicBezTo>
                    <a:pt x="51" y="573"/>
                    <a:pt x="51" y="573"/>
                    <a:pt x="51" y="573"/>
                  </a:cubicBezTo>
                  <a:cubicBezTo>
                    <a:pt x="52" y="573"/>
                    <a:pt x="53" y="572"/>
                    <a:pt x="54" y="573"/>
                  </a:cubicBezTo>
                  <a:cubicBezTo>
                    <a:pt x="55" y="574"/>
                    <a:pt x="54" y="576"/>
                    <a:pt x="54" y="576"/>
                  </a:cubicBezTo>
                  <a:cubicBezTo>
                    <a:pt x="53" y="577"/>
                    <a:pt x="52" y="578"/>
                    <a:pt x="51" y="578"/>
                  </a:cubicBezTo>
                  <a:cubicBezTo>
                    <a:pt x="50" y="578"/>
                    <a:pt x="49" y="578"/>
                    <a:pt x="48" y="577"/>
                  </a:cubicBezTo>
                  <a:cubicBezTo>
                    <a:pt x="48" y="576"/>
                    <a:pt x="48" y="573"/>
                    <a:pt x="48" y="573"/>
                  </a:cubicBezTo>
                  <a:cubicBezTo>
                    <a:pt x="49" y="573"/>
                    <a:pt x="51" y="573"/>
                    <a:pt x="51" y="573"/>
                  </a:cubicBezTo>
                  <a:close/>
                  <a:moveTo>
                    <a:pt x="59" y="558"/>
                  </a:move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58"/>
                    <a:pt x="59" y="558"/>
                  </a:cubicBezTo>
                  <a:cubicBezTo>
                    <a:pt x="59" y="558"/>
                    <a:pt x="59" y="560"/>
                    <a:pt x="58" y="560"/>
                  </a:cubicBezTo>
                  <a:cubicBezTo>
                    <a:pt x="56" y="561"/>
                    <a:pt x="57" y="558"/>
                    <a:pt x="57" y="557"/>
                  </a:cubicBezTo>
                  <a:cubicBezTo>
                    <a:pt x="57" y="556"/>
                    <a:pt x="53" y="558"/>
                    <a:pt x="53" y="558"/>
                  </a:cubicBezTo>
                  <a:cubicBezTo>
                    <a:pt x="53" y="558"/>
                    <a:pt x="53" y="561"/>
                    <a:pt x="52" y="562"/>
                  </a:cubicBezTo>
                  <a:cubicBezTo>
                    <a:pt x="51" y="562"/>
                    <a:pt x="51" y="562"/>
                    <a:pt x="50" y="563"/>
                  </a:cubicBezTo>
                  <a:cubicBezTo>
                    <a:pt x="49" y="564"/>
                    <a:pt x="49" y="566"/>
                    <a:pt x="49" y="566"/>
                  </a:cubicBezTo>
                  <a:cubicBezTo>
                    <a:pt x="50" y="567"/>
                    <a:pt x="52" y="567"/>
                    <a:pt x="52" y="567"/>
                  </a:cubicBezTo>
                  <a:cubicBezTo>
                    <a:pt x="53" y="567"/>
                    <a:pt x="53" y="567"/>
                    <a:pt x="56" y="569"/>
                  </a:cubicBezTo>
                  <a:cubicBezTo>
                    <a:pt x="60" y="570"/>
                    <a:pt x="57" y="569"/>
                    <a:pt x="60" y="569"/>
                  </a:cubicBezTo>
                  <a:cubicBezTo>
                    <a:pt x="62" y="569"/>
                    <a:pt x="61" y="570"/>
                    <a:pt x="62" y="570"/>
                  </a:cubicBezTo>
                  <a:cubicBezTo>
                    <a:pt x="63" y="570"/>
                    <a:pt x="64" y="572"/>
                    <a:pt x="65" y="573"/>
                  </a:cubicBezTo>
                  <a:cubicBezTo>
                    <a:pt x="67" y="574"/>
                    <a:pt x="68" y="572"/>
                    <a:pt x="69" y="572"/>
                  </a:cubicBezTo>
                  <a:cubicBezTo>
                    <a:pt x="69" y="571"/>
                    <a:pt x="71" y="568"/>
                    <a:pt x="71" y="568"/>
                  </a:cubicBezTo>
                  <a:cubicBezTo>
                    <a:pt x="71" y="568"/>
                    <a:pt x="65" y="566"/>
                    <a:pt x="65" y="566"/>
                  </a:cubicBezTo>
                  <a:cubicBezTo>
                    <a:pt x="64" y="566"/>
                    <a:pt x="63" y="563"/>
                    <a:pt x="65" y="563"/>
                  </a:cubicBezTo>
                  <a:cubicBezTo>
                    <a:pt x="66" y="563"/>
                    <a:pt x="66" y="564"/>
                    <a:pt x="67" y="565"/>
                  </a:cubicBezTo>
                  <a:cubicBezTo>
                    <a:pt x="67" y="566"/>
                    <a:pt x="68" y="566"/>
                    <a:pt x="69" y="566"/>
                  </a:cubicBezTo>
                  <a:cubicBezTo>
                    <a:pt x="70" y="566"/>
                    <a:pt x="71" y="565"/>
                    <a:pt x="71" y="564"/>
                  </a:cubicBezTo>
                  <a:cubicBezTo>
                    <a:pt x="71" y="563"/>
                    <a:pt x="70" y="564"/>
                    <a:pt x="68" y="561"/>
                  </a:cubicBezTo>
                  <a:cubicBezTo>
                    <a:pt x="65" y="558"/>
                    <a:pt x="68" y="559"/>
                    <a:pt x="69" y="559"/>
                  </a:cubicBezTo>
                  <a:cubicBezTo>
                    <a:pt x="69" y="558"/>
                    <a:pt x="71" y="556"/>
                    <a:pt x="71" y="556"/>
                  </a:cubicBezTo>
                  <a:cubicBezTo>
                    <a:pt x="72" y="555"/>
                    <a:pt x="69" y="555"/>
                    <a:pt x="68" y="554"/>
                  </a:cubicBezTo>
                  <a:cubicBezTo>
                    <a:pt x="67" y="554"/>
                    <a:pt x="67" y="554"/>
                    <a:pt x="67" y="554"/>
                  </a:cubicBezTo>
                  <a:cubicBezTo>
                    <a:pt x="67" y="555"/>
                    <a:pt x="64" y="554"/>
                    <a:pt x="63" y="553"/>
                  </a:cubicBezTo>
                  <a:cubicBezTo>
                    <a:pt x="63" y="553"/>
                    <a:pt x="63" y="551"/>
                    <a:pt x="62" y="550"/>
                  </a:cubicBezTo>
                  <a:cubicBezTo>
                    <a:pt x="62" y="550"/>
                    <a:pt x="60" y="550"/>
                    <a:pt x="58" y="550"/>
                  </a:cubicBezTo>
                  <a:cubicBezTo>
                    <a:pt x="56" y="550"/>
                    <a:pt x="57" y="553"/>
                    <a:pt x="57" y="553"/>
                  </a:cubicBezTo>
                  <a:cubicBezTo>
                    <a:pt x="57" y="553"/>
                    <a:pt x="58" y="555"/>
                    <a:pt x="59" y="556"/>
                  </a:cubicBezTo>
                  <a:cubicBezTo>
                    <a:pt x="59" y="556"/>
                    <a:pt x="59" y="558"/>
                    <a:pt x="59" y="5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  <p:sp>
          <p:nvSpPr>
            <p:cNvPr id="76" name="Freeform 235"/>
            <p:cNvSpPr>
              <a:spLocks noEditPoints="1"/>
            </p:cNvSpPr>
            <p:nvPr/>
          </p:nvSpPr>
          <p:spPr bwMode="auto">
            <a:xfrm>
              <a:off x="7499310" y="3113658"/>
              <a:ext cx="1219210" cy="1500575"/>
            </a:xfrm>
            <a:custGeom>
              <a:avLst/>
              <a:gdLst>
                <a:gd name="T0" fmla="*/ 181 w 513"/>
                <a:gd name="T1" fmla="*/ 422 h 651"/>
                <a:gd name="T2" fmla="*/ 256 w 513"/>
                <a:gd name="T3" fmla="*/ 393 h 651"/>
                <a:gd name="T4" fmla="*/ 306 w 513"/>
                <a:gd name="T5" fmla="*/ 401 h 651"/>
                <a:gd name="T6" fmla="*/ 324 w 513"/>
                <a:gd name="T7" fmla="*/ 460 h 651"/>
                <a:gd name="T8" fmla="*/ 371 w 513"/>
                <a:gd name="T9" fmla="*/ 452 h 651"/>
                <a:gd name="T10" fmla="*/ 360 w 513"/>
                <a:gd name="T11" fmla="*/ 484 h 651"/>
                <a:gd name="T12" fmla="*/ 347 w 513"/>
                <a:gd name="T13" fmla="*/ 509 h 651"/>
                <a:gd name="T14" fmla="*/ 350 w 513"/>
                <a:gd name="T15" fmla="*/ 469 h 651"/>
                <a:gd name="T16" fmla="*/ 277 w 513"/>
                <a:gd name="T17" fmla="*/ 474 h 651"/>
                <a:gd name="T18" fmla="*/ 278 w 513"/>
                <a:gd name="T19" fmla="*/ 512 h 651"/>
                <a:gd name="T20" fmla="*/ 245 w 513"/>
                <a:gd name="T21" fmla="*/ 518 h 651"/>
                <a:gd name="T22" fmla="*/ 231 w 513"/>
                <a:gd name="T23" fmla="*/ 531 h 651"/>
                <a:gd name="T24" fmla="*/ 260 w 513"/>
                <a:gd name="T25" fmla="*/ 538 h 651"/>
                <a:gd name="T26" fmla="*/ 291 w 513"/>
                <a:gd name="T27" fmla="*/ 568 h 651"/>
                <a:gd name="T28" fmla="*/ 316 w 513"/>
                <a:gd name="T29" fmla="*/ 588 h 651"/>
                <a:gd name="T30" fmla="*/ 362 w 513"/>
                <a:gd name="T31" fmla="*/ 598 h 651"/>
                <a:gd name="T32" fmla="*/ 365 w 513"/>
                <a:gd name="T33" fmla="*/ 636 h 651"/>
                <a:gd name="T34" fmla="*/ 388 w 513"/>
                <a:gd name="T35" fmla="*/ 615 h 651"/>
                <a:gd name="T36" fmla="*/ 442 w 513"/>
                <a:gd name="T37" fmla="*/ 609 h 651"/>
                <a:gd name="T38" fmla="*/ 492 w 513"/>
                <a:gd name="T39" fmla="*/ 651 h 651"/>
                <a:gd name="T40" fmla="*/ 513 w 513"/>
                <a:gd name="T41" fmla="*/ 644 h 651"/>
                <a:gd name="T42" fmla="*/ 449 w 513"/>
                <a:gd name="T43" fmla="*/ 465 h 651"/>
                <a:gd name="T44" fmla="*/ 513 w 513"/>
                <a:gd name="T45" fmla="*/ 163 h 651"/>
                <a:gd name="T46" fmla="*/ 494 w 513"/>
                <a:gd name="T47" fmla="*/ 176 h 651"/>
                <a:gd name="T48" fmla="*/ 426 w 513"/>
                <a:gd name="T49" fmla="*/ 157 h 651"/>
                <a:gd name="T50" fmla="*/ 375 w 513"/>
                <a:gd name="T51" fmla="*/ 166 h 651"/>
                <a:gd name="T52" fmla="*/ 334 w 513"/>
                <a:gd name="T53" fmla="*/ 197 h 651"/>
                <a:gd name="T54" fmla="*/ 289 w 513"/>
                <a:gd name="T55" fmla="*/ 184 h 651"/>
                <a:gd name="T56" fmla="*/ 295 w 513"/>
                <a:gd name="T57" fmla="*/ 204 h 651"/>
                <a:gd name="T58" fmla="*/ 276 w 513"/>
                <a:gd name="T59" fmla="*/ 197 h 651"/>
                <a:gd name="T60" fmla="*/ 246 w 513"/>
                <a:gd name="T61" fmla="*/ 178 h 651"/>
                <a:gd name="T62" fmla="*/ 190 w 513"/>
                <a:gd name="T63" fmla="*/ 175 h 651"/>
                <a:gd name="T64" fmla="*/ 160 w 513"/>
                <a:gd name="T65" fmla="*/ 172 h 651"/>
                <a:gd name="T66" fmla="*/ 139 w 513"/>
                <a:gd name="T67" fmla="*/ 169 h 651"/>
                <a:gd name="T68" fmla="*/ 109 w 513"/>
                <a:gd name="T69" fmla="*/ 195 h 651"/>
                <a:gd name="T70" fmla="*/ 76 w 513"/>
                <a:gd name="T71" fmla="*/ 231 h 651"/>
                <a:gd name="T72" fmla="*/ 54 w 513"/>
                <a:gd name="T73" fmla="*/ 248 h 651"/>
                <a:gd name="T74" fmla="*/ 61 w 513"/>
                <a:gd name="T75" fmla="*/ 279 h 651"/>
                <a:gd name="T76" fmla="*/ 13 w 513"/>
                <a:gd name="T77" fmla="*/ 278 h 651"/>
                <a:gd name="T78" fmla="*/ 19 w 513"/>
                <a:gd name="T79" fmla="*/ 323 h 651"/>
                <a:gd name="T80" fmla="*/ 35 w 513"/>
                <a:gd name="T81" fmla="*/ 367 h 651"/>
                <a:gd name="T82" fmla="*/ 56 w 513"/>
                <a:gd name="T83" fmla="*/ 388 h 651"/>
                <a:gd name="T84" fmla="*/ 93 w 513"/>
                <a:gd name="T85" fmla="*/ 389 h 651"/>
                <a:gd name="T86" fmla="*/ 139 w 513"/>
                <a:gd name="T87" fmla="*/ 432 h 651"/>
                <a:gd name="T88" fmla="*/ 123 w 513"/>
                <a:gd name="T89" fmla="*/ 427 h 651"/>
                <a:gd name="T90" fmla="*/ 151 w 513"/>
                <a:gd name="T91" fmla="*/ 441 h 651"/>
                <a:gd name="T92" fmla="*/ 513 w 513"/>
                <a:gd name="T93" fmla="*/ 0 h 651"/>
                <a:gd name="T94" fmla="*/ 470 w 513"/>
                <a:gd name="T95" fmla="*/ 10 h 651"/>
                <a:gd name="T96" fmla="*/ 489 w 513"/>
                <a:gd name="T97" fmla="*/ 28 h 651"/>
                <a:gd name="T98" fmla="*/ 496 w 513"/>
                <a:gd name="T99" fmla="*/ 37 h 651"/>
                <a:gd name="T100" fmla="*/ 513 w 513"/>
                <a:gd name="T101" fmla="*/ 0 h 651"/>
                <a:gd name="T102" fmla="*/ 513 w 513"/>
                <a:gd name="T103" fmla="*/ 49 h 651"/>
                <a:gd name="T104" fmla="*/ 479 w 513"/>
                <a:gd name="T105" fmla="*/ 65 h 651"/>
                <a:gd name="T106" fmla="*/ 491 w 513"/>
                <a:gd name="T107" fmla="*/ 93 h 651"/>
                <a:gd name="T108" fmla="*/ 489 w 513"/>
                <a:gd name="T109" fmla="*/ 110 h 651"/>
                <a:gd name="T110" fmla="*/ 513 w 513"/>
                <a:gd name="T111" fmla="*/ 11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13" h="651">
                  <a:moveTo>
                    <a:pt x="151" y="441"/>
                  </a:moveTo>
                  <a:cubicBezTo>
                    <a:pt x="181" y="422"/>
                    <a:pt x="181" y="422"/>
                    <a:pt x="181" y="422"/>
                  </a:cubicBezTo>
                  <a:cubicBezTo>
                    <a:pt x="217" y="395"/>
                    <a:pt x="217" y="395"/>
                    <a:pt x="217" y="395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66" y="395"/>
                    <a:pt x="269" y="402"/>
                    <a:pt x="287" y="388"/>
                  </a:cubicBezTo>
                  <a:cubicBezTo>
                    <a:pt x="306" y="401"/>
                    <a:pt x="306" y="401"/>
                    <a:pt x="306" y="401"/>
                  </a:cubicBezTo>
                  <a:cubicBezTo>
                    <a:pt x="318" y="425"/>
                    <a:pt x="318" y="425"/>
                    <a:pt x="318" y="425"/>
                  </a:cubicBezTo>
                  <a:cubicBezTo>
                    <a:pt x="324" y="460"/>
                    <a:pt x="324" y="460"/>
                    <a:pt x="324" y="460"/>
                  </a:cubicBezTo>
                  <a:cubicBezTo>
                    <a:pt x="352" y="460"/>
                    <a:pt x="352" y="460"/>
                    <a:pt x="352" y="460"/>
                  </a:cubicBezTo>
                  <a:cubicBezTo>
                    <a:pt x="371" y="452"/>
                    <a:pt x="371" y="452"/>
                    <a:pt x="371" y="452"/>
                  </a:cubicBezTo>
                  <a:cubicBezTo>
                    <a:pt x="384" y="463"/>
                    <a:pt x="381" y="459"/>
                    <a:pt x="384" y="468"/>
                  </a:cubicBezTo>
                  <a:cubicBezTo>
                    <a:pt x="372" y="478"/>
                    <a:pt x="374" y="476"/>
                    <a:pt x="360" y="484"/>
                  </a:cubicBezTo>
                  <a:cubicBezTo>
                    <a:pt x="354" y="508"/>
                    <a:pt x="354" y="508"/>
                    <a:pt x="354" y="508"/>
                  </a:cubicBezTo>
                  <a:cubicBezTo>
                    <a:pt x="347" y="509"/>
                    <a:pt x="347" y="509"/>
                    <a:pt x="347" y="509"/>
                  </a:cubicBezTo>
                  <a:cubicBezTo>
                    <a:pt x="347" y="485"/>
                    <a:pt x="345" y="494"/>
                    <a:pt x="356" y="472"/>
                  </a:cubicBezTo>
                  <a:cubicBezTo>
                    <a:pt x="350" y="469"/>
                    <a:pt x="350" y="469"/>
                    <a:pt x="350" y="469"/>
                  </a:cubicBezTo>
                  <a:cubicBezTo>
                    <a:pt x="320" y="469"/>
                    <a:pt x="320" y="469"/>
                    <a:pt x="320" y="469"/>
                  </a:cubicBezTo>
                  <a:cubicBezTo>
                    <a:pt x="293" y="469"/>
                    <a:pt x="306" y="467"/>
                    <a:pt x="277" y="474"/>
                  </a:cubicBezTo>
                  <a:cubicBezTo>
                    <a:pt x="276" y="477"/>
                    <a:pt x="265" y="473"/>
                    <a:pt x="263" y="476"/>
                  </a:cubicBezTo>
                  <a:cubicBezTo>
                    <a:pt x="250" y="497"/>
                    <a:pt x="245" y="502"/>
                    <a:pt x="278" y="512"/>
                  </a:cubicBezTo>
                  <a:cubicBezTo>
                    <a:pt x="274" y="523"/>
                    <a:pt x="274" y="523"/>
                    <a:pt x="274" y="523"/>
                  </a:cubicBezTo>
                  <a:cubicBezTo>
                    <a:pt x="260" y="515"/>
                    <a:pt x="267" y="517"/>
                    <a:pt x="245" y="518"/>
                  </a:cubicBezTo>
                  <a:cubicBezTo>
                    <a:pt x="231" y="519"/>
                    <a:pt x="231" y="519"/>
                    <a:pt x="231" y="519"/>
                  </a:cubicBezTo>
                  <a:cubicBezTo>
                    <a:pt x="231" y="531"/>
                    <a:pt x="231" y="531"/>
                    <a:pt x="231" y="531"/>
                  </a:cubicBezTo>
                  <a:cubicBezTo>
                    <a:pt x="246" y="530"/>
                    <a:pt x="246" y="530"/>
                    <a:pt x="246" y="530"/>
                  </a:cubicBezTo>
                  <a:cubicBezTo>
                    <a:pt x="260" y="538"/>
                    <a:pt x="260" y="538"/>
                    <a:pt x="260" y="538"/>
                  </a:cubicBezTo>
                  <a:cubicBezTo>
                    <a:pt x="269" y="548"/>
                    <a:pt x="269" y="548"/>
                    <a:pt x="269" y="548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306" y="584"/>
                    <a:pt x="305" y="583"/>
                    <a:pt x="316" y="588"/>
                  </a:cubicBezTo>
                  <a:cubicBezTo>
                    <a:pt x="334" y="596"/>
                    <a:pt x="337" y="593"/>
                    <a:pt x="358" y="589"/>
                  </a:cubicBezTo>
                  <a:cubicBezTo>
                    <a:pt x="362" y="598"/>
                    <a:pt x="362" y="598"/>
                    <a:pt x="362" y="598"/>
                  </a:cubicBezTo>
                  <a:cubicBezTo>
                    <a:pt x="362" y="618"/>
                    <a:pt x="362" y="618"/>
                    <a:pt x="362" y="618"/>
                  </a:cubicBezTo>
                  <a:cubicBezTo>
                    <a:pt x="365" y="636"/>
                    <a:pt x="365" y="636"/>
                    <a:pt x="365" y="636"/>
                  </a:cubicBezTo>
                  <a:cubicBezTo>
                    <a:pt x="381" y="626"/>
                    <a:pt x="381" y="626"/>
                    <a:pt x="381" y="626"/>
                  </a:cubicBezTo>
                  <a:cubicBezTo>
                    <a:pt x="388" y="615"/>
                    <a:pt x="388" y="615"/>
                    <a:pt x="388" y="615"/>
                  </a:cubicBezTo>
                  <a:cubicBezTo>
                    <a:pt x="413" y="607"/>
                    <a:pt x="413" y="607"/>
                    <a:pt x="413" y="607"/>
                  </a:cubicBezTo>
                  <a:cubicBezTo>
                    <a:pt x="442" y="609"/>
                    <a:pt x="442" y="609"/>
                    <a:pt x="442" y="609"/>
                  </a:cubicBezTo>
                  <a:cubicBezTo>
                    <a:pt x="442" y="610"/>
                    <a:pt x="477" y="632"/>
                    <a:pt x="482" y="637"/>
                  </a:cubicBezTo>
                  <a:cubicBezTo>
                    <a:pt x="486" y="642"/>
                    <a:pt x="492" y="651"/>
                    <a:pt x="492" y="651"/>
                  </a:cubicBezTo>
                  <a:cubicBezTo>
                    <a:pt x="511" y="646"/>
                    <a:pt x="511" y="646"/>
                    <a:pt x="511" y="646"/>
                  </a:cubicBezTo>
                  <a:cubicBezTo>
                    <a:pt x="513" y="644"/>
                    <a:pt x="513" y="644"/>
                    <a:pt x="513" y="644"/>
                  </a:cubicBezTo>
                  <a:cubicBezTo>
                    <a:pt x="513" y="618"/>
                    <a:pt x="513" y="618"/>
                    <a:pt x="513" y="618"/>
                  </a:cubicBezTo>
                  <a:cubicBezTo>
                    <a:pt x="449" y="465"/>
                    <a:pt x="449" y="465"/>
                    <a:pt x="449" y="465"/>
                  </a:cubicBezTo>
                  <a:cubicBezTo>
                    <a:pt x="513" y="436"/>
                    <a:pt x="513" y="436"/>
                    <a:pt x="513" y="436"/>
                  </a:cubicBezTo>
                  <a:cubicBezTo>
                    <a:pt x="513" y="163"/>
                    <a:pt x="513" y="163"/>
                    <a:pt x="513" y="163"/>
                  </a:cubicBezTo>
                  <a:cubicBezTo>
                    <a:pt x="510" y="163"/>
                    <a:pt x="506" y="164"/>
                    <a:pt x="501" y="164"/>
                  </a:cubicBezTo>
                  <a:cubicBezTo>
                    <a:pt x="494" y="176"/>
                    <a:pt x="494" y="176"/>
                    <a:pt x="494" y="176"/>
                  </a:cubicBezTo>
                  <a:cubicBezTo>
                    <a:pt x="443" y="167"/>
                    <a:pt x="443" y="167"/>
                    <a:pt x="443" y="167"/>
                  </a:cubicBezTo>
                  <a:cubicBezTo>
                    <a:pt x="426" y="157"/>
                    <a:pt x="426" y="157"/>
                    <a:pt x="426" y="157"/>
                  </a:cubicBezTo>
                  <a:cubicBezTo>
                    <a:pt x="413" y="166"/>
                    <a:pt x="416" y="162"/>
                    <a:pt x="405" y="174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56" y="175"/>
                    <a:pt x="356" y="175"/>
                    <a:pt x="356" y="175"/>
                  </a:cubicBezTo>
                  <a:cubicBezTo>
                    <a:pt x="334" y="197"/>
                    <a:pt x="334" y="197"/>
                    <a:pt x="334" y="197"/>
                  </a:cubicBezTo>
                  <a:cubicBezTo>
                    <a:pt x="297" y="195"/>
                    <a:pt x="297" y="195"/>
                    <a:pt x="297" y="195"/>
                  </a:cubicBezTo>
                  <a:cubicBezTo>
                    <a:pt x="289" y="184"/>
                    <a:pt x="289" y="184"/>
                    <a:pt x="289" y="18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95" y="204"/>
                    <a:pt x="295" y="204"/>
                    <a:pt x="295" y="204"/>
                  </a:cubicBezTo>
                  <a:cubicBezTo>
                    <a:pt x="281" y="211"/>
                    <a:pt x="281" y="211"/>
                    <a:pt x="281" y="211"/>
                  </a:cubicBezTo>
                  <a:cubicBezTo>
                    <a:pt x="276" y="197"/>
                    <a:pt x="276" y="197"/>
                    <a:pt x="276" y="197"/>
                  </a:cubicBezTo>
                  <a:cubicBezTo>
                    <a:pt x="264" y="182"/>
                    <a:pt x="264" y="182"/>
                    <a:pt x="264" y="182"/>
                  </a:cubicBezTo>
                  <a:cubicBezTo>
                    <a:pt x="246" y="178"/>
                    <a:pt x="246" y="178"/>
                    <a:pt x="246" y="178"/>
                  </a:cubicBezTo>
                  <a:cubicBezTo>
                    <a:pt x="236" y="171"/>
                    <a:pt x="236" y="171"/>
                    <a:pt x="236" y="171"/>
                  </a:cubicBezTo>
                  <a:cubicBezTo>
                    <a:pt x="234" y="170"/>
                    <a:pt x="197" y="174"/>
                    <a:pt x="190" y="175"/>
                  </a:cubicBezTo>
                  <a:cubicBezTo>
                    <a:pt x="181" y="169"/>
                    <a:pt x="180" y="169"/>
                    <a:pt x="170" y="164"/>
                  </a:cubicBezTo>
                  <a:cubicBezTo>
                    <a:pt x="160" y="172"/>
                    <a:pt x="160" y="172"/>
                    <a:pt x="160" y="172"/>
                  </a:cubicBezTo>
                  <a:cubicBezTo>
                    <a:pt x="160" y="172"/>
                    <a:pt x="155" y="181"/>
                    <a:pt x="147" y="181"/>
                  </a:cubicBezTo>
                  <a:cubicBezTo>
                    <a:pt x="138" y="181"/>
                    <a:pt x="139" y="169"/>
                    <a:pt x="139" y="169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09" y="195"/>
                    <a:pt x="109" y="195"/>
                    <a:pt x="109" y="195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76" y="231"/>
                    <a:pt x="76" y="231"/>
                    <a:pt x="76" y="231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4" y="248"/>
                    <a:pt x="54" y="248"/>
                    <a:pt x="54" y="248"/>
                  </a:cubicBezTo>
                  <a:cubicBezTo>
                    <a:pt x="77" y="268"/>
                    <a:pt x="77" y="268"/>
                    <a:pt x="77" y="268"/>
                  </a:cubicBezTo>
                  <a:cubicBezTo>
                    <a:pt x="61" y="279"/>
                    <a:pt x="61" y="279"/>
                    <a:pt x="61" y="279"/>
                  </a:cubicBezTo>
                  <a:cubicBezTo>
                    <a:pt x="37" y="254"/>
                    <a:pt x="46" y="273"/>
                    <a:pt x="16" y="250"/>
                  </a:cubicBezTo>
                  <a:cubicBezTo>
                    <a:pt x="11" y="268"/>
                    <a:pt x="10" y="263"/>
                    <a:pt x="13" y="278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7" y="314"/>
                    <a:pt x="2" y="305"/>
                    <a:pt x="19" y="323"/>
                  </a:cubicBezTo>
                  <a:cubicBezTo>
                    <a:pt x="9" y="344"/>
                    <a:pt x="11" y="335"/>
                    <a:pt x="12" y="360"/>
                  </a:cubicBezTo>
                  <a:cubicBezTo>
                    <a:pt x="35" y="367"/>
                    <a:pt x="35" y="367"/>
                    <a:pt x="35" y="367"/>
                  </a:cubicBezTo>
                  <a:cubicBezTo>
                    <a:pt x="41" y="381"/>
                    <a:pt x="41" y="381"/>
                    <a:pt x="41" y="381"/>
                  </a:cubicBezTo>
                  <a:cubicBezTo>
                    <a:pt x="56" y="388"/>
                    <a:pt x="56" y="388"/>
                    <a:pt x="56" y="388"/>
                  </a:cubicBezTo>
                  <a:cubicBezTo>
                    <a:pt x="71" y="378"/>
                    <a:pt x="71" y="378"/>
                    <a:pt x="71" y="378"/>
                  </a:cubicBezTo>
                  <a:cubicBezTo>
                    <a:pt x="93" y="389"/>
                    <a:pt x="93" y="389"/>
                    <a:pt x="93" y="389"/>
                  </a:cubicBezTo>
                  <a:cubicBezTo>
                    <a:pt x="122" y="411"/>
                    <a:pt x="122" y="411"/>
                    <a:pt x="122" y="411"/>
                  </a:cubicBezTo>
                  <a:cubicBezTo>
                    <a:pt x="139" y="432"/>
                    <a:pt x="139" y="432"/>
                    <a:pt x="139" y="432"/>
                  </a:cubicBezTo>
                  <a:cubicBezTo>
                    <a:pt x="129" y="424"/>
                    <a:pt x="129" y="424"/>
                    <a:pt x="129" y="424"/>
                  </a:cubicBezTo>
                  <a:cubicBezTo>
                    <a:pt x="123" y="427"/>
                    <a:pt x="123" y="427"/>
                    <a:pt x="123" y="427"/>
                  </a:cubicBezTo>
                  <a:cubicBezTo>
                    <a:pt x="127" y="434"/>
                    <a:pt x="127" y="434"/>
                    <a:pt x="127" y="434"/>
                  </a:cubicBezTo>
                  <a:cubicBezTo>
                    <a:pt x="151" y="441"/>
                    <a:pt x="151" y="441"/>
                    <a:pt x="151" y="441"/>
                  </a:cubicBezTo>
                  <a:close/>
                  <a:moveTo>
                    <a:pt x="513" y="0"/>
                  </a:moveTo>
                  <a:cubicBezTo>
                    <a:pt x="513" y="0"/>
                    <a:pt x="513" y="0"/>
                    <a:pt x="513" y="0"/>
                  </a:cubicBezTo>
                  <a:cubicBezTo>
                    <a:pt x="499" y="5"/>
                    <a:pt x="499" y="5"/>
                    <a:pt x="499" y="5"/>
                  </a:cubicBezTo>
                  <a:cubicBezTo>
                    <a:pt x="497" y="5"/>
                    <a:pt x="469" y="1"/>
                    <a:pt x="470" y="10"/>
                  </a:cubicBezTo>
                  <a:cubicBezTo>
                    <a:pt x="471" y="15"/>
                    <a:pt x="476" y="16"/>
                    <a:pt x="476" y="16"/>
                  </a:cubicBezTo>
                  <a:cubicBezTo>
                    <a:pt x="489" y="28"/>
                    <a:pt x="489" y="28"/>
                    <a:pt x="489" y="28"/>
                  </a:cubicBezTo>
                  <a:cubicBezTo>
                    <a:pt x="488" y="35"/>
                    <a:pt x="488" y="35"/>
                    <a:pt x="488" y="35"/>
                  </a:cubicBezTo>
                  <a:cubicBezTo>
                    <a:pt x="496" y="37"/>
                    <a:pt x="496" y="37"/>
                    <a:pt x="496" y="37"/>
                  </a:cubicBezTo>
                  <a:cubicBezTo>
                    <a:pt x="513" y="37"/>
                    <a:pt x="513" y="37"/>
                    <a:pt x="513" y="37"/>
                  </a:cubicBezTo>
                  <a:cubicBezTo>
                    <a:pt x="513" y="0"/>
                    <a:pt x="513" y="0"/>
                    <a:pt x="513" y="0"/>
                  </a:cubicBezTo>
                  <a:close/>
                  <a:moveTo>
                    <a:pt x="513" y="49"/>
                  </a:moveTo>
                  <a:cubicBezTo>
                    <a:pt x="513" y="49"/>
                    <a:pt x="513" y="49"/>
                    <a:pt x="513" y="49"/>
                  </a:cubicBezTo>
                  <a:cubicBezTo>
                    <a:pt x="503" y="50"/>
                    <a:pt x="492" y="52"/>
                    <a:pt x="490" y="53"/>
                  </a:cubicBezTo>
                  <a:cubicBezTo>
                    <a:pt x="479" y="65"/>
                    <a:pt x="479" y="65"/>
                    <a:pt x="479" y="65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1" y="93"/>
                    <a:pt x="491" y="93"/>
                    <a:pt x="491" y="93"/>
                  </a:cubicBezTo>
                  <a:cubicBezTo>
                    <a:pt x="480" y="101"/>
                    <a:pt x="480" y="101"/>
                    <a:pt x="480" y="101"/>
                  </a:cubicBezTo>
                  <a:cubicBezTo>
                    <a:pt x="489" y="110"/>
                    <a:pt x="489" y="110"/>
                    <a:pt x="489" y="110"/>
                  </a:cubicBezTo>
                  <a:cubicBezTo>
                    <a:pt x="505" y="110"/>
                    <a:pt x="505" y="110"/>
                    <a:pt x="505" y="110"/>
                  </a:cubicBezTo>
                  <a:cubicBezTo>
                    <a:pt x="513" y="116"/>
                    <a:pt x="513" y="116"/>
                    <a:pt x="513" y="116"/>
                  </a:cubicBezTo>
                  <a:lnTo>
                    <a:pt x="513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90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91421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dirty="0">
                <a:latin typeface="Lato Light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712902" y="1452911"/>
            <a:ext cx="41400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КОН ПРО НАЦІОНАЛЬНИЙ БАНК </a:t>
            </a:r>
          </a:p>
          <a:p>
            <a:pPr lvl="0" algn="just">
              <a:spcAft>
                <a:spcPts val="0"/>
              </a:spcAft>
            </a:pP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200" b="1" dirty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t of National Bank</a:t>
            </a:r>
            <a:r>
              <a:rPr lang="uk-UA" sz="1200" b="1" dirty="0" smtClean="0">
                <a:solidFill>
                  <a:srgbClr val="FF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:</a:t>
            </a:r>
            <a:endParaRPr lang="uk-UA" sz="12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k-UA" sz="1200" b="1" dirty="0" smtClean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ПОВНОВАЖЕННЯ</a:t>
            </a:r>
            <a:r>
              <a:rPr lang="uk-UA" sz="1200" b="1" dirty="0">
                <a:solidFill>
                  <a:srgbClr val="91CA64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</a:t>
            </a:r>
          </a:p>
          <a:p>
            <a:pPr algn="just">
              <a:spcAft>
                <a:spcPts val="0"/>
              </a:spcAft>
            </a:pPr>
            <a:endParaRPr lang="uk-UA" sz="1200" dirty="0" smtClean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Національний банк Хорватії (НБХ) має визначати та запроваджувати монетарну </a:t>
            </a:r>
            <a:r>
              <a:rPr lang="uk-UA" sz="1200" b="1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та валютну політику</a:t>
            </a: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;</a:t>
            </a: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latin typeface="Calibri" panose="020F0502020204030204" pitchFamily="34" charset="0"/>
              <a:ea typeface="Calibri" panose="020F0502020204030204" pitchFamily="34" charset="0"/>
              <a:cs typeface="TimesNewRomanPSMT"/>
            </a:endParaRP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На підставі пункту (1) НБХ має, з метою запровадження певної монетарної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та валютної політики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, запроваджувати заходи та інструменти, необхідні для регулювання кредитну діяльність та ліквідність фінансових інституцій, так само як і забезпечення коштами, та застосовувати заходи щодо відсоткових ставок </a:t>
            </a:r>
            <a:r>
              <a:rPr lang="uk-UA" sz="1200" b="1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та обмінного курсу </a:t>
            </a:r>
            <a:r>
              <a:rPr lang="uk-UA" sz="12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національної валюти;</a:t>
            </a: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НБХ повинен мати право запроваджувати </a:t>
            </a:r>
            <a:r>
              <a:rPr lang="uk-UA" sz="1200" b="1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підзаконні нормативні акти та інше законодавство</a:t>
            </a: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, що регулює валютні операції юридичних та фізичних осіб;</a:t>
            </a: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latin typeface="Calibri" panose="020F0502020204030204" pitchFamily="34" charset="0"/>
              <a:ea typeface="Calibri" panose="020F0502020204030204" pitchFamily="34" charset="0"/>
              <a:cs typeface="TimesNewRomanPSMT"/>
            </a:endParaRP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НБХ повинен запроваджувати кон</a:t>
            </a:r>
            <a:r>
              <a:rPr lang="uk-UA" sz="1200" b="1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троль над валютними операціями</a:t>
            </a: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 в країні відповідно до законодавства;</a:t>
            </a: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endParaRPr lang="uk-UA" sz="1200" dirty="0" smtClean="0">
              <a:latin typeface="Calibri" panose="020F0502020204030204" pitchFamily="34" charset="0"/>
              <a:ea typeface="Calibri" panose="020F0502020204030204" pitchFamily="34" charset="0"/>
              <a:cs typeface="TimesNewRomanPSMT"/>
            </a:endParaRPr>
          </a:p>
          <a:p>
            <a:pPr marL="228600" indent="-228600">
              <a:spcAft>
                <a:spcPts val="0"/>
              </a:spcAft>
              <a:buFont typeface="+mj-lt"/>
              <a:buAutoNum type="arabicParenR"/>
            </a:pP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НБХ повинен мати право запроваджувати метод </a:t>
            </a:r>
            <a:r>
              <a:rPr lang="uk-UA" sz="1200" b="1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встановлення курсу </a:t>
            </a:r>
            <a:r>
              <a:rPr lang="uk-UA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NewRomanPSMT"/>
              </a:rPr>
              <a:t>національної валюти до інших валют.</a:t>
            </a:r>
            <a:endParaRPr lang="uk-UA" sz="12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9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71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Вільний рух капіталу в стратегії НБУ </a:t>
            </a:r>
            <a:endParaRPr lang="uk-UA" sz="1800" dirty="0"/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9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76" y="1160140"/>
            <a:ext cx="7755515" cy="504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Овал 3"/>
          <p:cNvSpPr/>
          <p:nvPr/>
        </p:nvSpPr>
        <p:spPr>
          <a:xfrm>
            <a:off x="5292000" y="3789000"/>
            <a:ext cx="1620000" cy="9000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4290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63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 smtClean="0"/>
              <a:t>Вільний рух капіталу в стратегії НБУ </a:t>
            </a:r>
            <a:endParaRPr lang="uk-UA" sz="1800" dirty="0"/>
          </a:p>
        </p:txBody>
      </p:sp>
      <p:sp>
        <p:nvSpPr>
          <p:cNvPr id="5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29910" y="6389007"/>
            <a:ext cx="676644" cy="37912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uk-UA" sz="1100" dirty="0" smtClean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19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40" y="1094709"/>
            <a:ext cx="8140223" cy="52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940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Прямоугольник 129"/>
          <p:cNvSpPr/>
          <p:nvPr/>
        </p:nvSpPr>
        <p:spPr bwMode="auto">
          <a:xfrm>
            <a:off x="5859000" y="1559250"/>
            <a:ext cx="3132000" cy="40365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792000" y="360000"/>
            <a:ext cx="7920000" cy="72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spcBef>
                <a:spcPct val="0"/>
              </a:spcBef>
              <a:buNone/>
              <a:defRPr b="1">
                <a:latin typeface="+mj-lt"/>
                <a:ea typeface="+mj-ea"/>
                <a:cs typeface="+mj-cs"/>
              </a:defRPr>
            </a:lvl1pPr>
          </a:lstStyle>
          <a:p>
            <a:r>
              <a:rPr lang="uk-UA" dirty="0"/>
              <a:t>Проблема: законодавство складне, заплутане та суперечливе. Вирішення: потрібен новий закон – єдиний, рамковий, простий</a:t>
            </a:r>
          </a:p>
        </p:txBody>
      </p:sp>
      <p:grpSp>
        <p:nvGrpSpPr>
          <p:cNvPr id="126" name="Группа 125"/>
          <p:cNvGrpSpPr/>
          <p:nvPr/>
        </p:nvGrpSpPr>
        <p:grpSpPr>
          <a:xfrm>
            <a:off x="263615" y="2058749"/>
            <a:ext cx="4992092" cy="3608541"/>
            <a:chOff x="11678" y="1295342"/>
            <a:chExt cx="6900593" cy="5033637"/>
          </a:xfrm>
        </p:grpSpPr>
        <p:cxnSp>
          <p:nvCxnSpPr>
            <p:cNvPr id="27" name="Straight Connector 181"/>
            <p:cNvCxnSpPr>
              <a:stCxn id="66" idx="6"/>
              <a:endCxn id="45" idx="2"/>
            </p:cNvCxnSpPr>
            <p:nvPr/>
          </p:nvCxnSpPr>
          <p:spPr>
            <a:xfrm flipV="1">
              <a:off x="3483300" y="5433766"/>
              <a:ext cx="264091" cy="247236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80"/>
            <p:cNvCxnSpPr>
              <a:stCxn id="58" idx="6"/>
              <a:endCxn id="47" idx="2"/>
            </p:cNvCxnSpPr>
            <p:nvPr/>
          </p:nvCxnSpPr>
          <p:spPr>
            <a:xfrm>
              <a:off x="2166716" y="4410216"/>
              <a:ext cx="141740" cy="184758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177"/>
            <p:cNvCxnSpPr>
              <a:stCxn id="60" idx="5"/>
              <a:endCxn id="64" idx="1"/>
            </p:cNvCxnSpPr>
            <p:nvPr/>
          </p:nvCxnSpPr>
          <p:spPr>
            <a:xfrm>
              <a:off x="864945" y="5185817"/>
              <a:ext cx="179904" cy="285901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63"/>
            <p:cNvCxnSpPr/>
            <p:nvPr/>
          </p:nvCxnSpPr>
          <p:spPr>
            <a:xfrm flipH="1" flipV="1">
              <a:off x="5680182" y="2443388"/>
              <a:ext cx="0" cy="2488206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61"/>
            <p:cNvCxnSpPr>
              <a:endCxn id="83" idx="5"/>
            </p:cNvCxnSpPr>
            <p:nvPr/>
          </p:nvCxnSpPr>
          <p:spPr>
            <a:xfrm flipH="1" flipV="1">
              <a:off x="5113943" y="4174993"/>
              <a:ext cx="290967" cy="365660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60"/>
            <p:cNvCxnSpPr/>
            <p:nvPr/>
          </p:nvCxnSpPr>
          <p:spPr>
            <a:xfrm flipV="1">
              <a:off x="4718162" y="2765833"/>
              <a:ext cx="745331" cy="777327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14"/>
            <p:cNvCxnSpPr>
              <a:stCxn id="45" idx="0"/>
              <a:endCxn id="43" idx="4"/>
            </p:cNvCxnSpPr>
            <p:nvPr/>
          </p:nvCxnSpPr>
          <p:spPr>
            <a:xfrm flipH="1" flipV="1">
              <a:off x="4237116" y="2543181"/>
              <a:ext cx="7905" cy="2388412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Группа 59"/>
            <p:cNvGrpSpPr/>
            <p:nvPr/>
          </p:nvGrpSpPr>
          <p:grpSpPr>
            <a:xfrm rot="5400000">
              <a:off x="3207834" y="2773910"/>
              <a:ext cx="2023613" cy="1788605"/>
              <a:chOff x="3223340" y="2263458"/>
              <a:chExt cx="1217950" cy="1019350"/>
            </a:xfrm>
          </p:grpSpPr>
          <p:sp>
            <p:nvSpPr>
              <p:cNvPr id="83" name="AutoShape 3"/>
              <p:cNvSpPr>
                <a:spLocks noChangeArrowheads="1"/>
              </p:cNvSpPr>
              <p:nvPr/>
            </p:nvSpPr>
            <p:spPr bwMode="auto">
              <a:xfrm>
                <a:off x="3223340" y="2263458"/>
                <a:ext cx="1217950" cy="1019350"/>
              </a:xfrm>
              <a:prstGeom prst="hexagon">
                <a:avLst>
                  <a:gd name="adj" fmla="val 29819"/>
                  <a:gd name="vf" fmla="val 115470"/>
                </a:avLst>
              </a:prstGeom>
              <a:solidFill>
                <a:srgbClr val="FEC903"/>
              </a:solidFill>
              <a:ln w="25400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noAutofit/>
              </a:bodyPr>
              <a:lstStyle/>
              <a:p>
                <a:endParaRPr lang="uk-UA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Rectangle 11"/>
              <p:cNvSpPr>
                <a:spLocks noChangeArrowheads="1"/>
              </p:cNvSpPr>
              <p:nvPr/>
            </p:nvSpPr>
            <p:spPr bwMode="auto">
              <a:xfrm rot="16200000">
                <a:off x="3362960" y="2326366"/>
                <a:ext cx="1017285" cy="891470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Декрет КМУ </a:t>
                </a:r>
              </a:p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(1993 р.) </a:t>
                </a:r>
              </a:p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«Про </a:t>
                </a:r>
                <a:br>
                  <a:rPr lang="uk-UA" altLang="de-DE" sz="90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uk-UA" altLang="de-D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систему валютного регулювання і валютного </a:t>
                </a:r>
                <a:endParaRPr lang="uk-UA" altLang="de-DE" sz="9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9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контролю</a:t>
                </a:r>
                <a:r>
                  <a:rPr lang="uk-UA" altLang="de-DE" sz="900" dirty="0">
                    <a:latin typeface="Arial" panose="020B0604020202020204" pitchFamily="34" charset="0"/>
                    <a:cs typeface="Arial" panose="020B0604020202020204" pitchFamily="34" charset="0"/>
                  </a:rPr>
                  <a:t>»</a:t>
                </a:r>
              </a:p>
            </p:txBody>
          </p:sp>
        </p:grpSp>
        <p:sp>
          <p:nvSpPr>
            <p:cNvPr id="37" name="Овал 69"/>
            <p:cNvSpPr/>
            <p:nvPr/>
          </p:nvSpPr>
          <p:spPr>
            <a:xfrm>
              <a:off x="5890541" y="3230544"/>
              <a:ext cx="995259" cy="1004345"/>
            </a:xfrm>
            <a:prstGeom prst="ellipse">
              <a:avLst/>
            </a:prstGeom>
            <a:solidFill>
              <a:srgbClr val="00B050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7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Прямоугольник 77"/>
            <p:cNvSpPr/>
            <p:nvPr/>
          </p:nvSpPr>
          <p:spPr>
            <a:xfrm>
              <a:off x="5881027" y="3477357"/>
              <a:ext cx="1031244" cy="45079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оження № 281</a:t>
              </a:r>
            </a:p>
          </p:txBody>
        </p:sp>
        <p:sp>
          <p:nvSpPr>
            <p:cNvPr id="39" name="Овал 62"/>
            <p:cNvSpPr/>
            <p:nvPr/>
          </p:nvSpPr>
          <p:spPr>
            <a:xfrm>
              <a:off x="5204172" y="1899965"/>
              <a:ext cx="995260" cy="1004345"/>
            </a:xfrm>
            <a:prstGeom prst="ellipse">
              <a:avLst/>
            </a:prstGeom>
            <a:solidFill>
              <a:srgbClr val="1C7A3B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Прямоугольник 78"/>
            <p:cNvSpPr/>
            <p:nvPr/>
          </p:nvSpPr>
          <p:spPr>
            <a:xfrm>
              <a:off x="5219544" y="2030218"/>
              <a:ext cx="960456" cy="611788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"Про банки і </a:t>
              </a:r>
              <a:r>
                <a:rPr lang="uk-UA" altLang="de-DE" sz="7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нк. </a:t>
              </a: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</a:t>
              </a:r>
              <a:r>
                <a:rPr lang="uk-UA" altLang="de-DE" sz="7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uk-UA" altLang="de-DE" sz="750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ь</a:t>
              </a: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</a:p>
          </p:txBody>
        </p:sp>
        <p:sp>
          <p:nvSpPr>
            <p:cNvPr id="41" name="Овал 63"/>
            <p:cNvSpPr/>
            <p:nvPr/>
          </p:nvSpPr>
          <p:spPr>
            <a:xfrm>
              <a:off x="5201377" y="4417396"/>
              <a:ext cx="995259" cy="1004345"/>
            </a:xfrm>
            <a:prstGeom prst="ellipse">
              <a:avLst/>
            </a:prstGeom>
            <a:solidFill>
              <a:srgbClr val="1C7A3B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Прямоугольник 79"/>
            <p:cNvSpPr/>
            <p:nvPr/>
          </p:nvSpPr>
          <p:spPr>
            <a:xfrm>
              <a:off x="5179973" y="4529888"/>
              <a:ext cx="1066058" cy="88011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altLang="de-DE" sz="7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</a:t>
              </a:r>
              <a:r>
                <a:rPr lang="uk-UA" altLang="de-DE" sz="7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ін. </a:t>
              </a:r>
              <a:r>
                <a:rPr lang="uk-UA" altLang="de-DE" sz="7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луги та </a:t>
              </a:r>
              <a:r>
                <a:rPr lang="uk-UA" altLang="de-DE" sz="700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рж</a:t>
              </a:r>
              <a:r>
                <a:rPr lang="uk-UA" altLang="de-DE" sz="7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uk-UA" altLang="de-DE" sz="700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г</a:t>
              </a:r>
              <a:r>
                <a:rPr lang="uk-UA" altLang="de-DE" sz="7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ня </a:t>
              </a:r>
              <a:r>
                <a:rPr lang="uk-UA" altLang="de-DE" sz="7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инків фін. послуг»</a:t>
              </a:r>
            </a:p>
          </p:txBody>
        </p:sp>
        <p:sp>
          <p:nvSpPr>
            <p:cNvPr id="43" name="Овал 2"/>
            <p:cNvSpPr/>
            <p:nvPr/>
          </p:nvSpPr>
          <p:spPr>
            <a:xfrm>
              <a:off x="3739486" y="1538837"/>
              <a:ext cx="995260" cy="1004345"/>
            </a:xfrm>
            <a:prstGeom prst="ellipse">
              <a:avLst/>
            </a:prstGeom>
            <a:solidFill>
              <a:srgbClr val="1C7A3B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Прямоугольник 7"/>
            <p:cNvSpPr/>
            <p:nvPr/>
          </p:nvSpPr>
          <p:spPr>
            <a:xfrm>
              <a:off x="3755692" y="1776428"/>
              <a:ext cx="960456" cy="45079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"Про </a:t>
              </a:r>
              <a:r>
                <a:rPr lang="uk-UA" altLang="de-DE" sz="75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БУ"</a:t>
              </a:r>
              <a:endParaRPr lang="uk-UA" altLang="de-DE" sz="7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Овал 64"/>
            <p:cNvSpPr/>
            <p:nvPr/>
          </p:nvSpPr>
          <p:spPr>
            <a:xfrm>
              <a:off x="3747391" y="4931594"/>
              <a:ext cx="995259" cy="1004345"/>
            </a:xfrm>
            <a:prstGeom prst="ellipse">
              <a:avLst/>
            </a:prstGeom>
            <a:solidFill>
              <a:srgbClr val="1C7A3B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Прямоугольник 80"/>
            <p:cNvSpPr/>
            <p:nvPr/>
          </p:nvSpPr>
          <p:spPr>
            <a:xfrm>
              <a:off x="3744597" y="5174003"/>
              <a:ext cx="960456" cy="45079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altLang="de-DE" sz="75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ЗЕД»</a:t>
              </a:r>
            </a:p>
          </p:txBody>
        </p:sp>
        <p:grpSp>
          <p:nvGrpSpPr>
            <p:cNvPr id="21" name="Группа 20"/>
            <p:cNvGrpSpPr/>
            <p:nvPr/>
          </p:nvGrpSpPr>
          <p:grpSpPr>
            <a:xfrm>
              <a:off x="2308456" y="4092801"/>
              <a:ext cx="995259" cy="1004344"/>
              <a:chOff x="3101997" y="3906129"/>
              <a:chExt cx="995259" cy="1004344"/>
            </a:xfrm>
          </p:grpSpPr>
          <p:sp>
            <p:nvSpPr>
              <p:cNvPr id="47" name="Овал 65"/>
              <p:cNvSpPr/>
              <p:nvPr/>
            </p:nvSpPr>
            <p:spPr>
              <a:xfrm>
                <a:off x="3101997" y="3906129"/>
                <a:ext cx="995259" cy="1004344"/>
              </a:xfrm>
              <a:prstGeom prst="ellipse">
                <a:avLst/>
              </a:prstGeom>
              <a:solidFill>
                <a:srgbClr val="1C7A3B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Прямоугольник 83"/>
              <p:cNvSpPr/>
              <p:nvPr/>
            </p:nvSpPr>
            <p:spPr>
              <a:xfrm>
                <a:off x="3111511" y="3935256"/>
                <a:ext cx="960456" cy="90158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У «Про порядок здійснення розрахунків в іноземній валюті»</a:t>
                </a:r>
              </a:p>
            </p:txBody>
          </p:sp>
        </p:grpSp>
        <p:grpSp>
          <p:nvGrpSpPr>
            <p:cNvPr id="7" name="Группа 6"/>
            <p:cNvGrpSpPr/>
            <p:nvPr/>
          </p:nvGrpSpPr>
          <p:grpSpPr>
            <a:xfrm>
              <a:off x="2501959" y="1805100"/>
              <a:ext cx="1023775" cy="1004345"/>
              <a:chOff x="2060180" y="1934651"/>
              <a:chExt cx="1023775" cy="1004345"/>
            </a:xfrm>
          </p:grpSpPr>
          <p:sp>
            <p:nvSpPr>
              <p:cNvPr id="50" name="Овал 76"/>
              <p:cNvSpPr/>
              <p:nvPr/>
            </p:nvSpPr>
            <p:spPr>
              <a:xfrm>
                <a:off x="2060180" y="1934651"/>
                <a:ext cx="995259" cy="1004345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Прямоугольник 85"/>
              <p:cNvSpPr/>
              <p:nvPr/>
            </p:nvSpPr>
            <p:spPr>
              <a:xfrm>
                <a:off x="2060180" y="2177062"/>
                <a:ext cx="1023775" cy="45079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7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ложення  № 281</a:t>
                </a: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1747004" y="2875297"/>
              <a:ext cx="1031920" cy="1033948"/>
              <a:chOff x="1305225" y="3004848"/>
              <a:chExt cx="1031920" cy="1033948"/>
            </a:xfrm>
          </p:grpSpPr>
          <p:sp>
            <p:nvSpPr>
              <p:cNvPr id="56" name="Овал 73"/>
              <p:cNvSpPr/>
              <p:nvPr/>
            </p:nvSpPr>
            <p:spPr>
              <a:xfrm>
                <a:off x="1305225" y="3004848"/>
                <a:ext cx="995260" cy="1004344"/>
              </a:xfrm>
              <a:prstGeom prst="ellipse">
                <a:avLst/>
              </a:prstGeom>
              <a:solidFill>
                <a:srgbClr val="1C7A3B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Прямоугольник 88"/>
              <p:cNvSpPr/>
              <p:nvPr/>
            </p:nvSpPr>
            <p:spPr>
              <a:xfrm>
                <a:off x="1319232" y="3105016"/>
                <a:ext cx="1017913" cy="9337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7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ложення про валютний контроль № 49</a:t>
                </a:r>
              </a:p>
            </p:txBody>
          </p:sp>
        </p:grpSp>
        <p:grpSp>
          <p:nvGrpSpPr>
            <p:cNvPr id="87" name="Группа 86"/>
            <p:cNvGrpSpPr/>
            <p:nvPr/>
          </p:nvGrpSpPr>
          <p:grpSpPr>
            <a:xfrm>
              <a:off x="1164313" y="3908044"/>
              <a:ext cx="1002403" cy="1004345"/>
              <a:chOff x="1874559" y="4340986"/>
              <a:chExt cx="1002403" cy="1004345"/>
            </a:xfrm>
          </p:grpSpPr>
          <p:sp>
            <p:nvSpPr>
              <p:cNvPr id="58" name="Овал 70"/>
              <p:cNvSpPr/>
              <p:nvPr/>
            </p:nvSpPr>
            <p:spPr>
              <a:xfrm>
                <a:off x="1881703" y="4340986"/>
                <a:ext cx="995259" cy="1004345"/>
              </a:xfrm>
              <a:prstGeom prst="ellipse">
                <a:avLst/>
              </a:prstGeom>
              <a:solidFill>
                <a:srgbClr val="00B050"/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75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Прямоугольник 89"/>
              <p:cNvSpPr/>
              <p:nvPr/>
            </p:nvSpPr>
            <p:spPr>
              <a:xfrm>
                <a:off x="1874559" y="4583397"/>
                <a:ext cx="960457" cy="45079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75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Інструкція     № 136</a:t>
                </a:r>
              </a:p>
            </p:txBody>
          </p:sp>
        </p:grpSp>
        <p:grpSp>
          <p:nvGrpSpPr>
            <p:cNvPr id="92" name="Группа 91"/>
            <p:cNvGrpSpPr/>
            <p:nvPr/>
          </p:nvGrpSpPr>
          <p:grpSpPr>
            <a:xfrm>
              <a:off x="11678" y="4328556"/>
              <a:ext cx="999020" cy="1061094"/>
              <a:chOff x="81172" y="4368765"/>
              <a:chExt cx="999020" cy="1061094"/>
            </a:xfrm>
          </p:grpSpPr>
          <p:sp>
            <p:nvSpPr>
              <p:cNvPr id="60" name="Овал 71"/>
              <p:cNvSpPr/>
              <p:nvPr/>
            </p:nvSpPr>
            <p:spPr>
              <a:xfrm>
                <a:off x="84932" y="4368765"/>
                <a:ext cx="995260" cy="1004345"/>
              </a:xfrm>
              <a:prstGeom prst="ellipse">
                <a:avLst/>
              </a:prstGeom>
              <a:solidFill>
                <a:schemeClr val="accent3">
                  <a:lumMod val="10000"/>
                  <a:lumOff val="90000"/>
                </a:schemeClr>
              </a:solidFill>
              <a:ln w="9525">
                <a:solidFill>
                  <a:srgbClr val="1C793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Прямоугольник 90"/>
              <p:cNvSpPr/>
              <p:nvPr/>
            </p:nvSpPr>
            <p:spPr>
              <a:xfrm>
                <a:off x="81172" y="4425515"/>
                <a:ext cx="995259" cy="1004344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600" dirty="0">
                    <a:latin typeface="Arial" panose="020B0604020202020204" pitchFamily="34" charset="0"/>
                    <a:cs typeface="Arial" panose="020B0604020202020204" pitchFamily="34" charset="0"/>
                  </a:rPr>
                  <a:t>Лист НБУ «Про порядок зняття операції з валютного контролю»</a:t>
                </a:r>
              </a:p>
            </p:txBody>
          </p:sp>
        </p:grpSp>
        <p:grpSp>
          <p:nvGrpSpPr>
            <p:cNvPr id="90" name="Группа 89"/>
            <p:cNvGrpSpPr/>
            <p:nvPr/>
          </p:nvGrpSpPr>
          <p:grpSpPr>
            <a:xfrm>
              <a:off x="899096" y="5324634"/>
              <a:ext cx="999019" cy="1004345"/>
              <a:chOff x="968590" y="5364843"/>
              <a:chExt cx="999019" cy="1004345"/>
            </a:xfrm>
          </p:grpSpPr>
          <p:sp>
            <p:nvSpPr>
              <p:cNvPr id="64" name="Овал 72"/>
              <p:cNvSpPr/>
              <p:nvPr/>
            </p:nvSpPr>
            <p:spPr>
              <a:xfrm>
                <a:off x="968590" y="5364843"/>
                <a:ext cx="995259" cy="1004345"/>
              </a:xfrm>
              <a:prstGeom prst="ellipse">
                <a:avLst/>
              </a:prstGeom>
              <a:solidFill>
                <a:schemeClr val="accent3">
                  <a:lumMod val="10000"/>
                  <a:lumOff val="90000"/>
                </a:schemeClr>
              </a:solidFill>
              <a:ln w="9525">
                <a:solidFill>
                  <a:srgbClr val="1C793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7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Прямоугольник 93"/>
              <p:cNvSpPr/>
              <p:nvPr/>
            </p:nvSpPr>
            <p:spPr>
              <a:xfrm>
                <a:off x="1007152" y="5414823"/>
                <a:ext cx="960457" cy="901582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600" dirty="0">
                    <a:latin typeface="Arial" panose="020B0604020202020204" pitchFamily="34" charset="0"/>
                    <a:cs typeface="Arial" panose="020B0604020202020204" pitchFamily="34" charset="0"/>
                  </a:rPr>
                  <a:t>Електронне повідомлення «Про контроль за експортом послуг»</a:t>
                </a:r>
              </a:p>
            </p:txBody>
          </p:sp>
        </p:grpSp>
        <p:grpSp>
          <p:nvGrpSpPr>
            <p:cNvPr id="95" name="Группа 94"/>
            <p:cNvGrpSpPr/>
            <p:nvPr/>
          </p:nvGrpSpPr>
          <p:grpSpPr>
            <a:xfrm>
              <a:off x="2521168" y="5228726"/>
              <a:ext cx="962132" cy="904552"/>
              <a:chOff x="3238221" y="5333883"/>
              <a:chExt cx="962132" cy="904552"/>
            </a:xfrm>
          </p:grpSpPr>
          <p:sp>
            <p:nvSpPr>
              <p:cNvPr id="66" name="Овал 68"/>
              <p:cNvSpPr/>
              <p:nvPr/>
            </p:nvSpPr>
            <p:spPr>
              <a:xfrm>
                <a:off x="3245489" y="5333883"/>
                <a:ext cx="954864" cy="904552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Прямоугольник 81"/>
              <p:cNvSpPr/>
              <p:nvPr/>
            </p:nvSpPr>
            <p:spPr>
              <a:xfrm>
                <a:off x="3238221" y="5494807"/>
                <a:ext cx="960457" cy="611788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47650">
                  <a:tabLst>
                    <a:tab pos="6391275" algn="r"/>
                  </a:tabLst>
                </a:pPr>
                <a:r>
                  <a:rPr lang="uk-UA" altLang="de-DE" sz="75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итний кодекс України</a:t>
                </a:r>
              </a:p>
            </p:txBody>
          </p:sp>
        </p:grpSp>
        <p:cxnSp>
          <p:nvCxnSpPr>
            <p:cNvPr id="69" name="Straight Connector 164"/>
            <p:cNvCxnSpPr>
              <a:stCxn id="37" idx="2"/>
            </p:cNvCxnSpPr>
            <p:nvPr/>
          </p:nvCxnSpPr>
          <p:spPr>
            <a:xfrm flipH="1" flipV="1">
              <a:off x="5680183" y="3682822"/>
              <a:ext cx="210358" cy="49894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165"/>
            <p:cNvCxnSpPr>
              <a:stCxn id="47" idx="7"/>
            </p:cNvCxnSpPr>
            <p:nvPr/>
          </p:nvCxnSpPr>
          <p:spPr>
            <a:xfrm flipV="1">
              <a:off x="3157963" y="4152130"/>
              <a:ext cx="180597" cy="87755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167"/>
            <p:cNvCxnSpPr>
              <a:stCxn id="74" idx="7"/>
              <a:endCxn id="43" idx="3"/>
            </p:cNvCxnSpPr>
            <p:nvPr/>
          </p:nvCxnSpPr>
          <p:spPr>
            <a:xfrm flipV="1">
              <a:off x="3141621" y="2396098"/>
              <a:ext cx="743618" cy="694938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168"/>
            <p:cNvCxnSpPr>
              <a:stCxn id="74" idx="6"/>
            </p:cNvCxnSpPr>
            <p:nvPr/>
          </p:nvCxnSpPr>
          <p:spPr>
            <a:xfrm>
              <a:off x="3162710" y="3141948"/>
              <a:ext cx="162627" cy="44301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Oval 27"/>
            <p:cNvSpPr/>
            <p:nvPr/>
          </p:nvSpPr>
          <p:spPr>
            <a:xfrm>
              <a:off x="3018710" y="3069948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Oval 169"/>
            <p:cNvSpPr/>
            <p:nvPr/>
          </p:nvSpPr>
          <p:spPr>
            <a:xfrm>
              <a:off x="5604945" y="3607973"/>
              <a:ext cx="162535" cy="15390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6" name="Straight Connector 170"/>
            <p:cNvCxnSpPr>
              <a:stCxn id="80" idx="6"/>
              <a:endCxn id="74" idx="2"/>
            </p:cNvCxnSpPr>
            <p:nvPr/>
          </p:nvCxnSpPr>
          <p:spPr>
            <a:xfrm>
              <a:off x="1774530" y="2254590"/>
              <a:ext cx="1244180" cy="887358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172"/>
            <p:cNvCxnSpPr>
              <a:stCxn id="56" idx="7"/>
              <a:endCxn id="50" idx="3"/>
            </p:cNvCxnSpPr>
            <p:nvPr/>
          </p:nvCxnSpPr>
          <p:spPr>
            <a:xfrm flipV="1">
              <a:off x="2596511" y="2662361"/>
              <a:ext cx="51202" cy="360020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Oval 175"/>
            <p:cNvSpPr/>
            <p:nvPr/>
          </p:nvSpPr>
          <p:spPr>
            <a:xfrm>
              <a:off x="2529915" y="2731493"/>
              <a:ext cx="144000" cy="144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" name="Группа 18"/>
            <p:cNvGrpSpPr/>
            <p:nvPr/>
          </p:nvGrpSpPr>
          <p:grpSpPr>
            <a:xfrm>
              <a:off x="805136" y="1295342"/>
              <a:ext cx="1805382" cy="2023858"/>
              <a:chOff x="1686646" y="1586783"/>
              <a:chExt cx="1805382" cy="2023858"/>
            </a:xfrm>
          </p:grpSpPr>
          <p:grpSp>
            <p:nvGrpSpPr>
              <p:cNvPr id="8" name="Группа 7"/>
              <p:cNvGrpSpPr/>
              <p:nvPr/>
            </p:nvGrpSpPr>
            <p:grpSpPr>
              <a:xfrm>
                <a:off x="2493973" y="1586783"/>
                <a:ext cx="998055" cy="1004344"/>
                <a:chOff x="916276" y="1672730"/>
                <a:chExt cx="998055" cy="1004344"/>
              </a:xfrm>
            </p:grpSpPr>
            <p:sp>
              <p:nvSpPr>
                <p:cNvPr id="52" name="Овал 75"/>
                <p:cNvSpPr/>
                <p:nvPr/>
              </p:nvSpPr>
              <p:spPr>
                <a:xfrm>
                  <a:off x="919071" y="1672730"/>
                  <a:ext cx="995260" cy="1004344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lIns="54000" tIns="54000" rIns="54000" bIns="81000" rtlCol="0" anchor="t" anchorCtr="0"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300"/>
                    </a:spcBef>
                  </a:pPr>
                  <a:endParaRPr lang="uk-UA" sz="7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Прямоугольник 86"/>
                <p:cNvSpPr/>
                <p:nvPr/>
              </p:nvSpPr>
              <p:spPr>
                <a:xfrm>
                  <a:off x="916276" y="1935314"/>
                  <a:ext cx="960456" cy="45079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 algn="ctr" defTabSz="247650">
                    <a:tabLst>
                      <a:tab pos="6391275" algn="r"/>
                    </a:tabLst>
                  </a:pPr>
                  <a:r>
                    <a:rPr lang="uk-UA" altLang="de-DE" sz="750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Інструкція № 492</a:t>
                  </a:r>
                </a:p>
              </p:txBody>
            </p:sp>
          </p:grpSp>
          <p:grpSp>
            <p:nvGrpSpPr>
              <p:cNvPr id="9" name="Группа 8"/>
              <p:cNvGrpSpPr/>
              <p:nvPr/>
            </p:nvGrpSpPr>
            <p:grpSpPr>
              <a:xfrm>
                <a:off x="1686646" y="2606297"/>
                <a:ext cx="998054" cy="1004344"/>
                <a:chOff x="108949" y="2692244"/>
                <a:chExt cx="998054" cy="1004344"/>
              </a:xfrm>
            </p:grpSpPr>
            <p:sp>
              <p:nvSpPr>
                <p:cNvPr id="54" name="Овал 74"/>
                <p:cNvSpPr/>
                <p:nvPr/>
              </p:nvSpPr>
              <p:spPr>
                <a:xfrm>
                  <a:off x="111743" y="2692244"/>
                  <a:ext cx="995260" cy="1004344"/>
                </a:xfrm>
                <a:prstGeom prst="ellipse">
                  <a:avLst/>
                </a:prstGeom>
                <a:solidFill>
                  <a:srgbClr val="00B050"/>
                </a:solidFill>
                <a:ln w="9525">
                  <a:noFill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lIns="54000" tIns="54000" rIns="54000" bIns="81000" rtlCol="0" anchor="t" anchorCtr="0">
                  <a:noAutofit/>
                </a:bodyPr>
                <a:lstStyle/>
                <a:p>
                  <a:pPr>
                    <a:lnSpc>
                      <a:spcPct val="90000"/>
                    </a:lnSpc>
                    <a:spcBef>
                      <a:spcPts val="300"/>
                    </a:spcBef>
                  </a:pPr>
                  <a:endParaRPr lang="uk-UA" sz="75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Прямоугольник 87"/>
                <p:cNvSpPr/>
                <p:nvPr/>
              </p:nvSpPr>
              <p:spPr>
                <a:xfrm>
                  <a:off x="108949" y="2934655"/>
                  <a:ext cx="960456" cy="45079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 algn="ctr" defTabSz="247650">
                    <a:tabLst>
                      <a:tab pos="6391275" algn="r"/>
                    </a:tabLst>
                  </a:pPr>
                  <a:r>
                    <a:rPr lang="uk-UA" altLang="de-DE" sz="750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Інструкція № 502</a:t>
                  </a:r>
                </a:p>
              </p:txBody>
            </p:sp>
          </p:grpSp>
          <p:cxnSp>
            <p:nvCxnSpPr>
              <p:cNvPr id="77" name="Straight Connector 171"/>
              <p:cNvCxnSpPr>
                <a:stCxn id="54" idx="7"/>
                <a:endCxn id="52" idx="3"/>
              </p:cNvCxnSpPr>
              <p:nvPr/>
            </p:nvCxnSpPr>
            <p:spPr>
              <a:xfrm flipV="1">
                <a:off x="2538946" y="2444044"/>
                <a:ext cx="103575" cy="309335"/>
              </a:xfrm>
              <a:prstGeom prst="line">
                <a:avLst/>
              </a:prstGeom>
              <a:ln w="3175">
                <a:solidFill>
                  <a:schemeClr val="tx1">
                    <a:lumMod val="65000"/>
                    <a:lumOff val="35000"/>
                  </a:schemeClr>
                </a:solidFill>
                <a:prstDash val="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Oval 176"/>
              <p:cNvSpPr/>
              <p:nvPr/>
            </p:nvSpPr>
            <p:spPr>
              <a:xfrm>
                <a:off x="2512040" y="2474031"/>
                <a:ext cx="144000" cy="144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54000" tIns="54000" rIns="54000" bIns="81000" rtlCol="0" anchor="t" anchorCtr="0">
                <a:noAutofit/>
              </a:bodyPr>
              <a:lstStyle/>
              <a:p>
                <a:pPr>
                  <a:lnSpc>
                    <a:spcPct val="90000"/>
                  </a:lnSpc>
                  <a:spcBef>
                    <a:spcPts val="300"/>
                  </a:spcBef>
                </a:pPr>
                <a:endParaRPr lang="uk-UA" sz="12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81" name="Straight Connector 178"/>
            <p:cNvCxnSpPr/>
            <p:nvPr/>
          </p:nvCxnSpPr>
          <p:spPr>
            <a:xfrm flipV="1">
              <a:off x="998110" y="4749871"/>
              <a:ext cx="324257" cy="451845"/>
            </a:xfrm>
            <a:prstGeom prst="line">
              <a:avLst/>
            </a:prstGeom>
            <a:ln w="31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Oval 179"/>
            <p:cNvSpPr/>
            <p:nvPr/>
          </p:nvSpPr>
          <p:spPr>
            <a:xfrm>
              <a:off x="861502" y="5201716"/>
              <a:ext cx="162535" cy="15390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300"/>
                </a:spcBef>
              </a:pPr>
              <a:endParaRPr lang="uk-UA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5940000" y="2137015"/>
            <a:ext cx="2970001" cy="3036266"/>
            <a:chOff x="7920000" y="1445100"/>
            <a:chExt cx="3960001" cy="4048354"/>
          </a:xfrm>
        </p:grpSpPr>
        <p:sp>
          <p:nvSpPr>
            <p:cNvPr id="110" name="Скругленный прямоугольник 109"/>
            <p:cNvSpPr/>
            <p:nvPr/>
          </p:nvSpPr>
          <p:spPr bwMode="auto">
            <a:xfrm>
              <a:off x="10080000" y="3240000"/>
              <a:ext cx="1800000" cy="504000"/>
            </a:xfrm>
            <a:prstGeom prst="roundRect">
              <a:avLst/>
            </a:prstGeom>
            <a:solidFill>
              <a:srgbClr val="1C7A3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000" tIns="34290" rIns="27000" bIns="3429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uk-UA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</a:t>
              </a:r>
              <a:r>
                <a:rPr lang="uk-UA" sz="9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нки…»</a:t>
              </a:r>
              <a:endParaRPr lang="uk-UA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Скругленный прямоугольник 110"/>
            <p:cNvSpPr/>
            <p:nvPr/>
          </p:nvSpPr>
          <p:spPr bwMode="auto">
            <a:xfrm>
              <a:off x="10080000" y="2520637"/>
              <a:ext cx="1800000" cy="504000"/>
            </a:xfrm>
            <a:prstGeom prst="roundRect">
              <a:avLst/>
            </a:prstGeom>
            <a:solidFill>
              <a:srgbClr val="1C7A3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000" tIns="34290" rIns="27000" bIns="3429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uk-UA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НБУ»</a:t>
              </a:r>
            </a:p>
          </p:txBody>
        </p:sp>
        <p:sp>
          <p:nvSpPr>
            <p:cNvPr id="113" name="Скругленный прямоугольник 112"/>
            <p:cNvSpPr/>
            <p:nvPr/>
          </p:nvSpPr>
          <p:spPr bwMode="auto">
            <a:xfrm>
              <a:off x="8640000" y="1445100"/>
              <a:ext cx="2520000" cy="720000"/>
            </a:xfrm>
            <a:prstGeom prst="roundRect">
              <a:avLst/>
            </a:prstGeom>
            <a:solidFill>
              <a:srgbClr val="FEC903"/>
            </a:solidFill>
            <a:ln w="25400">
              <a:noFill/>
              <a:miter lim="800000"/>
              <a:headEnd/>
              <a:tailEnd/>
            </a:ln>
            <a:extLst/>
          </p:spPr>
          <p:txBody>
            <a:bodyPr vert="horz" wrap="square" lIns="0" tIns="0" rIns="0" bIns="0" anchor="ctr">
              <a:noAutofit/>
            </a:bodyPr>
            <a:lstStyle/>
            <a:p>
              <a:pPr algn="ctr" defTabSz="247650">
                <a:tabLst>
                  <a:tab pos="6391275" algn="r"/>
                </a:tabLst>
              </a:pPr>
              <a:r>
                <a:rPr lang="uk-UA" sz="1200" b="1" dirty="0">
                  <a:solidFill>
                    <a:srgbClr val="0C0C0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валюту» </a:t>
              </a:r>
            </a:p>
            <a:p>
              <a:pPr algn="ctr" defTabSz="247650">
                <a:tabLst>
                  <a:tab pos="6391275" algn="r"/>
                </a:tabLst>
              </a:pPr>
              <a:r>
                <a:rPr lang="uk-UA" sz="1200" b="1" dirty="0">
                  <a:solidFill>
                    <a:srgbClr val="0C0C0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018 р.)</a:t>
              </a:r>
            </a:p>
          </p:txBody>
        </p:sp>
        <p:grpSp>
          <p:nvGrpSpPr>
            <p:cNvPr id="119" name="Группа 118"/>
            <p:cNvGrpSpPr/>
            <p:nvPr/>
          </p:nvGrpSpPr>
          <p:grpSpPr>
            <a:xfrm>
              <a:off x="7920001" y="4680000"/>
              <a:ext cx="3959999" cy="813454"/>
              <a:chOff x="7920001" y="5130194"/>
              <a:chExt cx="3959999" cy="813454"/>
            </a:xfrm>
          </p:grpSpPr>
          <p:grpSp>
            <p:nvGrpSpPr>
              <p:cNvPr id="114" name="Группа 113"/>
              <p:cNvGrpSpPr/>
              <p:nvPr/>
            </p:nvGrpSpPr>
            <p:grpSpPr>
              <a:xfrm>
                <a:off x="10080000" y="5130194"/>
                <a:ext cx="1800000" cy="813454"/>
                <a:chOff x="9016999" y="4195731"/>
                <a:chExt cx="2052000" cy="536455"/>
              </a:xfrm>
            </p:grpSpPr>
            <p:sp>
              <p:nvSpPr>
                <p:cNvPr id="117" name="Скругленный прямоугольник 116"/>
                <p:cNvSpPr/>
                <p:nvPr/>
              </p:nvSpPr>
              <p:spPr bwMode="auto">
                <a:xfrm>
                  <a:off x="9016999" y="4195731"/>
                  <a:ext cx="2052000" cy="536455"/>
                </a:xfrm>
                <a:prstGeom prst="roundRect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1C7935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27000" tIns="34290" rIns="27000" bIns="3429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r>
                    <a:rPr lang="uk-UA" altLang="de-DE" sz="788" dirty="0">
                      <a:solidFill>
                        <a:srgbClr val="1C793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ЗУ «Про порядок здійснення розрахунків в іноземній валюті»</a:t>
                  </a:r>
                  <a:endParaRPr lang="uk-UA" sz="788" b="1" dirty="0">
                    <a:solidFill>
                      <a:srgbClr val="1C7935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20" name="Прямая соединительная линия 119"/>
                <p:cNvCxnSpPr/>
                <p:nvPr/>
              </p:nvCxnSpPr>
              <p:spPr bwMode="auto">
                <a:xfrm>
                  <a:off x="9016999" y="4266355"/>
                  <a:ext cx="1983669" cy="465831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12" name="Группа 111"/>
              <p:cNvGrpSpPr/>
              <p:nvPr/>
            </p:nvGrpSpPr>
            <p:grpSpPr>
              <a:xfrm>
                <a:off x="7920001" y="5130194"/>
                <a:ext cx="1800000" cy="813454"/>
                <a:chOff x="9016999" y="4926390"/>
                <a:chExt cx="2052000" cy="536455"/>
              </a:xfrm>
            </p:grpSpPr>
            <p:sp>
              <p:nvSpPr>
                <p:cNvPr id="118" name="Скругленный прямоугольник 117"/>
                <p:cNvSpPr/>
                <p:nvPr/>
              </p:nvSpPr>
              <p:spPr bwMode="auto">
                <a:xfrm>
                  <a:off x="9016999" y="4926390"/>
                  <a:ext cx="2052000" cy="536455"/>
                </a:xfrm>
                <a:prstGeom prst="roundRect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1C7935"/>
                  </a:solidFill>
                  <a:prstDash val="dash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27000" tIns="34290" rIns="27000" bIns="3429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r>
                    <a:rPr lang="uk-UA" sz="675" dirty="0">
                      <a:solidFill>
                        <a:srgbClr val="1C7935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Указ Президента України «Про врегулювання порядку одержання резидентами кредитів…»</a:t>
                  </a:r>
                  <a:endParaRPr lang="uk-UA" sz="1050" b="1" dirty="0">
                    <a:solidFill>
                      <a:srgbClr val="1C7935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24" name="Прямая соединительная линия 123"/>
                <p:cNvCxnSpPr/>
                <p:nvPr/>
              </p:nvCxnSpPr>
              <p:spPr bwMode="auto">
                <a:xfrm>
                  <a:off x="9016999" y="4961701"/>
                  <a:ext cx="1983669" cy="465831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rgbClr val="FF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106" name="Скругленный прямоугольник 105"/>
            <p:cNvSpPr/>
            <p:nvPr/>
          </p:nvSpPr>
          <p:spPr bwMode="auto">
            <a:xfrm>
              <a:off x="7920000" y="2520000"/>
              <a:ext cx="1800000" cy="504000"/>
            </a:xfrm>
            <a:prstGeom prst="roundRect">
              <a:avLst/>
            </a:prstGeom>
            <a:solidFill>
              <a:srgbClr val="1C7A3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000" tIns="34290" rIns="27000" bIns="3429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uk-UA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</a:t>
              </a:r>
              <a:r>
                <a:rPr lang="ru-RU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ЕД</a:t>
              </a:r>
              <a:r>
                <a:rPr lang="uk-UA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</p:txBody>
        </p:sp>
        <p:sp>
          <p:nvSpPr>
            <p:cNvPr id="107" name="Скругленный прямоугольник 106"/>
            <p:cNvSpPr/>
            <p:nvPr/>
          </p:nvSpPr>
          <p:spPr bwMode="auto">
            <a:xfrm>
              <a:off x="7920000" y="3240000"/>
              <a:ext cx="1800000" cy="504000"/>
            </a:xfrm>
            <a:prstGeom prst="roundRect">
              <a:avLst/>
            </a:prstGeom>
            <a:solidFill>
              <a:srgbClr val="1C7A3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27000" tIns="34290" rIns="27000" bIns="3429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/>
              <a:r>
                <a:rPr lang="uk-UA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У «Про </a:t>
              </a:r>
              <a:r>
                <a:rPr lang="uk-UA" sz="900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інпослуги</a:t>
              </a:r>
              <a:r>
                <a:rPr lang="uk-UA" sz="9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»</a:t>
              </a:r>
              <a:endParaRPr lang="uk-UA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Скругленный прямоугольник 107"/>
            <p:cNvSpPr/>
            <p:nvPr/>
          </p:nvSpPr>
          <p:spPr bwMode="auto">
            <a:xfrm>
              <a:off x="7920001" y="3960000"/>
              <a:ext cx="3960000" cy="396000"/>
            </a:xfrm>
            <a:prstGeom prst="roundRect">
              <a:avLst/>
            </a:prstGeom>
            <a:solidFill>
              <a:srgbClr val="00B050"/>
            </a:solidFill>
            <a:ln w="9525">
              <a:noFill/>
            </a:ln>
            <a:effectLst/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0" tIns="54000" rIns="54000" bIns="81000" rtlCol="0" anchor="t" anchorCtr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300"/>
                </a:spcBef>
              </a:pPr>
              <a:r>
                <a:rPr lang="uk-UA" sz="105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ідзаконне регулювання НБУ</a:t>
              </a:r>
            </a:p>
          </p:txBody>
        </p:sp>
        <p:cxnSp>
          <p:nvCxnSpPr>
            <p:cNvPr id="98" name="Соединительная линия уступом 97"/>
            <p:cNvCxnSpPr>
              <a:stCxn id="113" idx="2"/>
              <a:endCxn id="111" idx="1"/>
            </p:cNvCxnSpPr>
            <p:nvPr/>
          </p:nvCxnSpPr>
          <p:spPr bwMode="auto">
            <a:xfrm rot="16200000" flipH="1">
              <a:off x="9686232" y="2378868"/>
              <a:ext cx="607537" cy="1800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Соединительная линия уступом 99"/>
            <p:cNvCxnSpPr>
              <a:stCxn id="113" idx="2"/>
              <a:endCxn id="106" idx="3"/>
            </p:cNvCxnSpPr>
            <p:nvPr/>
          </p:nvCxnSpPr>
          <p:spPr bwMode="auto">
            <a:xfrm rot="5400000">
              <a:off x="9506550" y="2378550"/>
              <a:ext cx="606900" cy="1800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Соединительная линия уступом 101"/>
            <p:cNvCxnSpPr>
              <a:stCxn id="113" idx="2"/>
              <a:endCxn id="110" idx="1"/>
            </p:cNvCxnSpPr>
            <p:nvPr/>
          </p:nvCxnSpPr>
          <p:spPr bwMode="auto">
            <a:xfrm rot="16200000" flipH="1">
              <a:off x="9326550" y="2738550"/>
              <a:ext cx="1326900" cy="1800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Соединительная линия уступом 103"/>
            <p:cNvCxnSpPr>
              <a:stCxn id="113" idx="2"/>
              <a:endCxn id="107" idx="3"/>
            </p:cNvCxnSpPr>
            <p:nvPr/>
          </p:nvCxnSpPr>
          <p:spPr bwMode="auto">
            <a:xfrm rot="5400000">
              <a:off x="9146550" y="2738550"/>
              <a:ext cx="1326900" cy="180000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9" name="Прямая соединительная линия 108"/>
            <p:cNvCxnSpPr>
              <a:stCxn id="113" idx="2"/>
              <a:endCxn id="108" idx="0"/>
            </p:cNvCxnSpPr>
            <p:nvPr/>
          </p:nvCxnSpPr>
          <p:spPr bwMode="auto">
            <a:xfrm>
              <a:off x="9900000" y="2165100"/>
              <a:ext cx="1" cy="17949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21" name="TextBox 120"/>
          <p:cNvSpPr txBox="1"/>
          <p:nvPr/>
        </p:nvSpPr>
        <p:spPr>
          <a:xfrm>
            <a:off x="6327941" y="5899424"/>
            <a:ext cx="2319866" cy="300082"/>
          </a:xfrm>
          <a:prstGeom prst="rect">
            <a:avLst/>
          </a:prstGeom>
        </p:spPr>
        <p:txBody>
          <a:bodyPr wrap="none" rtlCol="0">
            <a:spAutoFit/>
          </a:bodyPr>
          <a:lstStyle>
            <a:defPPr>
              <a:defRPr lang="uk-UA"/>
            </a:defPPr>
            <a:lvl1pPr>
              <a:defRPr b="1" u="none" ker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uk-UA" sz="1350" dirty="0"/>
              <a:t>Чітка ієрархічна система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582166" y="5899424"/>
            <a:ext cx="4576894" cy="3000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Заплутана «павутина» нормативного регулювання</a:t>
            </a:r>
          </a:p>
        </p:txBody>
      </p:sp>
      <p:sp>
        <p:nvSpPr>
          <p:cNvPr id="125" name="Равнобедренный треугольник 124"/>
          <p:cNvSpPr/>
          <p:nvPr/>
        </p:nvSpPr>
        <p:spPr bwMode="auto">
          <a:xfrm rot="16200000" flipV="1">
            <a:off x="3751259" y="3612230"/>
            <a:ext cx="3644819" cy="189000"/>
          </a:xfrm>
          <a:prstGeom prst="triangl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dash"/>
          </a:ln>
          <a:extLst/>
        </p:spPr>
        <p:txBody>
          <a:bodyPr wrap="square" rtlCol="0" anchor="ctr">
            <a:noAutofit/>
          </a:bodyPr>
          <a:lstStyle/>
          <a:p>
            <a:pPr algn="ctr"/>
            <a:endParaRPr lang="uk-UA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2179345" y="1568604"/>
            <a:ext cx="1412566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b="1" kern="0" dirty="0">
                <a:latin typeface="Arial" panose="020B0604020202020204" pitchFamily="34" charset="0"/>
                <a:cs typeface="Arial" panose="020B0604020202020204" pitchFamily="34" charset="0"/>
              </a:rPr>
              <a:t>СЬОГОДНІ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6382887" y="1580130"/>
            <a:ext cx="2084225" cy="34624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uk-UA" sz="1650" b="1" kern="0" dirty="0">
                <a:latin typeface="Arial" panose="020B0604020202020204" pitchFamily="34" charset="0"/>
                <a:cs typeface="Arial" panose="020B0604020202020204" pitchFamily="34" charset="0"/>
              </a:rPr>
              <a:t>В МАЙБУТНЬОМУ</a:t>
            </a:r>
          </a:p>
        </p:txBody>
      </p:sp>
    </p:spTree>
    <p:extLst>
      <p:ext uri="{BB962C8B-B14F-4D97-AF65-F5344CB8AC3E}">
        <p14:creationId xmlns:p14="http://schemas.microsoft.com/office/powerpoint/2010/main" val="6678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9000"/>
            <a:ext cx="7920000" cy="7200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 smtClean="0"/>
              <a:t>Проблема: здійснення бізнесом та звичайними громадянами багатьох валютних операцій вимагає отримання ліцензії</a:t>
            </a:r>
            <a:endParaRPr lang="uk-UA" sz="18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92000" y="1449000"/>
            <a:ext cx="81000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uk-UA" sz="1500" b="1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раз індивідуальні ліцензії необхідні:</a:t>
            </a:r>
            <a:endParaRPr lang="uk-UA" sz="1500" b="1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742950" lvl="1" indent="-285750">
              <a:buFontTx/>
              <a:buChar char="-"/>
            </a:pP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розміщення коштів на закордонних рахунках;</a:t>
            </a:r>
          </a:p>
          <a:p>
            <a:pPr marL="742950" lvl="1" indent="-285750">
              <a:buFontTx/>
              <a:buChar char="-"/>
            </a:pPr>
            <a:endParaRPr lang="uk-UA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</a:t>
            </a: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везення-вивезення </a:t>
            </a: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кументарних цінних паперів;</a:t>
            </a:r>
          </a:p>
          <a:p>
            <a:pPr marL="742950" lvl="1" indent="-285750">
              <a:buFontTx/>
              <a:buChar char="-"/>
            </a:pPr>
            <a:endParaRPr lang="uk-UA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ння резидентами кредитів </a:t>
            </a: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резидентам;</a:t>
            </a:r>
            <a:endParaRPr lang="uk-UA" sz="15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>
              <a:spcAft>
                <a:spcPts val="0"/>
              </a:spcAft>
            </a:pP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дійснення інвестицій за кордон (придбання </a:t>
            </a: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інних паперів, нерухомості, майнових прав та ін</a:t>
            </a: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);</a:t>
            </a:r>
            <a:endParaRPr lang="uk-UA" sz="15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endParaRPr lang="uk-UA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ереказ валюти з метою придбання ОЗДПУ;</a:t>
            </a: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endParaRPr lang="uk-UA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користання іноземної валюти </a:t>
            </a:r>
            <a:r>
              <a:rPr lang="uk-UA" sz="1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як засобу платежу на території </a:t>
            </a: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країни;</a:t>
            </a: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endParaRPr lang="uk-UA" sz="15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r>
              <a:rPr lang="uk-UA" sz="1500" dirty="0" smtClean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ввезення-вивезення гривні у готівковій формі (спеціальний дозвіл, що видається банкам);</a:t>
            </a: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endParaRPr lang="uk-UA" sz="15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r>
              <a:rPr lang="uk-UA" sz="15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ереказ фізичними особами коштів з метою страхування життя тощо.</a:t>
            </a:r>
            <a:endParaRPr lang="uk-UA" sz="15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spcAft>
                <a:spcPts val="0"/>
              </a:spcAft>
              <a:buFontTx/>
              <a:buChar char="-"/>
            </a:pPr>
            <a:endParaRPr lang="uk-UA" sz="1500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Картинки по запросу license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000" y="1449000"/>
            <a:ext cx="1207059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7272000" y="1269000"/>
            <a:ext cx="1620000" cy="198000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 flipH="1">
            <a:off x="7285800" y="1260000"/>
            <a:ext cx="1606200" cy="198900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589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ятиугольник 7"/>
          <p:cNvSpPr/>
          <p:nvPr/>
        </p:nvSpPr>
        <p:spPr bwMode="auto">
          <a:xfrm>
            <a:off x="333643" y="2096020"/>
            <a:ext cx="2693192" cy="3157100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lvl="0" algn="ctr"/>
            <a:r>
              <a:rPr lang="uk-UA" sz="1500" kern="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півля/переказ валюти </a:t>
            </a:r>
          </a:p>
          <a:p>
            <a:pPr lvl="0" algn="ctr"/>
            <a:r>
              <a:rPr lang="uk-UA" sz="15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50 тис. грн.</a:t>
            </a:r>
            <a:r>
              <a:rPr lang="uk-UA" sz="150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500" kern="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еквіваленті) – це:</a:t>
            </a:r>
            <a:endParaRPr lang="en-US" sz="1500" kern="0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endParaRPr lang="en-US" sz="1500" kern="0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Wingdings" panose="05000000000000000000" pitchFamily="2" charset="2"/>
              <a:buChar char="Ø"/>
            </a:pPr>
            <a:r>
              <a:rPr lang="uk-UA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uk-UA" b="1" kern="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uk-UA" sz="1050" kern="0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ій </a:t>
            </a:r>
            <a:r>
              <a:rPr lang="uk-UA" sz="1050" kern="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ік по </a:t>
            </a:r>
            <a:r>
              <a:rPr lang="uk-UA" sz="1050" kern="0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і (орієнтовно)</a:t>
            </a:r>
            <a:endParaRPr lang="uk-UA" sz="1050" kern="0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Wingdings" panose="05000000000000000000" pitchFamily="2" charset="2"/>
              <a:buChar char="Ø"/>
            </a:pPr>
            <a:endParaRPr lang="uk-UA" sz="105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uk-UA" sz="105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Wingdings" panose="05000000000000000000" pitchFamily="2" charset="2"/>
              <a:buChar char="Ø"/>
            </a:pPr>
            <a:r>
              <a:rPr lang="uk-UA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 </a:t>
            </a:r>
            <a:r>
              <a:rPr lang="uk-UA" sz="1050" kern="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 усієї кількості таких операцій</a:t>
            </a:r>
          </a:p>
          <a:p>
            <a:pPr marL="257175" indent="-257175">
              <a:buFont typeface="Wingdings" panose="05000000000000000000" pitchFamily="2" charset="2"/>
              <a:buChar char="Ø"/>
            </a:pPr>
            <a:endParaRPr lang="uk-UA" sz="105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Wingdings" panose="05000000000000000000" pitchFamily="2" charset="2"/>
              <a:buChar char="Ø"/>
            </a:pPr>
            <a:endParaRPr lang="uk-UA" sz="105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Wingdings" panose="05000000000000000000" pitchFamily="2" charset="2"/>
              <a:buChar char="Ø"/>
            </a:pPr>
            <a:r>
              <a:rPr lang="uk-UA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ього</a:t>
            </a:r>
            <a:r>
              <a:rPr lang="uk-UA" sz="105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%</a:t>
            </a:r>
            <a:r>
              <a:rPr lang="uk-UA" sz="1050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050" kern="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 загальної суми таких операцій</a:t>
            </a:r>
          </a:p>
          <a:p>
            <a:pPr lvl="0"/>
            <a:endParaRPr lang="uk-UA" sz="27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endParaRPr lang="uk-UA" sz="1500" kern="0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8064000" cy="770052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 smtClean="0"/>
              <a:t>Проблема: зайве адміністративне навантаження у вигляді валютного нагляду </a:t>
            </a:r>
            <a:r>
              <a:rPr lang="uk-UA" sz="1800" dirty="0"/>
              <a:t>для </a:t>
            </a:r>
            <a:r>
              <a:rPr lang="uk-UA" sz="1800" dirty="0" smtClean="0"/>
              <a:t>невеликих операцій з експорту/імпорту товарів</a:t>
            </a:r>
            <a:endParaRPr lang="uk-UA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981865" y="1647088"/>
            <a:ext cx="1412566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uk-UA" b="1" i="1" kern="0" dirty="0">
                <a:latin typeface="Arial" panose="020B0604020202020204" pitchFamily="34" charset="0"/>
                <a:cs typeface="Arial" panose="020B0604020202020204" pitchFamily="34" charset="0"/>
              </a:rPr>
              <a:t>СЬОГОДНІ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51376" y="1518941"/>
            <a:ext cx="2323072" cy="600164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ctr"/>
            <a:r>
              <a:rPr lang="uk-UA" sz="1650" b="1" i="1" kern="0" dirty="0">
                <a:latin typeface="Arial" panose="020B0604020202020204" pitchFamily="34" charset="0"/>
                <a:cs typeface="Arial" panose="020B0604020202020204" pitchFamily="34" charset="0"/>
              </a:rPr>
              <a:t>В УМОВАХ ЗАКОНУ </a:t>
            </a:r>
          </a:p>
          <a:p>
            <a:pPr algn="ctr"/>
            <a:r>
              <a:rPr lang="uk-UA" sz="1650" b="1" i="1" kern="0" dirty="0">
                <a:latin typeface="Arial" panose="020B0604020202020204" pitchFamily="34" charset="0"/>
                <a:cs typeface="Arial" panose="020B0604020202020204" pitchFamily="34" charset="0"/>
              </a:rPr>
              <a:t>«ПРО ВАЛЮТУ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16045" y="2096022"/>
            <a:ext cx="2646160" cy="2723823"/>
          </a:xfrm>
          <a:prstGeom prst="rect">
            <a:avLst/>
          </a:prstGeom>
          <a:ln>
            <a:solidFill>
              <a:srgbClr val="91CA64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endParaRPr lang="uk-UA" sz="1500" b="1" kern="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uk-UA" sz="1500" b="1" kern="0" dirty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асування валютного нагляду для:</a:t>
            </a:r>
          </a:p>
          <a:p>
            <a:pPr algn="ctr"/>
            <a:endParaRPr lang="uk-UA" b="1" kern="0" dirty="0">
              <a:solidFill>
                <a:srgbClr val="91CA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uk-UA" sz="3000" b="1" kern="0" dirty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uk-UA" sz="3000" b="1" kern="0" dirty="0" smtClean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endParaRPr lang="uk-UA" sz="3000" b="1" kern="0" dirty="0">
              <a:solidFill>
                <a:srgbClr val="91CA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uk-UA" sz="1500" b="1" kern="0" dirty="0">
                <a:latin typeface="Arial" panose="020B0604020202020204" pitchFamily="34" charset="0"/>
                <a:cs typeface="Arial" panose="020B0604020202020204" pitchFamily="34" charset="0"/>
              </a:rPr>
              <a:t>операцій в рік,</a:t>
            </a:r>
          </a:p>
          <a:p>
            <a:pPr algn="ctr"/>
            <a:endParaRPr lang="uk-UA" sz="1500" b="1" kern="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uk-UA" sz="1500" b="1" kern="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3622"/>
            <a:r>
              <a:rPr lang="uk-UA" sz="1500" b="1" kern="0" dirty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 </a:t>
            </a:r>
            <a:r>
              <a:rPr lang="uk-UA" b="1" kern="0" dirty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  <a:r>
              <a:rPr lang="uk-UA" sz="1500" b="1" kern="0" dirty="0">
                <a:solidFill>
                  <a:srgbClr val="91CA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500" b="1" kern="0" dirty="0">
                <a:latin typeface="Arial" panose="020B0604020202020204" pitchFamily="34" charset="0"/>
                <a:cs typeface="Arial" panose="020B0604020202020204" pitchFamily="34" charset="0"/>
              </a:rPr>
              <a:t>від </a:t>
            </a:r>
            <a:r>
              <a:rPr lang="uk-UA" sz="15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ількості</a:t>
            </a:r>
            <a:endParaRPr lang="uk-UA" sz="15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Равнобедренный треугольник 13"/>
          <p:cNvSpPr/>
          <p:nvPr/>
        </p:nvSpPr>
        <p:spPr bwMode="auto">
          <a:xfrm rot="16200000" flipV="1">
            <a:off x="3042714" y="3505053"/>
            <a:ext cx="3208571" cy="390508"/>
          </a:xfrm>
          <a:prstGeom prst="triangle">
            <a:avLst/>
          </a:prstGeom>
          <a:solidFill>
            <a:srgbClr val="91CA64"/>
          </a:solidFill>
          <a:extLst/>
        </p:spPr>
        <p:txBody>
          <a:bodyPr wrap="square" rtlCol="0" anchor="ctr">
            <a:noAutofit/>
          </a:bodyPr>
          <a:lstStyle/>
          <a:p>
            <a:pPr algn="ctr"/>
            <a:endParaRPr lang="uk-UA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4" name="Picture 2" descr="Похожее изображени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692" y="2664528"/>
            <a:ext cx="1382666" cy="20715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5676" y="3943128"/>
            <a:ext cx="1278731" cy="7929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2230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Картинки по запросу green traffic light row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28" b="21297"/>
          <a:stretch/>
        </p:blipFill>
        <p:spPr bwMode="auto">
          <a:xfrm>
            <a:off x="6011305" y="1775250"/>
            <a:ext cx="2882231" cy="1015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/>
              <a:t>Проблема: застаріле законодавство унеможливлює перехід до ліберальних принципів. Вирішення: потрібен новий закон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99001" y="1775249"/>
            <a:ext cx="2119217" cy="3645000"/>
          </a:xfrm>
          <a:prstGeom prst="rect">
            <a:avLst/>
          </a:prstGeom>
          <a:solidFill>
            <a:srgbClr val="1C7A3B"/>
          </a:solidFill>
        </p:spPr>
        <p:txBody>
          <a:bodyPr wrap="square" lIns="270000" rtlCol="0" anchor="ctr">
            <a:noAutofit/>
          </a:bodyPr>
          <a:lstStyle/>
          <a:p>
            <a:pPr>
              <a:lnSpc>
                <a:spcPct val="114000"/>
              </a:lnSpc>
            </a:pPr>
            <a:r>
              <a:rPr lang="uk-UA" sz="13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умовах </a:t>
            </a:r>
            <a:r>
              <a:rPr lang="uk-UA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тарілого регулювання, заснованого на Декреті КМУ «Про систему валютного регулювання і валютного контролю»</a:t>
            </a:r>
          </a:p>
          <a:p>
            <a:pPr>
              <a:lnSpc>
                <a:spcPct val="114000"/>
              </a:lnSpc>
            </a:pPr>
            <a:r>
              <a:rPr lang="uk-UA" sz="135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uk-UA" sz="13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ливо:</a:t>
            </a:r>
            <a:endParaRPr lang="uk-UA" sz="13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98478" y="1817924"/>
            <a:ext cx="5336240" cy="362406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14313" indent="-214313">
              <a:buFont typeface="Wingdings" panose="05000000000000000000" pitchFamily="2" charset="2"/>
              <a:buChar char="ü"/>
            </a:pP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Дозволити </a:t>
            </a:r>
            <a:r>
              <a:rPr lang="uk-UA" sz="13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зидентам</a:t>
            </a:r>
            <a:r>
              <a:rPr lang="uk-UA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1216"/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інвестувати за кордон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без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1216"/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отримання індивідуальних </a:t>
            </a: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1216"/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ліцензій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endParaRPr lang="uk-UA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ru-RU" sz="13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касувати</a:t>
            </a:r>
            <a:r>
              <a:rPr lang="uk-UA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для бізнесу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граничний строк для розрахунків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 за операціями з експорту та імпорту </a:t>
            </a:r>
            <a:r>
              <a:rPr lang="uk-UA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товарів;</a:t>
            </a: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ü"/>
            </a:pPr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Зняти неефективний адміністративний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тиск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на банки 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та їх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клієнтів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endParaRPr lang="uk-UA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Зняти зайвий валютний контроль із дрібних </a:t>
            </a:r>
            <a:r>
              <a:rPr lang="uk-UA" sz="1350" dirty="0" smtClean="0">
                <a:latin typeface="Arial" panose="020B0604020202020204" pitchFamily="34" charset="0"/>
                <a:cs typeface="Arial" panose="020B0604020202020204" pitchFamily="34" charset="0"/>
              </a:rPr>
              <a:t>експортно-імпортних операцій 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(наприклад, фінансовий моніторинг починається із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150 тис. грн.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endParaRPr lang="uk-UA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Скасувати/послабити санкції за порушення валютного регулювання (зараз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штраф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350" b="1" dirty="0"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  <a:r>
              <a:rPr lang="uk-UA" sz="1350" dirty="0">
                <a:latin typeface="Arial" panose="020B0604020202020204" pitchFamily="34" charset="0"/>
                <a:cs typeface="Arial" panose="020B0604020202020204" pitchFamily="34" charset="0"/>
              </a:rPr>
              <a:t> від суми операції)</a:t>
            </a:r>
          </a:p>
        </p:txBody>
      </p:sp>
      <p:sp>
        <p:nvSpPr>
          <p:cNvPr id="6" name="Равнобедренный треугольник 5"/>
          <p:cNvSpPr/>
          <p:nvPr/>
        </p:nvSpPr>
        <p:spPr bwMode="auto">
          <a:xfrm rot="16200000" flipV="1">
            <a:off x="1379662" y="3503340"/>
            <a:ext cx="3644819" cy="189000"/>
          </a:xfrm>
          <a:prstGeom prst="triangle">
            <a:avLst/>
          </a:prstGeom>
          <a:solidFill>
            <a:srgbClr val="1C7A3B"/>
          </a:solidFill>
          <a:extLst/>
        </p:spPr>
        <p:txBody>
          <a:bodyPr wrap="square" rtlCol="0" anchor="ctr">
            <a:noAutofit/>
          </a:bodyPr>
          <a:lstStyle/>
          <a:p>
            <a:pPr algn="ctr"/>
            <a:endParaRPr lang="uk-UA" b="1" ker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936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 bwMode="auto">
          <a:xfrm>
            <a:off x="4832999" y="5393127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АЄ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uk-UA" sz="1800" dirty="0"/>
              <a:t>Яким стане цільове валютне регулювання завдяки Закону?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29910" y="5039421"/>
            <a:ext cx="676644" cy="284343"/>
          </a:xfrm>
        </p:spPr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7</a:t>
            </a:fld>
            <a:endParaRPr lang="uk-UA" dirty="0">
              <a:solidFill>
                <a:srgbClr val="255327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728999" y="1511335"/>
            <a:ext cx="8177555" cy="167754"/>
            <a:chOff x="1015972" y="1536145"/>
            <a:chExt cx="7817511" cy="223672"/>
          </a:xfrm>
        </p:grpSpPr>
        <p:sp>
          <p:nvSpPr>
            <p:cNvPr id="6" name="TextBox 5"/>
            <p:cNvSpPr txBox="1"/>
            <p:nvPr/>
          </p:nvSpPr>
          <p:spPr>
            <a:xfrm>
              <a:off x="1640519" y="1536145"/>
              <a:ext cx="2539931" cy="19535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282"/>
                </a:spcBef>
                <a:buClr>
                  <a:srgbClr val="000000"/>
                </a:buClr>
                <a:buSzPct val="100000"/>
              </a:pPr>
              <a:r>
                <a:rPr lang="uk-UA" sz="1058" b="1" dirty="0">
                  <a:latin typeface="Arial" panose="020B0604020202020204" pitchFamily="34" charset="0"/>
                  <a:cs typeface="Arial" panose="020B0604020202020204" pitchFamily="34" charset="0"/>
                </a:rPr>
                <a:t>ЯК Є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975406" y="1536145"/>
              <a:ext cx="3858077" cy="195353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282"/>
                </a:spcBef>
                <a:buClr>
                  <a:srgbClr val="000000"/>
                </a:buClr>
                <a:buSzPct val="100000"/>
              </a:pPr>
              <a:r>
                <a:rPr lang="uk-UA" sz="1058" b="1" dirty="0">
                  <a:latin typeface="Arial" panose="020B0604020202020204" pitchFamily="34" charset="0"/>
                  <a:cs typeface="Arial" panose="020B0604020202020204" pitchFamily="34" charset="0"/>
                </a:rPr>
                <a:t>ЯК БУДЕ</a:t>
              </a: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15972" y="1759817"/>
              <a:ext cx="7804340" cy="0"/>
              <a:chOff x="1079998" y="2304000"/>
              <a:chExt cx="8296176" cy="0"/>
            </a:xfrm>
          </p:grpSpPr>
          <p:cxnSp>
            <p:nvCxnSpPr>
              <p:cNvPr id="9" name="Прямая соединительная линия 8"/>
              <p:cNvCxnSpPr/>
              <p:nvPr/>
            </p:nvCxnSpPr>
            <p:spPr>
              <a:xfrm>
                <a:off x="1079998" y="2304000"/>
                <a:ext cx="4027815" cy="0"/>
              </a:xfrm>
              <a:prstGeom prst="line">
                <a:avLst/>
              </a:prstGeom>
              <a:ln w="25400" cmpd="sng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Прямая соединительная линия 9"/>
              <p:cNvCxnSpPr/>
              <p:nvPr/>
            </p:nvCxnSpPr>
            <p:spPr>
              <a:xfrm>
                <a:off x="5288959" y="2304000"/>
                <a:ext cx="4087215" cy="0"/>
              </a:xfrm>
              <a:prstGeom prst="line">
                <a:avLst/>
              </a:prstGeom>
              <a:ln w="25400" cmpd="sng">
                <a:solidFill>
                  <a:schemeClr val="tx1"/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Прямоугольник 11"/>
          <p:cNvSpPr/>
          <p:nvPr/>
        </p:nvSpPr>
        <p:spPr bwMode="auto">
          <a:xfrm>
            <a:off x="4833000" y="2331772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 marL="201604" indent="-201604">
              <a:spcAft>
                <a:spcPts val="212"/>
              </a:spcAft>
              <a:buSzPct val="100000"/>
              <a:buFont typeface="Wingdings" charset="2"/>
              <a:buChar char="§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А ГЕНЕРАЛЬНА ЛІЦЕНЗІЯ</a:t>
            </a:r>
          </a:p>
          <a:p>
            <a:pPr marL="201604" indent="-201604">
              <a:spcAft>
                <a:spcPts val="212"/>
              </a:spcAft>
              <a:buSzPct val="100000"/>
              <a:buFont typeface="Wingdings" charset="2"/>
              <a:buChar char="§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НДИВІДУАЛЬНИХ ЛІЦЕНЗІЙ НЕМАЄ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729000" y="2331771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uk-UA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 Narrow"/>
              </a:rPr>
              <a:t>ГЕНЕРАЛЬНІ ЛІЦЕНЗІЇ </a:t>
            </a:r>
          </a:p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uk-UA" sz="105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 Narrow"/>
              </a:rPr>
              <a:t>ТА ІНДИВІДУАЛЬНІ ЛІЦЕНЗІЇ</a:t>
            </a:r>
            <a:endParaRPr lang="uk-UA" sz="105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 Narrow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833000" y="1721565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ЗВОЛЕНІ ВСІ ОПЕРАЦІЇ, ЩО ПРЯМО НЕ ЗАБОРОНЕНІ ЗАКОНОМ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729000" y="1721564"/>
            <a:ext cx="4050000" cy="513000"/>
          </a:xfrm>
          <a:prstGeom prst="rect">
            <a:avLst/>
          </a:prstGeom>
          <a:solidFill>
            <a:srgbClr val="057C4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uk-UA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 Narrow"/>
              </a:rPr>
              <a:t>ДОЗВОЛЕНІ ЛИШЕ ОПЕРАЦІЇ, ЩО ПРЯМО ПЕРЕДБАЧЕНІ ДЕКРЕТОМ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4833000" y="3550937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ОБМЕЖЕНЬ.</a:t>
            </a:r>
            <a:r>
              <a:rPr lang="uk-UA" sz="105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НФОРМАЦІЯ ЩОДО СТРОКІВ ЗАКРИТТЯ КОНТРАКТІВ ЗЕД ЗБИРАЄТЬСЯ ДЛЯ СТАТИСТИЧНИХ ЦІЛЕЙ </a:t>
            </a: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729000" y="3550937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uk-UA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ИЧНИЙ СТРОК РОЗРАХУНКІВ ЗА ОПЕРАЦІЯМИ ЗЕД </a:t>
            </a:r>
            <a:r>
              <a:rPr lang="uk-UA" sz="105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/180 </a:t>
            </a:r>
            <a:r>
              <a:rPr lang="uk-UA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НІВ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4833000" y="2941355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ЮТНИЙ НАГЛЯД ДЛЯ </a:t>
            </a:r>
            <a:r>
              <a:rPr lang="uk-UA" sz="105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СПОРТНО-ІМПОРТНИХ ОПЕРАЦІЙ </a:t>
            </a: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УМУ, ЩО ПЕРЕВИЩУЄ ПОРІГ ФІН МОНІТОРИНГУ (150 ТИС. ГРН)</a:t>
            </a: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728999" y="2941355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ru-RU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 Narrow"/>
              </a:rPr>
              <a:t>ВСІ ОПЕРАЦІЇ ПІДПАДАЮТЬ ПІД ВАЛЮТНИЙ КОНТРОЛЬ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4832999" y="4782920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АЄ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28999" y="4782920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Arial Narrow"/>
                <a:cs typeface="Arial" panose="020B0604020202020204" pitchFamily="34" charset="0"/>
                <a:sym typeface="Arial Narrow"/>
              </a:rPr>
              <a:t>ПРИПИНЕННЯ ЗЕД ПРИ ПОРУШЕННІ СТРОКІВ ЗАКРИТТЯ КОНТРАКТІВ </a:t>
            </a:r>
            <a:endParaRPr lang="uk-UA" sz="1050" b="1" dirty="0">
              <a:solidFill>
                <a:schemeClr val="bg1"/>
              </a:solidFill>
              <a:latin typeface="Arial" panose="020B0604020202020204" pitchFamily="34" charset="0"/>
              <a:ea typeface="Arial Narrow"/>
              <a:cs typeface="Arial" panose="020B0604020202020204" pitchFamily="34" charset="0"/>
              <a:sym typeface="Arial Narrow"/>
            </a:endParaRP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4832999" y="4172714"/>
            <a:ext cx="4050000" cy="513000"/>
          </a:xfrm>
          <a:prstGeom prst="rect">
            <a:avLst/>
          </a:prstGeom>
          <a:pattFill prst="narHorz">
            <a:fgClr>
              <a:srgbClr val="F6BC1C"/>
            </a:fgClr>
            <a:bgClr>
              <a:srgbClr val="FDEFD7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1000" tIns="32258" rIns="8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212"/>
              </a:spcAft>
              <a:buSzPct val="100000"/>
            </a:pPr>
            <a:r>
              <a:rPr lang="uk-UA" sz="105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ННЯ ІНФОРМАЦІЇ ДЛЯ СТАТИСТИЧНИХ ЦІЛЕЙ</a:t>
            </a:r>
            <a:endParaRPr lang="uk-UA" sz="105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28999" y="4172714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Arial Narrow"/>
                <a:cs typeface="Arial" panose="020B0604020202020204" pitchFamily="34" charset="0"/>
                <a:sym typeface="Arial Narrow"/>
              </a:rPr>
              <a:t>РЕЄСТРАЦІЯ КРЕДИТІВ З-ЗА КОРДОНУ</a:t>
            </a:r>
          </a:p>
        </p:txBody>
      </p:sp>
      <p:sp>
        <p:nvSpPr>
          <p:cNvPr id="32" name="Нашивка 31"/>
          <p:cNvSpPr/>
          <p:nvPr/>
        </p:nvSpPr>
        <p:spPr>
          <a:xfrm>
            <a:off x="4671000" y="1721564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Нашивка 32"/>
          <p:cNvSpPr/>
          <p:nvPr/>
        </p:nvSpPr>
        <p:spPr>
          <a:xfrm>
            <a:off x="4671000" y="2331903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ашивка 33"/>
          <p:cNvSpPr/>
          <p:nvPr/>
        </p:nvSpPr>
        <p:spPr>
          <a:xfrm>
            <a:off x="4671000" y="2941355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4671000" y="2941355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4671000" y="3550937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4670999" y="4782920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4670999" y="4172714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728999" y="5393127"/>
            <a:ext cx="4050000" cy="513000"/>
          </a:xfrm>
          <a:prstGeom prst="rect">
            <a:avLst/>
          </a:prstGeom>
          <a:solidFill>
            <a:srgbClr val="1C7A3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62000" tIns="32258" rIns="351000" bIns="32258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82"/>
              </a:spcBef>
              <a:buClr>
                <a:srgbClr val="000000"/>
              </a:buClr>
              <a:buSzPct val="100000"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Arial Narrow"/>
                <a:cs typeface="Arial" panose="020B0604020202020204" pitchFamily="34" charset="0"/>
                <a:sym typeface="Arial Narrow"/>
              </a:rPr>
              <a:t>ДЕКЛАРУВАННЯ ВАЛЮТНИХ ЦІННОСТЕЙ ЗА КОРДОНОМ</a:t>
            </a:r>
          </a:p>
        </p:txBody>
      </p:sp>
      <p:sp>
        <p:nvSpPr>
          <p:cNvPr id="44" name="Нашивка 43"/>
          <p:cNvSpPr/>
          <p:nvPr/>
        </p:nvSpPr>
        <p:spPr>
          <a:xfrm>
            <a:off x="4670999" y="5393127"/>
            <a:ext cx="270000" cy="513000"/>
          </a:xfrm>
          <a:prstGeom prst="chevron">
            <a:avLst>
              <a:gd name="adj" fmla="val 31600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3726" tIns="53726" rIns="53726" bIns="80589" rtlCol="0" anchor="t" anchorCtr="0">
            <a:noAutofit/>
          </a:bodyPr>
          <a:lstStyle/>
          <a:p>
            <a:pPr defTabSz="682305">
              <a:lnSpc>
                <a:spcPct val="90000"/>
              </a:lnSpc>
              <a:spcBef>
                <a:spcPts val="299"/>
              </a:spcBef>
            </a:pPr>
            <a:endParaRPr lang="uk-UA" sz="1049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Номер слайда 3"/>
          <p:cNvSpPr txBox="1">
            <a:spLocks/>
          </p:cNvSpPr>
          <p:nvPr/>
        </p:nvSpPr>
        <p:spPr bwMode="auto">
          <a:xfrm>
            <a:off x="8232183" y="6500848"/>
            <a:ext cx="676644" cy="28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7557" tIns="33782" rIns="67557" bIns="33782" numCol="1" anchor="ctr" anchorCtr="0" compatLnSpc="1">
            <a:prstTxWarp prst="textNoShape">
              <a:avLst/>
            </a:prstTxWarp>
          </a:bodyPr>
          <a:lstStyle>
            <a:defPPr>
              <a:defRPr lang="uk-UA"/>
            </a:defPPr>
            <a:lvl1pPr marL="0" algn="ctr" defTabSz="900957" rtl="0" eaLnBrk="1" latinLnBrk="0" hangingPunct="1">
              <a:defRPr sz="1300" b="0" u="none" kern="120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dirty="0">
                <a:solidFill>
                  <a:srgbClr val="1C7A3B"/>
                </a:solidFill>
                <a:latin typeface="+mn-lt"/>
                <a:cs typeface="Times New Roman" panose="02020603050405020304" pitchFamily="18" charset="0"/>
              </a:rPr>
              <a:t>6</a:t>
            </a:r>
            <a:endParaRPr lang="uk-UA" sz="1050" dirty="0">
              <a:solidFill>
                <a:srgbClr val="1C7A3B"/>
              </a:solidFill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377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000" y="360000"/>
            <a:ext cx="7920000" cy="720000"/>
          </a:xfrm>
        </p:spPr>
        <p:txBody>
          <a:bodyPr>
            <a:normAutofit/>
          </a:bodyPr>
          <a:lstStyle/>
          <a:p>
            <a:r>
              <a:rPr lang="uk-UA" sz="1800" dirty="0"/>
              <a:t>Перехід від </a:t>
            </a:r>
            <a:r>
              <a:rPr lang="uk-UA" sz="1800" dirty="0" smtClean="0"/>
              <a:t>Декрету </a:t>
            </a:r>
            <a:r>
              <a:rPr lang="uk-UA" sz="1800" dirty="0"/>
              <a:t>до нового </a:t>
            </a:r>
            <a:r>
              <a:rPr lang="uk-UA" sz="1800" dirty="0" smtClean="0"/>
              <a:t>Закону</a:t>
            </a:r>
            <a:endParaRPr lang="uk-UA" sz="1800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269003" y="2003143"/>
            <a:ext cx="1914995" cy="2499106"/>
          </a:xfrm>
          <a:prstGeom prst="rect">
            <a:avLst/>
          </a:prstGeom>
          <a:pattFill prst="wd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750" u="sng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185000" y="3341250"/>
            <a:ext cx="2646000" cy="540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35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Закон України «Про валюту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324003" y="1523641"/>
            <a:ext cx="3456000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Перехідний період: 6 місяці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4185000" y="3989250"/>
            <a:ext cx="2646000" cy="324000"/>
            <a:chOff x="3671999" y="3420000"/>
            <a:chExt cx="5691840" cy="432000"/>
          </a:xfrm>
        </p:grpSpPr>
        <p:sp>
          <p:nvSpPr>
            <p:cNvPr id="12" name="Прямоугольник 11"/>
            <p:cNvSpPr/>
            <p:nvPr/>
          </p:nvSpPr>
          <p:spPr bwMode="auto">
            <a:xfrm>
              <a:off x="3671999" y="3744000"/>
              <a:ext cx="5691840" cy="108000"/>
            </a:xfrm>
            <a:prstGeom prst="rect">
              <a:avLst/>
            </a:prstGeom>
            <a:solidFill>
              <a:srgbClr val="93CF96"/>
            </a:solidFill>
            <a:ln w="9525" cap="flat" cmpd="sng" algn="ctr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 dirty="0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60" name="Прямоугольник 59"/>
            <p:cNvSpPr/>
            <p:nvPr/>
          </p:nvSpPr>
          <p:spPr bwMode="auto">
            <a:xfrm>
              <a:off x="3671999" y="3636000"/>
              <a:ext cx="3816000" cy="108000"/>
            </a:xfrm>
            <a:prstGeom prst="rect">
              <a:avLst/>
            </a:prstGeom>
            <a:solidFill>
              <a:srgbClr val="93CF96"/>
            </a:solidFill>
            <a:ln w="9525" cap="flat" cmpd="sng" algn="ctr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 dirty="0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 bwMode="auto">
            <a:xfrm>
              <a:off x="3671999" y="3420000"/>
              <a:ext cx="1440000" cy="108000"/>
            </a:xfrm>
            <a:prstGeom prst="rect">
              <a:avLst/>
            </a:prstGeom>
            <a:solidFill>
              <a:srgbClr val="93CF96"/>
            </a:solidFill>
            <a:ln w="9525" cap="flat" cmpd="sng" algn="ctr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 dirty="0"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 bwMode="auto">
            <a:xfrm>
              <a:off x="3671999" y="3528000"/>
              <a:ext cx="2052000" cy="108000"/>
            </a:xfrm>
            <a:prstGeom prst="rect">
              <a:avLst/>
            </a:prstGeom>
            <a:solidFill>
              <a:srgbClr val="93CF96"/>
            </a:solidFill>
            <a:ln w="9525" cap="flat" cmpd="sng" algn="ctr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 dirty="0">
                <a:latin typeface="Arial" pitchFamily="34" charset="0"/>
                <a:ea typeface="MS PGothic" pitchFamily="34" charset="-128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 bwMode="auto">
          <a:xfrm>
            <a:off x="2269003" y="3989250"/>
            <a:ext cx="1917000" cy="324000"/>
          </a:xfrm>
          <a:prstGeom prst="rect">
            <a:avLst/>
          </a:prstGeom>
          <a:pattFill prst="wdDnDiag">
            <a:fgClr>
              <a:srgbClr val="BFBFBF"/>
            </a:fgClr>
            <a:bgClr>
              <a:srgbClr val="DEF0D3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350" b="1" dirty="0">
                <a:latin typeface="Arial" pitchFamily="34" charset="0"/>
                <a:ea typeface="MS PGothic" pitchFamily="34" charset="-128"/>
              </a:rPr>
              <a:t>Розробка нових НПА</a:t>
            </a:r>
          </a:p>
        </p:txBody>
      </p:sp>
      <p:cxnSp>
        <p:nvCxnSpPr>
          <p:cNvPr id="79" name="Прямая соединительная линия 78"/>
          <p:cNvCxnSpPr/>
          <p:nvPr/>
        </p:nvCxnSpPr>
        <p:spPr bwMode="auto">
          <a:xfrm>
            <a:off x="2269003" y="1991250"/>
            <a:ext cx="0" cy="2511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Прямоугольник 63"/>
          <p:cNvSpPr/>
          <p:nvPr/>
        </p:nvSpPr>
        <p:spPr bwMode="auto">
          <a:xfrm>
            <a:off x="728999" y="2801250"/>
            <a:ext cx="3456000" cy="324000"/>
          </a:xfrm>
          <a:prstGeom prst="rect">
            <a:avLst/>
          </a:prstGeom>
          <a:solidFill>
            <a:srgbClr val="93CF96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35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Нормативно-правові акти НБУ (НПА)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28999" y="2153250"/>
            <a:ext cx="3456000" cy="540000"/>
          </a:xfrm>
          <a:prstGeom prst="rect">
            <a:avLst/>
          </a:prstGeom>
          <a:solidFill>
            <a:srgbClr val="1C7A3B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350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Декрет КМУ «Про систему валютного регулювання…»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 bwMode="auto">
          <a:xfrm>
            <a:off x="6831000" y="3125250"/>
            <a:ext cx="0" cy="13770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Прямая соединительная линия 65"/>
          <p:cNvCxnSpPr/>
          <p:nvPr/>
        </p:nvCxnSpPr>
        <p:spPr bwMode="auto">
          <a:xfrm>
            <a:off x="2269003" y="1991250"/>
            <a:ext cx="19170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solid"/>
            <a:round/>
            <a:headEnd type="diamond" w="med" len="med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Прямая соединительная линия 76"/>
          <p:cNvCxnSpPr/>
          <p:nvPr/>
        </p:nvCxnSpPr>
        <p:spPr bwMode="auto">
          <a:xfrm>
            <a:off x="4185000" y="1991250"/>
            <a:ext cx="0" cy="251100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Соединительная линия уступом 66"/>
          <p:cNvCxnSpPr>
            <a:endCxn id="17" idx="2"/>
          </p:cNvCxnSpPr>
          <p:nvPr/>
        </p:nvCxnSpPr>
        <p:spPr bwMode="auto">
          <a:xfrm rot="10800000">
            <a:off x="3052003" y="1823723"/>
            <a:ext cx="192206" cy="169138"/>
          </a:xfrm>
          <a:prstGeom prst="bentConnector2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TextBox 58"/>
          <p:cNvSpPr txBox="1"/>
          <p:nvPr/>
        </p:nvSpPr>
        <p:spPr>
          <a:xfrm>
            <a:off x="4322834" y="2230279"/>
            <a:ext cx="2368326" cy="6924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uk-UA" sz="135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одальша лібералізація обмежень </a:t>
            </a:r>
            <a:r>
              <a:rPr lang="en-US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з </a:t>
            </a:r>
            <a:r>
              <a:rPr lang="ru-RU" sz="1200" b="1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урахуванням</a:t>
            </a:r>
            <a:r>
              <a:rPr lang="ru-RU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жньої карти</a:t>
            </a:r>
            <a:r>
              <a:rPr lang="en-US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з </a:t>
            </a:r>
            <a:r>
              <a:rPr lang="uk-UA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МВФ)</a:t>
            </a:r>
            <a:endParaRPr lang="uk-UA" sz="1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 bwMode="auto">
          <a:xfrm>
            <a:off x="6831000" y="3125250"/>
            <a:ext cx="20250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accent1"/>
            </a:solidFill>
            <a:prstDash val="solid"/>
            <a:round/>
            <a:headEnd type="diamond" w="med" len="med"/>
            <a:tailEnd type="diamond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Группа 6"/>
          <p:cNvGrpSpPr/>
          <p:nvPr/>
        </p:nvGrpSpPr>
        <p:grpSpPr>
          <a:xfrm>
            <a:off x="729000" y="4448253"/>
            <a:ext cx="8169880" cy="1696156"/>
            <a:chOff x="972000" y="3870000"/>
            <a:chExt cx="10893173" cy="2261541"/>
          </a:xfrm>
        </p:grpSpPr>
        <p:sp>
          <p:nvSpPr>
            <p:cNvPr id="16" name="TextBox 15"/>
            <p:cNvSpPr txBox="1"/>
            <p:nvPr/>
          </p:nvSpPr>
          <p:spPr>
            <a:xfrm>
              <a:off x="973151" y="4409017"/>
              <a:ext cx="2087924" cy="123110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r"/>
              <a:r>
                <a:rPr lang="uk-UA" sz="135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Опублікування</a:t>
              </a:r>
              <a:r>
                <a:rPr lang="uk-UA" sz="1350" kern="0" dirty="0">
                  <a:latin typeface="Arial" panose="020B0604020202020204" pitchFamily="34" charset="0"/>
                  <a:cs typeface="Arial" panose="020B0604020202020204" pitchFamily="34" charset="0"/>
                </a:rPr>
                <a:t> прийнятого ВР Закону України «Про валюту» 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976000" y="4346437"/>
              <a:ext cx="2628000" cy="178510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uk-UA" sz="1350" kern="0" dirty="0">
                  <a:latin typeface="Arial" panose="020B0604020202020204" pitchFamily="34" charset="0"/>
                  <a:cs typeface="Arial" panose="020B0604020202020204" pitchFamily="34" charset="0"/>
                </a:rPr>
                <a:t>Введення в дію Закону «Про міжнародну співпрацю України в галузі оподаткування» </a:t>
              </a:r>
              <a:r>
                <a:rPr lang="uk-UA" sz="135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(Протидія BEPS)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284000" y="4459905"/>
              <a:ext cx="1746399" cy="954108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uk-UA" sz="135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Набрання чинності </a:t>
              </a:r>
              <a:r>
                <a:rPr lang="uk-UA" sz="1350" kern="0" dirty="0">
                  <a:latin typeface="Arial" panose="020B0604020202020204" pitchFamily="34" charset="0"/>
                  <a:cs typeface="Arial" panose="020B0604020202020204" pitchFamily="34" charset="0"/>
                </a:rPr>
                <a:t>Законом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054244" y="4386291"/>
              <a:ext cx="1677923" cy="677108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uk-UA" sz="1350" kern="0" dirty="0">
                  <a:latin typeface="Arial" panose="020B0604020202020204" pitchFamily="34" charset="0"/>
                  <a:cs typeface="Arial" panose="020B0604020202020204" pitchFamily="34" charset="0"/>
                </a:rPr>
                <a:t>Рекомендації  </a:t>
              </a:r>
              <a:r>
                <a:rPr lang="uk-UA" sz="1350" b="1" kern="0" dirty="0">
                  <a:latin typeface="Arial" panose="020B0604020202020204" pitchFamily="34" charset="0"/>
                  <a:cs typeface="Arial" panose="020B0604020202020204" pitchFamily="34" charset="0"/>
                </a:rPr>
                <a:t>РФС</a:t>
              </a:r>
            </a:p>
          </p:txBody>
        </p:sp>
        <p:cxnSp>
          <p:nvCxnSpPr>
            <p:cNvPr id="34" name="Соединительная линия уступом 33"/>
            <p:cNvCxnSpPr>
              <a:endCxn id="16" idx="3"/>
            </p:cNvCxnSpPr>
            <p:nvPr/>
          </p:nvCxnSpPr>
          <p:spPr bwMode="auto">
            <a:xfrm rot="16200000" flipH="1">
              <a:off x="2519923" y="4483417"/>
              <a:ext cx="1046567" cy="35737"/>
            </a:xfrm>
            <a:prstGeom prst="bentConnector4">
              <a:avLst>
                <a:gd name="adj1" fmla="val 20592"/>
                <a:gd name="adj2" fmla="val 952890"/>
              </a:avLst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Соединительная линия уступом 36"/>
            <p:cNvCxnSpPr>
              <a:endCxn id="22" idx="1"/>
            </p:cNvCxnSpPr>
            <p:nvPr/>
          </p:nvCxnSpPr>
          <p:spPr bwMode="auto">
            <a:xfrm rot="5400000">
              <a:off x="8710054" y="4322189"/>
              <a:ext cx="746845" cy="58467"/>
            </a:xfrm>
            <a:prstGeom prst="bentConnector4">
              <a:avLst>
                <a:gd name="adj1" fmla="val 27334"/>
                <a:gd name="adj2" fmla="val 621323"/>
              </a:avLst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Соединительная линия уступом 46"/>
            <p:cNvCxnSpPr>
              <a:endCxn id="18" idx="0"/>
            </p:cNvCxnSpPr>
            <p:nvPr/>
          </p:nvCxnSpPr>
          <p:spPr bwMode="auto">
            <a:xfrm rot="16200000" flipH="1">
              <a:off x="6998109" y="4054547"/>
              <a:ext cx="404443" cy="17933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" name="Прямая соединительная линия 3"/>
            <p:cNvCxnSpPr/>
            <p:nvPr/>
          </p:nvCxnSpPr>
          <p:spPr bwMode="auto">
            <a:xfrm>
              <a:off x="972000" y="3960000"/>
              <a:ext cx="10548000" cy="0"/>
            </a:xfrm>
            <a:prstGeom prst="line">
              <a:avLst/>
            </a:prstGeom>
            <a:solidFill>
              <a:schemeClr val="accent1"/>
            </a:solidFill>
            <a:ln w="444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" name="Равнобедренный треугольник 103"/>
            <p:cNvSpPr/>
            <p:nvPr/>
          </p:nvSpPr>
          <p:spPr bwMode="auto">
            <a:xfrm rot="5400000">
              <a:off x="11595173" y="3780000"/>
              <a:ext cx="180000" cy="360000"/>
            </a:xfrm>
            <a:prstGeom prst="triangle">
              <a:avLst/>
            </a:prstGeom>
            <a:solidFill>
              <a:srgbClr val="7F7F7F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uk-UA" sz="750" u="sng">
                <a:latin typeface="Arial" pitchFamily="34" charset="0"/>
                <a:ea typeface="MS PGothic" pitchFamily="34" charset="-128"/>
              </a:endParaRPr>
            </a:p>
          </p:txBody>
        </p:sp>
        <p:cxnSp>
          <p:nvCxnSpPr>
            <p:cNvPr id="40" name="Соединительная линия уступом 39"/>
            <p:cNvCxnSpPr>
              <a:endCxn id="21" idx="0"/>
            </p:cNvCxnSpPr>
            <p:nvPr/>
          </p:nvCxnSpPr>
          <p:spPr bwMode="auto">
            <a:xfrm rot="5400000">
              <a:off x="5127648" y="4007549"/>
              <a:ext cx="481908" cy="42280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3" name="Прямоугольник 32"/>
          <p:cNvSpPr/>
          <p:nvPr/>
        </p:nvSpPr>
        <p:spPr bwMode="auto">
          <a:xfrm>
            <a:off x="6834532" y="3341250"/>
            <a:ext cx="2058247" cy="540000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1350" b="1" dirty="0">
              <a:solidFill>
                <a:schemeClr val="bg1"/>
              </a:solidFill>
              <a:latin typeface="Arial" pitchFamily="34" charset="0"/>
              <a:ea typeface="MS PGothic" pitchFamily="34" charset="-128"/>
            </a:endParaRPr>
          </a:p>
        </p:txBody>
      </p:sp>
      <p:cxnSp>
        <p:nvCxnSpPr>
          <p:cNvPr id="35" name="Соединительная линия уступом 34"/>
          <p:cNvCxnSpPr/>
          <p:nvPr/>
        </p:nvCxnSpPr>
        <p:spPr bwMode="auto">
          <a:xfrm rot="16200000" flipH="1">
            <a:off x="5283747" y="3116076"/>
            <a:ext cx="303332" cy="13450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Box 35"/>
          <p:cNvSpPr txBox="1"/>
          <p:nvPr/>
        </p:nvSpPr>
        <p:spPr>
          <a:xfrm>
            <a:off x="6676853" y="2788150"/>
            <a:ext cx="2368326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uk-UA" sz="1350" b="1" kern="0" dirty="0">
                <a:latin typeface="Arial" panose="020B0604020202020204" pitchFamily="34" charset="0"/>
                <a:cs typeface="Arial" panose="020B0604020202020204" pitchFamily="34" charset="0"/>
              </a:rPr>
              <a:t>Вільний рух капіталу</a:t>
            </a:r>
          </a:p>
        </p:txBody>
      </p:sp>
    </p:spTree>
    <p:extLst>
      <p:ext uri="{BB962C8B-B14F-4D97-AF65-F5344CB8AC3E}">
        <p14:creationId xmlns:p14="http://schemas.microsoft.com/office/powerpoint/2010/main" val="3257513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2"/>
          <p:cNvSpPr txBox="1">
            <a:spLocks/>
          </p:cNvSpPr>
          <p:nvPr/>
        </p:nvSpPr>
        <p:spPr bwMode="auto">
          <a:xfrm>
            <a:off x="1099662" y="106139"/>
            <a:ext cx="7787201" cy="775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2pPr>
            <a:lvl3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3pPr>
            <a:lvl4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4pPr>
            <a:lvl5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  <a:ea typeface="MS PGothic" pitchFamily="34" charset="-128"/>
              </a:defRPr>
            </a:lvl5pPr>
            <a:lvl6pPr marL="4572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r>
              <a:rPr lang="uk-UA" sz="1505" kern="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Дорожня карта валютної лібералізації</a:t>
            </a:r>
          </a:p>
        </p:txBody>
      </p:sp>
      <p:grpSp>
        <p:nvGrpSpPr>
          <p:cNvPr id="90" name="Группа 89"/>
          <p:cNvGrpSpPr/>
          <p:nvPr/>
        </p:nvGrpSpPr>
        <p:grpSpPr>
          <a:xfrm>
            <a:off x="560288" y="6058737"/>
            <a:ext cx="8326574" cy="472004"/>
            <a:chOff x="396365" y="6397807"/>
            <a:chExt cx="8893441" cy="504056"/>
          </a:xfrm>
        </p:grpSpPr>
        <p:sp>
          <p:nvSpPr>
            <p:cNvPr id="29" name="TextBox 28"/>
            <p:cNvSpPr txBox="1"/>
            <p:nvPr/>
          </p:nvSpPr>
          <p:spPr>
            <a:xfrm>
              <a:off x="396365" y="6397807"/>
              <a:ext cx="8893441" cy="504056"/>
            </a:xfrm>
            <a:prstGeom prst="rect">
              <a:avLst/>
            </a:prstGeom>
            <a:noFill/>
            <a:ln>
              <a:solidFill>
                <a:schemeClr val="accent2"/>
              </a:solidFill>
              <a:prstDash val="lgDash"/>
            </a:ln>
          </p:spPr>
          <p:txBody>
            <a:bodyPr wrap="square" lIns="83892" rtlCol="0" anchor="ctr">
              <a:noAutofit/>
            </a:bodyPr>
            <a:lstStyle/>
            <a:p>
              <a:pPr marL="332963" defTabSz="856301" eaLnBrk="0" hangingPunct="0"/>
              <a:r>
                <a:rPr lang="uk-UA" sz="1124" dirty="0">
                  <a:solidFill>
                    <a:prstClr val="black"/>
                  </a:solidFill>
                  <a:ea typeface="MS PGothic" pitchFamily="34" charset="-128"/>
                </a:rPr>
                <a:t>Перехід до наступного етапу валютної лібералізації </a:t>
              </a:r>
              <a:r>
                <a:rPr lang="uk-UA" sz="1124" dirty="0" smtClean="0">
                  <a:solidFill>
                    <a:prstClr val="black"/>
                  </a:solidFill>
                  <a:ea typeface="MS PGothic" pitchFamily="34" charset="-128"/>
                </a:rPr>
                <a:t>враховуватиме впровадження </a:t>
              </a:r>
              <a:r>
                <a:rPr lang="uk-UA" sz="1124" dirty="0">
                  <a:solidFill>
                    <a:prstClr val="black"/>
                  </a:solidFill>
                  <a:ea typeface="MS PGothic" pitchFamily="34" charset="-128"/>
                </a:rPr>
                <a:t>рекомендацій ОЕСР з протидії </a:t>
              </a:r>
              <a:r>
                <a:rPr lang="en-US" sz="1124" dirty="0">
                  <a:solidFill>
                    <a:prstClr val="black"/>
                  </a:solidFill>
                  <a:ea typeface="MS PGothic" pitchFamily="34" charset="-128"/>
                </a:rPr>
                <a:t>BEPS </a:t>
              </a:r>
              <a:r>
                <a:rPr lang="uk-UA" sz="1124" dirty="0">
                  <a:solidFill>
                    <a:prstClr val="black"/>
                  </a:solidFill>
                  <a:ea typeface="MS PGothic" pitchFamily="34" charset="-128"/>
                </a:rPr>
                <a:t>та єдиного стандарту автоматичного обміну фінансовою інформацією</a:t>
              </a:r>
            </a:p>
          </p:txBody>
        </p:sp>
        <p:sp>
          <p:nvSpPr>
            <p:cNvPr id="30" name="Oval 5"/>
            <p:cNvSpPr/>
            <p:nvPr/>
          </p:nvSpPr>
          <p:spPr bwMode="auto">
            <a:xfrm>
              <a:off x="540357" y="6522087"/>
              <a:ext cx="235760" cy="235760"/>
            </a:xfrm>
            <a:prstGeom prst="ellipse">
              <a:avLst/>
            </a:prstGeom>
            <a:solidFill>
              <a:schemeClr val="accent2"/>
            </a:solidFill>
            <a:ln w="190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52362" eaLnBrk="0" hangingPunct="0"/>
              <a:r>
                <a:rPr lang="uk-UA" sz="1586" b="1" dirty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  <a:cs typeface="Arial" panose="020B0604020202020204" pitchFamily="34" charset="0"/>
                </a:rPr>
                <a:t>!</a:t>
              </a:r>
              <a:endParaRPr lang="en-GB" sz="1586" b="1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560288" y="1257421"/>
            <a:ext cx="8327923" cy="4234581"/>
            <a:chOff x="575998" y="913867"/>
            <a:chExt cx="8893440" cy="4522135"/>
          </a:xfrm>
        </p:grpSpPr>
        <p:grpSp>
          <p:nvGrpSpPr>
            <p:cNvPr id="83" name="Группа 82"/>
            <p:cNvGrpSpPr/>
            <p:nvPr/>
          </p:nvGrpSpPr>
          <p:grpSpPr>
            <a:xfrm>
              <a:off x="575999" y="1440000"/>
              <a:ext cx="8893439" cy="2736002"/>
              <a:chOff x="575999" y="1440000"/>
              <a:chExt cx="8893439" cy="2736002"/>
            </a:xfrm>
          </p:grpSpPr>
          <p:sp>
            <p:nvSpPr>
              <p:cNvPr id="70" name="Прямоугольник 69"/>
              <p:cNvSpPr/>
              <p:nvPr/>
            </p:nvSpPr>
            <p:spPr bwMode="auto">
              <a:xfrm>
                <a:off x="575999" y="1440000"/>
                <a:ext cx="8893439" cy="273600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85626" tIns="42812" rIns="85626" bIns="42812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56301" eaLnBrk="0" hangingPunct="0"/>
                <a:endParaRPr lang="uk-UA" sz="937" u="sng" dirty="0">
                  <a:solidFill>
                    <a:prstClr val="black"/>
                  </a:solidFill>
                  <a:latin typeface="Arial" pitchFamily="34" charset="0"/>
                  <a:ea typeface="MS PGothic" pitchFamily="34" charset="-128"/>
                </a:endParaRPr>
              </a:p>
            </p:txBody>
          </p:sp>
          <p:cxnSp>
            <p:nvCxnSpPr>
              <p:cNvPr id="62" name="Прямая соединительная линия 61"/>
              <p:cNvCxnSpPr/>
              <p:nvPr/>
            </p:nvCxnSpPr>
            <p:spPr bwMode="auto">
              <a:xfrm>
                <a:off x="576000" y="4176002"/>
                <a:ext cx="8892000" cy="0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rgbClr val="A6A6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" name="Прямая соединительная линия 7"/>
              <p:cNvCxnSpPr/>
              <p:nvPr/>
            </p:nvCxnSpPr>
            <p:spPr bwMode="auto">
              <a:xfrm>
                <a:off x="972000" y="2124002"/>
                <a:ext cx="84960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65000"/>
                  </a:schemeClr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5" name="Прямая соединительная линия 34"/>
              <p:cNvCxnSpPr/>
              <p:nvPr/>
            </p:nvCxnSpPr>
            <p:spPr bwMode="auto">
              <a:xfrm>
                <a:off x="972000" y="2808002"/>
                <a:ext cx="84960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65000"/>
                  </a:schemeClr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6" name="Прямая соединительная линия 35"/>
              <p:cNvCxnSpPr/>
              <p:nvPr/>
            </p:nvCxnSpPr>
            <p:spPr bwMode="auto">
              <a:xfrm>
                <a:off x="972000" y="3492002"/>
                <a:ext cx="84960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>
                    <a:lumMod val="65000"/>
                  </a:schemeClr>
                </a:solidFill>
                <a:prstDash val="lg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82" name="Группа 81"/>
            <p:cNvGrpSpPr/>
            <p:nvPr/>
          </p:nvGrpSpPr>
          <p:grpSpPr>
            <a:xfrm>
              <a:off x="4460614" y="1476000"/>
              <a:ext cx="871678" cy="2676494"/>
              <a:chOff x="4388614" y="1476000"/>
              <a:chExt cx="871678" cy="2676494"/>
            </a:xfrm>
          </p:grpSpPr>
          <p:cxnSp>
            <p:nvCxnSpPr>
              <p:cNvPr id="79" name="Прямая соединительная линия 78"/>
              <p:cNvCxnSpPr/>
              <p:nvPr/>
            </p:nvCxnSpPr>
            <p:spPr bwMode="auto">
              <a:xfrm>
                <a:off x="4616724" y="1476000"/>
                <a:ext cx="0" cy="2340000"/>
              </a:xfrm>
              <a:prstGeom prst="line">
                <a:avLst/>
              </a:prstGeom>
              <a:solidFill>
                <a:schemeClr val="accent1"/>
              </a:solidFill>
              <a:ln w="25400" cap="flat" cmpd="sng" algn="ctr">
                <a:solidFill>
                  <a:srgbClr val="A6A6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80" name="Равнобедренный треугольник 79"/>
              <p:cNvSpPr/>
              <p:nvPr/>
            </p:nvSpPr>
            <p:spPr bwMode="auto">
              <a:xfrm>
                <a:off x="4507343" y="3794163"/>
                <a:ext cx="216000" cy="144000"/>
              </a:xfrm>
              <a:prstGeom prst="triangle">
                <a:avLst/>
              </a:prstGeom>
              <a:solidFill>
                <a:srgbClr val="A6A6A6"/>
              </a:solidFill>
              <a:ln w="9525" cap="flat" cmpd="sng" algn="ctr">
                <a:solidFill>
                  <a:srgbClr val="A6A6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85626" tIns="42812" rIns="85626" bIns="42812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56301" eaLnBrk="0" hangingPunct="0"/>
                <a:endParaRPr lang="uk-UA" sz="937" u="sng">
                  <a:solidFill>
                    <a:prstClr val="black"/>
                  </a:solidFill>
                  <a:latin typeface="Arial" pitchFamily="34" charset="0"/>
                  <a:ea typeface="MS PGothic" pitchFamily="34" charset="-128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4388614" y="3899892"/>
                <a:ext cx="871678" cy="2526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856301" eaLnBrk="0" hangingPunct="0"/>
                <a:r>
                  <a:rPr lang="uk-UA" sz="937" b="1" dirty="0">
                    <a:solidFill>
                      <a:prstClr val="black"/>
                    </a:solidFill>
                    <a:ea typeface="MS PGothic" pitchFamily="34" charset="-128"/>
                  </a:rPr>
                  <a:t>СЬОГОДНІ</a:t>
                </a:r>
              </a:p>
            </p:txBody>
          </p:sp>
        </p:grpSp>
        <p:grpSp>
          <p:nvGrpSpPr>
            <p:cNvPr id="87" name="Группа 86"/>
            <p:cNvGrpSpPr/>
            <p:nvPr/>
          </p:nvGrpSpPr>
          <p:grpSpPr>
            <a:xfrm>
              <a:off x="1080000" y="1539002"/>
              <a:ext cx="7413889" cy="3645000"/>
              <a:chOff x="1080000" y="1539002"/>
              <a:chExt cx="7413889" cy="3645000"/>
            </a:xfrm>
          </p:grpSpPr>
          <p:sp>
            <p:nvSpPr>
              <p:cNvPr id="44" name="Пятиугольник 43"/>
              <p:cNvSpPr/>
              <p:nvPr/>
            </p:nvSpPr>
            <p:spPr bwMode="auto">
              <a:xfrm>
                <a:off x="1192274" y="1539002"/>
                <a:ext cx="6448406" cy="2240998"/>
              </a:xfrm>
              <a:prstGeom prst="homePlate">
                <a:avLst/>
              </a:prstGeom>
              <a:solidFill>
                <a:schemeClr val="tx2">
                  <a:lumMod val="50000"/>
                  <a:alpha val="37000"/>
                </a:schemeClr>
              </a:solidFill>
              <a:ln w="9525" cap="flat" cmpd="sng" algn="ctr">
                <a:solidFill>
                  <a:schemeClr val="tx1"/>
                </a:solidFill>
                <a:prstDash val="dashDot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85612" tIns="42806" rIns="85612" bIns="42806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856301" eaLnBrk="0" hangingPunct="0"/>
                <a:r>
                  <a:rPr lang="uk-UA" sz="1124" b="1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rPr>
                  <a:t>ЗНЯТТЯ ТИМЧАСОВИХ</a:t>
                </a:r>
              </a:p>
              <a:p>
                <a:pPr defTabSz="856301" eaLnBrk="0" hangingPunct="0"/>
                <a:r>
                  <a:rPr lang="uk-UA" sz="1124" b="1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rPr>
                  <a:t>АДМІНІСТРАТИВНИХ </a:t>
                </a:r>
                <a:endParaRPr lang="en-US" sz="1124" b="1" dirty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</a:endParaRPr>
              </a:p>
              <a:p>
                <a:pPr defTabSz="856301" eaLnBrk="0" hangingPunct="0"/>
                <a:r>
                  <a:rPr lang="uk-UA" sz="1124" b="1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rPr>
                  <a:t>ОБМЕЖЕНЬ</a:t>
                </a:r>
              </a:p>
            </p:txBody>
          </p:sp>
          <p:grpSp>
            <p:nvGrpSpPr>
              <p:cNvPr id="84" name="Группа 83"/>
              <p:cNvGrpSpPr/>
              <p:nvPr/>
            </p:nvGrpSpPr>
            <p:grpSpPr>
              <a:xfrm>
                <a:off x="1080000" y="2160002"/>
                <a:ext cx="4320000" cy="3024000"/>
                <a:chOff x="1080000" y="2160002"/>
                <a:chExt cx="4320000" cy="3024000"/>
              </a:xfrm>
            </p:grpSpPr>
            <p:sp>
              <p:nvSpPr>
                <p:cNvPr id="11" name="Пятиугольник 10"/>
                <p:cNvSpPr/>
                <p:nvPr/>
              </p:nvSpPr>
              <p:spPr bwMode="auto">
                <a:xfrm>
                  <a:off x="2880000" y="2160002"/>
                  <a:ext cx="2520000" cy="612000"/>
                </a:xfrm>
                <a:prstGeom prst="homePlate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85612" tIns="42806" rIns="85612" bIns="42806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56301" eaLnBrk="0" hangingPunct="0"/>
                  <a:r>
                    <a:rPr lang="uk-UA" sz="1124" b="1" cap="all" dirty="0">
                      <a:solidFill>
                        <a:srgbClr val="F6BC1C"/>
                      </a:solidFill>
                      <a:latin typeface="Arial" pitchFamily="34" charset="0"/>
                      <a:ea typeface="MS PGothic" pitchFamily="34" charset="-128"/>
                    </a:rPr>
                    <a:t>ЕТАП0: </a:t>
                  </a:r>
                  <a:r>
                    <a:rPr lang="uk-UA" sz="1124" b="1" cap="all" dirty="0">
                      <a:solidFill>
                        <a:prstClr val="white"/>
                      </a:solidFill>
                      <a:latin typeface="Arial" pitchFamily="34" charset="0"/>
                      <a:ea typeface="MS PGothic" pitchFamily="34" charset="-128"/>
                    </a:rPr>
                    <a:t>ПОТОЧНИЙ РАХУНОК ТА ПІІ</a:t>
                  </a:r>
                  <a:endParaRPr lang="uk-UA" sz="1873" b="1" cap="all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50" name="Прямоугольник 49"/>
                <p:cNvSpPr/>
                <p:nvPr/>
              </p:nvSpPr>
              <p:spPr>
                <a:xfrm>
                  <a:off x="1080000" y="4464002"/>
                  <a:ext cx="1800000" cy="720000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/>
                <a:p>
                  <a:pPr algn="r" defTabSz="856301" eaLnBrk="0" hangingPunct="0">
                    <a:lnSpc>
                      <a:spcPct val="80000"/>
                    </a:lnSpc>
                    <a:spcAft>
                      <a:spcPts val="562"/>
                    </a:spcAft>
                  </a:pPr>
                  <a:r>
                    <a:rPr lang="uk-UA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стимулювання</a:t>
                  </a:r>
                  <a:r>
                    <a:rPr 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 </a:t>
                  </a:r>
                  <a:r>
                    <a:rPr lang="uk-UA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економічного зростання та продуктивності</a:t>
                  </a:r>
                </a:p>
              </p:txBody>
            </p:sp>
            <p:cxnSp>
              <p:nvCxnSpPr>
                <p:cNvPr id="15" name="Прямая соединительная линия 14"/>
                <p:cNvCxnSpPr>
                  <a:stCxn id="11" idx="1"/>
                  <a:endCxn id="50" idx="3"/>
                </p:cNvCxnSpPr>
                <p:nvPr/>
              </p:nvCxnSpPr>
              <p:spPr bwMode="auto">
                <a:xfrm>
                  <a:off x="2880000" y="2466002"/>
                  <a:ext cx="0" cy="235800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3"/>
                  </a:solidFill>
                  <a:prstDash val="dash"/>
                  <a:round/>
                  <a:headEnd type="oval" w="med" len="med"/>
                  <a:tailEnd type="oval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85" name="Группа 84"/>
              <p:cNvGrpSpPr/>
              <p:nvPr/>
            </p:nvGrpSpPr>
            <p:grpSpPr>
              <a:xfrm>
                <a:off x="2987999" y="2844002"/>
                <a:ext cx="4051979" cy="2340000"/>
                <a:chOff x="2987999" y="2844002"/>
                <a:chExt cx="4051979" cy="2340000"/>
              </a:xfrm>
            </p:grpSpPr>
            <p:sp>
              <p:nvSpPr>
                <p:cNvPr id="38" name="Прямоугольник 37"/>
                <p:cNvSpPr/>
                <p:nvPr/>
              </p:nvSpPr>
              <p:spPr>
                <a:xfrm>
                  <a:off x="2987999" y="4464002"/>
                  <a:ext cx="1531979" cy="720000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/>
                <a:p>
                  <a:pPr algn="r" defTabSz="856301" eaLnBrk="0" hangingPunct="0">
                    <a:lnSpc>
                      <a:spcPct val="80000"/>
                    </a:lnSpc>
                    <a:spcAft>
                      <a:spcPts val="562"/>
                    </a:spcAft>
                  </a:pPr>
                  <a:r>
                    <a:rPr lang="uk-UA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розвиток валютного ринку та фінансової системи для підтримки економічного зростання</a:t>
                  </a:r>
                </a:p>
              </p:txBody>
            </p:sp>
            <p:cxnSp>
              <p:nvCxnSpPr>
                <p:cNvPr id="52" name="Прямая соединительная линия 51"/>
                <p:cNvCxnSpPr>
                  <a:stCxn id="16" idx="1"/>
                  <a:endCxn id="38" idx="3"/>
                </p:cNvCxnSpPr>
                <p:nvPr/>
              </p:nvCxnSpPr>
              <p:spPr bwMode="auto">
                <a:xfrm>
                  <a:off x="4519978" y="3150002"/>
                  <a:ext cx="0" cy="167400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3"/>
                  </a:solidFill>
                  <a:prstDash val="dash"/>
                  <a:round/>
                  <a:headEnd type="oval" w="med" len="med"/>
                  <a:tailEnd type="oval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6" name="Пятиугольник 15"/>
                <p:cNvSpPr/>
                <p:nvPr/>
              </p:nvSpPr>
              <p:spPr bwMode="auto">
                <a:xfrm>
                  <a:off x="4519978" y="2844002"/>
                  <a:ext cx="2520000" cy="612000"/>
                </a:xfrm>
                <a:prstGeom prst="homePlate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85612" tIns="42806" rIns="85612" bIns="42806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856301" eaLnBrk="0" hangingPunct="0"/>
                  <a:r>
                    <a:rPr lang="uk-UA" sz="1124" b="1" cap="all" dirty="0">
                      <a:solidFill>
                        <a:srgbClr val="F6BC1C"/>
                      </a:solidFill>
                      <a:latin typeface="Arial" pitchFamily="34" charset="0"/>
                      <a:ea typeface="MS PGothic" pitchFamily="34" charset="-128"/>
                    </a:rPr>
                    <a:t>ЕТАП1: </a:t>
                  </a:r>
                  <a:r>
                    <a:rPr lang="uk-UA" sz="1124" b="1" cap="all" dirty="0">
                      <a:solidFill>
                        <a:prstClr val="white"/>
                      </a:solidFill>
                      <a:latin typeface="Arial" pitchFamily="34" charset="0"/>
                      <a:ea typeface="MS PGothic" pitchFamily="34" charset="-128"/>
                    </a:rPr>
                    <a:t>Портфельні інвестиції та кредитні операції </a:t>
                  </a:r>
                  <a:r>
                    <a:rPr lang="uk-UA" sz="1124" b="1" cap="all" dirty="0" err="1">
                      <a:solidFill>
                        <a:prstClr val="white"/>
                      </a:solidFill>
                      <a:latin typeface="Arial" pitchFamily="34" charset="0"/>
                      <a:ea typeface="MS PGothic" pitchFamily="34" charset="-128"/>
                    </a:rPr>
                    <a:t>юр</a:t>
                  </a:r>
                  <a:r>
                    <a:rPr lang="uk-UA" sz="1124" b="1" cap="all" dirty="0">
                      <a:solidFill>
                        <a:prstClr val="white"/>
                      </a:solidFill>
                      <a:latin typeface="Arial" pitchFamily="34" charset="0"/>
                      <a:ea typeface="MS PGothic" pitchFamily="34" charset="-128"/>
                    </a:rPr>
                    <a:t>. осіб</a:t>
                  </a:r>
                  <a:endParaRPr lang="uk-UA" sz="1873" b="1" cap="all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  <p:grpSp>
            <p:nvGrpSpPr>
              <p:cNvPr id="86" name="Группа 85"/>
              <p:cNvGrpSpPr/>
              <p:nvPr/>
            </p:nvGrpSpPr>
            <p:grpSpPr>
              <a:xfrm>
                <a:off x="4627977" y="3492002"/>
                <a:ext cx="3865912" cy="1692000"/>
                <a:chOff x="4627977" y="3492002"/>
                <a:chExt cx="3865912" cy="1692000"/>
              </a:xfrm>
            </p:grpSpPr>
            <p:sp>
              <p:nvSpPr>
                <p:cNvPr id="51" name="Прямоугольник 50"/>
                <p:cNvSpPr/>
                <p:nvPr/>
              </p:nvSpPr>
              <p:spPr>
                <a:xfrm>
                  <a:off x="4627977" y="4464002"/>
                  <a:ext cx="1345910" cy="720000"/>
                </a:xfrm>
                <a:prstGeom prst="rect">
                  <a:avLst/>
                </a:prstGeom>
              </p:spPr>
              <p:txBody>
                <a:bodyPr wrap="square">
                  <a:noAutofit/>
                </a:bodyPr>
                <a:lstStyle/>
                <a:p>
                  <a:pPr algn="r" defTabSz="856301" eaLnBrk="0" hangingPunct="0">
                    <a:lnSpc>
                      <a:spcPct val="80000"/>
                    </a:lnSpc>
                    <a:spcAft>
                      <a:spcPts val="562"/>
                    </a:spcAft>
                  </a:pPr>
                  <a:r>
                    <a:rPr lang="uk-UA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розширення</a:t>
                  </a:r>
                  <a:r>
                    <a:rPr lang="ru-RU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 </a:t>
                  </a:r>
                  <a:r>
                    <a:rPr lang="uk-UA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можливостей </a:t>
                  </a:r>
                  <a:r>
                    <a:rPr lang="uk-UA" altLang="ru-RU" sz="1124" dirty="0" err="1" smtClean="0">
                      <a:solidFill>
                        <a:prstClr val="black"/>
                      </a:solidFill>
                      <a:ea typeface="MS PGothic" pitchFamily="34" charset="-128"/>
                    </a:rPr>
                    <a:t>інвест</a:t>
                  </a:r>
                  <a:r>
                    <a:rPr lang="ru-RU" altLang="ru-RU" sz="1124" dirty="0" err="1">
                      <a:solidFill>
                        <a:prstClr val="black"/>
                      </a:solidFill>
                      <a:ea typeface="MS PGothic" pitchFamily="34" charset="-128"/>
                    </a:rPr>
                    <a:t>ування</a:t>
                  </a:r>
                  <a:r>
                    <a:rPr lang="ru-RU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 </a:t>
                  </a:r>
                  <a:r>
                    <a:rPr lang="uk-UA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резидентами</a:t>
                  </a:r>
                  <a:r>
                    <a:rPr lang="ru-RU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 для </a:t>
                  </a:r>
                  <a:r>
                    <a:rPr lang="uk-UA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диверсифікації</a:t>
                  </a:r>
                  <a:r>
                    <a:rPr lang="ru-RU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 </a:t>
                  </a:r>
                  <a:r>
                    <a:rPr lang="uk-UA" altLang="ru-RU" sz="1124" dirty="0">
                      <a:solidFill>
                        <a:prstClr val="black"/>
                      </a:solidFill>
                      <a:ea typeface="MS PGothic" pitchFamily="34" charset="-128"/>
                    </a:rPr>
                    <a:t>активів</a:t>
                  </a:r>
                </a:p>
              </p:txBody>
            </p:sp>
            <p:cxnSp>
              <p:nvCxnSpPr>
                <p:cNvPr id="53" name="Прямая соединительная линия 52"/>
                <p:cNvCxnSpPr>
                  <a:stCxn id="17" idx="1"/>
                  <a:endCxn id="51" idx="3"/>
                </p:cNvCxnSpPr>
                <p:nvPr/>
              </p:nvCxnSpPr>
              <p:spPr bwMode="auto">
                <a:xfrm>
                  <a:off x="5973886" y="3798002"/>
                  <a:ext cx="1" cy="102600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3"/>
                  </a:solidFill>
                  <a:prstDash val="dash"/>
                  <a:round/>
                  <a:headEnd type="oval" w="med" len="med"/>
                  <a:tailEnd type="oval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57" name="Прямоугольник 56"/>
                <p:cNvSpPr/>
                <p:nvPr/>
              </p:nvSpPr>
              <p:spPr>
                <a:xfrm>
                  <a:off x="7039978" y="4464002"/>
                  <a:ext cx="1453911" cy="720000"/>
                </a:xfrm>
                <a:prstGeom prst="rect">
                  <a:avLst/>
                </a:prstGeom>
              </p:spPr>
              <p:txBody>
                <a:bodyPr wrap="square" anchor="ctr">
                  <a:noAutofit/>
                </a:bodyPr>
                <a:lstStyle/>
                <a:p>
                  <a:pPr algn="r" defTabSz="856301" eaLnBrk="0" hangingPunct="0">
                    <a:lnSpc>
                      <a:spcPct val="80000"/>
                    </a:lnSpc>
                    <a:spcAft>
                      <a:spcPts val="562"/>
                    </a:spcAft>
                  </a:pPr>
                  <a:r>
                    <a:rPr lang="uk-UA" altLang="ru-RU" sz="1498" b="1" dirty="0">
                      <a:solidFill>
                        <a:prstClr val="black"/>
                      </a:solidFill>
                      <a:ea typeface="MS PGothic" pitchFamily="34" charset="-128"/>
                    </a:rPr>
                    <a:t>Вільний рух капіталу</a:t>
                  </a:r>
                </a:p>
              </p:txBody>
            </p:sp>
            <p:cxnSp>
              <p:nvCxnSpPr>
                <p:cNvPr id="58" name="Прямая соединительная линия 57"/>
                <p:cNvCxnSpPr>
                  <a:stCxn id="17" idx="3"/>
                  <a:endCxn id="57" idx="3"/>
                </p:cNvCxnSpPr>
                <p:nvPr/>
              </p:nvCxnSpPr>
              <p:spPr bwMode="auto">
                <a:xfrm>
                  <a:off x="8493889" y="3798002"/>
                  <a:ext cx="0" cy="102600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accent3"/>
                  </a:solidFill>
                  <a:prstDash val="dash"/>
                  <a:round/>
                  <a:headEnd type="oval" w="med" len="med"/>
                  <a:tailEnd type="oval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7" name="Пятиугольник 16"/>
                <p:cNvSpPr/>
                <p:nvPr/>
              </p:nvSpPr>
              <p:spPr bwMode="auto">
                <a:xfrm>
                  <a:off x="5973886" y="3492002"/>
                  <a:ext cx="2520003" cy="612000"/>
                </a:xfrm>
                <a:prstGeom prst="homePlate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85612" tIns="42806" rIns="85612" bIns="42806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defTabSz="856301" eaLnBrk="0" hangingPunct="0"/>
                  <a:r>
                    <a:rPr lang="uk-UA" sz="1124" b="1" cap="all" dirty="0">
                      <a:solidFill>
                        <a:srgbClr val="F6BC1C"/>
                      </a:solidFill>
                      <a:latin typeface="Arial" pitchFamily="34" charset="0"/>
                      <a:ea typeface="MS PGothic" pitchFamily="34" charset="-128"/>
                    </a:rPr>
                    <a:t>ЕТАП2: </a:t>
                  </a:r>
                  <a:r>
                    <a:rPr lang="uk-UA" sz="1124" b="1" cap="all" dirty="0">
                      <a:solidFill>
                        <a:prstClr val="white"/>
                      </a:solidFill>
                      <a:latin typeface="Arial" pitchFamily="34" charset="0"/>
                      <a:ea typeface="MS PGothic" pitchFamily="34" charset="-128"/>
                    </a:rPr>
                    <a:t>фінансові операції фізичних осіб</a:t>
                  </a:r>
                  <a:endParaRPr lang="uk-UA" sz="1873" b="1" cap="all" dirty="0">
                    <a:solidFill>
                      <a:prstClr val="white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</p:grpSp>
        <p:sp>
          <p:nvSpPr>
            <p:cNvPr id="63" name="TextBox 62"/>
            <p:cNvSpPr txBox="1"/>
            <p:nvPr/>
          </p:nvSpPr>
          <p:spPr>
            <a:xfrm>
              <a:off x="576000" y="4176002"/>
              <a:ext cx="360000" cy="1260000"/>
            </a:xfrm>
            <a:prstGeom prst="rect">
              <a:avLst/>
            </a:prstGeom>
            <a:noFill/>
          </p:spPr>
          <p:txBody>
            <a:bodyPr vert="vert270" wrap="none" rtlCol="0" anchor="ctr">
              <a:noAutofit/>
            </a:bodyPr>
            <a:lstStyle/>
            <a:p>
              <a:pPr algn="ctr" defTabSz="856301" eaLnBrk="0" hangingPunct="0"/>
              <a:r>
                <a:rPr lang="uk-UA" sz="1498" b="1" dirty="0">
                  <a:solidFill>
                    <a:prstClr val="black"/>
                  </a:solidFill>
                  <a:ea typeface="MS PGothic" pitchFamily="34" charset="-128"/>
                </a:rPr>
                <a:t>МЕТА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76000" y="1440002"/>
              <a:ext cx="360000" cy="2736000"/>
            </a:xfrm>
            <a:prstGeom prst="rect">
              <a:avLst/>
            </a:prstGeom>
            <a:noFill/>
          </p:spPr>
          <p:txBody>
            <a:bodyPr vert="vert270" wrap="none" rtlCol="0" anchor="ctr">
              <a:noAutofit/>
            </a:bodyPr>
            <a:lstStyle/>
            <a:p>
              <a:pPr algn="ctr" defTabSz="856301" eaLnBrk="0" hangingPunct="0"/>
              <a:r>
                <a:rPr lang="uk-UA" sz="1498" b="1" dirty="0">
                  <a:solidFill>
                    <a:prstClr val="black"/>
                  </a:solidFill>
                  <a:ea typeface="MS PGothic" pitchFamily="34" charset="-128"/>
                </a:rPr>
                <a:t>ЕТАПИ</a:t>
              </a:r>
            </a:p>
          </p:txBody>
        </p:sp>
        <p:grpSp>
          <p:nvGrpSpPr>
            <p:cNvPr id="76" name="Группа 75"/>
            <p:cNvGrpSpPr/>
            <p:nvPr/>
          </p:nvGrpSpPr>
          <p:grpSpPr>
            <a:xfrm>
              <a:off x="575998" y="913867"/>
              <a:ext cx="8892000" cy="3268854"/>
              <a:chOff x="575998" y="913867"/>
              <a:chExt cx="8892000" cy="3268854"/>
            </a:xfrm>
          </p:grpSpPr>
          <p:sp>
            <p:nvSpPr>
              <p:cNvPr id="72" name="Скругленный прямоугольник 71"/>
              <p:cNvSpPr/>
              <p:nvPr/>
            </p:nvSpPr>
            <p:spPr bwMode="auto">
              <a:xfrm>
                <a:off x="5131978" y="1446718"/>
                <a:ext cx="1799999" cy="625875"/>
              </a:xfrm>
              <a:prstGeom prst="roundRect">
                <a:avLst/>
              </a:prstGeom>
              <a:solidFill>
                <a:srgbClr val="FEC903"/>
              </a:solidFill>
              <a:ln w="2540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85626" tIns="42812" rIns="85626" bIns="42812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856301" eaLnBrk="0" hangingPunct="0"/>
                <a:r>
                  <a:rPr lang="uk-UA" sz="1311" b="1" dirty="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rPr>
                  <a:t>Імплементація принципів </a:t>
                </a:r>
                <a:r>
                  <a:rPr lang="en-US" sz="1311" b="1" dirty="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rPr>
                  <a:t>BEPS</a:t>
                </a:r>
                <a:endParaRPr lang="uk-UA" sz="1311" b="1" dirty="0">
                  <a:solidFill>
                    <a:prstClr val="black"/>
                  </a:solidFill>
                  <a:latin typeface="Arial" pitchFamily="34" charset="0"/>
                  <a:ea typeface="MS PGothic" pitchFamily="34" charset="-128"/>
                </a:endParaRPr>
              </a:p>
            </p:txBody>
          </p:sp>
          <p:cxnSp>
            <p:nvCxnSpPr>
              <p:cNvPr id="74" name="Прямая соединительная линия 73"/>
              <p:cNvCxnSpPr>
                <a:stCxn id="72" idx="2"/>
              </p:cNvCxnSpPr>
              <p:nvPr/>
            </p:nvCxnSpPr>
            <p:spPr bwMode="auto">
              <a:xfrm>
                <a:off x="6031979" y="2072593"/>
                <a:ext cx="287" cy="2110128"/>
              </a:xfrm>
              <a:prstGeom prst="line">
                <a:avLst/>
              </a:prstGeom>
              <a:solidFill>
                <a:schemeClr val="accent6"/>
              </a:solidFill>
              <a:ln w="2540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oval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5" name="Прямоугольник 74"/>
              <p:cNvSpPr/>
              <p:nvPr/>
            </p:nvSpPr>
            <p:spPr bwMode="auto">
              <a:xfrm>
                <a:off x="575998" y="913867"/>
                <a:ext cx="8892000" cy="360000"/>
              </a:xfrm>
              <a:prstGeom prst="rect">
                <a:avLst/>
              </a:prstGeom>
              <a:solidFill>
                <a:srgbClr val="FFC000"/>
              </a:solidFill>
              <a:ln w="2540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0" spcFirstLastPara="0" vertOverflow="overflow" horzOverflow="overflow" vert="horz" wrap="square" lIns="85626" tIns="42812" rIns="85626" bIns="4281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6301" eaLnBrk="0" hangingPunct="0"/>
                <a:r>
                  <a:rPr lang="uk-UA" sz="1311" b="1" dirty="0">
                    <a:solidFill>
                      <a:prstClr val="black"/>
                    </a:solidFill>
                    <a:latin typeface="Arial" pitchFamily="34" charset="0"/>
                    <a:ea typeface="MS PGothic" pitchFamily="34" charset="-128"/>
                  </a:rPr>
                  <a:t>Наявність необхідність макроекономічних передумов </a:t>
                </a:r>
              </a:p>
            </p:txBody>
          </p:sp>
        </p:grpSp>
      </p:grpSp>
      <p:sp>
        <p:nvSpPr>
          <p:cNvPr id="43" name="Скругленный прямоугольник 42"/>
          <p:cNvSpPr/>
          <p:nvPr/>
        </p:nvSpPr>
        <p:spPr bwMode="auto">
          <a:xfrm>
            <a:off x="5858034" y="2219064"/>
            <a:ext cx="1685541" cy="653506"/>
          </a:xfrm>
          <a:prstGeom prst="roundRect">
            <a:avLst/>
          </a:prstGeom>
          <a:solidFill>
            <a:srgbClr val="FEC903"/>
          </a:solidFill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5626" tIns="42812" rIns="85626" bIns="42812" numCol="1" rtlCol="0" anchor="ctr" anchorCtr="0" compatLnSpc="1">
            <a:prstTxWarp prst="textNoShape">
              <a:avLst/>
            </a:prstTxWarp>
          </a:bodyPr>
          <a:lstStyle/>
          <a:p>
            <a:pPr algn="ctr" defTabSz="856301" eaLnBrk="0" hangingPunct="0"/>
            <a:r>
              <a:rPr lang="uk-UA" sz="983" b="1" dirty="0">
                <a:solidFill>
                  <a:prstClr val="black"/>
                </a:solidFill>
                <a:latin typeface="Arial" pitchFamily="34" charset="0"/>
                <a:ea typeface="MS PGothic" pitchFamily="34" charset="-128"/>
              </a:rPr>
              <a:t>Впровадження системи міжнародного обміну податковою інформацією 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5968744" y="2838509"/>
            <a:ext cx="0" cy="1420069"/>
          </a:xfrm>
          <a:prstGeom prst="line">
            <a:avLst/>
          </a:prstGeom>
          <a:solidFill>
            <a:schemeClr val="accent6"/>
          </a:solidFill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49538" y="6482294"/>
            <a:ext cx="673548" cy="372521"/>
          </a:xfrm>
        </p:spPr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9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03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і слайди">
  <a:themeElements>
    <a:clrScheme name="Стандартная">
      <a:dk1>
        <a:srgbClr val="4D4D4F"/>
      </a:dk1>
      <a:lt1>
        <a:sysClr val="window" lastClr="FFFFFF"/>
      </a:lt1>
      <a:dk2>
        <a:srgbClr val="4D4D4F"/>
      </a:dk2>
      <a:lt2>
        <a:srgbClr val="057C48"/>
      </a:lt2>
      <a:accent1>
        <a:srgbClr val="057C48"/>
      </a:accent1>
      <a:accent2>
        <a:srgbClr val="91CA64"/>
      </a:accent2>
      <a:accent3>
        <a:srgbClr val="50748A"/>
      </a:accent3>
      <a:accent4>
        <a:srgbClr val="8D9DD0"/>
      </a:accent4>
      <a:accent5>
        <a:srgbClr val="A3417C"/>
      </a:accent5>
      <a:accent6>
        <a:srgbClr val="CD76B0"/>
      </a:accent6>
      <a:hlink>
        <a:srgbClr val="50748A"/>
      </a:hlink>
      <a:folHlink>
        <a:srgbClr val="8D9DD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ack">
      <a:srgbClr val="000000"/>
    </a:custClr>
    <a:custClr name="Grey">
      <a:srgbClr val="4D4D4F"/>
    </a:custClr>
    <a:custClr name="Dark Green">
      <a:srgbClr val="057C48"/>
    </a:custClr>
    <a:custClr name="Light Green">
      <a:srgbClr val="91CA64"/>
    </a:custClr>
    <a:custClr name="Dark Blue">
      <a:srgbClr val="50748A"/>
    </a:custClr>
    <a:custClr name="Light Blue">
      <a:srgbClr val="8D9DD0"/>
    </a:custClr>
    <a:custClr name="Dark Magenta">
      <a:srgbClr val="A3417C"/>
    </a:custClr>
    <a:custClr name="Light Magenta">
      <a:srgbClr val="CD76B0"/>
    </a:custClr>
    <a:custClr name="Light Rose">
      <a:srgbClr val="F79D91"/>
    </a:custClr>
    <a:custClr name="Peach">
      <a:srgbClr val="F9D491"/>
    </a:custClr>
  </a:custClrLst>
</a:theme>
</file>

<file path=ppt/theme/theme2.xml><?xml version="1.0" encoding="utf-8"?>
<a:theme xmlns:a="http://schemas.openxmlformats.org/drawingml/2006/main" name="Основні слайди">
  <a:themeElements>
    <a:clrScheme name="Стандартная">
      <a:dk1>
        <a:srgbClr val="4D4D4F"/>
      </a:dk1>
      <a:lt1>
        <a:sysClr val="window" lastClr="FFFFFF"/>
      </a:lt1>
      <a:dk2>
        <a:srgbClr val="4D4D4F"/>
      </a:dk2>
      <a:lt2>
        <a:srgbClr val="057C48"/>
      </a:lt2>
      <a:accent1>
        <a:srgbClr val="057C48"/>
      </a:accent1>
      <a:accent2>
        <a:srgbClr val="91CA64"/>
      </a:accent2>
      <a:accent3>
        <a:srgbClr val="50748A"/>
      </a:accent3>
      <a:accent4>
        <a:srgbClr val="8D9DD0"/>
      </a:accent4>
      <a:accent5>
        <a:srgbClr val="A3417C"/>
      </a:accent5>
      <a:accent6>
        <a:srgbClr val="CD76B0"/>
      </a:accent6>
      <a:hlink>
        <a:srgbClr val="50748A"/>
      </a:hlink>
      <a:folHlink>
        <a:srgbClr val="8D9DD0"/>
      </a:folHlink>
    </a:clrScheme>
    <a:fontScheme name="NB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ack">
      <a:srgbClr val="000000"/>
    </a:custClr>
    <a:custClr name="Grey">
      <a:srgbClr val="4D4D4F"/>
    </a:custClr>
    <a:custClr name="Dark Green">
      <a:srgbClr val="057C48"/>
    </a:custClr>
    <a:custClr name="Light Green">
      <a:srgbClr val="91CA64"/>
    </a:custClr>
    <a:custClr name="Dark Blue">
      <a:srgbClr val="50748A"/>
    </a:custClr>
    <a:custClr name="Light Blue">
      <a:srgbClr val="8D9DD0"/>
    </a:custClr>
    <a:custClr name="Dark Magenta">
      <a:srgbClr val="A3417C"/>
    </a:custClr>
    <a:custClr name="Light Magenta">
      <a:srgbClr val="CD76B0"/>
    </a:custClr>
    <a:custClr name="Light Rose">
      <a:srgbClr val="F79D91"/>
    </a:custClr>
    <a:custClr name="Peach">
      <a:srgbClr val="F9D491"/>
    </a:custClr>
  </a:custClrLst>
</a:theme>
</file>

<file path=ppt/theme/theme3.xml><?xml version="1.0" encoding="utf-8"?>
<a:theme xmlns:a="http://schemas.openxmlformats.org/drawingml/2006/main" name="Фінальні слайди">
  <a:themeElements>
    <a:clrScheme name="Стандартная">
      <a:dk1>
        <a:srgbClr val="4D4D4F"/>
      </a:dk1>
      <a:lt1>
        <a:sysClr val="window" lastClr="FFFFFF"/>
      </a:lt1>
      <a:dk2>
        <a:srgbClr val="4D4D4F"/>
      </a:dk2>
      <a:lt2>
        <a:srgbClr val="057C48"/>
      </a:lt2>
      <a:accent1>
        <a:srgbClr val="057C48"/>
      </a:accent1>
      <a:accent2>
        <a:srgbClr val="91CA64"/>
      </a:accent2>
      <a:accent3>
        <a:srgbClr val="50748A"/>
      </a:accent3>
      <a:accent4>
        <a:srgbClr val="8D9DD0"/>
      </a:accent4>
      <a:accent5>
        <a:srgbClr val="A3417C"/>
      </a:accent5>
      <a:accent6>
        <a:srgbClr val="CD76B0"/>
      </a:accent6>
      <a:hlink>
        <a:srgbClr val="50748A"/>
      </a:hlink>
      <a:folHlink>
        <a:srgbClr val="8D9DD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ack">
      <a:srgbClr val="000000"/>
    </a:custClr>
    <a:custClr name="Grey">
      <a:srgbClr val="4D4D4F"/>
    </a:custClr>
    <a:custClr name="Dark Green">
      <a:srgbClr val="057C48"/>
    </a:custClr>
    <a:custClr name="Light Green">
      <a:srgbClr val="91CA64"/>
    </a:custClr>
    <a:custClr name="Dark Blue">
      <a:srgbClr val="50748A"/>
    </a:custClr>
    <a:custClr name="Light Blue">
      <a:srgbClr val="8D9DD0"/>
    </a:custClr>
    <a:custClr name="Dark Magenta">
      <a:srgbClr val="A3417C"/>
    </a:custClr>
    <a:custClr name="Light Magenta">
      <a:srgbClr val="CD76B0"/>
    </a:custClr>
    <a:custClr name="Light Rose">
      <a:srgbClr val="F79D91"/>
    </a:custClr>
    <a:custClr name="Peach">
      <a:srgbClr val="F9D491"/>
    </a:custClr>
  </a:custClrLst>
  <a:extLst>
    <a:ext uri="{05A4C25C-085E-4340-85A3-A5531E510DB2}">
      <thm15:themeFamily xmlns:thm15="http://schemas.microsoft.com/office/thememl/2012/main" name="NBU" id="{E1B85442-4EC0-4221-B0FD-5B3A1B76F041}" vid="{77553576-B0B3-4216-A017-847AA4C2EC4A}"/>
    </a:ext>
  </a:ext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2217</TotalTime>
  <Words>1889</Words>
  <Application>Microsoft Office PowerPoint</Application>
  <PresentationFormat>Экран (4:3)</PresentationFormat>
  <Paragraphs>447</Paragraphs>
  <Slides>24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7" baseType="lpstr">
      <vt:lpstr>MS PGothic</vt:lpstr>
      <vt:lpstr>Arial</vt:lpstr>
      <vt:lpstr>Arial Narrow</vt:lpstr>
      <vt:lpstr>Calibri</vt:lpstr>
      <vt:lpstr>Lato Light</vt:lpstr>
      <vt:lpstr>Roboto Condensed</vt:lpstr>
      <vt:lpstr>Times New Roman</vt:lpstr>
      <vt:lpstr>TimesNewRomanPSMT</vt:lpstr>
      <vt:lpstr>Wingdings</vt:lpstr>
      <vt:lpstr>Титульні слайди</vt:lpstr>
      <vt:lpstr>Основні слайди</vt:lpstr>
      <vt:lpstr>Фінальні слайди</vt:lpstr>
      <vt:lpstr>think-cell Slide</vt:lpstr>
      <vt:lpstr>Реформа системи валютного регулювання в Україні</vt:lpstr>
      <vt:lpstr>Коротке резюме</vt:lpstr>
      <vt:lpstr>Презентация PowerPoint</vt:lpstr>
      <vt:lpstr>Проблема: здійснення бізнесом та звичайними громадянами багатьох валютних операцій вимагає отримання ліцензії</vt:lpstr>
      <vt:lpstr>Проблема: зайве адміністративне навантаження у вигляді валютного нагляду для невеликих операцій з експорту/імпорту товарів</vt:lpstr>
      <vt:lpstr>Проблема: застаріле законодавство унеможливлює перехід до ліберальних принципів. Вирішення: потрібен новий закон</vt:lpstr>
      <vt:lpstr>Яким стане цільове валютне регулювання завдяки Закону?</vt:lpstr>
      <vt:lpstr>Перехід від Декрету до нового Закону</vt:lpstr>
      <vt:lpstr>Презентация PowerPoint</vt:lpstr>
      <vt:lpstr>Закон «Про валюту» починає діяти: що зміниться одразу?</vt:lpstr>
      <vt:lpstr>Презентация PowerPoint</vt:lpstr>
      <vt:lpstr>Проект Закону «Про валюту» підтриманий світовими та українськими партнерами</vt:lpstr>
      <vt:lpstr>Презентация PowerPoint</vt:lpstr>
      <vt:lpstr>Додатки</vt:lpstr>
      <vt:lpstr>Поступова лібералізація є найбільш прийнятною для України</vt:lpstr>
      <vt:lpstr>Презентация PowerPoint</vt:lpstr>
      <vt:lpstr>Додаток 1: базові принципи протидії BEPS</vt:lpstr>
      <vt:lpstr>Додаток 2: повноваження регулятора щодо запровадження заходів захисту в деяких країнах-членах ЄС</vt:lpstr>
      <vt:lpstr>Польща</vt:lpstr>
      <vt:lpstr>Румунія</vt:lpstr>
      <vt:lpstr>Чехія</vt:lpstr>
      <vt:lpstr>Хорватія</vt:lpstr>
      <vt:lpstr>Вільний рух капіталу в стратегії НБУ </vt:lpstr>
      <vt:lpstr>Вільний рух капіталу в стратегії НБУ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12345</dc:creator>
  <cp:lastModifiedBy>Big Notebook)</cp:lastModifiedBy>
  <cp:revision>279</cp:revision>
  <cp:lastPrinted>2018-06-05T07:25:18Z</cp:lastPrinted>
  <dcterms:created xsi:type="dcterms:W3CDTF">2018-01-19T14:02:07Z</dcterms:created>
  <dcterms:modified xsi:type="dcterms:W3CDTF">2018-06-09T06:50:44Z</dcterms:modified>
</cp:coreProperties>
</file>